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4.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5.xml" ContentType="application/vnd.openxmlformats-officedocument.theme+xml"/>
  <Override PartName="/ppt/tags/tag178.xml" ContentType="application/vnd.openxmlformats-officedocument.presentationml.tags+xml"/>
  <Override PartName="/ppt/tags/tag179.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6.xml" ContentType="application/vnd.openxmlformats-officedocument.theme+xml"/>
  <Override PartName="/ppt/tags/tag180.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7.xml" ContentType="application/vnd.openxmlformats-officedocument.theme+xml"/>
  <Override PartName="/ppt/tags/tag181.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8.xml" ContentType="application/vnd.openxmlformats-officedocument.theme+xml"/>
  <Override PartName="/ppt/tags/tag182.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9.xml" ContentType="application/vnd.openxmlformats-officedocument.theme+xml"/>
  <Override PartName="/ppt/tags/tag183.xml" ContentType="application/vnd.openxmlformats-officedocument.presentationml.tags+xml"/>
  <Override PartName="/ppt/theme/theme10.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3" r:id="rId2"/>
    <p:sldMasterId id="2147483763" r:id="rId3"/>
    <p:sldMasterId id="2147483790" r:id="rId4"/>
    <p:sldMasterId id="2147483863" r:id="rId5"/>
    <p:sldMasterId id="2147483884" r:id="rId6"/>
    <p:sldMasterId id="2147483901" r:id="rId7"/>
    <p:sldMasterId id="2147483926" r:id="rId8"/>
    <p:sldMasterId id="2147483958" r:id="rId9"/>
  </p:sldMasterIdLst>
  <p:notesMasterIdLst>
    <p:notesMasterId r:id="rId23"/>
  </p:notesMasterIdLst>
  <p:sldIdLst>
    <p:sldId id="10704968" r:id="rId10"/>
    <p:sldId id="16767838" r:id="rId11"/>
    <p:sldId id="16767813" r:id="rId12"/>
    <p:sldId id="16767814" r:id="rId13"/>
    <p:sldId id="16774296" r:id="rId14"/>
    <p:sldId id="16775781" r:id="rId15"/>
    <p:sldId id="16774298" r:id="rId16"/>
    <p:sldId id="16774299" r:id="rId17"/>
    <p:sldId id="16777128" r:id="rId18"/>
    <p:sldId id="16777129" r:id="rId19"/>
    <p:sldId id="16777130" r:id="rId20"/>
    <p:sldId id="16777131" r:id="rId21"/>
    <p:sldId id="16777132"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FA0F736-282C-470B-9B8B-B92498C2620D}">
          <p14:sldIdLst>
            <p14:sldId id="10704968"/>
            <p14:sldId id="16767838"/>
            <p14:sldId id="16767813"/>
            <p14:sldId id="16767814"/>
            <p14:sldId id="16774296"/>
            <p14:sldId id="16775781"/>
            <p14:sldId id="16774298"/>
            <p14:sldId id="16774299"/>
            <p14:sldId id="16777128"/>
            <p14:sldId id="16777129"/>
            <p14:sldId id="16777130"/>
            <p14:sldId id="16777131"/>
            <p14:sldId id="1677713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15325B"/>
    <a:srgbClr val="FDE8E9"/>
    <a:srgbClr val="FCEAEA"/>
    <a:srgbClr val="E81C24"/>
    <a:srgbClr val="008000"/>
    <a:srgbClr val="FAF8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75" d="100"/>
          <a:sy n="75" d="100"/>
        </p:scale>
        <p:origin x="931" y="298"/>
      </p:cViewPr>
      <p:guideLst/>
    </p:cSldViewPr>
  </p:slideViewPr>
  <p:notesTextViewPr>
    <p:cViewPr>
      <p:scale>
        <a:sx n="1" d="1"/>
        <a:sy n="1" d="1"/>
      </p:scale>
      <p:origin x="0" y="0"/>
    </p:cViewPr>
  </p:notesTextViewPr>
  <p:sorterViewPr>
    <p:cViewPr>
      <p:scale>
        <a:sx n="100" d="100"/>
        <a:sy n="100" d="100"/>
      </p:scale>
      <p:origin x="0" y="-374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3FD24C-D9D5-43F6-8A0D-CFEA80F7290B}" type="datetimeFigureOut">
              <a:rPr lang="en-US" smtClean="0"/>
              <a:t>5/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8B92E1-084B-4E2D-86B4-24C4DE3C79BA}"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3.emf"/></Relationships>
</file>

<file path=ppt/slideLayouts/_rels/slideLayout10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81.bin"/><Relationship Id="rId7"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20.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3.emf"/></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9.emf"/><Relationship Id="rId5" Type="http://schemas.openxmlformats.org/officeDocument/2006/relationships/oleObject" Target="../embeddings/oleObject83.bin"/><Relationship Id="rId4"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9.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91.xml"/><Relationship Id="rId5" Type="http://schemas.openxmlformats.org/officeDocument/2006/relationships/image" Target="../media/image44.png"/><Relationship Id="rId4" Type="http://schemas.openxmlformats.org/officeDocument/2006/relationships/image" Target="../media/image19.emf"/></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9.emf"/><Relationship Id="rId4" Type="http://schemas.openxmlformats.org/officeDocument/2006/relationships/oleObject" Target="../embeddings/oleObject8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9.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9.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6.xml"/><Relationship Id="rId5" Type="http://schemas.openxmlformats.org/officeDocument/2006/relationships/image" Target="../media/image44.png"/><Relationship Id="rId4" Type="http://schemas.openxmlformats.org/officeDocument/2006/relationships/image" Target="../media/image1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7.xml"/><Relationship Id="rId5" Type="http://schemas.openxmlformats.org/officeDocument/2006/relationships/image" Target="../media/image45.png"/><Relationship Id="rId4" Type="http://schemas.openxmlformats.org/officeDocument/2006/relationships/image" Target="../media/image19.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Master" Target="../slideMasters/slideMaster3.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4.png"/><Relationship Id="rId3" Type="http://schemas.openxmlformats.org/officeDocument/2006/relationships/image" Target="../media/image60.png"/><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73.png"/><Relationship Id="rId2" Type="http://schemas.openxmlformats.org/officeDocument/2006/relationships/image" Target="../media/image59.png"/><Relationship Id="rId16" Type="http://schemas.openxmlformats.org/officeDocument/2006/relationships/image" Target="../media/image72.png"/><Relationship Id="rId20" Type="http://schemas.openxmlformats.org/officeDocument/2006/relationships/image" Target="../media/image76.png"/><Relationship Id="rId1" Type="http://schemas.openxmlformats.org/officeDocument/2006/relationships/slideMaster" Target="../slideMasters/slideMaster3.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png"/><Relationship Id="rId19" Type="http://schemas.openxmlformats.org/officeDocument/2006/relationships/image" Target="../media/image75.png"/><Relationship Id="rId4" Type="http://schemas.openxmlformats.org/officeDocument/2006/relationships/image" Target="../media/image26.png"/><Relationship Id="rId9" Type="http://schemas.openxmlformats.org/officeDocument/2006/relationships/image" Target="../media/image65.png"/><Relationship Id="rId14" Type="http://schemas.openxmlformats.org/officeDocument/2006/relationships/image" Target="../media/image70.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6.emf"/><Relationship Id="rId1" Type="http://schemas.openxmlformats.org/officeDocument/2006/relationships/slideMaster" Target="../slideMasters/slideMaster3.xml"/><Relationship Id="rId5" Type="http://schemas.microsoft.com/office/2007/relationships/hdphoto" Target="../media/hdphoto2.wdp"/><Relationship Id="rId4" Type="http://schemas.openxmlformats.org/officeDocument/2006/relationships/image" Target="../media/image79.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21.jpeg"/><Relationship Id="rId5" Type="http://schemas.openxmlformats.org/officeDocument/2006/relationships/image" Target="../media/image20.emf"/><Relationship Id="rId10" Type="http://schemas.openxmlformats.org/officeDocument/2006/relationships/image" Target="../media/image5.emf"/><Relationship Id="rId4" Type="http://schemas.openxmlformats.org/officeDocument/2006/relationships/oleObject" Target="../embeddings/oleObject94.bin"/><Relationship Id="rId9" Type="http://schemas.openxmlformats.org/officeDocument/2006/relationships/image" Target="../media/image2.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4.xml"/><Relationship Id="rId1" Type="http://schemas.openxmlformats.org/officeDocument/2006/relationships/tags" Target="../tags/tag103.xml"/><Relationship Id="rId4" Type="http://schemas.openxmlformats.org/officeDocument/2006/relationships/image" Target="../media/image22.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4.xml"/><Relationship Id="rId1" Type="http://schemas.openxmlformats.org/officeDocument/2006/relationships/tags" Target="../tags/tag104.xml"/><Relationship Id="rId4" Type="http://schemas.openxmlformats.org/officeDocument/2006/relationships/image" Target="../media/image23.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4.xml"/><Relationship Id="rId1" Type="http://schemas.openxmlformats.org/officeDocument/2006/relationships/tags" Target="../tags/tag105.xml"/><Relationship Id="rId5" Type="http://schemas.openxmlformats.org/officeDocument/2006/relationships/image" Target="../media/image7.png"/><Relationship Id="rId4" Type="http://schemas.openxmlformats.org/officeDocument/2006/relationships/image" Target="../media/image23.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4.xml"/><Relationship Id="rId1" Type="http://schemas.openxmlformats.org/officeDocument/2006/relationships/tags" Target="../tags/tag106.xml"/><Relationship Id="rId4" Type="http://schemas.openxmlformats.org/officeDocument/2006/relationships/image" Target="../media/image22.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4.xml"/><Relationship Id="rId1" Type="http://schemas.openxmlformats.org/officeDocument/2006/relationships/tags" Target="../tags/tag107.xml"/><Relationship Id="rId4" Type="http://schemas.openxmlformats.org/officeDocument/2006/relationships/image" Target="../media/image23.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4.xml"/><Relationship Id="rId1" Type="http://schemas.openxmlformats.org/officeDocument/2006/relationships/tags" Target="../tags/tag108.xml"/><Relationship Id="rId4" Type="http://schemas.openxmlformats.org/officeDocument/2006/relationships/image" Target="../media/image23.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4.xml"/><Relationship Id="rId1" Type="http://schemas.openxmlformats.org/officeDocument/2006/relationships/tags" Target="../tags/tag109.xml"/><Relationship Id="rId4" Type="http://schemas.openxmlformats.org/officeDocument/2006/relationships/image" Target="../media/image2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2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2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23.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4.xml"/><Relationship Id="rId1" Type="http://schemas.openxmlformats.org/officeDocument/2006/relationships/tags" Target="../tags/tag113.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4.xml"/><Relationship Id="rId1" Type="http://schemas.openxmlformats.org/officeDocument/2006/relationships/tags" Target="../tags/tag114.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15.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16.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4.xml"/><Relationship Id="rId1" Type="http://schemas.openxmlformats.org/officeDocument/2006/relationships/tags" Target="../tags/tag117.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8.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9.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20.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21.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22.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23.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24.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4.xml"/><Relationship Id="rId1" Type="http://schemas.openxmlformats.org/officeDocument/2006/relationships/tags" Target="../tags/tag125.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4.xml"/><Relationship Id="rId1" Type="http://schemas.openxmlformats.org/officeDocument/2006/relationships/tags" Target="../tags/tag126.xml"/><Relationship Id="rId4" Type="http://schemas.openxmlformats.org/officeDocument/2006/relationships/image" Target="../media/image23.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4.xml"/><Relationship Id="rId1" Type="http://schemas.openxmlformats.org/officeDocument/2006/relationships/tags" Target="../tags/tag127.xml"/><Relationship Id="rId4" Type="http://schemas.openxmlformats.org/officeDocument/2006/relationships/image" Target="../media/image23.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4.xml"/><Relationship Id="rId1" Type="http://schemas.openxmlformats.org/officeDocument/2006/relationships/tags" Target="../tags/tag128.xml"/><Relationship Id="rId5" Type="http://schemas.openxmlformats.org/officeDocument/2006/relationships/image" Target="../media/image49.png"/><Relationship Id="rId4" Type="http://schemas.openxmlformats.org/officeDocument/2006/relationships/image" Target="../media/image47.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4.xml"/><Relationship Id="rId1" Type="http://schemas.openxmlformats.org/officeDocument/2006/relationships/tags" Target="../tags/tag129.xml"/><Relationship Id="rId4" Type="http://schemas.openxmlformats.org/officeDocument/2006/relationships/image" Target="../media/image23.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4.xml"/><Relationship Id="rId1" Type="http://schemas.openxmlformats.org/officeDocument/2006/relationships/tags" Target="../tags/tag130.xml"/><Relationship Id="rId4" Type="http://schemas.openxmlformats.org/officeDocument/2006/relationships/image" Target="../media/image23.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4.xml"/><Relationship Id="rId1" Type="http://schemas.openxmlformats.org/officeDocument/2006/relationships/tags" Target="../tags/tag131.xml"/><Relationship Id="rId4" Type="http://schemas.openxmlformats.org/officeDocument/2006/relationships/image" Target="../media/image2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4.xml"/><Relationship Id="rId1" Type="http://schemas.openxmlformats.org/officeDocument/2006/relationships/tags" Target="../tags/tag132.xml"/><Relationship Id="rId4" Type="http://schemas.openxmlformats.org/officeDocument/2006/relationships/image" Target="../media/image23.emf"/></Relationships>
</file>

<file path=ppt/slideLayouts/_rels/slideLayout17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25.bin"/><Relationship Id="rId7"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33.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20.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23.emf"/></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21.jpeg"/><Relationship Id="rId5" Type="http://schemas.openxmlformats.org/officeDocument/2006/relationships/image" Target="../media/image20.emf"/><Relationship Id="rId10" Type="http://schemas.openxmlformats.org/officeDocument/2006/relationships/image" Target="../media/image5.emf"/><Relationship Id="rId4" Type="http://schemas.openxmlformats.org/officeDocument/2006/relationships/oleObject" Target="../embeddings/oleObject127.bin"/><Relationship Id="rId9" Type="http://schemas.openxmlformats.org/officeDocument/2006/relationships/image" Target="../media/image2.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4.xml"/><Relationship Id="rId1" Type="http://schemas.openxmlformats.org/officeDocument/2006/relationships/tags" Target="../tags/tag137.xml"/><Relationship Id="rId4" Type="http://schemas.openxmlformats.org/officeDocument/2006/relationships/image" Target="../media/image22.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4.xml"/><Relationship Id="rId1" Type="http://schemas.openxmlformats.org/officeDocument/2006/relationships/tags" Target="../tags/tag138.xml"/><Relationship Id="rId4" Type="http://schemas.openxmlformats.org/officeDocument/2006/relationships/image" Target="../media/image22.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4.xml"/><Relationship Id="rId1" Type="http://schemas.openxmlformats.org/officeDocument/2006/relationships/tags" Target="../tags/tag139.xml"/><Relationship Id="rId4" Type="http://schemas.openxmlformats.org/officeDocument/2006/relationships/image" Target="../media/image23.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4.xml"/><Relationship Id="rId1" Type="http://schemas.openxmlformats.org/officeDocument/2006/relationships/tags" Target="../tags/tag140.xml"/><Relationship Id="rId4" Type="http://schemas.openxmlformats.org/officeDocument/2006/relationships/image" Target="../media/image23.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4.xml"/><Relationship Id="rId1" Type="http://schemas.openxmlformats.org/officeDocument/2006/relationships/tags" Target="../tags/tag141.xml"/><Relationship Id="rId4" Type="http://schemas.openxmlformats.org/officeDocument/2006/relationships/image" Target="../media/image23.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4.xml"/><Relationship Id="rId1" Type="http://schemas.openxmlformats.org/officeDocument/2006/relationships/tags" Target="../tags/tag142.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4.xml"/><Relationship Id="rId1" Type="http://schemas.openxmlformats.org/officeDocument/2006/relationships/tags" Target="../tags/tag143.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4.xml"/><Relationship Id="rId1" Type="http://schemas.openxmlformats.org/officeDocument/2006/relationships/tags" Target="../tags/tag144.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4.xml"/><Relationship Id="rId1" Type="http://schemas.openxmlformats.org/officeDocument/2006/relationships/tags" Target="../tags/tag145.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4.xml"/><Relationship Id="rId1" Type="http://schemas.openxmlformats.org/officeDocument/2006/relationships/tags" Target="../tags/tag146.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4.xml"/><Relationship Id="rId1" Type="http://schemas.openxmlformats.org/officeDocument/2006/relationships/tags" Target="../tags/tag147.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23.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4.xml"/><Relationship Id="rId1" Type="http://schemas.openxmlformats.org/officeDocument/2006/relationships/tags" Target="../tags/tag148.xml"/><Relationship Id="rId5" Type="http://schemas.openxmlformats.org/officeDocument/2006/relationships/image" Target="../media/image45.png"/><Relationship Id="rId4" Type="http://schemas.openxmlformats.org/officeDocument/2006/relationships/image" Target="../media/image47.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4.xml"/><Relationship Id="rId1" Type="http://schemas.openxmlformats.org/officeDocument/2006/relationships/tags" Target="../tags/tag149.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4.xml"/><Relationship Id="rId1" Type="http://schemas.openxmlformats.org/officeDocument/2006/relationships/tags" Target="../tags/tag150.xml"/><Relationship Id="rId5" Type="http://schemas.openxmlformats.org/officeDocument/2006/relationships/image" Target="../media/image48.png"/><Relationship Id="rId4" Type="http://schemas.openxmlformats.org/officeDocument/2006/relationships/image" Target="../media/image23.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4.xml"/><Relationship Id="rId1" Type="http://schemas.openxmlformats.org/officeDocument/2006/relationships/tags" Target="../tags/tag151.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4.xml"/><Relationship Id="rId1" Type="http://schemas.openxmlformats.org/officeDocument/2006/relationships/tags" Target="../tags/tag152.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4.xml"/><Relationship Id="rId1" Type="http://schemas.openxmlformats.org/officeDocument/2006/relationships/tags" Target="../tags/tag153.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4.xml"/><Relationship Id="rId1" Type="http://schemas.openxmlformats.org/officeDocument/2006/relationships/tags" Target="../tags/tag154.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4.xml"/><Relationship Id="rId1" Type="http://schemas.openxmlformats.org/officeDocument/2006/relationships/tags" Target="../tags/tag155.xml"/><Relationship Id="rId6" Type="http://schemas.openxmlformats.org/officeDocument/2006/relationships/image" Target="../media/image2.emf"/><Relationship Id="rId5" Type="http://schemas.openxmlformats.org/officeDocument/2006/relationships/image" Target="../media/image46.png"/><Relationship Id="rId4" Type="http://schemas.openxmlformats.org/officeDocument/2006/relationships/image" Target="../media/image23.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4.xml"/><Relationship Id="rId1" Type="http://schemas.openxmlformats.org/officeDocument/2006/relationships/tags" Target="../tags/tag156.xml"/><Relationship Id="rId4" Type="http://schemas.openxmlformats.org/officeDocument/2006/relationships/image" Target="../media/image23.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4.xml"/><Relationship Id="rId1" Type="http://schemas.openxmlformats.org/officeDocument/2006/relationships/tags" Target="../tags/tag157.xml"/><Relationship Id="rId4" Type="http://schemas.openxmlformats.org/officeDocument/2006/relationships/image" Target="../media/image23.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4.xml"/><Relationship Id="rId1" Type="http://schemas.openxmlformats.org/officeDocument/2006/relationships/tags" Target="../tags/tag158.xml"/><Relationship Id="rId5" Type="http://schemas.openxmlformats.org/officeDocument/2006/relationships/image" Target="../media/image49.png"/><Relationship Id="rId4" Type="http://schemas.openxmlformats.org/officeDocument/2006/relationships/image" Target="../media/image20.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xml"/><Relationship Id="rId1" Type="http://schemas.openxmlformats.org/officeDocument/2006/relationships/tags" Target="../tags/tag159.xml"/><Relationship Id="rId4" Type="http://schemas.openxmlformats.org/officeDocument/2006/relationships/image" Target="../media/image23.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4.xml"/><Relationship Id="rId1" Type="http://schemas.openxmlformats.org/officeDocument/2006/relationships/tags" Target="../tags/tag160.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4.xml"/><Relationship Id="rId1" Type="http://schemas.openxmlformats.org/officeDocument/2006/relationships/tags" Target="../tags/tag161.xml"/><Relationship Id="rId4" Type="http://schemas.openxmlformats.org/officeDocument/2006/relationships/image" Target="../media/image23.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4.xml"/><Relationship Id="rId1" Type="http://schemas.openxmlformats.org/officeDocument/2006/relationships/tags" Target="../tags/tag162.xml"/><Relationship Id="rId4" Type="http://schemas.openxmlformats.org/officeDocument/2006/relationships/image" Target="../media/image2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xml"/><Relationship Id="rId1" Type="http://schemas.openxmlformats.org/officeDocument/2006/relationships/tags" Target="../tags/tag163.xml"/><Relationship Id="rId4" Type="http://schemas.openxmlformats.org/officeDocument/2006/relationships/image" Target="../media/image23.emf"/></Relationships>
</file>

<file path=ppt/slideLayouts/_rels/slideLayout20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55.bin"/><Relationship Id="rId7" Type="http://schemas.openxmlformats.org/officeDocument/2006/relationships/image" Target="../media/image18.png"/><Relationship Id="rId2" Type="http://schemas.openxmlformats.org/officeDocument/2006/relationships/slideMaster" Target="../slideMasters/slideMaster4.xml"/><Relationship Id="rId1" Type="http://schemas.openxmlformats.org/officeDocument/2006/relationships/tags" Target="../tags/tag164.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20.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4.xml"/><Relationship Id="rId1" Type="http://schemas.openxmlformats.org/officeDocument/2006/relationships/tags" Target="../tags/tag165.xml"/><Relationship Id="rId4" Type="http://schemas.openxmlformats.org/officeDocument/2006/relationships/image" Target="../media/image23.emf"/></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9.emf"/><Relationship Id="rId5" Type="http://schemas.openxmlformats.org/officeDocument/2006/relationships/oleObject" Target="../embeddings/oleObject157.bin"/><Relationship Id="rId4"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4.xml"/><Relationship Id="rId1" Type="http://schemas.openxmlformats.org/officeDocument/2006/relationships/tags" Target="../tags/tag169.xml"/><Relationship Id="rId4" Type="http://schemas.openxmlformats.org/officeDocument/2006/relationships/image" Target="../media/image19.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4.xml"/><Relationship Id="rId1" Type="http://schemas.openxmlformats.org/officeDocument/2006/relationships/tags" Target="../tags/tag170.xml"/><Relationship Id="rId4" Type="http://schemas.openxmlformats.org/officeDocument/2006/relationships/image" Target="../media/image19.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4.xml"/><Relationship Id="rId1" Type="http://schemas.openxmlformats.org/officeDocument/2006/relationships/tags" Target="../tags/tag171.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19.emf"/></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19.emf"/><Relationship Id="rId4" Type="http://schemas.openxmlformats.org/officeDocument/2006/relationships/oleObject" Target="../embeddings/oleObject161.bin"/></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4.xml"/><Relationship Id="rId1" Type="http://schemas.openxmlformats.org/officeDocument/2006/relationships/tags" Target="../tags/tag174.xml"/><Relationship Id="rId4" Type="http://schemas.openxmlformats.org/officeDocument/2006/relationships/image" Target="../media/image19.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4.xml"/><Relationship Id="rId1" Type="http://schemas.openxmlformats.org/officeDocument/2006/relationships/tags" Target="../tags/tag175.xml"/><Relationship Id="rId4" Type="http://schemas.openxmlformats.org/officeDocument/2006/relationships/image" Target="../media/image19.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4.xml"/><Relationship Id="rId1" Type="http://schemas.openxmlformats.org/officeDocument/2006/relationships/tags" Target="../tags/tag176.xml"/><Relationship Id="rId6" Type="http://schemas.openxmlformats.org/officeDocument/2006/relationships/image" Target="../media/image2.emf"/><Relationship Id="rId5" Type="http://schemas.openxmlformats.org/officeDocument/2006/relationships/image" Target="../media/image44.png"/><Relationship Id="rId4" Type="http://schemas.openxmlformats.org/officeDocument/2006/relationships/image" Target="../media/image1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177.xml"/><Relationship Id="rId5" Type="http://schemas.openxmlformats.org/officeDocument/2006/relationships/image" Target="../media/image45.png"/><Relationship Id="rId4" Type="http://schemas.openxmlformats.org/officeDocument/2006/relationships/image" Target="../media/image19.emf"/></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3.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4.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5.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6.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7.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9.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Master" Target="../slideMasters/slideMaster5.xml"/><Relationship Id="rId6" Type="http://schemas.openxmlformats.org/officeDocument/2006/relationships/image" Target="../media/image96.png"/><Relationship Id="rId11" Type="http://schemas.openxmlformats.org/officeDocument/2006/relationships/image" Target="../media/image2.emf"/><Relationship Id="rId5" Type="http://schemas.openxmlformats.org/officeDocument/2006/relationships/image" Target="../media/image95.png"/><Relationship Id="rId10" Type="http://schemas.openxmlformats.org/officeDocument/2006/relationships/image" Target="../media/image100.png"/><Relationship Id="rId4" Type="http://schemas.openxmlformats.org/officeDocument/2006/relationships/image" Target="../media/image94.png"/><Relationship Id="rId9" Type="http://schemas.openxmlformats.org/officeDocument/2006/relationships/image" Target="../media/image99.jpe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1.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81.jpeg"/><Relationship Id="rId1" Type="http://schemas.openxmlformats.org/officeDocument/2006/relationships/slideMaster" Target="../slideMasters/slideMaster5.xml"/><Relationship Id="rId4" Type="http://schemas.openxmlformats.org/officeDocument/2006/relationships/image" Target="../media/image2.emf"/></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4.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2.jpe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6.emf"/><Relationship Id="rId1" Type="http://schemas.openxmlformats.org/officeDocument/2006/relationships/slideMaster" Target="../slideMasters/slideMaster5.xml"/><Relationship Id="rId5" Type="http://schemas.microsoft.com/office/2007/relationships/hdphoto" Target="../media/hdphoto1.wdp"/><Relationship Id="rId4" Type="http://schemas.openxmlformats.org/officeDocument/2006/relationships/image" Target="../media/image18.pn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04.png"/><Relationship Id="rId1" Type="http://schemas.openxmlformats.org/officeDocument/2006/relationships/slideMaster" Target="../slideMasters/slideMaster5.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5.xml"/><Relationship Id="rId1" Type="http://schemas.openxmlformats.org/officeDocument/2006/relationships/tags" Target="../tags/tag179.xml"/><Relationship Id="rId4" Type="http://schemas.openxmlformats.org/officeDocument/2006/relationships/image" Target="../media/image23.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8.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image" Target="../media/image106.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7.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1.jpeg"/><Relationship Id="rId5" Type="http://schemas.openxmlformats.org/officeDocument/2006/relationships/image" Target="../media/image20.emf"/><Relationship Id="rId10" Type="http://schemas.openxmlformats.org/officeDocument/2006/relationships/image" Target="../media/image5.emf"/><Relationship Id="rId4" Type="http://schemas.openxmlformats.org/officeDocument/2006/relationships/oleObject" Target="../embeddings/oleObject3.bin"/><Relationship Id="rId9" Type="http://schemas.openxmlformats.org/officeDocument/2006/relationships/image" Target="../media/image2.emf"/></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2.emf"/></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3.emf"/></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png"/><Relationship Id="rId3" Type="http://schemas.openxmlformats.org/officeDocument/2006/relationships/image" Target="../media/image25.png"/><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image" Target="../media/image24.png"/><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7.xml"/><Relationship Id="rId5" Type="http://schemas.microsoft.com/office/2007/relationships/hdphoto" Target="../media/hdphoto1.wdp"/><Relationship Id="rId4" Type="http://schemas.openxmlformats.org/officeDocument/2006/relationships/image" Target="../media/image18.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 Id="rId5" Type="http://schemas.openxmlformats.org/officeDocument/2006/relationships/image" Target="../media/image5.emf"/><Relationship Id="rId4" Type="http://schemas.openxmlformats.org/officeDocument/2006/relationships/image" Target="../media/image4.sv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 Id="rId5" Type="http://schemas.openxmlformats.org/officeDocument/2006/relationships/image" Target="../media/image5.emf"/><Relationship Id="rId4" Type="http://schemas.openxmlformats.org/officeDocument/2006/relationships/image" Target="../media/image4.sv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8.xml"/><Relationship Id="rId5" Type="http://schemas.openxmlformats.org/officeDocument/2006/relationships/image" Target="../media/image5.emf"/><Relationship Id="rId4" Type="http://schemas.openxmlformats.org/officeDocument/2006/relationships/image" Target="../media/image4.svg"/></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6.png"/><Relationship Id="rId3" Type="http://schemas.openxmlformats.org/officeDocument/2006/relationships/image" Target="../media/image3.png"/><Relationship Id="rId7" Type="http://schemas.openxmlformats.org/officeDocument/2006/relationships/image" Target="../media/image111.png"/><Relationship Id="rId12" Type="http://schemas.openxmlformats.org/officeDocument/2006/relationships/image" Target="../media/image115.png"/><Relationship Id="rId2" Type="http://schemas.openxmlformats.org/officeDocument/2006/relationships/image" Target="../media/image2.emf"/><Relationship Id="rId1" Type="http://schemas.openxmlformats.org/officeDocument/2006/relationships/slideMaster" Target="../slideMasters/slideMaster8.xml"/><Relationship Id="rId6" Type="http://schemas.openxmlformats.org/officeDocument/2006/relationships/image" Target="../media/image110.jpeg"/><Relationship Id="rId11" Type="http://schemas.openxmlformats.org/officeDocument/2006/relationships/image" Target="../media/image114.png"/><Relationship Id="rId5" Type="http://schemas.openxmlformats.org/officeDocument/2006/relationships/image" Target="../media/image109.png"/><Relationship Id="rId10" Type="http://schemas.microsoft.com/office/2007/relationships/hdphoto" Target="../media/hdphoto3.wdp"/><Relationship Id="rId4" Type="http://schemas.openxmlformats.org/officeDocument/2006/relationships/image" Target="../media/image4.svg"/><Relationship Id="rId9" Type="http://schemas.openxmlformats.org/officeDocument/2006/relationships/image" Target="../media/image113.png"/></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17.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8.png"/><Relationship Id="rId1" Type="http://schemas.openxmlformats.org/officeDocument/2006/relationships/slideMaster" Target="../slideMasters/slideMaster8.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4.sv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23.emf"/></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04.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3.emf"/></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9.png"/><Relationship Id="rId1" Type="http://schemas.openxmlformats.org/officeDocument/2006/relationships/slideMaster" Target="../slideMasters/slideMaster8.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3.emf"/></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9.xml"/><Relationship Id="rId5" Type="http://schemas.openxmlformats.org/officeDocument/2006/relationships/image" Target="../media/image6.svg"/><Relationship Id="rId4" Type="http://schemas.openxmlformats.org/officeDocument/2006/relationships/image" Target="../media/image3.pn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3.emf"/></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3.emf"/></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9.xml"/><Relationship Id="rId5" Type="http://schemas.microsoft.com/office/2007/relationships/hdphoto" Target="../media/hdphoto1.wdp"/><Relationship Id="rId4" Type="http://schemas.openxmlformats.org/officeDocument/2006/relationships/image" Target="../media/image18.png"/></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image" Target="../media/image2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2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2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2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2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8.jpeg"/><Relationship Id="rId4" Type="http://schemas.openxmlformats.org/officeDocument/2006/relationships/image" Target="../media/image2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23.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24.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23.emf"/><Relationship Id="rId9" Type="http://schemas.openxmlformats.org/officeDocument/2006/relationships/image" Target="../media/image13.png"/></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23.emf"/></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oleObject" Target="../embeddings/oleObject26.bin"/><Relationship Id="rId21" Type="http://schemas.openxmlformats.org/officeDocument/2006/relationships/image" Target="../media/image40.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slideMaster" Target="../slideMasters/slideMaster2.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tags" Target="../tags/tag28.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emf"/><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2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2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2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2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4.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5.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2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2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49.png"/><Relationship Id="rId4" Type="http://schemas.openxmlformats.org/officeDocument/2006/relationships/image" Target="../media/image47.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2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2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2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23.emf"/></Relationships>
</file>

<file path=ppt/slideLayouts/_rels/slideLayout7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51.bin"/><Relationship Id="rId7"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20.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23.emf"/></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50.jpeg"/><Relationship Id="rId5" Type="http://schemas.openxmlformats.org/officeDocument/2006/relationships/image" Target="../media/image20.emf"/><Relationship Id="rId10" Type="http://schemas.openxmlformats.org/officeDocument/2006/relationships/image" Target="../media/image5.emf"/><Relationship Id="rId4" Type="http://schemas.openxmlformats.org/officeDocument/2006/relationships/oleObject" Target="../embeddings/oleObject53.bin"/><Relationship Id="rId9"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2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2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2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2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44.png"/><Relationship Id="rId4" Type="http://schemas.openxmlformats.org/officeDocument/2006/relationships/image" Target="../media/image2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8.xml"/><Relationship Id="rId5" Type="http://schemas.openxmlformats.org/officeDocument/2006/relationships/image" Target="../media/image45.png"/><Relationship Id="rId4" Type="http://schemas.openxmlformats.org/officeDocument/2006/relationships/image" Target="../media/image47.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48.png"/><Relationship Id="rId4" Type="http://schemas.openxmlformats.org/officeDocument/2006/relationships/image" Target="../media/image2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1.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3.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45.png"/><Relationship Id="rId4" Type="http://schemas.openxmlformats.org/officeDocument/2006/relationships/image" Target="../media/image2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46.png"/><Relationship Id="rId4" Type="http://schemas.openxmlformats.org/officeDocument/2006/relationships/image" Target="../media/image23.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3.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3.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49.png"/><Relationship Id="rId4" Type="http://schemas.openxmlformats.org/officeDocument/2006/relationships/image" Target="../media/image20.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45.png"/><Relationship Id="rId4" Type="http://schemas.openxmlformats.org/officeDocument/2006/relationships/image" Target="../media/image2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stretch>
            <a:fillRect/>
          </a:stretch>
        </p:blipFill>
        <p:spPr>
          <a:xfrm>
            <a:off x="551384" y="1422493"/>
            <a:ext cx="2736304" cy="789746"/>
          </a:xfrm>
          <a:prstGeom prst="rect">
            <a:avLst/>
          </a:prstGeom>
        </p:spPr>
      </p:pic>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r>
              <a:rPr lang="en-ID"/>
              <a:t>Thursday, 11 December 2021</a:t>
            </a:r>
            <a:endParaRPr lang="id-ID"/>
          </a:p>
        </p:txBody>
      </p:sp>
      <p:sp>
        <p:nvSpPr>
          <p:cNvPr id="30" name="Title 26"/>
          <p:cNvSpPr>
            <a:spLocks noGrp="1"/>
          </p:cNvSpPr>
          <p:nvPr>
            <p:ph type="title" hasCustomPrompt="1"/>
          </p:nvPr>
        </p:nvSpPr>
        <p:spPr>
          <a:xfrm>
            <a:off x="4707274" y="3103418"/>
            <a:ext cx="6646526" cy="561668"/>
          </a:xfrm>
          <a:prstGeom prst="rect">
            <a:avLst/>
          </a:prstGeom>
        </p:spPr>
        <p:txBody>
          <a:bodyPr tIns="46800" bIns="46800" anchor="ctr">
            <a:normAutofit/>
          </a:bodyPr>
          <a:lstStyle>
            <a:lvl1pPr>
              <a:lnSpc>
                <a:spcPts val="2400"/>
              </a:lnSpc>
              <a:defRPr sz="2400" b="0" i="0" baseline="0">
                <a:solidFill>
                  <a:schemeClr val="accent1"/>
                </a:solidFill>
                <a:latin typeface="Gotham Book" charset="0"/>
                <a:ea typeface="Gotham Book" charset="0"/>
                <a:cs typeface="Gotham Book" charset="0"/>
              </a:defRPr>
            </a:lvl1pPr>
          </a:lstStyle>
          <a:p>
            <a:r>
              <a:rPr lang="en-US" dirty="0"/>
              <a:t>Subtitle for the document</a:t>
            </a:r>
            <a:endParaRPr lang="id-ID" dirty="0"/>
          </a:p>
        </p:txBody>
      </p:sp>
      <p:sp>
        <p:nvSpPr>
          <p:cNvPr id="44" name="Text Placeholder 43"/>
          <p:cNvSpPr>
            <a:spLocks noGrp="1"/>
          </p:cNvSpPr>
          <p:nvPr>
            <p:ph type="body" sz="quarter" idx="20" hasCustomPrompt="1"/>
          </p:nvPr>
        </p:nvSpPr>
        <p:spPr>
          <a:xfrm>
            <a:off x="4702097" y="1262063"/>
            <a:ext cx="6651704" cy="1772080"/>
          </a:xfrm>
        </p:spPr>
        <p:txBody>
          <a:bodyPr/>
          <a:lstStyle>
            <a:lvl1pPr marL="0" indent="0">
              <a:buNone/>
              <a:defRPr sz="3600" b="1" i="0" baseline="0">
                <a:solidFill>
                  <a:schemeClr val="accent1"/>
                </a:solidFill>
                <a:latin typeface="Gotham Bold" pitchFamily="2" charset="0"/>
                <a:ea typeface="Gotham Bold" pitchFamily="2" charset="0"/>
                <a:cs typeface="Gotham Bold" pitchFamily="2" charset="0"/>
              </a:defRPr>
            </a:lvl1pPr>
            <a:lvl2pPr>
              <a:defRPr sz="3600"/>
            </a:lvl2pPr>
            <a:lvl3pPr>
              <a:defRPr sz="3600"/>
            </a:lvl3pPr>
            <a:lvl4pPr>
              <a:defRPr sz="3600"/>
            </a:lvl4pPr>
            <a:lvl5pPr>
              <a:defRPr sz="3600"/>
            </a:lvl5pPr>
          </a:lstStyle>
          <a:p>
            <a:pPr lvl="0"/>
            <a:r>
              <a:rPr lang="en-US" dirty="0"/>
              <a:t>Title for the document enough for up to </a:t>
            </a:r>
          </a:p>
          <a:p>
            <a:pPr lvl="0"/>
            <a:r>
              <a:rPr lang="en-US" dirty="0"/>
              <a:t>three lines</a:t>
            </a:r>
            <a:endParaRPr lang="id-ID" dirty="0"/>
          </a:p>
        </p:txBody>
      </p:sp>
      <p:sp>
        <p:nvSpPr>
          <p:cNvPr id="10" name="Picture Placeholder 9"/>
          <p:cNvSpPr>
            <a:spLocks noGrp="1"/>
          </p:cNvSpPr>
          <p:nvPr>
            <p:ph type="pic" sz="quarter" idx="10"/>
          </p:nvPr>
        </p:nvSpPr>
        <p:spPr>
          <a:xfrm>
            <a:off x="0" y="4419600"/>
            <a:ext cx="10883900" cy="2438400"/>
          </a:xfrm>
          <a:custGeom>
            <a:avLst/>
            <a:gdLst>
              <a:gd name="connsiteX0" fmla="*/ 10336530 w 10883900"/>
              <a:gd name="connsiteY0" fmla="*/ 1598295 h 2438400"/>
              <a:gd name="connsiteX1" fmla="*/ 10883900 w 10883900"/>
              <a:gd name="connsiteY1" fmla="*/ 2438400 h 2438400"/>
              <a:gd name="connsiteX2" fmla="*/ 9615043 w 10883900"/>
              <a:gd name="connsiteY2" fmla="*/ 2438400 h 2438400"/>
              <a:gd name="connsiteX3" fmla="*/ 9615043 w 10883900"/>
              <a:gd name="connsiteY3" fmla="*/ 2415159 h 2438400"/>
              <a:gd name="connsiteX4" fmla="*/ 10336530 w 10883900"/>
              <a:gd name="connsiteY4" fmla="*/ 1598295 h 2438400"/>
              <a:gd name="connsiteX5" fmla="*/ 0 w 10883900"/>
              <a:gd name="connsiteY5" fmla="*/ 0 h 2438400"/>
              <a:gd name="connsiteX6" fmla="*/ 10764520 w 10883900"/>
              <a:gd name="connsiteY6" fmla="*/ 0 h 2438400"/>
              <a:gd name="connsiteX7" fmla="*/ 10278745 w 10883900"/>
              <a:gd name="connsiteY7" fmla="*/ 1165352 h 2438400"/>
              <a:gd name="connsiteX8" fmla="*/ 10326624 w 10883900"/>
              <a:gd name="connsiteY8" fmla="*/ 1560449 h 2438400"/>
              <a:gd name="connsiteX9" fmla="*/ 9575800 w 10883900"/>
              <a:gd name="connsiteY9" fmla="*/ 2415159 h 2438400"/>
              <a:gd name="connsiteX10" fmla="*/ 9575800 w 10883900"/>
              <a:gd name="connsiteY10" fmla="*/ 2438400 h 2438400"/>
              <a:gd name="connsiteX11" fmla="*/ 0 w 10883900"/>
              <a:gd name="connsiteY11" fmla="*/ 24384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3900" h="2438400">
                <a:moveTo>
                  <a:pt x="10336530" y="1598295"/>
                </a:moveTo>
                <a:cubicBezTo>
                  <a:pt x="10426843" y="1928591"/>
                  <a:pt x="10618242" y="2222351"/>
                  <a:pt x="10883900" y="2438400"/>
                </a:cubicBezTo>
                <a:lnTo>
                  <a:pt x="9615043" y="2438400"/>
                </a:lnTo>
                <a:cubicBezTo>
                  <a:pt x="9615043" y="2430695"/>
                  <a:pt x="9615043" y="2422948"/>
                  <a:pt x="9615043" y="2415159"/>
                </a:cubicBezTo>
                <a:cubicBezTo>
                  <a:pt x="9615120" y="1999884"/>
                  <a:pt x="9924445" y="1649668"/>
                  <a:pt x="10336530" y="1598295"/>
                </a:cubicBezTo>
                <a:close/>
                <a:moveTo>
                  <a:pt x="0" y="0"/>
                </a:moveTo>
                <a:lnTo>
                  <a:pt x="10764520" y="0"/>
                </a:lnTo>
                <a:cubicBezTo>
                  <a:pt x="10453168" y="307790"/>
                  <a:pt x="10278194" y="727546"/>
                  <a:pt x="10278745" y="1165352"/>
                </a:cubicBezTo>
                <a:cubicBezTo>
                  <a:pt x="10278664" y="1298503"/>
                  <a:pt x="10294741" y="1431172"/>
                  <a:pt x="10326624" y="1560449"/>
                </a:cubicBezTo>
                <a:cubicBezTo>
                  <a:pt x="9897201" y="1616334"/>
                  <a:pt x="9575879" y="1982114"/>
                  <a:pt x="9575800" y="2415159"/>
                </a:cubicBezTo>
                <a:cubicBezTo>
                  <a:pt x="9575800" y="2422906"/>
                  <a:pt x="9575800" y="2430653"/>
                  <a:pt x="9575800" y="2438400"/>
                </a:cubicBezTo>
                <a:lnTo>
                  <a:pt x="0" y="2438400"/>
                </a:lnTo>
                <a:close/>
              </a:path>
            </a:pathLst>
          </a:custGeom>
        </p:spPr>
        <p:txBody>
          <a:bodyPr wrap="square">
            <a:noAutofit/>
          </a:bodyPr>
          <a:lstStyle/>
          <a:p>
            <a:endParaRPr lang="en-US"/>
          </a:p>
        </p:txBody>
      </p:sp>
      <p:pic>
        <p:nvPicPr>
          <p:cNvPr id="11" name="Picture 10"/>
          <p:cNvPicPr>
            <a:picLocks noChangeAspect="1"/>
          </p:cNvPicPr>
          <p:nvPr userDrawn="1"/>
        </p:nvPicPr>
        <p:blipFill>
          <a:blip r:embed="rId3"/>
          <a:stretch>
            <a:fillRect/>
          </a:stretch>
        </p:blipFill>
        <p:spPr>
          <a:xfrm>
            <a:off x="9575800" y="3073400"/>
            <a:ext cx="2616200" cy="3784600"/>
          </a:xfrm>
          <a:prstGeom prst="rect">
            <a:avLst/>
          </a:prstGeom>
        </p:spPr>
      </p:pic>
      <p:pic>
        <p:nvPicPr>
          <p:cNvPr id="3" name="Graphic 2"/>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1384" y="298363"/>
            <a:ext cx="1800200" cy="32039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703020202090204" pitchFamily="34" charset="0"/>
              </a:defRPr>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0"/>
            <a:ext cx="12192000" cy="6858000"/>
          </a:xfrm>
          <a:prstGeom prst="rect">
            <a:avLst/>
          </a:prstGeom>
          <a:solidFill>
            <a:srgbClr val="153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mn-lt"/>
              <a:ea typeface="+mn-ea"/>
              <a:cs typeface="+mn-cs"/>
            </a:endParaRPr>
          </a:p>
        </p:txBody>
      </p:sp>
      <p:pic>
        <p:nvPicPr>
          <p:cNvPr id="11" name="Picture 10"/>
          <p:cNvPicPr>
            <a:picLocks noChangeAspect="1"/>
          </p:cNvPicPr>
          <p:nvPr userDrawn="1"/>
        </p:nvPicPr>
        <p:blipFill>
          <a:blip r:embed="rId5"/>
          <a:stretch>
            <a:fillRect/>
          </a:stretch>
        </p:blipFill>
        <p:spPr>
          <a:xfrm>
            <a:off x="9480376" y="5882751"/>
            <a:ext cx="1725229" cy="504000"/>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3" name="Picture 12"/>
          <p:cNvPicPr>
            <a:picLocks noChangeAspect="1"/>
          </p:cNvPicPr>
          <p:nvPr userDrawn="1"/>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550863" y="5962650"/>
            <a:ext cx="1336258" cy="260867"/>
          </a:xfrm>
          <a:prstGeom prst="rect">
            <a:avLst/>
          </a:prstGeom>
        </p:spPr>
      </p:pic>
      <p:sp>
        <p:nvSpPr>
          <p:cNvPr id="14" name="Text Placeholder 8"/>
          <p:cNvSpPr>
            <a:spLocks noGrp="1"/>
          </p:cNvSpPr>
          <p:nvPr>
            <p:ph type="body" sz="quarter" idx="13" hasCustomPrompt="1"/>
          </p:nvPr>
        </p:nvSpPr>
        <p:spPr>
          <a:xfrm>
            <a:off x="550863" y="1730829"/>
            <a:ext cx="5545137" cy="771878"/>
          </a:xfrm>
        </p:spPr>
        <p:txBody>
          <a:bodyPr>
            <a:spAutoFit/>
          </a:bodyPr>
          <a:lstStyle>
            <a:lvl1pPr marL="0" indent="0">
              <a:buNone/>
              <a:defRPr sz="4800" b="0" i="0">
                <a:solidFill>
                  <a:schemeClr val="bg1"/>
                </a:solidFill>
                <a:latin typeface="+mj-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a:t>Terima kasih</a:t>
            </a:r>
          </a:p>
        </p:txBody>
      </p:sp>
      <p:sp>
        <p:nvSpPr>
          <p:cNvPr id="16" name="TextBox 15"/>
          <p:cNvSpPr txBox="1"/>
          <p:nvPr userDrawn="1"/>
        </p:nvSpPr>
        <p:spPr>
          <a:xfrm>
            <a:off x="575418"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mn-lt"/>
                <a:ea typeface="+mn-ea"/>
                <a:cs typeface="+mn-cs"/>
              </a:rPr>
              <a:t>Gedung Energy Lt. 16 SCBD</a:t>
            </a:r>
            <a:br>
              <a:rPr lang="en-US" sz="1050" noProof="1">
                <a:solidFill>
                  <a:schemeClr val="bg1"/>
                </a:solidFill>
                <a:latin typeface="+mn-lt"/>
                <a:ea typeface="+mn-ea"/>
                <a:cs typeface="+mn-cs"/>
              </a:rPr>
            </a:br>
            <a:r>
              <a:rPr lang="en-US" sz="1050" noProof="1">
                <a:solidFill>
                  <a:schemeClr val="bg1"/>
                </a:solidFill>
                <a:latin typeface="+mn-lt"/>
                <a:ea typeface="+mn-ea"/>
                <a:cs typeface="+mn-cs"/>
              </a:rPr>
              <a:t>Jl. Jenderal Sudirman Kav. 52-53 Jakarta 12190.</a:t>
            </a:r>
            <a:br>
              <a:rPr lang="en-US" sz="1050" noProof="1">
                <a:solidFill>
                  <a:schemeClr val="bg1"/>
                </a:solidFill>
                <a:latin typeface="+mn-lt"/>
                <a:ea typeface="+mn-ea"/>
                <a:cs typeface="+mn-cs"/>
              </a:rPr>
            </a:br>
            <a:r>
              <a:rPr lang="en-US" sz="1050" noProof="1">
                <a:solidFill>
                  <a:schemeClr val="bg1"/>
                </a:solidFill>
                <a:latin typeface="+mn-lt"/>
                <a:ea typeface="+mn-ea"/>
                <a:cs typeface="+mn-cs"/>
              </a:rPr>
              <a:t>P.O. BOX 6917 Jakarta Selatan, Indonesia</a:t>
            </a:r>
            <a:br>
              <a:rPr lang="en-US" sz="1050" noProof="1">
                <a:solidFill>
                  <a:schemeClr val="bg1"/>
                </a:solidFill>
                <a:latin typeface="+mn-lt"/>
                <a:ea typeface="+mn-ea"/>
                <a:cs typeface="+mn-cs"/>
              </a:rPr>
            </a:br>
            <a:r>
              <a:rPr lang="en-US" sz="1050" noProof="1">
                <a:solidFill>
                  <a:schemeClr val="bg1"/>
                </a:solidFill>
                <a:latin typeface="+mn-lt"/>
                <a:ea typeface="+mn-ea"/>
                <a:cs typeface="+mn-cs"/>
              </a:rPr>
              <a:t>Telp (+6221) 27938750.</a:t>
            </a:r>
            <a:br>
              <a:rPr lang="en-US" sz="1050" noProof="1">
                <a:solidFill>
                  <a:schemeClr val="bg1"/>
                </a:solidFill>
                <a:latin typeface="+mn-lt"/>
                <a:ea typeface="+mn-ea"/>
                <a:cs typeface="+mn-cs"/>
              </a:rPr>
            </a:br>
            <a:r>
              <a:rPr lang="en-US" sz="1050" noProof="1">
                <a:solidFill>
                  <a:schemeClr val="bg1"/>
                </a:solidFill>
                <a:latin typeface="+mn-lt"/>
                <a:ea typeface="+mn-ea"/>
                <a:cs typeface="+mn-cs"/>
              </a:rPr>
              <a:t>Fax (+6221) 27936331.</a:t>
            </a:r>
            <a:br>
              <a:rPr lang="en-US" sz="1050" noProof="1">
                <a:solidFill>
                  <a:schemeClr val="bg1"/>
                </a:solidFill>
                <a:latin typeface="+mn-lt"/>
                <a:ea typeface="+mn-ea"/>
                <a:cs typeface="+mn-cs"/>
              </a:rPr>
            </a:br>
            <a:r>
              <a:rPr lang="en-US" sz="1050" noProof="1">
                <a:solidFill>
                  <a:schemeClr val="bg1"/>
                </a:solidFill>
                <a:latin typeface="+mn-lt"/>
                <a:ea typeface="+mn-ea"/>
                <a:cs typeface="+mn-cs"/>
              </a:rPr>
              <a:t>e-mail : corsec@mind.id</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70302020209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70302020209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70302020209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11" name="Rectangle 10"/>
          <p:cNvSpPr/>
          <p:nvPr userDrawn="1"/>
        </p:nvSpPr>
        <p:spPr bwMode="invGray">
          <a:xfrm>
            <a:off x="1388145" y="4691187"/>
            <a:ext cx="929337" cy="995874"/>
          </a:xfrm>
          <a:prstGeom prst="rect">
            <a:avLst/>
          </a:prstGeom>
          <a:no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18230" y="1115416"/>
            <a:ext cx="2871620"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ea typeface="+mn-ea"/>
                <a:cs typeface="+mn-cs"/>
              </a:rPr>
              <a:t>Agenda</a:t>
            </a:r>
          </a:p>
        </p:txBody>
      </p:sp>
      <p:sp>
        <p:nvSpPr>
          <p:cNvPr id="8" name="Rectangle 7"/>
          <p:cNvSpPr/>
          <p:nvPr userDrawn="1"/>
        </p:nvSpPr>
        <p:spPr bwMode="invGray">
          <a:xfrm>
            <a:off x="1388145" y="4691187"/>
            <a:ext cx="929337" cy="995874"/>
          </a:xfrm>
          <a:prstGeom prst="rect">
            <a:avLst/>
          </a:prstGeom>
          <a:no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703020202090204" pitchFamily="34" charset="0"/>
            </a:endParaRPr>
          </a:p>
        </p:txBody>
      </p:sp>
      <p:sp>
        <p:nvSpPr>
          <p:cNvPr id="9" name="Rectangle 8"/>
          <p:cNvSpPr/>
          <p:nvPr userDrawn="1">
            <p:custDataLst>
              <p:tags r:id="rId3"/>
            </p:custDataLst>
          </p:nvPr>
        </p:nvSpPr>
        <p:spPr>
          <a:xfrm>
            <a:off x="2509482" y="4691187"/>
            <a:ext cx="1570152" cy="146817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a:solidFill>
                <a:srgbClr val="FFFFFF"/>
              </a:solidFill>
              <a:latin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70302020209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a:solidFill>
                  <a:schemeClr val="bg1"/>
                </a:solidFill>
                <a:latin typeface="+mj-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sp>
        <p:nvSpPr>
          <p:cNvPr id="17" name="TextBox 16"/>
          <p:cNvSpPr txBox="1"/>
          <p:nvPr userDrawn="1"/>
        </p:nvSpPr>
        <p:spPr>
          <a:xfrm>
            <a:off x="630000" y="3207715"/>
            <a:ext cx="1706800"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j-lt"/>
                <a:ea typeface="+mn-ea"/>
                <a:cs typeface="+mn-cs"/>
              </a:rPr>
              <a:t>Agenda</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18230" y="1115416"/>
            <a:ext cx="2871620"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j-lt"/>
                <a:ea typeface="+mn-ea"/>
                <a:cs typeface="+mn-cs"/>
              </a:rPr>
              <a:t>Agenda</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mp; Coloums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p>
            <a:br>
              <a:rPr lang="en-US" dirty="0"/>
            </a:br>
            <a:r>
              <a:rPr lang="en-US" dirty="0"/>
              <a:t>Click to edit Title text. Ex. Strategy</a:t>
            </a:r>
            <a:endParaRPr lang="id-ID" dirty="0"/>
          </a:p>
        </p:txBody>
      </p:sp>
      <p:sp>
        <p:nvSpPr>
          <p:cNvPr id="10" name="Text Placeholder 9"/>
          <p:cNvSpPr>
            <a:spLocks noGrp="1"/>
          </p:cNvSpPr>
          <p:nvPr>
            <p:ph type="body" sz="quarter" idx="14" hasCustomPrompt="1"/>
          </p:nvPr>
        </p:nvSpPr>
        <p:spPr>
          <a:xfrm>
            <a:off x="334962" y="1604590"/>
            <a:ext cx="11485563" cy="720081"/>
          </a:xfrm>
        </p:spPr>
        <p:txBody>
          <a:bodyPr/>
          <a:lstStyle>
            <a:lvl1pPr marL="0" indent="0" algn="ctr">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Click to edit Master text</a:t>
            </a:r>
          </a:p>
        </p:txBody>
      </p:sp>
      <p:sp>
        <p:nvSpPr>
          <p:cNvPr id="12" name="Text Placeholder 11"/>
          <p:cNvSpPr>
            <a:spLocks noGrp="1"/>
          </p:cNvSpPr>
          <p:nvPr>
            <p:ph type="body" sz="quarter" idx="15" hasCustomPrompt="1"/>
          </p:nvPr>
        </p:nvSpPr>
        <p:spPr>
          <a:xfrm>
            <a:off x="334963" y="2777924"/>
            <a:ext cx="3384277"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3" name="Text Placeholder 11"/>
          <p:cNvSpPr>
            <a:spLocks noGrp="1"/>
          </p:cNvSpPr>
          <p:nvPr>
            <p:ph type="body" sz="quarter" idx="16" hasCustomPrompt="1"/>
          </p:nvPr>
        </p:nvSpPr>
        <p:spPr>
          <a:xfrm>
            <a:off x="4223792" y="2777924"/>
            <a:ext cx="3744416"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4" name="Text Placeholder 11"/>
          <p:cNvSpPr>
            <a:spLocks noGrp="1"/>
          </p:cNvSpPr>
          <p:nvPr>
            <p:ph type="body" sz="quarter" idx="17" hasCustomPrompt="1"/>
          </p:nvPr>
        </p:nvSpPr>
        <p:spPr>
          <a:xfrm>
            <a:off x="8399736" y="2777924"/>
            <a:ext cx="3420789"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2.</a:t>
            </a:r>
            <a:endParaRPr lang="id-ID" dirty="0"/>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3.</a:t>
            </a:r>
            <a:endParaRPr lang="id-ID" dirty="0"/>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4.</a:t>
            </a:r>
            <a:endParaRPr lang="id-ID" dirty="0"/>
          </a:p>
        </p:txBody>
      </p:sp>
      <p:sp>
        <p:nvSpPr>
          <p:cNvPr id="20" name="Text Placeholder 11"/>
          <p:cNvSpPr>
            <a:spLocks noGrp="1"/>
          </p:cNvSpPr>
          <p:nvPr>
            <p:ph type="body" sz="quarter" idx="22" hasCustomPrompt="1"/>
          </p:nvPr>
        </p:nvSpPr>
        <p:spPr>
          <a:xfrm>
            <a:off x="7438813" y="3691633"/>
            <a:ext cx="673409"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5.</a:t>
            </a:r>
            <a:endParaRPr lang="id-ID" dirty="0"/>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a:p>
            <a:pPr lvl="0"/>
            <a:r>
              <a:rPr lang="en-US" dirty="0"/>
              <a:t>Sixth level</a:t>
            </a:r>
          </a:p>
          <a:p>
            <a:pPr lvl="0"/>
            <a:r>
              <a:rPr lang="en-US" dirty="0"/>
              <a:t>Seventh level</a:t>
            </a:r>
            <a:endParaRPr lang="id-ID" dirty="0"/>
          </a:p>
        </p:txBody>
      </p:sp>
      <p:sp>
        <p:nvSpPr>
          <p:cNvPr id="28" name="Text Placeholder 11"/>
          <p:cNvSpPr>
            <a:spLocks noGrp="1"/>
          </p:cNvSpPr>
          <p:nvPr>
            <p:ph type="body" sz="quarter" idx="29" hasCustomPrompt="1"/>
          </p:nvPr>
        </p:nvSpPr>
        <p:spPr>
          <a:xfrm>
            <a:off x="334962" y="3691633"/>
            <a:ext cx="78923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1.</a:t>
            </a:r>
            <a:endParaRPr lang="id-ID" dirty="0"/>
          </a:p>
        </p:txBody>
      </p:sp>
      <p:cxnSp>
        <p:nvCxnSpPr>
          <p:cNvPr id="32" name="Straight Connector 31"/>
          <p:cNvCxnSpPr/>
          <p:nvPr userDrawn="1"/>
        </p:nvCxnSpPr>
        <p:spPr>
          <a:xfrm flipV="1">
            <a:off x="200170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flipV="1">
            <a:off x="379054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V="1">
            <a:off x="5546062"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V="1">
            <a:off x="7328784"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a:off x="9056012" y="40720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a:off x="9056012" y="44498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9056012" y="483525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9056012" y="5198151"/>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9056012" y="5551140"/>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9056012" y="591537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3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70302020209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a:solidFill>
                  <a:schemeClr val="accent4"/>
                </a:solidFill>
                <a:latin typeface="+mj-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sp>
        <p:nvSpPr>
          <p:cNvPr id="10" name="TextBox 9"/>
          <p:cNvSpPr txBox="1"/>
          <p:nvPr userDrawn="1"/>
        </p:nvSpPr>
        <p:spPr>
          <a:xfrm>
            <a:off x="630000" y="3262145"/>
            <a:ext cx="1290240"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j-lt"/>
                <a:ea typeface="+mn-ea"/>
                <a:cs typeface="+mn-cs"/>
              </a:rPr>
              <a:t>Agenda</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20" name="TextBox 19"/>
          <p:cNvSpPr txBox="1"/>
          <p:nvPr userDrawn="1"/>
        </p:nvSpPr>
        <p:spPr>
          <a:xfrm>
            <a:off x="630000" y="2577934"/>
            <a:ext cx="299872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j-lt"/>
                <a:ea typeface="+mn-ea"/>
                <a:cs typeface="+mn-cs"/>
                <a:sym typeface="Trebuchet MS" panose="020B070302020209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r>
              <a:rPr lang="en-ID"/>
              <a:t>Thursday, 11 December 2021</a:t>
            </a:r>
            <a:endParaRPr lang="id-ID"/>
          </a:p>
        </p:txBody>
      </p:sp>
      <p:sp>
        <p:nvSpPr>
          <p:cNvPr id="30" name="Title 26"/>
          <p:cNvSpPr>
            <a:spLocks noGrp="1"/>
          </p:cNvSpPr>
          <p:nvPr>
            <p:ph type="title" hasCustomPrompt="1"/>
          </p:nvPr>
        </p:nvSpPr>
        <p:spPr>
          <a:xfrm>
            <a:off x="4707274" y="3103418"/>
            <a:ext cx="6646526" cy="561668"/>
          </a:xfrm>
          <a:prstGeom prst="rect">
            <a:avLst/>
          </a:prstGeom>
        </p:spPr>
        <p:txBody>
          <a:bodyPr tIns="46800" bIns="46800" anchor="ctr">
            <a:normAutofit/>
          </a:bodyPr>
          <a:lstStyle>
            <a:lvl1pPr>
              <a:lnSpc>
                <a:spcPts val="2400"/>
              </a:lnSpc>
              <a:defRPr sz="2400" b="0" i="0" baseline="0">
                <a:solidFill>
                  <a:schemeClr val="accent1"/>
                </a:solidFill>
                <a:latin typeface="Gotham Book" charset="0"/>
                <a:ea typeface="Gotham Book" charset="0"/>
                <a:cs typeface="Gotham Book" charset="0"/>
              </a:defRPr>
            </a:lvl1pPr>
          </a:lstStyle>
          <a:p>
            <a:r>
              <a:rPr lang="en-US"/>
              <a:t>Subtitle for the document</a:t>
            </a:r>
            <a:endParaRPr lang="id-ID"/>
          </a:p>
        </p:txBody>
      </p:sp>
      <p:sp>
        <p:nvSpPr>
          <p:cNvPr id="44" name="Text Placeholder 43"/>
          <p:cNvSpPr>
            <a:spLocks noGrp="1"/>
          </p:cNvSpPr>
          <p:nvPr>
            <p:ph type="body" sz="quarter" idx="20" hasCustomPrompt="1"/>
          </p:nvPr>
        </p:nvSpPr>
        <p:spPr>
          <a:xfrm>
            <a:off x="4702097" y="1262063"/>
            <a:ext cx="6651704" cy="1772080"/>
          </a:xfrm>
        </p:spPr>
        <p:txBody>
          <a:bodyPr/>
          <a:lstStyle>
            <a:lvl1pPr marL="0" indent="0">
              <a:buNone/>
              <a:defRPr sz="3600" b="1" i="0" baseline="0">
                <a:solidFill>
                  <a:schemeClr val="accent1"/>
                </a:solidFill>
                <a:latin typeface="Gotham Bold" pitchFamily="2" charset="0"/>
                <a:ea typeface="Gotham Bold" pitchFamily="2" charset="0"/>
                <a:cs typeface="Gotham Bold" pitchFamily="2" charset="0"/>
              </a:defRPr>
            </a:lvl1pPr>
            <a:lvl2pPr>
              <a:defRPr sz="3600"/>
            </a:lvl2pPr>
            <a:lvl3pPr>
              <a:defRPr sz="3600"/>
            </a:lvl3pPr>
            <a:lvl4pPr>
              <a:defRPr sz="3600"/>
            </a:lvl4pPr>
            <a:lvl5pPr>
              <a:defRPr sz="3600"/>
            </a:lvl5pPr>
          </a:lstStyle>
          <a:p>
            <a:pPr lvl="0"/>
            <a:r>
              <a:rPr lang="en-US"/>
              <a:t>Title for the document enough for up to </a:t>
            </a:r>
          </a:p>
          <a:p>
            <a:pPr lvl="0"/>
            <a:r>
              <a:rPr lang="en-US"/>
              <a:t>three lines</a:t>
            </a:r>
            <a:endParaRPr lang="id-ID"/>
          </a:p>
        </p:txBody>
      </p:sp>
      <p:sp>
        <p:nvSpPr>
          <p:cNvPr id="10" name="Picture Placeholder 9"/>
          <p:cNvSpPr>
            <a:spLocks noGrp="1"/>
          </p:cNvSpPr>
          <p:nvPr>
            <p:ph type="pic" sz="quarter" idx="10"/>
          </p:nvPr>
        </p:nvSpPr>
        <p:spPr>
          <a:xfrm>
            <a:off x="0" y="4419600"/>
            <a:ext cx="10883900" cy="2438400"/>
          </a:xfrm>
          <a:custGeom>
            <a:avLst/>
            <a:gdLst>
              <a:gd name="connsiteX0" fmla="*/ 10336530 w 10883900"/>
              <a:gd name="connsiteY0" fmla="*/ 1598295 h 2438400"/>
              <a:gd name="connsiteX1" fmla="*/ 10883900 w 10883900"/>
              <a:gd name="connsiteY1" fmla="*/ 2438400 h 2438400"/>
              <a:gd name="connsiteX2" fmla="*/ 9615043 w 10883900"/>
              <a:gd name="connsiteY2" fmla="*/ 2438400 h 2438400"/>
              <a:gd name="connsiteX3" fmla="*/ 9615043 w 10883900"/>
              <a:gd name="connsiteY3" fmla="*/ 2415159 h 2438400"/>
              <a:gd name="connsiteX4" fmla="*/ 10336530 w 10883900"/>
              <a:gd name="connsiteY4" fmla="*/ 1598295 h 2438400"/>
              <a:gd name="connsiteX5" fmla="*/ 0 w 10883900"/>
              <a:gd name="connsiteY5" fmla="*/ 0 h 2438400"/>
              <a:gd name="connsiteX6" fmla="*/ 10764520 w 10883900"/>
              <a:gd name="connsiteY6" fmla="*/ 0 h 2438400"/>
              <a:gd name="connsiteX7" fmla="*/ 10278745 w 10883900"/>
              <a:gd name="connsiteY7" fmla="*/ 1165352 h 2438400"/>
              <a:gd name="connsiteX8" fmla="*/ 10326624 w 10883900"/>
              <a:gd name="connsiteY8" fmla="*/ 1560449 h 2438400"/>
              <a:gd name="connsiteX9" fmla="*/ 9575800 w 10883900"/>
              <a:gd name="connsiteY9" fmla="*/ 2415159 h 2438400"/>
              <a:gd name="connsiteX10" fmla="*/ 9575800 w 10883900"/>
              <a:gd name="connsiteY10" fmla="*/ 2438400 h 2438400"/>
              <a:gd name="connsiteX11" fmla="*/ 0 w 10883900"/>
              <a:gd name="connsiteY11" fmla="*/ 24384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3900" h="2438400">
                <a:moveTo>
                  <a:pt x="10336530" y="1598295"/>
                </a:moveTo>
                <a:cubicBezTo>
                  <a:pt x="10426843" y="1928591"/>
                  <a:pt x="10618242" y="2222351"/>
                  <a:pt x="10883900" y="2438400"/>
                </a:cubicBezTo>
                <a:lnTo>
                  <a:pt x="9615043" y="2438400"/>
                </a:lnTo>
                <a:cubicBezTo>
                  <a:pt x="9615043" y="2430695"/>
                  <a:pt x="9615043" y="2422948"/>
                  <a:pt x="9615043" y="2415159"/>
                </a:cubicBezTo>
                <a:cubicBezTo>
                  <a:pt x="9615120" y="1999884"/>
                  <a:pt x="9924445" y="1649668"/>
                  <a:pt x="10336530" y="1598295"/>
                </a:cubicBezTo>
                <a:close/>
                <a:moveTo>
                  <a:pt x="0" y="0"/>
                </a:moveTo>
                <a:lnTo>
                  <a:pt x="10764520" y="0"/>
                </a:lnTo>
                <a:cubicBezTo>
                  <a:pt x="10453168" y="307790"/>
                  <a:pt x="10278194" y="727546"/>
                  <a:pt x="10278745" y="1165352"/>
                </a:cubicBezTo>
                <a:cubicBezTo>
                  <a:pt x="10278664" y="1298503"/>
                  <a:pt x="10294741" y="1431172"/>
                  <a:pt x="10326624" y="1560449"/>
                </a:cubicBezTo>
                <a:cubicBezTo>
                  <a:pt x="9897201" y="1616334"/>
                  <a:pt x="9575879" y="1982114"/>
                  <a:pt x="9575800" y="2415159"/>
                </a:cubicBezTo>
                <a:cubicBezTo>
                  <a:pt x="9575800" y="2422906"/>
                  <a:pt x="9575800" y="2430653"/>
                  <a:pt x="9575800" y="2438400"/>
                </a:cubicBezTo>
                <a:lnTo>
                  <a:pt x="0" y="2438400"/>
                </a:lnTo>
                <a:close/>
              </a:path>
            </a:pathLst>
          </a:custGeom>
        </p:spPr>
        <p:txBody>
          <a:bodyPr wrap="square">
            <a:noAutofit/>
          </a:bodyPr>
          <a:lstStyle/>
          <a:p>
            <a:r>
              <a:rPr lang="en-US"/>
              <a:t>Click icon to add picture</a:t>
            </a:r>
          </a:p>
        </p:txBody>
      </p:sp>
      <p:pic>
        <p:nvPicPr>
          <p:cNvPr id="11" name="Picture 10"/>
          <p:cNvPicPr>
            <a:picLocks noChangeAspect="1"/>
          </p:cNvPicPr>
          <p:nvPr/>
        </p:nvPicPr>
        <p:blipFill>
          <a:blip r:embed="rId2"/>
          <a:stretch>
            <a:fillRect/>
          </a:stretch>
        </p:blipFill>
        <p:spPr>
          <a:xfrm>
            <a:off x="9575800" y="3073400"/>
            <a:ext cx="2616200" cy="3784600"/>
          </a:xfrm>
          <a:prstGeom prst="rect">
            <a:avLst/>
          </a:prstGeom>
        </p:spPr>
      </p:pic>
      <p:pic>
        <p:nvPicPr>
          <p:cNvPr id="3" name="Graphic 2"/>
          <p:cNvPicPr>
            <a:picLocks noChangeAspect="1"/>
          </p:cNvPicPr>
          <p:nvPr/>
        </p:nvPicPr>
        <p:blipFill>
          <a:blip r:embed="rId3" cstate="screen">
            <a:extLst>
              <a:ext uri="{96DAC541-7B7A-43D3-8B79-37D633B846F1}">
                <asvg:svgBlip xmlns:asvg="http://schemas.microsoft.com/office/drawing/2016/SVG/main" r:embed="rId4"/>
              </a:ext>
            </a:extLst>
          </a:blip>
          <a:stretch>
            <a:fillRect/>
          </a:stretch>
        </p:blipFill>
        <p:spPr>
          <a:xfrm>
            <a:off x="551384" y="298363"/>
            <a:ext cx="1800200" cy="320398"/>
          </a:xfrm>
          <a:prstGeom prst="rect">
            <a:avLst/>
          </a:prstGeom>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1704977"/>
            <a:ext cx="11469455" cy="3884264"/>
          </a:xfrm>
          <a:prstGeom prst="rect">
            <a:avLst/>
          </a:prstGeom>
          <a:noFill/>
          <a:ln>
            <a:noFill/>
          </a:ln>
        </p:spPr>
        <p:txBody>
          <a:bodyPr tIns="46800" numCol="2" spcCol="540000">
            <a:noAutofit/>
          </a:bodyPr>
          <a:lstStyle>
            <a:lvl1pPr marL="0" indent="0" algn="l">
              <a:lnSpc>
                <a:spcPts val="1400"/>
              </a:lnSpc>
              <a:spcBef>
                <a:spcPts val="0"/>
              </a:spcBef>
              <a:buFont typeface="Arial" panose="020B0604020202090204" pitchFamily="34" charset="0"/>
              <a:buNone/>
              <a:defRPr sz="105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indent="-228600">
              <a:lnSpc>
                <a:spcPts val="1400"/>
              </a:lnSpc>
              <a:buFont typeface="Arial" panose="020B0604020202090204" pitchFamily="34" charset="0"/>
              <a:buChar char="•"/>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2" name="Title 1"/>
          <p:cNvSpPr>
            <a:spLocks noGrp="1"/>
          </p:cNvSpPr>
          <p:nvPr>
            <p:ph type="title" hasCustomPrompt="1"/>
          </p:nvPr>
        </p:nvSpPr>
        <p:spPr>
          <a:xfrm>
            <a:off x="334963" y="858983"/>
            <a:ext cx="5328989" cy="481786"/>
          </a:xfrm>
        </p:spPr>
        <p:txBody>
          <a:bodyPr/>
          <a:lstStyle>
            <a:lvl1pPr>
              <a:defRPr baseline="0"/>
            </a:lvl1pPr>
          </a:lstStyle>
          <a:p>
            <a:r>
              <a:rPr lang="en-US"/>
              <a:t>Disclaimer page</a:t>
            </a:r>
            <a:endParaRPr lang="id-ID"/>
          </a:p>
        </p:txBody>
      </p:sp>
      <p:sp>
        <p:nvSpPr>
          <p:cNvPr id="8" name="Footer Placeholder 7"/>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2"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3"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screen"/>
          <a:srcRect/>
          <a:stretch>
            <a:fillRect/>
          </a:stretch>
        </p:blipFill>
        <p:spPr>
          <a:xfrm>
            <a:off x="6239282" y="3802895"/>
            <a:ext cx="5952718" cy="3055105"/>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anchor="b">
            <a:normAutofit/>
          </a:bodyPr>
          <a:lstStyle>
            <a:lvl1pPr>
              <a:defRPr sz="2400" b="1" i="0" baseline="0">
                <a:solidFill>
                  <a:schemeClr val="accent1"/>
                </a:solidFill>
                <a:latin typeface="Gotham Book" charset="0"/>
                <a:ea typeface="Gotham Book" charset="0"/>
                <a:cs typeface="Gotham Book" charset="0"/>
              </a:defRPr>
            </a:lvl1pPr>
          </a:lstStyle>
          <a:p>
            <a:r>
              <a:rPr lang="en-US"/>
              <a:t>Section 01</a:t>
            </a:r>
            <a:endParaRPr lang="id-ID"/>
          </a:p>
        </p:txBody>
      </p:sp>
      <p:sp>
        <p:nvSpPr>
          <p:cNvPr id="5" name="Text Placeholder 4"/>
          <p:cNvSpPr>
            <a:spLocks noGrp="1"/>
          </p:cNvSpPr>
          <p:nvPr>
            <p:ph type="body" sz="quarter" idx="19" hasCustomPrompt="1"/>
          </p:nvPr>
        </p:nvSpPr>
        <p:spPr>
          <a:xfrm>
            <a:off x="682625" y="2479675"/>
            <a:ext cx="6963517" cy="3036888"/>
          </a:xfrm>
        </p:spPr>
        <p:txBody>
          <a:bodyPr/>
          <a:lstStyle>
            <a:lvl1pPr marL="0" indent="0">
              <a:lnSpc>
                <a:spcPts val="5800"/>
              </a:lnSpc>
              <a:spcBef>
                <a:spcPts val="0"/>
              </a:spcBef>
              <a:buNone/>
              <a:defRPr sz="5400" b="1" i="0">
                <a:solidFill>
                  <a:schemeClr val="accent1"/>
                </a:solidFill>
                <a:latin typeface="Gotham Bold" pitchFamily="2" charset="0"/>
                <a:cs typeface="Gotham Bold" pitchFamily="2" charset="0"/>
              </a:defRPr>
            </a:lvl1pPr>
          </a:lstStyle>
          <a:p>
            <a:pPr lvl="0"/>
            <a:r>
              <a:rPr lang="en-US"/>
              <a:t>Headline text goes here</a:t>
            </a:r>
            <a:endParaRPr lang="id-ID"/>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ntent &amp; a Pictur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2690488"/>
            <a:ext cx="5817155" cy="3705838"/>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nibh euismod tincidunt ut laoreet dolore magna aliquam hendrerit in vulputate velit esse molestie consequat, vel illum dolore eu feugiat nulla facilisis at vero eros et accumsan et iusto odio dignissim qui blandit praesent luptatum zzril delenit augue duis dolore te feugait nulla facilisi..</a:t>
            </a:r>
          </a:p>
          <a:p>
            <a:endParaRPr lang="id-ID"/>
          </a:p>
        </p:txBody>
      </p:sp>
      <p:sp>
        <p:nvSpPr>
          <p:cNvPr id="18" name="Title 1"/>
          <p:cNvSpPr>
            <a:spLocks noGrp="1"/>
          </p:cNvSpPr>
          <p:nvPr>
            <p:ph type="title" hasCustomPrompt="1"/>
          </p:nvPr>
        </p:nvSpPr>
        <p:spPr>
          <a:xfrm>
            <a:off x="351069" y="1397531"/>
            <a:ext cx="5817155" cy="1131717"/>
          </a:xfrm>
          <a:prstGeom prst="rect">
            <a:avLst/>
          </a:prstGeom>
        </p:spPr>
        <p:txBody>
          <a:bodyPr lIns="0">
            <a:normAutofit/>
          </a:bodyPr>
          <a:lstStyle>
            <a:lvl1pPr>
              <a:lnSpc>
                <a:spcPts val="4000"/>
              </a:lnSpc>
              <a:defRPr sz="2800" b="0" i="0">
                <a:solidFill>
                  <a:schemeClr val="accent2"/>
                </a:solidFill>
                <a:latin typeface="Gotham Medium" charset="0"/>
                <a:ea typeface="Gotham Medium" charset="0"/>
                <a:cs typeface="Gotham Medium" charset="0"/>
              </a:defRPr>
            </a:lvl1pPr>
          </a:lstStyle>
          <a:p>
            <a:pPr lvl="0">
              <a:defRPr/>
            </a:pPr>
            <a:r>
              <a:rPr lang="id-ID" sz="3200" err="1">
                <a:solidFill>
                  <a:srgbClr val="005DA0"/>
                </a:solidFill>
                <a:latin typeface="Gotham Medium" charset="0"/>
                <a:ea typeface="Gotham Medium" charset="0"/>
                <a:cs typeface="Gotham Medium" charset="0"/>
              </a:rPr>
              <a:t>Click</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o</a:t>
            </a:r>
            <a:r>
              <a:rPr lang="id-ID" sz="3200">
                <a:solidFill>
                  <a:srgbClr val="005DA0"/>
                </a:solidFill>
                <a:latin typeface="Gotham Medium" charset="0"/>
                <a:ea typeface="Gotham Medium" charset="0"/>
                <a:cs typeface="Gotham Medium" charset="0"/>
              </a:rPr>
              <a:t> edit </a:t>
            </a:r>
            <a:r>
              <a:rPr lang="id-ID" sz="3200" err="1">
                <a:solidFill>
                  <a:srgbClr val="005DA0"/>
                </a:solidFill>
                <a:latin typeface="Gotham Medium" charset="0"/>
                <a:ea typeface="Gotham Medium" charset="0"/>
                <a:cs typeface="Gotham Medium" charset="0"/>
              </a:rPr>
              <a:t>Title</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ext</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maximum</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is</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wo</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lines</a:t>
            </a:r>
            <a:r>
              <a:rPr lang="id-ID" sz="3200">
                <a:solidFill>
                  <a:srgbClr val="005DA0"/>
                </a:solidFill>
                <a:latin typeface="Gotham Medium" charset="0"/>
                <a:ea typeface="Gotham Medium" charset="0"/>
                <a:cs typeface="Gotham Medium" charset="0"/>
              </a:rPr>
              <a:t>.</a:t>
            </a:r>
            <a:endParaRPr lang="en-US" sz="3200" noProof="1">
              <a:solidFill>
                <a:srgbClr val="005DA0"/>
              </a:solidFill>
              <a:latin typeface="Gotham Medium" charset="0"/>
              <a:ea typeface="Gotham Medium" charset="0"/>
              <a:cs typeface="Gotham Medium" charset="0"/>
            </a:endParaRPr>
          </a:p>
        </p:txBody>
      </p:sp>
      <p:sp>
        <p:nvSpPr>
          <p:cNvPr id="4" name="Picture Placeholder 3"/>
          <p:cNvSpPr>
            <a:spLocks noGrp="1"/>
          </p:cNvSpPr>
          <p:nvPr>
            <p:ph type="pic" sz="quarter" idx="13" hasCustomPrompt="1"/>
          </p:nvPr>
        </p:nvSpPr>
        <p:spPr>
          <a:xfrm>
            <a:off x="6672064" y="1560512"/>
            <a:ext cx="5519936" cy="4433639"/>
          </a:xfrm>
          <a:ln>
            <a:noFill/>
          </a:ln>
        </p:spPr>
        <p:txBody>
          <a:bodyPr anchor="ctr"/>
          <a:lstStyle>
            <a:lvl1pPr marL="457200" indent="-457200" algn="ctr">
              <a:buFont typeface="Arial" panose="020B0604020202090204" pitchFamily="34" charset="0"/>
              <a:buChar char="•"/>
              <a:defRPr sz="2000"/>
            </a:lvl1pPr>
          </a:lstStyle>
          <a:p>
            <a:r>
              <a:rPr lang="id-ID"/>
              <a:t>Picture </a:t>
            </a:r>
            <a:r>
              <a:rPr lang="en-US"/>
              <a:t>ratio </a:t>
            </a:r>
            <a:r>
              <a:rPr lang="id-ID"/>
              <a:t>4:3</a:t>
            </a:r>
          </a:p>
        </p:txBody>
      </p:sp>
      <p:sp>
        <p:nvSpPr>
          <p:cNvPr id="5" name="Footer Placeholder 4"/>
          <p:cNvSpPr>
            <a:spLocks noGrp="1"/>
          </p:cNvSpPr>
          <p:nvPr>
            <p:ph type="ftr" sz="quarter" idx="15"/>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ntent &amp; Picture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38444" y="1268413"/>
            <a:ext cx="5682081" cy="2160587"/>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14pt/spc-exctly22pt</a:t>
            </a:r>
            <a:endParaRPr lang="id-ID"/>
          </a:p>
        </p:txBody>
      </p:sp>
      <p:sp>
        <p:nvSpPr>
          <p:cNvPr id="7" name="Text Placeholder 6"/>
          <p:cNvSpPr>
            <a:spLocks noGrp="1"/>
          </p:cNvSpPr>
          <p:nvPr>
            <p:ph type="body" sz="quarter" idx="15" hasCustomPrompt="1"/>
          </p:nvPr>
        </p:nvSpPr>
        <p:spPr>
          <a:xfrm>
            <a:off x="352424" y="1274618"/>
            <a:ext cx="5417200" cy="1454727"/>
          </a:xfrm>
        </p:spPr>
        <p:txBody>
          <a:bodyPr/>
          <a:lstStyle>
            <a:lvl1pPr marL="0" indent="0">
              <a:lnSpc>
                <a:spcPct val="100000"/>
              </a:lnSpc>
              <a:spcBef>
                <a:spcPts val="1000"/>
              </a:spcBef>
              <a:buNone/>
              <a:defRPr b="0" i="0">
                <a:solidFill>
                  <a:schemeClr val="accent2"/>
                </a:solidFill>
                <a:latin typeface="Gotham Medium" charset="0"/>
                <a:ea typeface="Gotham Medium" charset="0"/>
                <a:cs typeface="Gotham Medium" charset="0"/>
              </a:defRPr>
            </a:lvl1pPr>
          </a:lstStyle>
          <a:p>
            <a:pPr lvl="0"/>
            <a:r>
              <a:rPr lang="en-US"/>
              <a:t>Click to edit Title text with. some pictures, maximum is three lines.</a:t>
            </a:r>
            <a:endParaRPr lang="id-ID"/>
          </a:p>
        </p:txBody>
      </p:sp>
      <p:sp>
        <p:nvSpPr>
          <p:cNvPr id="4" name="Picture Placeholder 3"/>
          <p:cNvSpPr>
            <a:spLocks noGrp="1"/>
          </p:cNvSpPr>
          <p:nvPr>
            <p:ph type="pic" sz="quarter" idx="13" hasCustomPrompt="1"/>
          </p:nvPr>
        </p:nvSpPr>
        <p:spPr>
          <a:xfrm>
            <a:off x="-3916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19" name="Picture Placeholder 3"/>
          <p:cNvSpPr>
            <a:spLocks noGrp="1"/>
          </p:cNvSpPr>
          <p:nvPr>
            <p:ph type="pic" sz="quarter" idx="16" hasCustomPrompt="1"/>
          </p:nvPr>
        </p:nvSpPr>
        <p:spPr>
          <a:xfrm>
            <a:off x="404612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20" name="Picture Placeholder 3"/>
          <p:cNvSpPr>
            <a:spLocks noGrp="1"/>
          </p:cNvSpPr>
          <p:nvPr>
            <p:ph type="pic" sz="quarter" idx="17" hasCustomPrompt="1"/>
          </p:nvPr>
        </p:nvSpPr>
        <p:spPr>
          <a:xfrm>
            <a:off x="813140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a:t>
            </a:r>
            <a:r>
              <a:rPr lang="id-ID"/>
              <a:t> 4:3</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ntent &amp; Mix Preview">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352423" y="1274619"/>
            <a:ext cx="5599561" cy="1002254"/>
          </a:xfrm>
        </p:spPr>
        <p:txBody>
          <a:bodyPr/>
          <a:lstStyle>
            <a:lvl1pPr marL="0" indent="0">
              <a:lnSpc>
                <a:spcPct val="100000"/>
              </a:lnSpc>
              <a:spcBef>
                <a:spcPts val="1000"/>
              </a:spcBef>
              <a:buNone/>
              <a:defRPr sz="2800" b="0" i="0">
                <a:solidFill>
                  <a:schemeClr val="accent2"/>
                </a:solidFill>
                <a:latin typeface="Gotham Medium" charset="0"/>
                <a:ea typeface="Gotham Medium" charset="0"/>
                <a:cs typeface="Gotham Medium" charset="0"/>
              </a:defRPr>
            </a:lvl1pPr>
          </a:lstStyle>
          <a:p>
            <a:pPr lvl="0"/>
            <a:r>
              <a:rPr lang="en-US"/>
              <a:t>Click to edit Title text, maximum is two lines.</a:t>
            </a:r>
            <a:endParaRPr lang="id-ID"/>
          </a:p>
        </p:txBody>
      </p:sp>
      <p:sp>
        <p:nvSpPr>
          <p:cNvPr id="3" name="Subtitle 2"/>
          <p:cNvSpPr>
            <a:spLocks noGrp="1"/>
          </p:cNvSpPr>
          <p:nvPr>
            <p:ph type="subTitle" idx="1" hasCustomPrompt="1"/>
          </p:nvPr>
        </p:nvSpPr>
        <p:spPr>
          <a:xfrm>
            <a:off x="367881" y="2528876"/>
            <a:ext cx="5584104" cy="1764220"/>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14pt/spc-exctly22pt</a:t>
            </a:r>
            <a:endParaRPr lang="id-ID"/>
          </a:p>
        </p:txBody>
      </p:sp>
      <p:sp>
        <p:nvSpPr>
          <p:cNvPr id="5" name="Chart Placeholder 4"/>
          <p:cNvSpPr>
            <a:spLocks noGrp="1"/>
          </p:cNvSpPr>
          <p:nvPr>
            <p:ph type="chart" sz="quarter" idx="16" hasCustomPrompt="1"/>
          </p:nvPr>
        </p:nvSpPr>
        <p:spPr>
          <a:xfrm>
            <a:off x="379358" y="4469517"/>
            <a:ext cx="3536610" cy="1810691"/>
          </a:xfrm>
        </p:spPr>
        <p:txBody>
          <a:bodyPr anchor="ctr"/>
          <a:lstStyle>
            <a:lvl1pPr algn="ctr">
              <a:defRPr sz="2400"/>
            </a:lvl1pPr>
          </a:lstStyle>
          <a:p>
            <a:r>
              <a:rPr lang="en-US"/>
              <a:t>Click icon to add chart</a:t>
            </a:r>
            <a:endParaRPr lang="id-ID"/>
          </a:p>
        </p:txBody>
      </p:sp>
      <p:sp>
        <p:nvSpPr>
          <p:cNvPr id="8" name="Picture Placeholder 7"/>
          <p:cNvSpPr>
            <a:spLocks noGrp="1"/>
          </p:cNvSpPr>
          <p:nvPr>
            <p:ph type="pic" sz="quarter" idx="17" hasCustomPrompt="1"/>
          </p:nvPr>
        </p:nvSpPr>
        <p:spPr>
          <a:xfrm>
            <a:off x="6664803" y="1047314"/>
            <a:ext cx="5133982" cy="3837077"/>
          </a:xfrm>
        </p:spPr>
        <p:txBody>
          <a:bodyPr anchor="ctr"/>
          <a:lstStyle>
            <a:lvl1pPr algn="ctr">
              <a:defRPr sz="1600" baseline="0"/>
            </a:lvl1pPr>
          </a:lstStyle>
          <a:p>
            <a:r>
              <a:rPr lang="id-ID"/>
              <a:t>Picture ratio 4:3</a:t>
            </a:r>
          </a:p>
        </p:txBody>
      </p:sp>
      <p:sp>
        <p:nvSpPr>
          <p:cNvPr id="18" name="Picture Placeholder 7"/>
          <p:cNvSpPr>
            <a:spLocks noGrp="1"/>
          </p:cNvSpPr>
          <p:nvPr>
            <p:ph type="pic" sz="quarter" idx="18" hasCustomPrompt="1"/>
          </p:nvPr>
        </p:nvSpPr>
        <p:spPr>
          <a:xfrm>
            <a:off x="6664803" y="4973901"/>
            <a:ext cx="2536725" cy="1884099"/>
          </a:xfrm>
        </p:spPr>
        <p:txBody>
          <a:bodyPr anchor="ctr"/>
          <a:lstStyle>
            <a:lvl1pPr algn="ctr">
              <a:defRPr sz="1600"/>
            </a:lvl1pPr>
          </a:lstStyle>
          <a:p>
            <a:r>
              <a:rPr lang="id-ID"/>
              <a:t>Picture ratio 4:3</a:t>
            </a:r>
          </a:p>
        </p:txBody>
      </p:sp>
      <p:sp>
        <p:nvSpPr>
          <p:cNvPr id="21" name="Picture Placeholder 7"/>
          <p:cNvSpPr>
            <a:spLocks noGrp="1"/>
          </p:cNvSpPr>
          <p:nvPr>
            <p:ph type="pic" sz="quarter" idx="19" hasCustomPrompt="1"/>
          </p:nvPr>
        </p:nvSpPr>
        <p:spPr>
          <a:xfrm>
            <a:off x="9263444" y="4973901"/>
            <a:ext cx="2536725" cy="1884099"/>
          </a:xfr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90204"/>
              <a:buChar char="•"/>
              <a:defRPr sz="1600"/>
            </a:lvl1pPr>
          </a:lstStyle>
          <a:p>
            <a:r>
              <a:rPr lang="id-ID"/>
              <a:t>Picture ratio 4:3</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mp; Coloums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lvl1pPr>
              <a:defRPr/>
            </a:lvl1pPr>
          </a:lstStyle>
          <a:p>
            <a:br>
              <a:rPr lang="en-US" dirty="0"/>
            </a:br>
            <a:r>
              <a:rPr lang="en-US" dirty="0"/>
              <a:t>Click to edit Title text. Ex. Strategy</a:t>
            </a:r>
            <a:endParaRPr lang="id-ID" dirty="0"/>
          </a:p>
        </p:txBody>
      </p:sp>
      <p:sp>
        <p:nvSpPr>
          <p:cNvPr id="10" name="Text Placeholder 9"/>
          <p:cNvSpPr>
            <a:spLocks noGrp="1"/>
          </p:cNvSpPr>
          <p:nvPr>
            <p:ph type="body" sz="quarter" idx="14" hasCustomPrompt="1"/>
          </p:nvPr>
        </p:nvSpPr>
        <p:spPr>
          <a:xfrm>
            <a:off x="332913" y="1604182"/>
            <a:ext cx="11487612" cy="720081"/>
          </a:xfrm>
        </p:spPr>
        <p:txBody>
          <a:bodyPr/>
          <a:lstStyle>
            <a:lvl1pPr marL="0" indent="0" algn="ctr">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MINING INDUSTRY INDONESIA</a:t>
            </a:r>
          </a:p>
        </p:txBody>
      </p:sp>
      <p:sp>
        <p:nvSpPr>
          <p:cNvPr id="12" name="Text Placeholder 11"/>
          <p:cNvSpPr>
            <a:spLocks noGrp="1"/>
          </p:cNvSpPr>
          <p:nvPr>
            <p:ph type="body" sz="quarter" idx="15" hasCustomPrompt="1"/>
          </p:nvPr>
        </p:nvSpPr>
        <p:spPr>
          <a:xfrm>
            <a:off x="332913" y="2780928"/>
            <a:ext cx="3386328"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3" name="Text Placeholder 11"/>
          <p:cNvSpPr>
            <a:spLocks noGrp="1"/>
          </p:cNvSpPr>
          <p:nvPr>
            <p:ph type="body" sz="quarter" idx="16" hasCustomPrompt="1"/>
          </p:nvPr>
        </p:nvSpPr>
        <p:spPr>
          <a:xfrm>
            <a:off x="4223792" y="2780928"/>
            <a:ext cx="3744416" cy="792163"/>
          </a:xfrm>
        </p:spPr>
        <p:txBody>
          <a:bodyPr rIns="0" bIns="0" anchor="ctr" anchorCtr="0"/>
          <a:lstStyle>
            <a:lvl1pPr marL="0" indent="0" algn="ctr">
              <a:lnSpc>
                <a:spcPct val="100000"/>
              </a:lnSpc>
              <a:buNone/>
              <a:defRPr sz="1800" b="0" i="0" baseline="0">
                <a:solidFill>
                  <a:schemeClr val="accent2"/>
                </a:solidFill>
                <a:latin typeface="Gotham Medium" charset="0"/>
                <a:ea typeface="Gotham Medium" charset="0"/>
                <a:cs typeface="Gotham Medium" charset="0"/>
              </a:defRPr>
            </a:lvl1pPr>
          </a:lstStyle>
          <a:p>
            <a:pPr lvl="0"/>
            <a:r>
              <a:rPr lang="en-US" dirty="0"/>
              <a:t>PENGEMBANGAN BISNIS HILIRISASI</a:t>
            </a:r>
            <a:endParaRPr lang="id-ID" dirty="0"/>
          </a:p>
        </p:txBody>
      </p:sp>
      <p:sp>
        <p:nvSpPr>
          <p:cNvPr id="14" name="Text Placeholder 11"/>
          <p:cNvSpPr>
            <a:spLocks noGrp="1"/>
          </p:cNvSpPr>
          <p:nvPr>
            <p:ph type="body" sz="quarter" idx="17" hasCustomPrompt="1"/>
          </p:nvPr>
        </p:nvSpPr>
        <p:spPr>
          <a:xfrm>
            <a:off x="8399736" y="2780928"/>
            <a:ext cx="3420789"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2.</a:t>
            </a:r>
            <a:endParaRPr lang="id-ID" dirty="0"/>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3.</a:t>
            </a:r>
            <a:endParaRPr lang="id-ID" dirty="0"/>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4.</a:t>
            </a:r>
            <a:endParaRPr lang="id-ID" dirty="0"/>
          </a:p>
        </p:txBody>
      </p:sp>
      <p:sp>
        <p:nvSpPr>
          <p:cNvPr id="20" name="Text Placeholder 11"/>
          <p:cNvSpPr>
            <a:spLocks noGrp="1"/>
          </p:cNvSpPr>
          <p:nvPr>
            <p:ph type="body" sz="quarter" idx="22" hasCustomPrompt="1"/>
          </p:nvPr>
        </p:nvSpPr>
        <p:spPr>
          <a:xfrm>
            <a:off x="7438814" y="3691633"/>
            <a:ext cx="673410"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5.</a:t>
            </a:r>
            <a:endParaRPr lang="id-ID" dirty="0"/>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a:p>
            <a:pPr lvl="0"/>
            <a:r>
              <a:rPr lang="en-US" dirty="0"/>
              <a:t>Sixth level</a:t>
            </a:r>
          </a:p>
          <a:p>
            <a:pPr lvl="0"/>
            <a:r>
              <a:rPr lang="en-US" dirty="0"/>
              <a:t>Seventh level</a:t>
            </a:r>
            <a:endParaRPr lang="id-ID" dirty="0"/>
          </a:p>
        </p:txBody>
      </p:sp>
      <p:sp>
        <p:nvSpPr>
          <p:cNvPr id="28" name="Text Placeholder 11"/>
          <p:cNvSpPr>
            <a:spLocks noGrp="1"/>
          </p:cNvSpPr>
          <p:nvPr>
            <p:ph type="body" sz="quarter" idx="29" hasCustomPrompt="1"/>
          </p:nvPr>
        </p:nvSpPr>
        <p:spPr>
          <a:xfrm>
            <a:off x="332912" y="3691633"/>
            <a:ext cx="79128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1.</a:t>
            </a:r>
            <a:endParaRPr lang="id-ID" dirty="0"/>
          </a:p>
        </p:txBody>
      </p:sp>
      <p:sp>
        <p:nvSpPr>
          <p:cNvPr id="21"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29"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a:br>
            <a:r>
              <a:rPr lang="en-US"/>
              <a:t>Click to edit Title text</a:t>
            </a:r>
            <a:endParaRPr lang="id-ID"/>
          </a:p>
        </p:txBody>
      </p:sp>
      <p:sp>
        <p:nvSpPr>
          <p:cNvPr id="5" name="Text Placeholder 4"/>
          <p:cNvSpPr>
            <a:spLocks noGrp="1"/>
          </p:cNvSpPr>
          <p:nvPr>
            <p:ph type="body" sz="quarter" idx="3" hasCustomPrompt="1"/>
          </p:nvPr>
        </p:nvSpPr>
        <p:spPr>
          <a:xfrm>
            <a:off x="6172199" y="1681163"/>
            <a:ext cx="5648325"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6" name="Content Placeholder 5"/>
          <p:cNvSpPr>
            <a:spLocks noGrp="1"/>
          </p:cNvSpPr>
          <p:nvPr>
            <p:ph sz="quarter" idx="4" hasCustomPrompt="1"/>
          </p:nvPr>
        </p:nvSpPr>
        <p:spPr>
          <a:xfrm>
            <a:off x="6172199"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7" name="Footer Placeholder 1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9" name="Text Placeholder 4"/>
          <p:cNvSpPr>
            <a:spLocks noGrp="1"/>
          </p:cNvSpPr>
          <p:nvPr>
            <p:ph type="body" sz="quarter" idx="13" hasCustomPrompt="1"/>
          </p:nvPr>
        </p:nvSpPr>
        <p:spPr>
          <a:xfrm>
            <a:off x="353291" y="1681163"/>
            <a:ext cx="5636450"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21" name="Content Placeholder 5"/>
          <p:cNvSpPr>
            <a:spLocks noGrp="1"/>
          </p:cNvSpPr>
          <p:nvPr>
            <p:ph sz="quarter" idx="14" hasCustomPrompt="1"/>
          </p:nvPr>
        </p:nvSpPr>
        <p:spPr>
          <a:xfrm>
            <a:off x="341415"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15"/>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a:br>
            <a:r>
              <a:rPr lang="en-US"/>
              <a:t>Click to edit Title text</a:t>
            </a:r>
            <a:endParaRPr lang="id-ID"/>
          </a:p>
        </p:txBody>
      </p:sp>
      <p:sp>
        <p:nvSpPr>
          <p:cNvPr id="3" name="Content Placeholder 2"/>
          <p:cNvSpPr>
            <a:spLocks noGrp="1"/>
          </p:cNvSpPr>
          <p:nvPr>
            <p:ph sz="half" idx="1" hasCustomPrompt="1"/>
          </p:nvPr>
        </p:nvSpPr>
        <p:spPr>
          <a:xfrm>
            <a:off x="334963" y="1704977"/>
            <a:ext cx="5684837"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hasCustomPrompt="1"/>
          </p:nvPr>
        </p:nvSpPr>
        <p:spPr>
          <a:xfrm>
            <a:off x="6172200" y="1704977"/>
            <a:ext cx="5648324"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9" name="Footer Placeholder 8"/>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1" name="Date Placeholder 3"/>
          <p:cNvSpPr>
            <a:spLocks noGrp="1"/>
          </p:cNvSpPr>
          <p:nvPr>
            <p:ph type="dt" sz="half" idx="1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2"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lvl1pPr>
              <a:defRPr>
                <a:solidFill>
                  <a:schemeClr val="accent1"/>
                </a:solidFill>
              </a:defRPr>
            </a:lvl1pPr>
          </a:lstStyle>
          <a:p>
            <a:br>
              <a:rPr lang="en-US"/>
            </a:br>
            <a:r>
              <a:rPr lang="en-US"/>
              <a:t>Click to edit Title custom layout</a:t>
            </a:r>
            <a:endParaRPr lang="id-ID"/>
          </a:p>
        </p:txBody>
      </p:sp>
      <p:sp>
        <p:nvSpPr>
          <p:cNvPr id="7" name="Footer Placeholder 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ntent &amp; Coloums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p>
            <a:br>
              <a:rPr lang="en-US"/>
            </a:br>
            <a:r>
              <a:rPr lang="en-US"/>
              <a:t>Click to edit Title text. Ex. Strategy</a:t>
            </a:r>
            <a:endParaRPr lang="id-ID"/>
          </a:p>
        </p:txBody>
      </p:sp>
      <p:sp>
        <p:nvSpPr>
          <p:cNvPr id="10" name="Text Placeholder 9"/>
          <p:cNvSpPr>
            <a:spLocks noGrp="1"/>
          </p:cNvSpPr>
          <p:nvPr>
            <p:ph type="body" sz="quarter" idx="14"/>
          </p:nvPr>
        </p:nvSpPr>
        <p:spPr>
          <a:xfrm>
            <a:off x="334962" y="1604590"/>
            <a:ext cx="11485563" cy="720081"/>
          </a:xfrm>
        </p:spPr>
        <p:txBody>
          <a:bodyPr/>
          <a:lstStyle>
            <a:lvl1pPr marL="0" indent="0" algn="ctr">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2" name="Text Placeholder 11"/>
          <p:cNvSpPr>
            <a:spLocks noGrp="1"/>
          </p:cNvSpPr>
          <p:nvPr>
            <p:ph type="body" sz="quarter" idx="15" hasCustomPrompt="1"/>
          </p:nvPr>
        </p:nvSpPr>
        <p:spPr>
          <a:xfrm>
            <a:off x="334963" y="2777924"/>
            <a:ext cx="3384277"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3" name="Text Placeholder 11"/>
          <p:cNvSpPr>
            <a:spLocks noGrp="1"/>
          </p:cNvSpPr>
          <p:nvPr>
            <p:ph type="body" sz="quarter" idx="16" hasCustomPrompt="1"/>
          </p:nvPr>
        </p:nvSpPr>
        <p:spPr>
          <a:xfrm>
            <a:off x="4223792" y="2777924"/>
            <a:ext cx="3744416"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4" name="Text Placeholder 11"/>
          <p:cNvSpPr>
            <a:spLocks noGrp="1"/>
          </p:cNvSpPr>
          <p:nvPr>
            <p:ph type="body" sz="quarter" idx="17" hasCustomPrompt="1"/>
          </p:nvPr>
        </p:nvSpPr>
        <p:spPr>
          <a:xfrm>
            <a:off x="8399736" y="2777924"/>
            <a:ext cx="3420789"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2.</a:t>
            </a:r>
            <a:endParaRPr lang="id-ID"/>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3.</a:t>
            </a:r>
            <a:endParaRPr lang="id-ID"/>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4.</a:t>
            </a:r>
            <a:endParaRPr lang="id-ID"/>
          </a:p>
        </p:txBody>
      </p:sp>
      <p:sp>
        <p:nvSpPr>
          <p:cNvPr id="20" name="Text Placeholder 11"/>
          <p:cNvSpPr>
            <a:spLocks noGrp="1"/>
          </p:cNvSpPr>
          <p:nvPr>
            <p:ph type="body" sz="quarter" idx="22" hasCustomPrompt="1"/>
          </p:nvPr>
        </p:nvSpPr>
        <p:spPr>
          <a:xfrm>
            <a:off x="7438813" y="3691633"/>
            <a:ext cx="673409"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5.</a:t>
            </a:r>
            <a:endParaRPr lang="id-ID"/>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8" name="Text Placeholder 11"/>
          <p:cNvSpPr>
            <a:spLocks noGrp="1"/>
          </p:cNvSpPr>
          <p:nvPr>
            <p:ph type="body" sz="quarter" idx="29" hasCustomPrompt="1"/>
          </p:nvPr>
        </p:nvSpPr>
        <p:spPr>
          <a:xfrm>
            <a:off x="334962" y="3691633"/>
            <a:ext cx="78923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1.</a:t>
            </a:r>
            <a:endParaRPr lang="id-ID"/>
          </a:p>
        </p:txBody>
      </p:sp>
      <p:cxnSp>
        <p:nvCxnSpPr>
          <p:cNvPr id="32" name="Straight Connector 31"/>
          <p:cNvCxnSpPr/>
          <p:nvPr/>
        </p:nvCxnSpPr>
        <p:spPr>
          <a:xfrm flipV="1">
            <a:off x="200170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379054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5546062"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7328784"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056012" y="40720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9056012" y="44498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056012" y="483525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056012" y="5198151"/>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056012" y="5551140"/>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9056012" y="591537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3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ntent &amp; Coloums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lvl1pPr>
              <a:defRPr/>
            </a:lvl1pPr>
          </a:lstStyle>
          <a:p>
            <a:br>
              <a:rPr lang="en-US"/>
            </a:br>
            <a:r>
              <a:rPr lang="en-US"/>
              <a:t>Click to edit Title text. Ex. Strategy</a:t>
            </a:r>
            <a:endParaRPr lang="id-ID"/>
          </a:p>
        </p:txBody>
      </p:sp>
      <p:sp>
        <p:nvSpPr>
          <p:cNvPr id="10" name="Text Placeholder 9"/>
          <p:cNvSpPr>
            <a:spLocks noGrp="1"/>
          </p:cNvSpPr>
          <p:nvPr>
            <p:ph type="body" sz="quarter" idx="14" hasCustomPrompt="1"/>
          </p:nvPr>
        </p:nvSpPr>
        <p:spPr>
          <a:xfrm>
            <a:off x="332913" y="1604182"/>
            <a:ext cx="11487612" cy="720081"/>
          </a:xfrm>
        </p:spPr>
        <p:txBody>
          <a:bodyPr/>
          <a:lstStyle>
            <a:lvl1pPr marL="0" indent="0" algn="ctr">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INING INDUSTRY INDONESIA</a:t>
            </a:r>
          </a:p>
        </p:txBody>
      </p:sp>
      <p:sp>
        <p:nvSpPr>
          <p:cNvPr id="12" name="Text Placeholder 11"/>
          <p:cNvSpPr>
            <a:spLocks noGrp="1"/>
          </p:cNvSpPr>
          <p:nvPr>
            <p:ph type="body" sz="quarter" idx="15" hasCustomPrompt="1"/>
          </p:nvPr>
        </p:nvSpPr>
        <p:spPr>
          <a:xfrm>
            <a:off x="332913" y="2780928"/>
            <a:ext cx="3386328"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3" name="Text Placeholder 11"/>
          <p:cNvSpPr>
            <a:spLocks noGrp="1"/>
          </p:cNvSpPr>
          <p:nvPr>
            <p:ph type="body" sz="quarter" idx="16" hasCustomPrompt="1"/>
          </p:nvPr>
        </p:nvSpPr>
        <p:spPr>
          <a:xfrm>
            <a:off x="4223792" y="2780928"/>
            <a:ext cx="3744416" cy="792163"/>
          </a:xfrm>
        </p:spPr>
        <p:txBody>
          <a:bodyPr rIns="0" bIns="0" anchor="ctr" anchorCtr="0"/>
          <a:lstStyle>
            <a:lvl1pPr marL="0" indent="0" algn="ctr">
              <a:lnSpc>
                <a:spcPct val="100000"/>
              </a:lnSpc>
              <a:buNone/>
              <a:defRPr sz="1800" b="0" i="0" baseline="0">
                <a:solidFill>
                  <a:schemeClr val="accent2"/>
                </a:solidFill>
                <a:latin typeface="Gotham Medium" charset="0"/>
                <a:ea typeface="Gotham Medium" charset="0"/>
                <a:cs typeface="Gotham Medium" charset="0"/>
              </a:defRPr>
            </a:lvl1pPr>
          </a:lstStyle>
          <a:p>
            <a:pPr lvl="0"/>
            <a:r>
              <a:rPr lang="en-US"/>
              <a:t>PENGEMBANGAN BISNIS HILIRISASI</a:t>
            </a:r>
            <a:endParaRPr lang="id-ID"/>
          </a:p>
        </p:txBody>
      </p:sp>
      <p:sp>
        <p:nvSpPr>
          <p:cNvPr id="14" name="Text Placeholder 11"/>
          <p:cNvSpPr>
            <a:spLocks noGrp="1"/>
          </p:cNvSpPr>
          <p:nvPr>
            <p:ph type="body" sz="quarter" idx="17" hasCustomPrompt="1"/>
          </p:nvPr>
        </p:nvSpPr>
        <p:spPr>
          <a:xfrm>
            <a:off x="8399736" y="2780928"/>
            <a:ext cx="3420789"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2.</a:t>
            </a:r>
            <a:endParaRPr lang="id-ID"/>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3.</a:t>
            </a:r>
            <a:endParaRPr lang="id-ID"/>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4.</a:t>
            </a:r>
            <a:endParaRPr lang="id-ID"/>
          </a:p>
        </p:txBody>
      </p:sp>
      <p:sp>
        <p:nvSpPr>
          <p:cNvPr id="20" name="Text Placeholder 11"/>
          <p:cNvSpPr>
            <a:spLocks noGrp="1"/>
          </p:cNvSpPr>
          <p:nvPr>
            <p:ph type="body" sz="quarter" idx="22" hasCustomPrompt="1"/>
          </p:nvPr>
        </p:nvSpPr>
        <p:spPr>
          <a:xfrm>
            <a:off x="7438814" y="3691633"/>
            <a:ext cx="673410"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5.</a:t>
            </a:r>
            <a:endParaRPr lang="id-ID"/>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8" name="Text Placeholder 11"/>
          <p:cNvSpPr>
            <a:spLocks noGrp="1"/>
          </p:cNvSpPr>
          <p:nvPr>
            <p:ph type="body" sz="quarter" idx="29" hasCustomPrompt="1"/>
          </p:nvPr>
        </p:nvSpPr>
        <p:spPr>
          <a:xfrm>
            <a:off x="332912" y="3691633"/>
            <a:ext cx="79128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1.</a:t>
            </a:r>
            <a:endParaRPr lang="id-ID"/>
          </a:p>
        </p:txBody>
      </p:sp>
      <p:sp>
        <p:nvSpPr>
          <p:cNvPr id="21"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29"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ntent &amp; Coloums Mix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a:br>
            <a:r>
              <a:rPr lang="en-US"/>
              <a:t>Click to edit Title text. Ex. MIND ID Group</a:t>
            </a:r>
            <a:endParaRPr lang="id-ID"/>
          </a:p>
        </p:txBody>
      </p:sp>
      <p:sp>
        <p:nvSpPr>
          <p:cNvPr id="18" name="Text Placeholder 11"/>
          <p:cNvSpPr>
            <a:spLocks noGrp="1"/>
          </p:cNvSpPr>
          <p:nvPr>
            <p:ph type="body" sz="quarter" idx="36" hasCustomPrompt="1"/>
          </p:nvPr>
        </p:nvSpPr>
        <p:spPr>
          <a:xfrm>
            <a:off x="33496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1" name="Text Placeholder 21"/>
          <p:cNvSpPr>
            <a:spLocks noGrp="1"/>
          </p:cNvSpPr>
          <p:nvPr>
            <p:ph type="body" sz="quarter" idx="37"/>
          </p:nvPr>
        </p:nvSpPr>
        <p:spPr>
          <a:xfrm>
            <a:off x="33496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4" name="Text Placeholder 11"/>
          <p:cNvSpPr>
            <a:spLocks noGrp="1"/>
          </p:cNvSpPr>
          <p:nvPr>
            <p:ph type="body" sz="quarter" idx="39" hasCustomPrompt="1"/>
          </p:nvPr>
        </p:nvSpPr>
        <p:spPr>
          <a:xfrm>
            <a:off x="2031206"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5" name="Text Placeholder 21"/>
          <p:cNvSpPr>
            <a:spLocks noGrp="1"/>
          </p:cNvSpPr>
          <p:nvPr>
            <p:ph type="body" sz="quarter" idx="40"/>
          </p:nvPr>
        </p:nvSpPr>
        <p:spPr>
          <a:xfrm>
            <a:off x="2031206"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9" name="Text Placeholder 21"/>
          <p:cNvSpPr>
            <a:spLocks noGrp="1"/>
          </p:cNvSpPr>
          <p:nvPr>
            <p:ph type="body" sz="quarter" idx="43"/>
          </p:nvPr>
        </p:nvSpPr>
        <p:spPr>
          <a:xfrm>
            <a:off x="3727450"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1" name="Text Placeholder 11"/>
          <p:cNvSpPr>
            <a:spLocks noGrp="1"/>
          </p:cNvSpPr>
          <p:nvPr>
            <p:ph type="body" sz="quarter" idx="45" hasCustomPrompt="1"/>
          </p:nvPr>
        </p:nvSpPr>
        <p:spPr>
          <a:xfrm>
            <a:off x="542369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2" name="Text Placeholder 21"/>
          <p:cNvSpPr>
            <a:spLocks noGrp="1"/>
          </p:cNvSpPr>
          <p:nvPr>
            <p:ph type="body" sz="quarter" idx="46"/>
          </p:nvPr>
        </p:nvSpPr>
        <p:spPr>
          <a:xfrm>
            <a:off x="542369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4" name="Text Placeholder 11"/>
          <p:cNvSpPr>
            <a:spLocks noGrp="1"/>
          </p:cNvSpPr>
          <p:nvPr>
            <p:ph type="body" sz="quarter" idx="48" hasCustomPrompt="1"/>
          </p:nvPr>
        </p:nvSpPr>
        <p:spPr>
          <a:xfrm>
            <a:off x="7119938"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5" name="Text Placeholder 21"/>
          <p:cNvSpPr>
            <a:spLocks noGrp="1"/>
          </p:cNvSpPr>
          <p:nvPr>
            <p:ph type="body" sz="quarter" idx="49"/>
          </p:nvPr>
        </p:nvSpPr>
        <p:spPr>
          <a:xfrm>
            <a:off x="7119938"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8" name="Text Placeholder 11"/>
          <p:cNvSpPr>
            <a:spLocks noGrp="1"/>
          </p:cNvSpPr>
          <p:nvPr>
            <p:ph type="body" sz="quarter" idx="51" hasCustomPrompt="1"/>
          </p:nvPr>
        </p:nvSpPr>
        <p:spPr>
          <a:xfrm>
            <a:off x="881618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9" name="Text Placeholder 21"/>
          <p:cNvSpPr>
            <a:spLocks noGrp="1"/>
          </p:cNvSpPr>
          <p:nvPr>
            <p:ph type="body" sz="quarter" idx="52"/>
          </p:nvPr>
        </p:nvSpPr>
        <p:spPr>
          <a:xfrm>
            <a:off x="881618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1" name="Text Placeholder 11"/>
          <p:cNvSpPr>
            <a:spLocks noGrp="1"/>
          </p:cNvSpPr>
          <p:nvPr>
            <p:ph type="body" sz="quarter" idx="54" hasCustomPrompt="1"/>
          </p:nvPr>
        </p:nvSpPr>
        <p:spPr>
          <a:xfrm>
            <a:off x="1051242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42" name="Text Placeholder 21"/>
          <p:cNvSpPr>
            <a:spLocks noGrp="1"/>
          </p:cNvSpPr>
          <p:nvPr>
            <p:ph type="body" sz="quarter" idx="55"/>
          </p:nvPr>
        </p:nvSpPr>
        <p:spPr>
          <a:xfrm>
            <a:off x="1051242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3" name="Text Placeholder 21"/>
          <p:cNvSpPr>
            <a:spLocks noGrp="1"/>
          </p:cNvSpPr>
          <p:nvPr>
            <p:ph type="body" sz="quarter" idx="56" hasCustomPrompt="1"/>
          </p:nvPr>
        </p:nvSpPr>
        <p:spPr>
          <a:xfrm>
            <a:off x="334961" y="5640779"/>
            <a:ext cx="11485564" cy="621798"/>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27" name="Text Placeholder 11"/>
          <p:cNvSpPr>
            <a:spLocks noGrp="1"/>
          </p:cNvSpPr>
          <p:nvPr>
            <p:ph type="body" sz="quarter" idx="42" hasCustomPrompt="1"/>
          </p:nvPr>
        </p:nvSpPr>
        <p:spPr>
          <a:xfrm>
            <a:off x="3727450" y="1712626"/>
            <a:ext cx="1308101" cy="629247"/>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
        <p:nvSpPr>
          <p:cNvPr id="7" name="Text Placeholder 6"/>
          <p:cNvSpPr>
            <a:spLocks noGrp="1"/>
          </p:cNvSpPr>
          <p:nvPr>
            <p:ph type="body" sz="quarter" idx="68" hasCustomPrompt="1"/>
          </p:nvPr>
        </p:nvSpPr>
        <p:spPr>
          <a:xfrm>
            <a:off x="334961" y="2612826"/>
            <a:ext cx="1308100" cy="339725"/>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1" name="Text Placeholder 6"/>
          <p:cNvSpPr>
            <a:spLocks noGrp="1"/>
          </p:cNvSpPr>
          <p:nvPr>
            <p:ph type="body" sz="quarter" idx="69" hasCustomPrompt="1"/>
          </p:nvPr>
        </p:nvSpPr>
        <p:spPr>
          <a:xfrm>
            <a:off x="2031206" y="2612826"/>
            <a:ext cx="1308100" cy="339725"/>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2" name="Text Placeholder 6"/>
          <p:cNvSpPr>
            <a:spLocks noGrp="1"/>
          </p:cNvSpPr>
          <p:nvPr>
            <p:ph type="body" sz="quarter" idx="70" hasCustomPrompt="1"/>
          </p:nvPr>
        </p:nvSpPr>
        <p:spPr>
          <a:xfrm>
            <a:off x="3727451" y="2612826"/>
            <a:ext cx="1308100" cy="339725"/>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3" name="Text Placeholder 6"/>
          <p:cNvSpPr>
            <a:spLocks noGrp="1"/>
          </p:cNvSpPr>
          <p:nvPr>
            <p:ph type="body" sz="quarter" idx="71" hasCustomPrompt="1"/>
          </p:nvPr>
        </p:nvSpPr>
        <p:spPr>
          <a:xfrm>
            <a:off x="5423695" y="2612826"/>
            <a:ext cx="1308100" cy="339725"/>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4" name="Text Placeholder 6"/>
          <p:cNvSpPr>
            <a:spLocks noGrp="1"/>
          </p:cNvSpPr>
          <p:nvPr>
            <p:ph type="body" sz="quarter" idx="72" hasCustomPrompt="1"/>
          </p:nvPr>
        </p:nvSpPr>
        <p:spPr>
          <a:xfrm>
            <a:off x="7119939" y="2612826"/>
            <a:ext cx="1308100" cy="339725"/>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5" name="Text Placeholder 6"/>
          <p:cNvSpPr>
            <a:spLocks noGrp="1"/>
          </p:cNvSpPr>
          <p:nvPr>
            <p:ph type="body" sz="quarter" idx="73" hasCustomPrompt="1"/>
          </p:nvPr>
        </p:nvSpPr>
        <p:spPr>
          <a:xfrm>
            <a:off x="8816183" y="2612826"/>
            <a:ext cx="1308100" cy="339725"/>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6" name="Text Placeholder 6"/>
          <p:cNvSpPr>
            <a:spLocks noGrp="1"/>
          </p:cNvSpPr>
          <p:nvPr>
            <p:ph type="body" sz="quarter" idx="74" hasCustomPrompt="1"/>
          </p:nvPr>
        </p:nvSpPr>
        <p:spPr>
          <a:xfrm>
            <a:off x="10512424" y="2612826"/>
            <a:ext cx="1308100" cy="339725"/>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7" name="Text Placeholder 6"/>
          <p:cNvSpPr>
            <a:spLocks noGrp="1"/>
          </p:cNvSpPr>
          <p:nvPr>
            <p:ph type="body" sz="quarter" idx="75" hasCustomPrompt="1"/>
          </p:nvPr>
        </p:nvSpPr>
        <p:spPr>
          <a:xfrm>
            <a:off x="334961" y="3086301"/>
            <a:ext cx="1308100" cy="751562"/>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8" name="Text Placeholder 6"/>
          <p:cNvSpPr>
            <a:spLocks noGrp="1"/>
          </p:cNvSpPr>
          <p:nvPr>
            <p:ph type="body" sz="quarter" idx="76" hasCustomPrompt="1"/>
          </p:nvPr>
        </p:nvSpPr>
        <p:spPr>
          <a:xfrm>
            <a:off x="2031202" y="3086301"/>
            <a:ext cx="1308100" cy="751562"/>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59" name="Text Placeholder 6"/>
          <p:cNvSpPr>
            <a:spLocks noGrp="1"/>
          </p:cNvSpPr>
          <p:nvPr>
            <p:ph type="body" sz="quarter" idx="77" hasCustomPrompt="1"/>
          </p:nvPr>
        </p:nvSpPr>
        <p:spPr>
          <a:xfrm>
            <a:off x="3727451" y="3086301"/>
            <a:ext cx="1308100" cy="751562"/>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60" name="Text Placeholder 6"/>
          <p:cNvSpPr>
            <a:spLocks noGrp="1"/>
          </p:cNvSpPr>
          <p:nvPr>
            <p:ph type="body" sz="quarter" idx="78" hasCustomPrompt="1"/>
          </p:nvPr>
        </p:nvSpPr>
        <p:spPr>
          <a:xfrm>
            <a:off x="5423688" y="3086301"/>
            <a:ext cx="1308100" cy="751562"/>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61" name="Text Placeholder 6"/>
          <p:cNvSpPr>
            <a:spLocks noGrp="1"/>
          </p:cNvSpPr>
          <p:nvPr>
            <p:ph type="body" sz="quarter" idx="79" hasCustomPrompt="1"/>
          </p:nvPr>
        </p:nvSpPr>
        <p:spPr>
          <a:xfrm>
            <a:off x="7119925" y="3086301"/>
            <a:ext cx="1308100" cy="751562"/>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62" name="Text Placeholder 6"/>
          <p:cNvSpPr>
            <a:spLocks noGrp="1"/>
          </p:cNvSpPr>
          <p:nvPr>
            <p:ph type="body" sz="quarter" idx="80" hasCustomPrompt="1"/>
          </p:nvPr>
        </p:nvSpPr>
        <p:spPr>
          <a:xfrm>
            <a:off x="8816162" y="3086301"/>
            <a:ext cx="1308100" cy="751562"/>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
        <p:nvSpPr>
          <p:cNvPr id="63" name="Text Placeholder 6"/>
          <p:cNvSpPr>
            <a:spLocks noGrp="1"/>
          </p:cNvSpPr>
          <p:nvPr>
            <p:ph type="body" sz="quarter" idx="81" hasCustomPrompt="1"/>
          </p:nvPr>
        </p:nvSpPr>
        <p:spPr>
          <a:xfrm>
            <a:off x="10512424" y="3086301"/>
            <a:ext cx="1308100" cy="751562"/>
          </a:xfrm>
        </p:spPr>
        <p:txBody>
          <a:bodyPr anchor="ctr"/>
          <a:lstStyle>
            <a:lvl1pPr marL="0" indent="0" algn="ctr">
              <a:buNone/>
              <a:defRPr sz="900"/>
            </a:lvl1pPr>
            <a:lvl2pPr>
              <a:defRPr sz="900"/>
            </a:lvl2pPr>
            <a:lvl3pPr>
              <a:defRPr sz="900"/>
            </a:lvl3pPr>
            <a:lvl4pPr>
              <a:defRPr sz="900"/>
            </a:lvl4pPr>
            <a:lvl5pPr>
              <a:defRPr sz="900"/>
            </a:lvl5pPr>
          </a:lstStyle>
          <a:p>
            <a:pPr lvl="0"/>
            <a:r>
              <a:rPr lang="en-US"/>
              <a:t>Text</a:t>
            </a:r>
            <a:endParaRPr lang="en-ID"/>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ntent &amp; Coloums Mix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a:br>
            <a:r>
              <a:rPr lang="en-US"/>
              <a:t>Click to edit Title text. Ex. MIND ID Group</a:t>
            </a:r>
            <a:endParaRPr lang="id-ID"/>
          </a:p>
        </p:txBody>
      </p:sp>
      <p:pic>
        <p:nvPicPr>
          <p:cNvPr id="36" name="Picture 35"/>
          <p:cNvPicPr>
            <a:picLocks noChangeAspect="1"/>
          </p:cNvPicPr>
          <p:nvPr/>
        </p:nvPicPr>
        <p:blipFill>
          <a:blip r:embed="rId2" cstate="screen"/>
          <a:stretch>
            <a:fillRect/>
          </a:stretch>
        </p:blipFill>
        <p:spPr>
          <a:xfrm>
            <a:off x="5534706" y="1090969"/>
            <a:ext cx="1122589" cy="324000"/>
          </a:xfrm>
          <a:prstGeom prst="rect">
            <a:avLst/>
          </a:prstGeom>
        </p:spPr>
      </p:pic>
      <p:sp>
        <p:nvSpPr>
          <p:cNvPr id="17" name="Picture Placeholder 4"/>
          <p:cNvSpPr>
            <a:spLocks noGrp="1"/>
          </p:cNvSpPr>
          <p:nvPr>
            <p:ph type="pic" sz="quarter" idx="35"/>
          </p:nvPr>
        </p:nvSpPr>
        <p:spPr>
          <a:xfrm>
            <a:off x="334962" y="3460974"/>
            <a:ext cx="1308101" cy="751562"/>
          </a:xfrm>
          <a:prstGeom prst="roundRect">
            <a:avLst>
              <a:gd name="adj" fmla="val 50000"/>
            </a:avLst>
          </a:prstGeom>
        </p:spPr>
        <p:txBody>
          <a:bodyPr anchor="ctr"/>
          <a:lstStyle>
            <a:lvl1pPr algn="ctr">
              <a:defRPr sz="1400"/>
            </a:lvl1pPr>
          </a:lstStyle>
          <a:p>
            <a:r>
              <a:rPr lang="en-US"/>
              <a:t>Click icon to add picture</a:t>
            </a:r>
            <a:endParaRPr lang="id-ID"/>
          </a:p>
        </p:txBody>
      </p:sp>
      <p:sp>
        <p:nvSpPr>
          <p:cNvPr id="18" name="Text Placeholder 11"/>
          <p:cNvSpPr>
            <a:spLocks noGrp="1"/>
          </p:cNvSpPr>
          <p:nvPr>
            <p:ph type="body" sz="quarter" idx="36" hasCustomPrompt="1"/>
          </p:nvPr>
        </p:nvSpPr>
        <p:spPr>
          <a:xfrm>
            <a:off x="33496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1" name="Text Placeholder 21"/>
          <p:cNvSpPr>
            <a:spLocks noGrp="1"/>
          </p:cNvSpPr>
          <p:nvPr>
            <p:ph type="body" sz="quarter" idx="37"/>
          </p:nvPr>
        </p:nvSpPr>
        <p:spPr>
          <a:xfrm>
            <a:off x="33496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2" name="Picture Placeholder 4"/>
          <p:cNvSpPr>
            <a:spLocks noGrp="1"/>
          </p:cNvSpPr>
          <p:nvPr>
            <p:ph type="pic" sz="quarter" idx="38"/>
          </p:nvPr>
        </p:nvSpPr>
        <p:spPr>
          <a:xfrm>
            <a:off x="2031206" y="3460974"/>
            <a:ext cx="1308101" cy="751562"/>
          </a:xfrm>
          <a:prstGeom prst="roundRect">
            <a:avLst>
              <a:gd name="adj" fmla="val 50000"/>
            </a:avLst>
          </a:prstGeom>
        </p:spPr>
        <p:txBody>
          <a:bodyPr anchor="ctr"/>
          <a:lstStyle>
            <a:lvl1pPr algn="ctr">
              <a:defRPr sz="1400"/>
            </a:lvl1pPr>
          </a:lstStyle>
          <a:p>
            <a:r>
              <a:rPr lang="en-US"/>
              <a:t>Click icon to add picture</a:t>
            </a:r>
            <a:endParaRPr lang="id-ID"/>
          </a:p>
        </p:txBody>
      </p:sp>
      <p:sp>
        <p:nvSpPr>
          <p:cNvPr id="24" name="Text Placeholder 11"/>
          <p:cNvSpPr>
            <a:spLocks noGrp="1"/>
          </p:cNvSpPr>
          <p:nvPr>
            <p:ph type="body" sz="quarter" idx="39" hasCustomPrompt="1"/>
          </p:nvPr>
        </p:nvSpPr>
        <p:spPr>
          <a:xfrm>
            <a:off x="2031206"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5" name="Text Placeholder 21"/>
          <p:cNvSpPr>
            <a:spLocks noGrp="1"/>
          </p:cNvSpPr>
          <p:nvPr>
            <p:ph type="body" sz="quarter" idx="40"/>
          </p:nvPr>
        </p:nvSpPr>
        <p:spPr>
          <a:xfrm>
            <a:off x="2031206"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6" name="Picture Placeholder 4"/>
          <p:cNvSpPr>
            <a:spLocks noGrp="1"/>
          </p:cNvSpPr>
          <p:nvPr>
            <p:ph type="pic" sz="quarter" idx="41"/>
          </p:nvPr>
        </p:nvSpPr>
        <p:spPr>
          <a:xfrm>
            <a:off x="3727450" y="3460974"/>
            <a:ext cx="1308101" cy="751562"/>
          </a:xfrm>
          <a:prstGeom prst="roundRect">
            <a:avLst>
              <a:gd name="adj" fmla="val 50000"/>
            </a:avLst>
          </a:prstGeom>
        </p:spPr>
        <p:txBody>
          <a:bodyPr anchor="ctr"/>
          <a:lstStyle>
            <a:lvl1pPr algn="ctr">
              <a:defRPr sz="1400"/>
            </a:lvl1pPr>
          </a:lstStyle>
          <a:p>
            <a:r>
              <a:rPr lang="en-US"/>
              <a:t>Click icon to add picture</a:t>
            </a:r>
            <a:endParaRPr lang="id-ID"/>
          </a:p>
        </p:txBody>
      </p:sp>
      <p:sp>
        <p:nvSpPr>
          <p:cNvPr id="29" name="Text Placeholder 21"/>
          <p:cNvSpPr>
            <a:spLocks noGrp="1"/>
          </p:cNvSpPr>
          <p:nvPr>
            <p:ph type="body" sz="quarter" idx="43"/>
          </p:nvPr>
        </p:nvSpPr>
        <p:spPr>
          <a:xfrm>
            <a:off x="3727450"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0" name="Picture Placeholder 4"/>
          <p:cNvSpPr>
            <a:spLocks noGrp="1"/>
          </p:cNvSpPr>
          <p:nvPr>
            <p:ph type="pic" sz="quarter" idx="44"/>
          </p:nvPr>
        </p:nvSpPr>
        <p:spPr>
          <a:xfrm>
            <a:off x="5423694" y="3460974"/>
            <a:ext cx="1308101" cy="751562"/>
          </a:xfrm>
          <a:prstGeom prst="roundRect">
            <a:avLst>
              <a:gd name="adj" fmla="val 50000"/>
            </a:avLst>
          </a:prstGeom>
        </p:spPr>
        <p:txBody>
          <a:bodyPr anchor="ctr"/>
          <a:lstStyle>
            <a:lvl1pPr algn="ctr">
              <a:defRPr sz="1400"/>
            </a:lvl1pPr>
          </a:lstStyle>
          <a:p>
            <a:r>
              <a:rPr lang="en-US"/>
              <a:t>Click icon to add picture</a:t>
            </a:r>
            <a:endParaRPr lang="id-ID"/>
          </a:p>
        </p:txBody>
      </p:sp>
      <p:sp>
        <p:nvSpPr>
          <p:cNvPr id="31" name="Text Placeholder 11"/>
          <p:cNvSpPr>
            <a:spLocks noGrp="1"/>
          </p:cNvSpPr>
          <p:nvPr>
            <p:ph type="body" sz="quarter" idx="45" hasCustomPrompt="1"/>
          </p:nvPr>
        </p:nvSpPr>
        <p:spPr>
          <a:xfrm>
            <a:off x="542369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2" name="Text Placeholder 21"/>
          <p:cNvSpPr>
            <a:spLocks noGrp="1"/>
          </p:cNvSpPr>
          <p:nvPr>
            <p:ph type="body" sz="quarter" idx="46"/>
          </p:nvPr>
        </p:nvSpPr>
        <p:spPr>
          <a:xfrm>
            <a:off x="542369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3" name="Picture Placeholder 4"/>
          <p:cNvSpPr>
            <a:spLocks noGrp="1"/>
          </p:cNvSpPr>
          <p:nvPr>
            <p:ph type="pic" sz="quarter" idx="47"/>
          </p:nvPr>
        </p:nvSpPr>
        <p:spPr>
          <a:xfrm>
            <a:off x="7119938" y="3460974"/>
            <a:ext cx="1308101" cy="751562"/>
          </a:xfrm>
          <a:prstGeom prst="roundRect">
            <a:avLst>
              <a:gd name="adj" fmla="val 50000"/>
            </a:avLst>
          </a:prstGeom>
        </p:spPr>
        <p:txBody>
          <a:bodyPr anchor="ctr"/>
          <a:lstStyle>
            <a:lvl1pPr algn="ctr">
              <a:defRPr sz="1400"/>
            </a:lvl1pPr>
          </a:lstStyle>
          <a:p>
            <a:r>
              <a:rPr lang="en-US"/>
              <a:t>Click icon to add picture</a:t>
            </a:r>
            <a:endParaRPr lang="id-ID"/>
          </a:p>
        </p:txBody>
      </p:sp>
      <p:sp>
        <p:nvSpPr>
          <p:cNvPr id="34" name="Text Placeholder 11"/>
          <p:cNvSpPr>
            <a:spLocks noGrp="1"/>
          </p:cNvSpPr>
          <p:nvPr>
            <p:ph type="body" sz="quarter" idx="48" hasCustomPrompt="1"/>
          </p:nvPr>
        </p:nvSpPr>
        <p:spPr>
          <a:xfrm>
            <a:off x="7119938"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5" name="Text Placeholder 21"/>
          <p:cNvSpPr>
            <a:spLocks noGrp="1"/>
          </p:cNvSpPr>
          <p:nvPr>
            <p:ph type="body" sz="quarter" idx="49"/>
          </p:nvPr>
        </p:nvSpPr>
        <p:spPr>
          <a:xfrm>
            <a:off x="7119938"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7" name="Picture Placeholder 4"/>
          <p:cNvSpPr>
            <a:spLocks noGrp="1"/>
          </p:cNvSpPr>
          <p:nvPr>
            <p:ph type="pic" sz="quarter" idx="50"/>
          </p:nvPr>
        </p:nvSpPr>
        <p:spPr>
          <a:xfrm>
            <a:off x="8816182" y="3460974"/>
            <a:ext cx="1308101" cy="751562"/>
          </a:xfrm>
          <a:prstGeom prst="roundRect">
            <a:avLst>
              <a:gd name="adj" fmla="val 50000"/>
            </a:avLst>
          </a:prstGeom>
        </p:spPr>
        <p:txBody>
          <a:bodyPr anchor="ctr"/>
          <a:lstStyle>
            <a:lvl1pPr algn="ctr">
              <a:defRPr sz="1400"/>
            </a:lvl1pPr>
          </a:lstStyle>
          <a:p>
            <a:r>
              <a:rPr lang="en-US"/>
              <a:t>Click icon to add picture</a:t>
            </a:r>
            <a:endParaRPr lang="id-ID"/>
          </a:p>
        </p:txBody>
      </p:sp>
      <p:sp>
        <p:nvSpPr>
          <p:cNvPr id="38" name="Text Placeholder 11"/>
          <p:cNvSpPr>
            <a:spLocks noGrp="1"/>
          </p:cNvSpPr>
          <p:nvPr>
            <p:ph type="body" sz="quarter" idx="51" hasCustomPrompt="1"/>
          </p:nvPr>
        </p:nvSpPr>
        <p:spPr>
          <a:xfrm>
            <a:off x="881618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9" name="Text Placeholder 21"/>
          <p:cNvSpPr>
            <a:spLocks noGrp="1"/>
          </p:cNvSpPr>
          <p:nvPr>
            <p:ph type="body" sz="quarter" idx="52"/>
          </p:nvPr>
        </p:nvSpPr>
        <p:spPr>
          <a:xfrm>
            <a:off x="881618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0" name="Picture Placeholder 4"/>
          <p:cNvSpPr>
            <a:spLocks noGrp="1"/>
          </p:cNvSpPr>
          <p:nvPr>
            <p:ph type="pic" sz="quarter" idx="53"/>
          </p:nvPr>
        </p:nvSpPr>
        <p:spPr>
          <a:xfrm>
            <a:off x="10512424" y="3460974"/>
            <a:ext cx="1308101" cy="751562"/>
          </a:xfrm>
          <a:prstGeom prst="roundRect">
            <a:avLst>
              <a:gd name="adj" fmla="val 50000"/>
            </a:avLst>
          </a:prstGeom>
        </p:spPr>
        <p:txBody>
          <a:bodyPr anchor="ctr"/>
          <a:lstStyle>
            <a:lvl1pPr algn="ctr">
              <a:defRPr sz="1400"/>
            </a:lvl1pPr>
          </a:lstStyle>
          <a:p>
            <a:r>
              <a:rPr lang="en-US"/>
              <a:t>Click icon to add picture</a:t>
            </a:r>
            <a:endParaRPr lang="id-ID"/>
          </a:p>
        </p:txBody>
      </p:sp>
      <p:sp>
        <p:nvSpPr>
          <p:cNvPr id="41" name="Text Placeholder 11"/>
          <p:cNvSpPr>
            <a:spLocks noGrp="1"/>
          </p:cNvSpPr>
          <p:nvPr>
            <p:ph type="body" sz="quarter" idx="54" hasCustomPrompt="1"/>
          </p:nvPr>
        </p:nvSpPr>
        <p:spPr>
          <a:xfrm>
            <a:off x="1051242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42" name="Text Placeholder 21"/>
          <p:cNvSpPr>
            <a:spLocks noGrp="1"/>
          </p:cNvSpPr>
          <p:nvPr>
            <p:ph type="body" sz="quarter" idx="55"/>
          </p:nvPr>
        </p:nvSpPr>
        <p:spPr>
          <a:xfrm>
            <a:off x="1051242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3" name="Text Placeholder 21"/>
          <p:cNvSpPr>
            <a:spLocks noGrp="1"/>
          </p:cNvSpPr>
          <p:nvPr>
            <p:ph type="body" sz="quarter" idx="56" hasCustomPrompt="1"/>
          </p:nvPr>
        </p:nvSpPr>
        <p:spPr>
          <a:xfrm>
            <a:off x="334961" y="5890437"/>
            <a:ext cx="11485564" cy="372140"/>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44" name="Picture Placeholder 6"/>
          <p:cNvSpPr>
            <a:spLocks noGrp="1"/>
          </p:cNvSpPr>
          <p:nvPr>
            <p:ph type="pic" sz="quarter" idx="58"/>
          </p:nvPr>
        </p:nvSpPr>
        <p:spPr>
          <a:xfrm>
            <a:off x="2031383" y="3018669"/>
            <a:ext cx="1308100" cy="340452"/>
          </a:xfrm>
        </p:spPr>
        <p:txBody>
          <a:bodyPr anchor="ctr"/>
          <a:lstStyle>
            <a:lvl1pPr marL="0" indent="0" algn="ctr">
              <a:buNone/>
              <a:defRPr sz="1200"/>
            </a:lvl1pPr>
          </a:lstStyle>
          <a:p>
            <a:r>
              <a:rPr lang="en-US"/>
              <a:t>Click icon to add picture</a:t>
            </a:r>
            <a:endParaRPr lang="id-ID"/>
          </a:p>
        </p:txBody>
      </p:sp>
      <p:sp>
        <p:nvSpPr>
          <p:cNvPr id="45" name="Picture Placeholder 6"/>
          <p:cNvSpPr>
            <a:spLocks noGrp="1"/>
          </p:cNvSpPr>
          <p:nvPr>
            <p:ph type="pic" sz="quarter" idx="59"/>
          </p:nvPr>
        </p:nvSpPr>
        <p:spPr>
          <a:xfrm>
            <a:off x="334961" y="3018669"/>
            <a:ext cx="1308100" cy="340452"/>
          </a:xfrm>
        </p:spPr>
        <p:txBody>
          <a:bodyPr anchor="ctr"/>
          <a:lstStyle>
            <a:lvl1pPr marL="0" indent="0" algn="ctr">
              <a:buNone/>
              <a:defRPr sz="1200"/>
            </a:lvl1pPr>
          </a:lstStyle>
          <a:p>
            <a:r>
              <a:rPr lang="en-US"/>
              <a:t>Click icon to add picture</a:t>
            </a:r>
            <a:endParaRPr lang="id-ID"/>
          </a:p>
        </p:txBody>
      </p:sp>
      <p:sp>
        <p:nvSpPr>
          <p:cNvPr id="46" name="Picture Placeholder 6"/>
          <p:cNvSpPr>
            <a:spLocks noGrp="1"/>
          </p:cNvSpPr>
          <p:nvPr>
            <p:ph type="pic" sz="quarter" idx="60"/>
          </p:nvPr>
        </p:nvSpPr>
        <p:spPr>
          <a:xfrm>
            <a:off x="3727805" y="3018669"/>
            <a:ext cx="1308100" cy="340452"/>
          </a:xfrm>
        </p:spPr>
        <p:txBody>
          <a:bodyPr anchor="ctr"/>
          <a:lstStyle>
            <a:lvl1pPr marL="0" indent="0" algn="ctr">
              <a:buNone/>
              <a:defRPr sz="1200"/>
            </a:lvl1pPr>
          </a:lstStyle>
          <a:p>
            <a:r>
              <a:rPr lang="en-US"/>
              <a:t>Click icon to add picture</a:t>
            </a:r>
            <a:endParaRPr lang="id-ID"/>
          </a:p>
        </p:txBody>
      </p:sp>
      <p:sp>
        <p:nvSpPr>
          <p:cNvPr id="47" name="Picture Placeholder 6"/>
          <p:cNvSpPr>
            <a:spLocks noGrp="1"/>
          </p:cNvSpPr>
          <p:nvPr>
            <p:ph type="pic" sz="quarter" idx="61"/>
          </p:nvPr>
        </p:nvSpPr>
        <p:spPr>
          <a:xfrm>
            <a:off x="5424227" y="3018669"/>
            <a:ext cx="1308100" cy="340452"/>
          </a:xfrm>
        </p:spPr>
        <p:txBody>
          <a:bodyPr anchor="ctr"/>
          <a:lstStyle>
            <a:lvl1pPr marL="0" indent="0" algn="ctr">
              <a:buNone/>
              <a:defRPr sz="1200"/>
            </a:lvl1pPr>
          </a:lstStyle>
          <a:p>
            <a:r>
              <a:rPr lang="en-US"/>
              <a:t>Click icon to add picture</a:t>
            </a:r>
            <a:endParaRPr lang="id-ID"/>
          </a:p>
        </p:txBody>
      </p:sp>
      <p:sp>
        <p:nvSpPr>
          <p:cNvPr id="48" name="Picture Placeholder 6"/>
          <p:cNvSpPr>
            <a:spLocks noGrp="1"/>
          </p:cNvSpPr>
          <p:nvPr>
            <p:ph type="pic" sz="quarter" idx="62"/>
          </p:nvPr>
        </p:nvSpPr>
        <p:spPr>
          <a:xfrm>
            <a:off x="7120649" y="3018669"/>
            <a:ext cx="1308100" cy="340452"/>
          </a:xfrm>
        </p:spPr>
        <p:txBody>
          <a:bodyPr anchor="ctr"/>
          <a:lstStyle>
            <a:lvl1pPr marL="0" indent="0" algn="ctr">
              <a:buNone/>
              <a:defRPr sz="1200"/>
            </a:lvl1pPr>
          </a:lstStyle>
          <a:p>
            <a:r>
              <a:rPr lang="en-US"/>
              <a:t>Click icon to add picture</a:t>
            </a:r>
            <a:endParaRPr lang="id-ID"/>
          </a:p>
        </p:txBody>
      </p:sp>
      <p:sp>
        <p:nvSpPr>
          <p:cNvPr id="49" name="Picture Placeholder 6"/>
          <p:cNvSpPr>
            <a:spLocks noGrp="1"/>
          </p:cNvSpPr>
          <p:nvPr>
            <p:ph type="pic" sz="quarter" idx="63"/>
          </p:nvPr>
        </p:nvSpPr>
        <p:spPr>
          <a:xfrm>
            <a:off x="8817071" y="3018669"/>
            <a:ext cx="1308100" cy="340452"/>
          </a:xfrm>
        </p:spPr>
        <p:txBody>
          <a:bodyPr anchor="ctr"/>
          <a:lstStyle>
            <a:lvl1pPr marL="0" indent="0" algn="ctr">
              <a:buNone/>
              <a:defRPr sz="1200"/>
            </a:lvl1pPr>
          </a:lstStyle>
          <a:p>
            <a:r>
              <a:rPr lang="en-US"/>
              <a:t>Click icon to add picture</a:t>
            </a:r>
            <a:endParaRPr lang="id-ID"/>
          </a:p>
        </p:txBody>
      </p:sp>
      <p:sp>
        <p:nvSpPr>
          <p:cNvPr id="50" name="Picture Placeholder 6"/>
          <p:cNvSpPr>
            <a:spLocks noGrp="1"/>
          </p:cNvSpPr>
          <p:nvPr>
            <p:ph type="pic" sz="quarter" idx="64"/>
          </p:nvPr>
        </p:nvSpPr>
        <p:spPr>
          <a:xfrm>
            <a:off x="10513495" y="3018669"/>
            <a:ext cx="1308100" cy="340452"/>
          </a:xfrm>
        </p:spPr>
        <p:txBody>
          <a:bodyPr anchor="ctr"/>
          <a:lstStyle>
            <a:lvl1pPr marL="0" indent="0" algn="ctr">
              <a:buNone/>
              <a:defRPr sz="1200"/>
            </a:lvl1pPr>
          </a:lstStyle>
          <a:p>
            <a:r>
              <a:rPr lang="en-US"/>
              <a:t>Click icon to add picture</a:t>
            </a:r>
            <a:endParaRPr lang="id-ID"/>
          </a:p>
        </p:txBody>
      </p:sp>
      <p:sp>
        <p:nvSpPr>
          <p:cNvPr id="27" name="Text Placeholder 11"/>
          <p:cNvSpPr>
            <a:spLocks noGrp="1"/>
          </p:cNvSpPr>
          <p:nvPr>
            <p:ph type="body" sz="quarter" idx="42" hasCustomPrompt="1"/>
          </p:nvPr>
        </p:nvSpPr>
        <p:spPr>
          <a:xfrm>
            <a:off x="3727450" y="2124147"/>
            <a:ext cx="1308101" cy="7704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ntent &amp; Coloums Mix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8995965" cy="645305"/>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lvl1pPr>
              <a:defRPr>
                <a:solidFill>
                  <a:schemeClr val="bg1">
                    <a:lumMod val="85000"/>
                  </a:schemeClr>
                </a:solidFill>
              </a:defRPr>
            </a:lvl1pPr>
          </a:lstStyle>
          <a:p>
            <a:r>
              <a:rPr lang="en-ID"/>
              <a:t>Thursday, 11 December 2021</a:t>
            </a:r>
            <a:endParaRPr lang="id-ID"/>
          </a:p>
        </p:txBody>
      </p:sp>
      <p:sp>
        <p:nvSpPr>
          <p:cNvPr id="4" name="Slide Number Placeholder 3"/>
          <p:cNvSpPr>
            <a:spLocks noGrp="1"/>
          </p:cNvSpPr>
          <p:nvPr>
            <p:ph type="sldNum" sz="quarter" idx="11"/>
          </p:nvPr>
        </p:nvSpPr>
        <p:spPr/>
        <p:txBody>
          <a:bodyPr/>
          <a:lstStyle>
            <a:lvl1pPr>
              <a:defRPr>
                <a:solidFill>
                  <a:schemeClr val="bg1">
                    <a:lumMod val="85000"/>
                  </a:schemeClr>
                </a:solidFill>
              </a:defRPr>
            </a:lvl1p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lvl1pPr>
              <a:defRPr>
                <a:solidFill>
                  <a:schemeClr val="bg1">
                    <a:lumMod val="85000"/>
                  </a:schemeClr>
                </a:solidFill>
              </a:defRPr>
            </a:lvl1pPr>
          </a:lstStyle>
          <a:p>
            <a:pPr algn="l"/>
            <a:r>
              <a:rPr lang="en-US"/>
              <a:t>This presentation has been prepared specifically by MIND ID. The content of this presentation may not be used, duplicated or transmitted in any form without the written consent from MIND ID. All rights reserved.</a:t>
            </a:r>
          </a:p>
        </p:txBody>
      </p:sp>
      <p:sp>
        <p:nvSpPr>
          <p:cNvPr id="9" name="Picture Placeholder 6"/>
          <p:cNvSpPr>
            <a:spLocks noGrp="1"/>
          </p:cNvSpPr>
          <p:nvPr>
            <p:ph type="pic" sz="quarter" idx="59"/>
          </p:nvPr>
        </p:nvSpPr>
        <p:spPr>
          <a:xfrm>
            <a:off x="867648" y="1270000"/>
            <a:ext cx="2348032" cy="483228"/>
          </a:xfrm>
        </p:spPr>
        <p:txBody>
          <a:bodyPr anchor="ctr"/>
          <a:lstStyle>
            <a:lvl1pPr marL="0" indent="0" algn="ctr">
              <a:buNone/>
              <a:defRPr sz="1200"/>
            </a:lvl1pPr>
          </a:lstStyle>
          <a:p>
            <a:r>
              <a:rPr lang="en-US"/>
              <a:t>Click icon to add picture</a:t>
            </a:r>
            <a:endParaRPr lang="id-ID"/>
          </a:p>
        </p:txBody>
      </p:sp>
      <p:sp>
        <p:nvSpPr>
          <p:cNvPr id="14" name="Text Placeholder 21"/>
          <p:cNvSpPr>
            <a:spLocks noGrp="1"/>
          </p:cNvSpPr>
          <p:nvPr>
            <p:ph type="body" sz="quarter" idx="63" hasCustomPrompt="1"/>
          </p:nvPr>
        </p:nvSpPr>
        <p:spPr>
          <a:xfrm>
            <a:off x="86764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15" name="Text Placeholder 21"/>
          <p:cNvSpPr>
            <a:spLocks noGrp="1"/>
          </p:cNvSpPr>
          <p:nvPr>
            <p:ph type="body" sz="quarter" idx="64" hasCustomPrompt="1"/>
          </p:nvPr>
        </p:nvSpPr>
        <p:spPr>
          <a:xfrm>
            <a:off x="86764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18" name="Text Placeholder 21"/>
          <p:cNvSpPr>
            <a:spLocks noGrp="1"/>
          </p:cNvSpPr>
          <p:nvPr>
            <p:ph type="body" sz="quarter" idx="65" hasCustomPrompt="1"/>
          </p:nvPr>
        </p:nvSpPr>
        <p:spPr>
          <a:xfrm>
            <a:off x="86764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en-US"/>
          </a:p>
        </p:txBody>
      </p:sp>
      <p:sp>
        <p:nvSpPr>
          <p:cNvPr id="19" name="Picture Placeholder 6"/>
          <p:cNvSpPr>
            <a:spLocks noGrp="1"/>
          </p:cNvSpPr>
          <p:nvPr>
            <p:ph type="pic" sz="quarter" idx="66"/>
          </p:nvPr>
        </p:nvSpPr>
        <p:spPr>
          <a:xfrm>
            <a:off x="3641328" y="1270000"/>
            <a:ext cx="2348032" cy="483228"/>
          </a:xfrm>
        </p:spPr>
        <p:txBody>
          <a:bodyPr anchor="ctr"/>
          <a:lstStyle>
            <a:lvl1pPr marL="0" indent="0" algn="ctr">
              <a:buNone/>
              <a:defRPr sz="1200"/>
            </a:lvl1pPr>
          </a:lstStyle>
          <a:p>
            <a:r>
              <a:rPr lang="en-US"/>
              <a:t>Click icon to add picture</a:t>
            </a:r>
            <a:endParaRPr lang="id-ID"/>
          </a:p>
        </p:txBody>
      </p:sp>
      <p:sp>
        <p:nvSpPr>
          <p:cNvPr id="20" name="Text Placeholder 21"/>
          <p:cNvSpPr>
            <a:spLocks noGrp="1"/>
          </p:cNvSpPr>
          <p:nvPr>
            <p:ph type="body" sz="quarter" idx="67" hasCustomPrompt="1"/>
          </p:nvPr>
        </p:nvSpPr>
        <p:spPr>
          <a:xfrm>
            <a:off x="36413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1" name="Text Placeholder 21"/>
          <p:cNvSpPr>
            <a:spLocks noGrp="1"/>
          </p:cNvSpPr>
          <p:nvPr>
            <p:ph type="body" sz="quarter" idx="68" hasCustomPrompt="1"/>
          </p:nvPr>
        </p:nvSpPr>
        <p:spPr>
          <a:xfrm>
            <a:off x="36413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22" name="Text Placeholder 21"/>
          <p:cNvSpPr>
            <a:spLocks noGrp="1"/>
          </p:cNvSpPr>
          <p:nvPr>
            <p:ph type="body" sz="quarter" idx="69" hasCustomPrompt="1"/>
          </p:nvPr>
        </p:nvSpPr>
        <p:spPr>
          <a:xfrm>
            <a:off x="36413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27" name="Picture Placeholder 6"/>
          <p:cNvSpPr>
            <a:spLocks noGrp="1"/>
          </p:cNvSpPr>
          <p:nvPr>
            <p:ph type="pic" sz="quarter" idx="70"/>
          </p:nvPr>
        </p:nvSpPr>
        <p:spPr>
          <a:xfrm>
            <a:off x="6465808" y="1270000"/>
            <a:ext cx="2348032" cy="483228"/>
          </a:xfrm>
        </p:spPr>
        <p:txBody>
          <a:bodyPr anchor="ctr"/>
          <a:lstStyle>
            <a:lvl1pPr marL="0" indent="0" algn="ctr">
              <a:buNone/>
              <a:defRPr sz="1200"/>
            </a:lvl1pPr>
          </a:lstStyle>
          <a:p>
            <a:r>
              <a:rPr lang="en-US"/>
              <a:t>Click icon to add picture</a:t>
            </a:r>
            <a:endParaRPr lang="id-ID"/>
          </a:p>
        </p:txBody>
      </p:sp>
      <p:sp>
        <p:nvSpPr>
          <p:cNvPr id="28" name="Text Placeholder 21"/>
          <p:cNvSpPr>
            <a:spLocks noGrp="1"/>
          </p:cNvSpPr>
          <p:nvPr>
            <p:ph type="body" sz="quarter" idx="71" hasCustomPrompt="1"/>
          </p:nvPr>
        </p:nvSpPr>
        <p:spPr>
          <a:xfrm>
            <a:off x="646580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9" name="Text Placeholder 21"/>
          <p:cNvSpPr>
            <a:spLocks noGrp="1"/>
          </p:cNvSpPr>
          <p:nvPr>
            <p:ph type="body" sz="quarter" idx="72" hasCustomPrompt="1"/>
          </p:nvPr>
        </p:nvSpPr>
        <p:spPr>
          <a:xfrm>
            <a:off x="646580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0" name="Text Placeholder 21"/>
          <p:cNvSpPr>
            <a:spLocks noGrp="1"/>
          </p:cNvSpPr>
          <p:nvPr>
            <p:ph type="body" sz="quarter" idx="73" hasCustomPrompt="1"/>
          </p:nvPr>
        </p:nvSpPr>
        <p:spPr>
          <a:xfrm>
            <a:off x="646580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1" name="Picture Placeholder 6"/>
          <p:cNvSpPr>
            <a:spLocks noGrp="1"/>
          </p:cNvSpPr>
          <p:nvPr>
            <p:ph type="pic" sz="quarter" idx="74"/>
          </p:nvPr>
        </p:nvSpPr>
        <p:spPr>
          <a:xfrm>
            <a:off x="9330928" y="1270000"/>
            <a:ext cx="2348032" cy="483228"/>
          </a:xfrm>
        </p:spPr>
        <p:txBody>
          <a:bodyPr anchor="ctr"/>
          <a:lstStyle>
            <a:lvl1pPr marL="0" indent="0" algn="ctr">
              <a:buNone/>
              <a:defRPr sz="1200"/>
            </a:lvl1pPr>
          </a:lstStyle>
          <a:p>
            <a:r>
              <a:rPr lang="en-US"/>
              <a:t>Click icon to add picture</a:t>
            </a:r>
            <a:endParaRPr lang="id-ID"/>
          </a:p>
        </p:txBody>
      </p:sp>
      <p:sp>
        <p:nvSpPr>
          <p:cNvPr id="32" name="Text Placeholder 21"/>
          <p:cNvSpPr>
            <a:spLocks noGrp="1"/>
          </p:cNvSpPr>
          <p:nvPr>
            <p:ph type="body" sz="quarter" idx="75" hasCustomPrompt="1"/>
          </p:nvPr>
        </p:nvSpPr>
        <p:spPr>
          <a:xfrm>
            <a:off x="93309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33" name="Text Placeholder 21"/>
          <p:cNvSpPr>
            <a:spLocks noGrp="1"/>
          </p:cNvSpPr>
          <p:nvPr>
            <p:ph type="body" sz="quarter" idx="76" hasCustomPrompt="1"/>
          </p:nvPr>
        </p:nvSpPr>
        <p:spPr>
          <a:xfrm>
            <a:off x="93309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4" name="Text Placeholder 21"/>
          <p:cNvSpPr>
            <a:spLocks noGrp="1"/>
          </p:cNvSpPr>
          <p:nvPr>
            <p:ph type="body" sz="quarter" idx="77" hasCustomPrompt="1"/>
          </p:nvPr>
        </p:nvSpPr>
        <p:spPr>
          <a:xfrm>
            <a:off x="93309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6" name="Text Placeholder 21"/>
          <p:cNvSpPr>
            <a:spLocks noGrp="1"/>
          </p:cNvSpPr>
          <p:nvPr>
            <p:ph type="body" sz="quarter" idx="78" hasCustomPrompt="1"/>
          </p:nvPr>
        </p:nvSpPr>
        <p:spPr>
          <a:xfrm>
            <a:off x="336520" y="182880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
        <p:nvSpPr>
          <p:cNvPr id="39" name="Text Placeholder 21"/>
          <p:cNvSpPr>
            <a:spLocks noGrp="1"/>
          </p:cNvSpPr>
          <p:nvPr>
            <p:ph type="body" sz="quarter" idx="79" hasCustomPrompt="1"/>
          </p:nvPr>
        </p:nvSpPr>
        <p:spPr>
          <a:xfrm>
            <a:off x="336520" y="458216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solidFill>
                  <a:schemeClr val="bg1"/>
                </a:solidFill>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ntent with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1" y="1917659"/>
            <a:ext cx="11485563"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761036"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19" name="Text Placeholder 8"/>
          <p:cNvSpPr>
            <a:spLocks noGrp="1"/>
          </p:cNvSpPr>
          <p:nvPr>
            <p:ph type="body" sz="quarter" idx="18" hasCustomPrompt="1"/>
          </p:nvPr>
        </p:nvSpPr>
        <p:spPr>
          <a:xfrm>
            <a:off x="3624734"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0" name="Text Placeholder 8"/>
          <p:cNvSpPr>
            <a:spLocks noGrp="1"/>
          </p:cNvSpPr>
          <p:nvPr>
            <p:ph type="body" sz="quarter" idx="19" hasCustomPrompt="1"/>
          </p:nvPr>
        </p:nvSpPr>
        <p:spPr>
          <a:xfrm>
            <a:off x="6914505"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2" name="Text Placeholder 8"/>
          <p:cNvSpPr>
            <a:spLocks noGrp="1"/>
          </p:cNvSpPr>
          <p:nvPr>
            <p:ph type="body" sz="quarter" idx="21" hasCustomPrompt="1"/>
          </p:nvPr>
        </p:nvSpPr>
        <p:spPr>
          <a:xfrm>
            <a:off x="10235952" y="1923924"/>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4" name="Text Placeholder 8"/>
          <p:cNvSpPr>
            <a:spLocks noGrp="1"/>
          </p:cNvSpPr>
          <p:nvPr>
            <p:ph type="body" sz="quarter" idx="23" hasCustomPrompt="1"/>
          </p:nvPr>
        </p:nvSpPr>
        <p:spPr>
          <a:xfrm>
            <a:off x="3624734"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5" name="Text Placeholder 8"/>
          <p:cNvSpPr>
            <a:spLocks noGrp="1"/>
          </p:cNvSpPr>
          <p:nvPr>
            <p:ph type="body" sz="quarter" idx="24" hasCustomPrompt="1"/>
          </p:nvPr>
        </p:nvSpPr>
        <p:spPr>
          <a:xfrm>
            <a:off x="6914505"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6" name="Text Placeholder 8"/>
          <p:cNvSpPr>
            <a:spLocks noGrp="1"/>
          </p:cNvSpPr>
          <p:nvPr>
            <p:ph type="body" sz="quarter" idx="25" hasCustomPrompt="1"/>
          </p:nvPr>
        </p:nvSpPr>
        <p:spPr>
          <a:xfrm>
            <a:off x="10235952" y="4509961"/>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7" name="Text Placeholder 8"/>
          <p:cNvSpPr>
            <a:spLocks noGrp="1"/>
          </p:cNvSpPr>
          <p:nvPr>
            <p:ph type="body" sz="quarter" idx="26" hasCustomPrompt="1"/>
          </p:nvPr>
        </p:nvSpPr>
        <p:spPr>
          <a:xfrm>
            <a:off x="334963" y="5013176"/>
            <a:ext cx="6481117"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28" name="Text Placeholder 8"/>
          <p:cNvSpPr>
            <a:spLocks noGrp="1"/>
          </p:cNvSpPr>
          <p:nvPr>
            <p:ph type="body" sz="quarter" idx="27" hasCustomPrompt="1"/>
          </p:nvPr>
        </p:nvSpPr>
        <p:spPr>
          <a:xfrm>
            <a:off x="334963" y="5663201"/>
            <a:ext cx="11485562" cy="166099"/>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a:p>
          <a:p>
            <a:pPr lvl="0"/>
            <a:endParaRPr lang="en-US"/>
          </a:p>
          <a:p>
            <a:pPr lvl="0"/>
            <a:endParaRPr lang="en-US"/>
          </a:p>
          <a:p>
            <a:pPr lvl="0"/>
            <a:endParaRPr lang="en-US"/>
          </a:p>
          <a:p>
            <a:pPr lvl="0"/>
            <a:endParaRPr lang="en-US"/>
          </a:p>
        </p:txBody>
      </p:sp>
      <p:sp>
        <p:nvSpPr>
          <p:cNvPr id="5" name="TextBox 4"/>
          <p:cNvSpPr txBox="1"/>
          <p:nvPr/>
        </p:nvSpPr>
        <p:spPr>
          <a:xfrm>
            <a:off x="-176645" y="426027"/>
            <a:ext cx="0" cy="0"/>
          </a:xfrm>
          <a:prstGeom prst="rect">
            <a:avLst/>
          </a:prstGeom>
        </p:spPr>
        <p:txBody>
          <a:bodyPr vert="horz" wrap="none" lIns="0" tIns="45720" rIns="91440" bIns="45720" rtlCol="0" anchor="ctr">
            <a:noAutofit/>
          </a:bodyPr>
          <a:lstStyle/>
          <a:p>
            <a:endParaRPr lang="en-US" sz="1600" b="0" i="0">
              <a:solidFill>
                <a:schemeClr val="accent1"/>
              </a:solidFill>
              <a:latin typeface="Gotham Medium" charset="0"/>
              <a:ea typeface="Gotham Medium" charset="0"/>
              <a:cs typeface="Gotham Medium"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mp; Coloums Mix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dirty="0"/>
            </a:br>
            <a:r>
              <a:rPr lang="en-US" dirty="0"/>
              <a:t>Click to edit Title text. Ex. MIND ID Group</a:t>
            </a:r>
            <a:endParaRPr lang="id-ID" dirty="0"/>
          </a:p>
        </p:txBody>
      </p:sp>
      <p:sp>
        <p:nvSpPr>
          <p:cNvPr id="17" name="Picture Placeholder 4"/>
          <p:cNvSpPr>
            <a:spLocks noGrp="1"/>
          </p:cNvSpPr>
          <p:nvPr>
            <p:ph type="pic" sz="quarter" idx="35"/>
          </p:nvPr>
        </p:nvSpPr>
        <p:spPr>
          <a:xfrm>
            <a:off x="334962" y="3086301"/>
            <a:ext cx="1308101" cy="751562"/>
          </a:xfrm>
          <a:prstGeom prst="roundRect">
            <a:avLst>
              <a:gd name="adj" fmla="val 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1" name="Text Placeholder 21"/>
          <p:cNvSpPr>
            <a:spLocks noGrp="1"/>
          </p:cNvSpPr>
          <p:nvPr>
            <p:ph type="body" sz="quarter" idx="37"/>
          </p:nvPr>
        </p:nvSpPr>
        <p:spPr>
          <a:xfrm>
            <a:off x="33496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2" name="Picture Placeholder 4"/>
          <p:cNvSpPr>
            <a:spLocks noGrp="1"/>
          </p:cNvSpPr>
          <p:nvPr>
            <p:ph type="pic" sz="quarter" idx="38"/>
          </p:nvPr>
        </p:nvSpPr>
        <p:spPr>
          <a:xfrm>
            <a:off x="2031206" y="3086301"/>
            <a:ext cx="1308101" cy="751562"/>
          </a:xfrm>
          <a:prstGeom prst="roundRect">
            <a:avLst>
              <a:gd name="adj" fmla="val 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5" name="Text Placeholder 21"/>
          <p:cNvSpPr>
            <a:spLocks noGrp="1"/>
          </p:cNvSpPr>
          <p:nvPr>
            <p:ph type="body" sz="quarter" idx="40"/>
          </p:nvPr>
        </p:nvSpPr>
        <p:spPr>
          <a:xfrm>
            <a:off x="2031206"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Picture Placeholder 4"/>
          <p:cNvSpPr>
            <a:spLocks noGrp="1"/>
          </p:cNvSpPr>
          <p:nvPr>
            <p:ph type="pic" sz="quarter" idx="41"/>
          </p:nvPr>
        </p:nvSpPr>
        <p:spPr>
          <a:xfrm>
            <a:off x="3727450" y="3086301"/>
            <a:ext cx="1308101" cy="751562"/>
          </a:xfrm>
          <a:prstGeom prst="roundRect">
            <a:avLst>
              <a:gd name="adj" fmla="val 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0" name="Picture Placeholder 4"/>
          <p:cNvSpPr>
            <a:spLocks noGrp="1"/>
          </p:cNvSpPr>
          <p:nvPr>
            <p:ph type="pic" sz="quarter" idx="44"/>
          </p:nvPr>
        </p:nvSpPr>
        <p:spPr>
          <a:xfrm>
            <a:off x="5423694" y="3086301"/>
            <a:ext cx="1308101" cy="751562"/>
          </a:xfrm>
          <a:prstGeom prst="roundRect">
            <a:avLst>
              <a:gd name="adj" fmla="val 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2" name="Text Placeholder 21"/>
          <p:cNvSpPr>
            <a:spLocks noGrp="1"/>
          </p:cNvSpPr>
          <p:nvPr>
            <p:ph type="body" sz="quarter" idx="46"/>
          </p:nvPr>
        </p:nvSpPr>
        <p:spPr>
          <a:xfrm>
            <a:off x="542369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3" name="Picture Placeholder 4"/>
          <p:cNvSpPr>
            <a:spLocks noGrp="1"/>
          </p:cNvSpPr>
          <p:nvPr>
            <p:ph type="pic" sz="quarter" idx="47"/>
          </p:nvPr>
        </p:nvSpPr>
        <p:spPr>
          <a:xfrm>
            <a:off x="7119938" y="3086301"/>
            <a:ext cx="1308101" cy="751562"/>
          </a:xfrm>
          <a:prstGeom prst="roundRect">
            <a:avLst>
              <a:gd name="adj" fmla="val 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5" name="Text Placeholder 21"/>
          <p:cNvSpPr>
            <a:spLocks noGrp="1"/>
          </p:cNvSpPr>
          <p:nvPr>
            <p:ph type="body" sz="quarter" idx="49"/>
          </p:nvPr>
        </p:nvSpPr>
        <p:spPr>
          <a:xfrm>
            <a:off x="7119938"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7" name="Picture Placeholder 4"/>
          <p:cNvSpPr>
            <a:spLocks noGrp="1"/>
          </p:cNvSpPr>
          <p:nvPr>
            <p:ph type="pic" sz="quarter" idx="50"/>
          </p:nvPr>
        </p:nvSpPr>
        <p:spPr>
          <a:xfrm>
            <a:off x="8816182" y="3086301"/>
            <a:ext cx="1308101" cy="751562"/>
          </a:xfrm>
          <a:prstGeom prst="roundRect">
            <a:avLst>
              <a:gd name="adj" fmla="val 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9" name="Text Placeholder 21"/>
          <p:cNvSpPr>
            <a:spLocks noGrp="1"/>
          </p:cNvSpPr>
          <p:nvPr>
            <p:ph type="body" sz="quarter" idx="52"/>
          </p:nvPr>
        </p:nvSpPr>
        <p:spPr>
          <a:xfrm>
            <a:off x="881618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0" name="Picture Placeholder 4"/>
          <p:cNvSpPr>
            <a:spLocks noGrp="1"/>
          </p:cNvSpPr>
          <p:nvPr>
            <p:ph type="pic" sz="quarter" idx="53"/>
          </p:nvPr>
        </p:nvSpPr>
        <p:spPr>
          <a:xfrm>
            <a:off x="10512424" y="3086301"/>
            <a:ext cx="1308101" cy="751562"/>
          </a:xfrm>
          <a:prstGeom prst="roundRect">
            <a:avLst>
              <a:gd name="adj" fmla="val 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42" name="Text Placeholder 21"/>
          <p:cNvSpPr>
            <a:spLocks noGrp="1"/>
          </p:cNvSpPr>
          <p:nvPr>
            <p:ph type="body" sz="quarter" idx="55"/>
          </p:nvPr>
        </p:nvSpPr>
        <p:spPr>
          <a:xfrm>
            <a:off x="1051242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3" name="Text Placeholder 21"/>
          <p:cNvSpPr>
            <a:spLocks noGrp="1"/>
          </p:cNvSpPr>
          <p:nvPr>
            <p:ph type="body" sz="quarter" idx="56" hasCustomPrompt="1"/>
          </p:nvPr>
        </p:nvSpPr>
        <p:spPr>
          <a:xfrm>
            <a:off x="334961" y="5640779"/>
            <a:ext cx="11485564" cy="621798"/>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caption text </a:t>
            </a:r>
          </a:p>
        </p:txBody>
      </p:sp>
      <p:sp>
        <p:nvSpPr>
          <p:cNvPr id="44" name="Picture Placeholder 6"/>
          <p:cNvSpPr>
            <a:spLocks noGrp="1"/>
          </p:cNvSpPr>
          <p:nvPr>
            <p:ph type="pic" sz="quarter" idx="58"/>
          </p:nvPr>
        </p:nvSpPr>
        <p:spPr>
          <a:xfrm>
            <a:off x="2031383" y="2598788"/>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2598788"/>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2598788"/>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2598788"/>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2598788"/>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2598788"/>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2598788"/>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1712626"/>
            <a:ext cx="1308101" cy="629247"/>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Content with Two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2" y="1917659"/>
            <a:ext cx="5617022"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617020"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19" name="Text Placeholder 8"/>
          <p:cNvSpPr>
            <a:spLocks noGrp="1"/>
          </p:cNvSpPr>
          <p:nvPr>
            <p:ph type="body" sz="quarter" idx="18" hasCustomPrompt="1"/>
          </p:nvPr>
        </p:nvSpPr>
        <p:spPr>
          <a:xfrm>
            <a:off x="23589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4" name="Text Placeholder 8"/>
          <p:cNvSpPr>
            <a:spLocks noGrp="1"/>
          </p:cNvSpPr>
          <p:nvPr>
            <p:ph type="body" sz="quarter" idx="23" hasCustomPrompt="1"/>
          </p:nvPr>
        </p:nvSpPr>
        <p:spPr>
          <a:xfrm>
            <a:off x="23589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7" name="Text Placeholder 8"/>
          <p:cNvSpPr>
            <a:spLocks noGrp="1"/>
          </p:cNvSpPr>
          <p:nvPr>
            <p:ph type="body" sz="quarter" idx="26" hasCustomPrompt="1"/>
          </p:nvPr>
        </p:nvSpPr>
        <p:spPr>
          <a:xfrm>
            <a:off x="334963" y="5013176"/>
            <a:ext cx="5617021"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28" name="Text Placeholder 8"/>
          <p:cNvSpPr>
            <a:spLocks noGrp="1"/>
          </p:cNvSpPr>
          <p:nvPr>
            <p:ph type="body" sz="quarter" idx="27" hasCustomPrompt="1"/>
          </p:nvPr>
        </p:nvSpPr>
        <p:spPr>
          <a:xfrm>
            <a:off x="334963" y="5663201"/>
            <a:ext cx="11485562" cy="142063"/>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a:p>
          <a:p>
            <a:pPr lvl="0"/>
            <a:endParaRPr lang="en-US"/>
          </a:p>
          <a:p>
            <a:pPr lvl="0"/>
            <a:endParaRPr lang="en-US"/>
          </a:p>
          <a:p>
            <a:pPr lvl="0"/>
            <a:endParaRPr lang="en-US"/>
          </a:p>
          <a:p>
            <a:pPr lvl="0"/>
            <a:endParaRPr lang="en-US"/>
          </a:p>
        </p:txBody>
      </p:sp>
      <p:sp>
        <p:nvSpPr>
          <p:cNvPr id="21" name="Picture Placeholder 30"/>
          <p:cNvSpPr>
            <a:spLocks noGrp="1"/>
          </p:cNvSpPr>
          <p:nvPr>
            <p:ph type="pic" sz="quarter" idx="30" hasCustomPrompt="1"/>
          </p:nvPr>
        </p:nvSpPr>
        <p:spPr>
          <a:xfrm>
            <a:off x="6272212" y="1917659"/>
            <a:ext cx="5537645" cy="3042702"/>
          </a:xfrm>
        </p:spPr>
        <p:txBody>
          <a:bodyPr anchor="ctr"/>
          <a:lstStyle>
            <a:lvl1pPr algn="ctr">
              <a:defRPr sz="1800"/>
            </a:lvl1pPr>
          </a:lstStyle>
          <a:p>
            <a:r>
              <a:rPr lang="id-ID"/>
              <a:t>Picture Map</a:t>
            </a:r>
          </a:p>
        </p:txBody>
      </p:sp>
      <p:sp>
        <p:nvSpPr>
          <p:cNvPr id="30" name="Text Placeholder 8"/>
          <p:cNvSpPr>
            <a:spLocks noGrp="1"/>
          </p:cNvSpPr>
          <p:nvPr>
            <p:ph type="body" sz="quarter" idx="31" hasCustomPrompt="1"/>
          </p:nvPr>
        </p:nvSpPr>
        <p:spPr>
          <a:xfrm>
            <a:off x="6272212" y="1354667"/>
            <a:ext cx="5537645"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2" name="Text Placeholder 8"/>
          <p:cNvSpPr>
            <a:spLocks noGrp="1"/>
          </p:cNvSpPr>
          <p:nvPr>
            <p:ph type="body" sz="quarter" idx="32" hasCustomPrompt="1"/>
          </p:nvPr>
        </p:nvSpPr>
        <p:spPr>
          <a:xfrm>
            <a:off x="4382889"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3" name="Text Placeholder 8"/>
          <p:cNvSpPr>
            <a:spLocks noGrp="1"/>
          </p:cNvSpPr>
          <p:nvPr>
            <p:ph type="body" sz="quarter" idx="33" hasCustomPrompt="1"/>
          </p:nvPr>
        </p:nvSpPr>
        <p:spPr>
          <a:xfrm>
            <a:off x="4382889"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4" name="Text Placeholder 8"/>
          <p:cNvSpPr>
            <a:spLocks noGrp="1"/>
          </p:cNvSpPr>
          <p:nvPr>
            <p:ph type="body" sz="quarter" idx="34" hasCustomPrompt="1"/>
          </p:nvPr>
        </p:nvSpPr>
        <p:spPr>
          <a:xfrm>
            <a:off x="6240019" y="5013176"/>
            <a:ext cx="5580506"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35" name="Text Placeholder 8"/>
          <p:cNvSpPr>
            <a:spLocks noGrp="1"/>
          </p:cNvSpPr>
          <p:nvPr>
            <p:ph type="body" sz="quarter" idx="35" hasCustomPrompt="1"/>
          </p:nvPr>
        </p:nvSpPr>
        <p:spPr>
          <a:xfrm>
            <a:off x="6249988"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6" name="Text Placeholder 8"/>
          <p:cNvSpPr>
            <a:spLocks noGrp="1"/>
          </p:cNvSpPr>
          <p:nvPr>
            <p:ph type="body" sz="quarter" idx="36" hasCustomPrompt="1"/>
          </p:nvPr>
        </p:nvSpPr>
        <p:spPr>
          <a:xfrm>
            <a:off x="8240807"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7" name="Text Placeholder 8"/>
          <p:cNvSpPr>
            <a:spLocks noGrp="1"/>
          </p:cNvSpPr>
          <p:nvPr>
            <p:ph type="body" sz="quarter" idx="37" hasCustomPrompt="1"/>
          </p:nvPr>
        </p:nvSpPr>
        <p:spPr>
          <a:xfrm>
            <a:off x="6249988"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8" name="Text Placeholder 8"/>
          <p:cNvSpPr>
            <a:spLocks noGrp="1"/>
          </p:cNvSpPr>
          <p:nvPr>
            <p:ph type="body" sz="quarter" idx="38" hasCustomPrompt="1"/>
          </p:nvPr>
        </p:nvSpPr>
        <p:spPr>
          <a:xfrm>
            <a:off x="8240807"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9" name="Text Placeholder 8"/>
          <p:cNvSpPr>
            <a:spLocks noGrp="1"/>
          </p:cNvSpPr>
          <p:nvPr>
            <p:ph type="body" sz="quarter" idx="39" hasCustomPrompt="1"/>
          </p:nvPr>
        </p:nvSpPr>
        <p:spPr>
          <a:xfrm>
            <a:off x="102316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40" name="Text Placeholder 8"/>
          <p:cNvSpPr>
            <a:spLocks noGrp="1"/>
          </p:cNvSpPr>
          <p:nvPr>
            <p:ph type="body" sz="quarter" idx="40" hasCustomPrompt="1"/>
          </p:nvPr>
        </p:nvSpPr>
        <p:spPr>
          <a:xfrm>
            <a:off x="102316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ontent with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9074355" cy="501289"/>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8" name="Text Placeholder 7"/>
          <p:cNvSpPr>
            <a:spLocks noGrp="1"/>
          </p:cNvSpPr>
          <p:nvPr>
            <p:ph type="body" sz="quarter" idx="13" hasCustomPrompt="1"/>
          </p:nvPr>
        </p:nvSpPr>
        <p:spPr>
          <a:xfrm>
            <a:off x="334963" y="1158241"/>
            <a:ext cx="11485562" cy="345440"/>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000"/>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a:t>Click to edit Master text styles. Ex. </a:t>
            </a:r>
            <a:r>
              <a:rPr lang="en-US" sz="1000" noProof="1">
                <a:solidFill>
                  <a:schemeClr val="tx1">
                    <a:lumMod val="65000"/>
                    <a:lumOff val="35000"/>
                  </a:schemeClr>
                </a:solidFill>
                <a:latin typeface="Gotham Book" charset="0"/>
                <a:ea typeface="Gotham Book" charset="0"/>
                <a:cs typeface="Gotham Book" charset="0"/>
                <a:sym typeface="Arial" panose="020B0604020202090204" pitchFamily="34" charset="0"/>
              </a:rPr>
              <a:t>Membangun sumber daya yang berkelanjutan dalam skala besar untuk Indonesia - Menggandakan volume hulu, memperluas aset hilir - mewujudkan Noble Purpose untuk mengeksplorasi kemakmuran; meningkat secara berkelanjutan hingga ~&gt; 8 x EBITDA (MIND ID &gt; 5x), dan secara signifikan memperluas 7 …</a:t>
            </a:r>
            <a:endParaRPr lang="en-US"/>
          </a:p>
        </p:txBody>
      </p:sp>
      <p:sp>
        <p:nvSpPr>
          <p:cNvPr id="10" name="Text Placeholder 7"/>
          <p:cNvSpPr>
            <a:spLocks noGrp="1"/>
          </p:cNvSpPr>
          <p:nvPr>
            <p:ph type="body" sz="quarter" idx="14" hasCustomPrompt="1"/>
          </p:nvPr>
        </p:nvSpPr>
        <p:spPr>
          <a:xfrm>
            <a:off x="334963" y="1717041"/>
            <a:ext cx="11485562" cy="175251"/>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200" b="1" i="0">
                <a:solidFill>
                  <a:schemeClr val="accent2"/>
                </a:solidFill>
                <a:latin typeface="Gotham Bold" pitchFamily="2" charset="0"/>
                <a:cs typeface="Gotham Bold" pitchFamily="2" charset="0"/>
              </a:defRPr>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a:t>Click to edit Title table text styles. Ex. </a:t>
            </a:r>
            <a:r>
              <a:rPr kumimoji="0" lang="en-US" sz="1200" b="1" u="none" strike="noStrike" kern="0" cap="none" spc="0" normalizeH="0" baseline="0" noProof="1">
                <a:ln>
                  <a:noFill/>
                </a:ln>
                <a:solidFill>
                  <a:srgbClr val="0862A4"/>
                </a:solidFill>
                <a:effectLst/>
                <a:uLnTx/>
                <a:uFillTx/>
                <a:latin typeface="Gotham Bold" pitchFamily="2" charset="0"/>
                <a:ea typeface="Gotham Bold" pitchFamily="2" charset="0"/>
                <a:cs typeface="Gotham Bold" pitchFamily="2" charset="0"/>
              </a:rPr>
              <a:t>Strategi terintegrasi </a:t>
            </a:r>
            <a:endParaRPr lang="en-US"/>
          </a:p>
        </p:txBody>
      </p:sp>
      <p:sp>
        <p:nvSpPr>
          <p:cNvPr id="12" name="Table Placeholder 11"/>
          <p:cNvSpPr>
            <a:spLocks noGrp="1"/>
          </p:cNvSpPr>
          <p:nvPr>
            <p:ph type="tbl" sz="quarter" idx="15" hasCustomPrompt="1"/>
          </p:nvPr>
        </p:nvSpPr>
        <p:spPr>
          <a:xfrm>
            <a:off x="334963" y="1988840"/>
            <a:ext cx="11485562" cy="4147800"/>
          </a:xfrm>
        </p:spPr>
        <p:txBody>
          <a:bodyPr anchor="ctr"/>
          <a:lstStyle>
            <a:lvl1pPr algn="ctr">
              <a:defRPr sz="2800"/>
            </a:lvl1pPr>
          </a:lstStyle>
          <a:p>
            <a:r>
              <a:rPr lang="en-US"/>
              <a:t>Click icon to add table</a:t>
            </a:r>
            <a:endParaRPr lang="id-ID"/>
          </a:p>
        </p:txBody>
      </p:sp>
      <p:sp>
        <p:nvSpPr>
          <p:cNvPr id="15" name="Text Placeholder 14"/>
          <p:cNvSpPr>
            <a:spLocks noGrp="1"/>
          </p:cNvSpPr>
          <p:nvPr>
            <p:ph type="body" sz="quarter" idx="16" hasCustomPrompt="1"/>
          </p:nvPr>
        </p:nvSpPr>
        <p:spPr>
          <a:xfrm>
            <a:off x="334963" y="6217921"/>
            <a:ext cx="7993285" cy="451439"/>
          </a:xfrm>
        </p:spPr>
        <p:txBody>
          <a:bodyPr/>
          <a:lstStyle>
            <a:lvl1pPr marL="144145" marR="0" indent="-144145" algn="l" defTabSz="914400" rtl="0" eaLnBrk="1" fontAlgn="auto" latinLnBrk="0" hangingPunct="1">
              <a:lnSpc>
                <a:spcPct val="100000"/>
              </a:lnSpc>
              <a:spcBef>
                <a:spcPts val="0"/>
              </a:spcBef>
              <a:spcAft>
                <a:spcPts val="0"/>
              </a:spcAft>
              <a:buClrTx/>
              <a:buSzTx/>
              <a:buFont typeface="+mj-lt"/>
              <a:buAutoNum type="arabicPeriod"/>
              <a:defRPr sz="800"/>
            </a:lvl1pPr>
            <a:lvl2pPr indent="0">
              <a:lnSpc>
                <a:spcPct val="100000"/>
              </a:lnSpc>
              <a:defRPr sz="800"/>
            </a:lvl2pPr>
            <a:lvl3pPr indent="0">
              <a:lnSpc>
                <a:spcPct val="100000"/>
              </a:lnSpc>
              <a:defRPr sz="800"/>
            </a:lvl3pPr>
            <a:lvl4pPr indent="0">
              <a:lnSpc>
                <a:spcPct val="100000"/>
              </a:lnSpc>
              <a:defRPr sz="800"/>
            </a:lvl4pPr>
            <a:lvl5pPr indent="0">
              <a:lnSpc>
                <a:spcPct val="100000"/>
              </a:lnSpc>
              <a:defRPr sz="800"/>
            </a:lvl5pPr>
          </a:lstStyle>
          <a:p>
            <a:pPr lvl="0"/>
            <a:r>
              <a:rPr lang="en-US"/>
              <a:t>Click to edit Caption text styles</a:t>
            </a:r>
          </a:p>
          <a:p>
            <a:pPr lvl="0"/>
            <a:r>
              <a:rPr lang="en-US"/>
              <a:t>Click to edit Caption text styles</a:t>
            </a:r>
          </a:p>
          <a:p>
            <a:pPr marL="144145" marR="0" lvl="0" indent="-144145" algn="l" defTabSz="914400" rtl="0" eaLnBrk="1" fontAlgn="auto" latinLnBrk="0" hangingPunct="1">
              <a:lnSpc>
                <a:spcPct val="100000"/>
              </a:lnSpc>
              <a:spcBef>
                <a:spcPts val="0"/>
              </a:spcBef>
              <a:spcAft>
                <a:spcPts val="0"/>
              </a:spcAft>
              <a:buClrTx/>
              <a:buSzTx/>
              <a:buFont typeface="+mj-lt"/>
              <a:buAutoNum type="arabicPeriod"/>
              <a:defRPr/>
            </a:pPr>
            <a:r>
              <a:rPr lang="en-US"/>
              <a:t>Click to edit Caption text styles</a:t>
            </a:r>
          </a:p>
          <a:p>
            <a:pPr lvl="0"/>
            <a:endParaRPr lang="en-US"/>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ustom Coloum">
    <p:spTree>
      <p:nvGrpSpPr>
        <p:cNvPr id="1" name=""/>
        <p:cNvGrpSpPr/>
        <p:nvPr/>
      </p:nvGrpSpPr>
      <p:grpSpPr>
        <a:xfrm>
          <a:off x="0" y="0"/>
          <a:ext cx="0" cy="0"/>
          <a:chOff x="0" y="0"/>
          <a:chExt cx="0" cy="0"/>
        </a:xfrm>
      </p:grpSpPr>
      <p:pic>
        <p:nvPicPr>
          <p:cNvPr id="7" name="Picture 6"/>
          <p:cNvPicPr>
            <a:picLocks noChangeAspect="1"/>
          </p:cNvPicPr>
          <p:nvPr/>
        </p:nvPicPr>
        <p:blipFill>
          <a:blip r:embed="rId2">
            <a:alphaModFix amt="25000"/>
          </a:blip>
          <a:stretch>
            <a:fillRect/>
          </a:stretch>
        </p:blipFill>
        <p:spPr>
          <a:xfrm>
            <a:off x="0" y="0"/>
            <a:ext cx="12192000" cy="6858000"/>
          </a:xfrm>
          <a:prstGeom prst="rect">
            <a:avLst/>
          </a:prstGeom>
        </p:spPr>
      </p:pic>
      <p:sp>
        <p:nvSpPr>
          <p:cNvPr id="2" name="Title 1"/>
          <p:cNvSpPr>
            <a:spLocks noGrp="1"/>
          </p:cNvSpPr>
          <p:nvPr>
            <p:ph type="title" hasCustomPrompt="1"/>
          </p:nvPr>
        </p:nvSpPr>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a:br>
            <a:r>
              <a:rPr lang="en-US"/>
              <a:t>Click to edit Char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a:t>Click to edit Title text styles</a:t>
            </a:r>
          </a:p>
        </p:txBody>
      </p:sp>
      <p:sp>
        <p:nvSpPr>
          <p:cNvPr id="11" name="Chart Placeholder 10"/>
          <p:cNvSpPr>
            <a:spLocks noGrp="1"/>
          </p:cNvSpPr>
          <p:nvPr>
            <p:ph type="chart" sz="quarter" idx="14" hasCustomPrompt="1"/>
          </p:nvPr>
        </p:nvSpPr>
        <p:spPr>
          <a:xfrm>
            <a:off x="253064" y="1916464"/>
            <a:ext cx="3682696" cy="1728192"/>
          </a:xfrm>
        </p:spPr>
        <p:txBody>
          <a:bodyPr anchor="ctr"/>
          <a:lstStyle>
            <a:lvl1pPr algn="ctr">
              <a:defRPr sz="1800"/>
            </a:lvl1pPr>
          </a:lstStyle>
          <a:p>
            <a:r>
              <a:rPr lang="en-US"/>
              <a:t>Click icon to add chart</a:t>
            </a:r>
            <a:endParaRPr lang="id-ID"/>
          </a:p>
        </p:txBody>
      </p:sp>
      <p:sp>
        <p:nvSpPr>
          <p:cNvPr id="18" name="Chart Placeholder 10"/>
          <p:cNvSpPr>
            <a:spLocks noGrp="1"/>
          </p:cNvSpPr>
          <p:nvPr>
            <p:ph type="chart" sz="quarter" idx="15" hasCustomPrompt="1"/>
          </p:nvPr>
        </p:nvSpPr>
        <p:spPr>
          <a:xfrm>
            <a:off x="8137829" y="1916464"/>
            <a:ext cx="3682696" cy="1728192"/>
          </a:xfrm>
        </p:spPr>
        <p:txBody>
          <a:bodyPr anchor="ctr"/>
          <a:lstStyle>
            <a:lvl1pPr algn="ctr">
              <a:defRPr sz="1800"/>
            </a:lvl1pPr>
          </a:lstStyle>
          <a:p>
            <a:r>
              <a:rPr lang="en-US"/>
              <a:t>Click icon to add chart</a:t>
            </a:r>
            <a:endParaRPr lang="id-ID"/>
          </a:p>
        </p:txBody>
      </p:sp>
      <p:sp>
        <p:nvSpPr>
          <p:cNvPr id="21" name="Chart Placeholder 10"/>
          <p:cNvSpPr>
            <a:spLocks noGrp="1"/>
          </p:cNvSpPr>
          <p:nvPr>
            <p:ph type="chart" sz="quarter" idx="16" hasCustomPrompt="1"/>
          </p:nvPr>
        </p:nvSpPr>
        <p:spPr>
          <a:xfrm>
            <a:off x="4195221" y="1916464"/>
            <a:ext cx="3682696" cy="1728192"/>
          </a:xfrm>
        </p:spPr>
        <p:txBody>
          <a:bodyPr anchor="ctr"/>
          <a:lstStyle>
            <a:lvl1pPr algn="ctr">
              <a:defRPr sz="1800"/>
            </a:lvl1pPr>
          </a:lstStyle>
          <a:p>
            <a:r>
              <a:rPr lang="en-US"/>
              <a:t>Click icon to add chart</a:t>
            </a:r>
            <a:endParaRPr lang="id-ID"/>
          </a:p>
        </p:txBody>
      </p:sp>
      <p:sp>
        <p:nvSpPr>
          <p:cNvPr id="22" name="Chart Placeholder 10"/>
          <p:cNvSpPr>
            <a:spLocks noGrp="1"/>
          </p:cNvSpPr>
          <p:nvPr>
            <p:ph type="chart" sz="quarter" idx="17" hasCustomPrompt="1"/>
          </p:nvPr>
        </p:nvSpPr>
        <p:spPr>
          <a:xfrm>
            <a:off x="253064" y="4076704"/>
            <a:ext cx="3682696" cy="1728192"/>
          </a:xfrm>
        </p:spPr>
        <p:txBody>
          <a:bodyPr anchor="ctr"/>
          <a:lstStyle>
            <a:lvl1pPr algn="ctr">
              <a:defRPr sz="1800"/>
            </a:lvl1pPr>
          </a:lstStyle>
          <a:p>
            <a:r>
              <a:rPr lang="en-US"/>
              <a:t>Click icon to add chart</a:t>
            </a:r>
            <a:endParaRPr lang="id-ID"/>
          </a:p>
        </p:txBody>
      </p:sp>
      <p:sp>
        <p:nvSpPr>
          <p:cNvPr id="23" name="Chart Placeholder 10"/>
          <p:cNvSpPr>
            <a:spLocks noGrp="1"/>
          </p:cNvSpPr>
          <p:nvPr>
            <p:ph type="chart" sz="quarter" idx="18" hasCustomPrompt="1"/>
          </p:nvPr>
        </p:nvSpPr>
        <p:spPr>
          <a:xfrm>
            <a:off x="8137829" y="4076704"/>
            <a:ext cx="3682696" cy="1728192"/>
          </a:xfrm>
        </p:spPr>
        <p:txBody>
          <a:bodyPr anchor="ctr"/>
          <a:lstStyle>
            <a:lvl1pPr algn="ctr">
              <a:defRPr sz="1800"/>
            </a:lvl1pPr>
          </a:lstStyle>
          <a:p>
            <a:r>
              <a:rPr lang="en-US"/>
              <a:t>Click icon to add chart</a:t>
            </a:r>
            <a:endParaRPr lang="id-ID"/>
          </a:p>
        </p:txBody>
      </p:sp>
      <p:sp>
        <p:nvSpPr>
          <p:cNvPr id="24" name="Chart Placeholder 10"/>
          <p:cNvSpPr>
            <a:spLocks noGrp="1"/>
          </p:cNvSpPr>
          <p:nvPr>
            <p:ph type="chart" sz="quarter" idx="19" hasCustomPrompt="1"/>
          </p:nvPr>
        </p:nvSpPr>
        <p:spPr>
          <a:xfrm>
            <a:off x="4195221" y="4076704"/>
            <a:ext cx="3682696" cy="1728192"/>
          </a:xfrm>
        </p:spPr>
        <p:txBody>
          <a:bodyPr anchor="ctr"/>
          <a:lstStyle>
            <a:lvl1pPr algn="ctr">
              <a:defRPr sz="1800"/>
            </a:lvl1pPr>
          </a:lstStyle>
          <a:p>
            <a:r>
              <a:rPr lang="en-US"/>
              <a:t>Click icon to add chart</a:t>
            </a:r>
            <a:endParaRPr lang="id-ID"/>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Working-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a:br>
            <a:r>
              <a:rPr lang="en-US"/>
              <a:t>Click to edit Working-ou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3"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a:t>Click to edit Title text styles</a:t>
            </a:r>
          </a:p>
        </p:txBody>
      </p:sp>
      <p:pic>
        <p:nvPicPr>
          <p:cNvPr id="14" name="Picture 13"/>
          <p:cNvPicPr>
            <a:picLocks noChangeAspect="1"/>
          </p:cNvPicPr>
          <p:nvPr/>
        </p:nvPicPr>
        <p:blipFill>
          <a:blip r:embed="rId2" cstate="screen"/>
          <a:srcRect/>
          <a:stretch>
            <a:fillRect/>
          </a:stretch>
        </p:blipFill>
        <p:spPr>
          <a:xfrm>
            <a:off x="759101" y="2381992"/>
            <a:ext cx="720000" cy="720000"/>
          </a:xfrm>
          <a:prstGeom prst="rect">
            <a:avLst/>
          </a:prstGeom>
        </p:spPr>
      </p:pic>
      <p:sp>
        <p:nvSpPr>
          <p:cNvPr id="17" name="TextBox 16"/>
          <p:cNvSpPr txBox="1"/>
          <p:nvPr/>
        </p:nvSpPr>
        <p:spPr>
          <a:xfrm>
            <a:off x="5837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Aset</a:t>
            </a:r>
          </a:p>
        </p:txBody>
      </p:sp>
      <p:sp>
        <p:nvSpPr>
          <p:cNvPr id="32" name="Text Placeholder 10"/>
          <p:cNvSpPr>
            <a:spLocks noGrp="1"/>
          </p:cNvSpPr>
          <p:nvPr>
            <p:ph type="body" sz="quarter" idx="17" hasCustomPrompt="1"/>
          </p:nvPr>
        </p:nvSpPr>
        <p:spPr>
          <a:xfrm>
            <a:off x="373428"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46" name="Picture 45"/>
          <p:cNvPicPr>
            <a:picLocks noChangeAspect="1"/>
          </p:cNvPicPr>
          <p:nvPr/>
        </p:nvPicPr>
        <p:blipFill>
          <a:blip r:embed="rId3" cstate="screen"/>
          <a:srcRect/>
          <a:stretch>
            <a:fillRect/>
          </a:stretch>
        </p:blipFill>
        <p:spPr>
          <a:xfrm>
            <a:off x="2787597" y="2381992"/>
            <a:ext cx="720000" cy="720000"/>
          </a:xfrm>
          <a:prstGeom prst="rect">
            <a:avLst/>
          </a:prstGeom>
        </p:spPr>
      </p:pic>
      <p:sp>
        <p:nvSpPr>
          <p:cNvPr id="47" name="TextBox 46"/>
          <p:cNvSpPr txBox="1"/>
          <p:nvPr/>
        </p:nvSpPr>
        <p:spPr>
          <a:xfrm>
            <a:off x="2612230"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ndapatan</a:t>
            </a:r>
          </a:p>
        </p:txBody>
      </p:sp>
      <p:sp>
        <p:nvSpPr>
          <p:cNvPr id="48" name="Text Placeholder 10"/>
          <p:cNvSpPr>
            <a:spLocks noGrp="1"/>
          </p:cNvSpPr>
          <p:nvPr>
            <p:ph type="body" sz="quarter" idx="18" hasCustomPrompt="1"/>
          </p:nvPr>
        </p:nvSpPr>
        <p:spPr>
          <a:xfrm>
            <a:off x="2401924"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49" name="Picture 48"/>
          <p:cNvPicPr>
            <a:picLocks noChangeAspect="1"/>
          </p:cNvPicPr>
          <p:nvPr/>
        </p:nvPicPr>
        <p:blipFill>
          <a:blip r:embed="rId4" cstate="screen"/>
          <a:srcRect/>
          <a:stretch>
            <a:fillRect/>
          </a:stretch>
        </p:blipFill>
        <p:spPr>
          <a:xfrm>
            <a:off x="4721501" y="2381992"/>
            <a:ext cx="720000" cy="720000"/>
          </a:xfrm>
          <a:prstGeom prst="rect">
            <a:avLst/>
          </a:prstGeom>
        </p:spPr>
      </p:pic>
      <p:sp>
        <p:nvSpPr>
          <p:cNvPr id="50" name="TextBox 49"/>
          <p:cNvSpPr txBox="1"/>
          <p:nvPr/>
        </p:nvSpPr>
        <p:spPr>
          <a:xfrm>
            <a:off x="45461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EBITDA</a:t>
            </a:r>
          </a:p>
        </p:txBody>
      </p:sp>
      <p:sp>
        <p:nvSpPr>
          <p:cNvPr id="51" name="Text Placeholder 10"/>
          <p:cNvSpPr>
            <a:spLocks noGrp="1"/>
          </p:cNvSpPr>
          <p:nvPr>
            <p:ph type="body" sz="quarter" idx="19" hasCustomPrompt="1"/>
          </p:nvPr>
        </p:nvSpPr>
        <p:spPr>
          <a:xfrm>
            <a:off x="4335828"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52" name="Picture 51"/>
          <p:cNvPicPr>
            <a:picLocks noChangeAspect="1"/>
          </p:cNvPicPr>
          <p:nvPr/>
        </p:nvPicPr>
        <p:blipFill>
          <a:blip r:embed="rId5" cstate="screen"/>
          <a:srcRect/>
          <a:stretch>
            <a:fillRect/>
          </a:stretch>
        </p:blipFill>
        <p:spPr>
          <a:xfrm>
            <a:off x="6655404" y="2381992"/>
            <a:ext cx="720000" cy="720000"/>
          </a:xfrm>
          <a:prstGeom prst="rect">
            <a:avLst/>
          </a:prstGeom>
        </p:spPr>
      </p:pic>
      <p:sp>
        <p:nvSpPr>
          <p:cNvPr id="53" name="TextBox 52"/>
          <p:cNvSpPr txBox="1"/>
          <p:nvPr/>
        </p:nvSpPr>
        <p:spPr>
          <a:xfrm>
            <a:off x="6480037" y="2151727"/>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Bold" pitchFamily="2" charset="0"/>
                <a:ea typeface="Gotham Bold" pitchFamily="2" charset="0"/>
                <a:cs typeface="Gotham Bold" pitchFamily="2" charset="0"/>
              </a:rPr>
              <a:t>Value</a:t>
            </a:r>
            <a:endParaRPr lang="id-ID" sz="1000" b="1" i="0">
              <a:solidFill>
                <a:schemeClr val="accent1"/>
              </a:solidFill>
              <a:latin typeface="Gotham Bold" pitchFamily="2" charset="0"/>
              <a:ea typeface="Gotham Bold" pitchFamily="2" charset="0"/>
              <a:cs typeface="Gotham Bold" pitchFamily="2" charset="0"/>
            </a:endParaRPr>
          </a:p>
        </p:txBody>
      </p:sp>
      <p:sp>
        <p:nvSpPr>
          <p:cNvPr id="54" name="Text Placeholder 10"/>
          <p:cNvSpPr>
            <a:spLocks noGrp="1"/>
          </p:cNvSpPr>
          <p:nvPr>
            <p:ph type="body" sz="quarter" idx="20" hasCustomPrompt="1"/>
          </p:nvPr>
        </p:nvSpPr>
        <p:spPr>
          <a:xfrm>
            <a:off x="6269731"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57" name="Picture 56"/>
          <p:cNvPicPr>
            <a:picLocks noChangeAspect="1"/>
          </p:cNvPicPr>
          <p:nvPr/>
        </p:nvPicPr>
        <p:blipFill>
          <a:blip r:embed="rId6" cstate="screen"/>
          <a:srcRect/>
          <a:stretch>
            <a:fillRect/>
          </a:stretch>
        </p:blipFill>
        <p:spPr>
          <a:xfrm>
            <a:off x="759101" y="4263344"/>
            <a:ext cx="720000" cy="720000"/>
          </a:xfrm>
          <a:prstGeom prst="rect">
            <a:avLst/>
          </a:prstGeom>
        </p:spPr>
      </p:pic>
      <p:sp>
        <p:nvSpPr>
          <p:cNvPr id="58" name="TextBox 57"/>
          <p:cNvSpPr txBox="1"/>
          <p:nvPr/>
        </p:nvSpPr>
        <p:spPr>
          <a:xfrm>
            <a:off x="5837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rsen</a:t>
            </a:r>
          </a:p>
        </p:txBody>
      </p:sp>
      <p:sp>
        <p:nvSpPr>
          <p:cNvPr id="59" name="Text Placeholder 10"/>
          <p:cNvSpPr>
            <a:spLocks noGrp="1"/>
          </p:cNvSpPr>
          <p:nvPr>
            <p:ph type="body" sz="quarter" idx="21" hasCustomPrompt="1"/>
          </p:nvPr>
        </p:nvSpPr>
        <p:spPr>
          <a:xfrm>
            <a:off x="373428"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84" name="Picture 83"/>
          <p:cNvPicPr>
            <a:picLocks noChangeAspect="1"/>
          </p:cNvPicPr>
          <p:nvPr/>
        </p:nvPicPr>
        <p:blipFill>
          <a:blip r:embed="rId7" cstate="screen"/>
          <a:srcRect/>
          <a:stretch>
            <a:fillRect/>
          </a:stretch>
        </p:blipFill>
        <p:spPr>
          <a:xfrm>
            <a:off x="2787597" y="4263344"/>
            <a:ext cx="720000" cy="720000"/>
          </a:xfrm>
          <a:prstGeom prst="rect">
            <a:avLst/>
          </a:prstGeom>
        </p:spPr>
      </p:pic>
      <p:sp>
        <p:nvSpPr>
          <p:cNvPr id="85" name="TextBox 84"/>
          <p:cNvSpPr txBox="1"/>
          <p:nvPr/>
        </p:nvSpPr>
        <p:spPr>
          <a:xfrm>
            <a:off x="2612230" y="4033079"/>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Bold" pitchFamily="2" charset="0"/>
                <a:ea typeface="Gotham Bold" pitchFamily="2" charset="0"/>
                <a:cs typeface="Gotham Bold" pitchFamily="2" charset="0"/>
              </a:rPr>
              <a:t>Grow</a:t>
            </a:r>
            <a:endParaRPr lang="id-ID" sz="1000" b="1" i="0">
              <a:solidFill>
                <a:schemeClr val="accent1"/>
              </a:solidFill>
              <a:latin typeface="Gotham Bold" pitchFamily="2" charset="0"/>
              <a:ea typeface="Gotham Bold" pitchFamily="2" charset="0"/>
              <a:cs typeface="Gotham Bold" pitchFamily="2" charset="0"/>
            </a:endParaRPr>
          </a:p>
        </p:txBody>
      </p:sp>
      <p:sp>
        <p:nvSpPr>
          <p:cNvPr id="86" name="Text Placeholder 10"/>
          <p:cNvSpPr>
            <a:spLocks noGrp="1"/>
          </p:cNvSpPr>
          <p:nvPr>
            <p:ph type="body" sz="quarter" idx="22" hasCustomPrompt="1"/>
          </p:nvPr>
        </p:nvSpPr>
        <p:spPr>
          <a:xfrm>
            <a:off x="2401924"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87" name="Picture 86"/>
          <p:cNvPicPr>
            <a:picLocks noChangeAspect="1"/>
          </p:cNvPicPr>
          <p:nvPr/>
        </p:nvPicPr>
        <p:blipFill>
          <a:blip r:embed="rId8" cstate="screen"/>
          <a:srcRect/>
          <a:stretch>
            <a:fillRect/>
          </a:stretch>
        </p:blipFill>
        <p:spPr>
          <a:xfrm>
            <a:off x="4721501" y="4263344"/>
            <a:ext cx="720000" cy="720000"/>
          </a:xfrm>
          <a:prstGeom prst="rect">
            <a:avLst/>
          </a:prstGeom>
        </p:spPr>
      </p:pic>
      <p:sp>
        <p:nvSpPr>
          <p:cNvPr id="88" name="TextBox 87"/>
          <p:cNvSpPr txBox="1"/>
          <p:nvPr/>
        </p:nvSpPr>
        <p:spPr>
          <a:xfrm>
            <a:off x="45461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ndapatan</a:t>
            </a:r>
          </a:p>
        </p:txBody>
      </p:sp>
      <p:sp>
        <p:nvSpPr>
          <p:cNvPr id="89" name="Text Placeholder 10"/>
          <p:cNvSpPr>
            <a:spLocks noGrp="1"/>
          </p:cNvSpPr>
          <p:nvPr>
            <p:ph type="body" sz="quarter" idx="23" hasCustomPrompt="1"/>
          </p:nvPr>
        </p:nvSpPr>
        <p:spPr>
          <a:xfrm>
            <a:off x="4335828"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MIND ID Presentation Color Scheme">
    <p:spTree>
      <p:nvGrpSpPr>
        <p:cNvPr id="1" name=""/>
        <p:cNvGrpSpPr/>
        <p:nvPr/>
      </p:nvGrpSpPr>
      <p:grpSpPr>
        <a:xfrm>
          <a:off x="0" y="0"/>
          <a:ext cx="0" cy="0"/>
          <a:chOff x="0" y="0"/>
          <a:chExt cx="0" cy="0"/>
        </a:xfrm>
      </p:grpSpPr>
      <p:sp>
        <p:nvSpPr>
          <p:cNvPr id="6" name="Rounded Rectangle 5"/>
          <p:cNvSpPr/>
          <p:nvPr/>
        </p:nvSpPr>
        <p:spPr>
          <a:xfrm>
            <a:off x="514144" y="1650267"/>
            <a:ext cx="937601" cy="2286209"/>
          </a:xfrm>
          <a:prstGeom prst="roundRect">
            <a:avLst>
              <a:gd name="adj" fmla="val 50000"/>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ounded Rectangle 6"/>
          <p:cNvSpPr/>
          <p:nvPr/>
        </p:nvSpPr>
        <p:spPr>
          <a:xfrm>
            <a:off x="1749893" y="1650267"/>
            <a:ext cx="937601" cy="2286209"/>
          </a:xfrm>
          <a:prstGeom prst="roundRect">
            <a:avLst>
              <a:gd name="adj" fmla="val 50000"/>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Rounded Rectangle 7"/>
          <p:cNvSpPr/>
          <p:nvPr/>
        </p:nvSpPr>
        <p:spPr>
          <a:xfrm>
            <a:off x="3067549" y="1650267"/>
            <a:ext cx="937601" cy="2286209"/>
          </a:xfrm>
          <a:prstGeom prst="roundRect">
            <a:avLst>
              <a:gd name="adj" fmla="val 50000"/>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ounded Rectangle 8"/>
          <p:cNvSpPr/>
          <p:nvPr/>
        </p:nvSpPr>
        <p:spPr>
          <a:xfrm>
            <a:off x="4418996" y="1650267"/>
            <a:ext cx="937601" cy="2286209"/>
          </a:xfrm>
          <a:prstGeom prst="roundRect">
            <a:avLst>
              <a:gd name="adj" fmla="val 50000"/>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p:nvSpPr>
        <p:spPr>
          <a:xfrm>
            <a:off x="565103" y="4225592"/>
            <a:ext cx="970137"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2 50 9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1" name="TextBox 10"/>
          <p:cNvSpPr txBox="1"/>
          <p:nvPr/>
        </p:nvSpPr>
        <p:spPr>
          <a:xfrm>
            <a:off x="1757517" y="4225592"/>
            <a:ext cx="93647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8 98 164</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2" name="TextBox 11"/>
          <p:cNvSpPr txBox="1"/>
          <p:nvPr/>
        </p:nvSpPr>
        <p:spPr>
          <a:xfrm>
            <a:off x="3085212" y="4225592"/>
            <a:ext cx="1154483" cy="523220"/>
          </a:xfrm>
          <a:prstGeom prst="rect">
            <a:avLst/>
          </a:prstGeom>
          <a:noFill/>
        </p:spPr>
        <p:txBody>
          <a:bodyPr wrap="none" rtlCol="0">
            <a:spAutoFit/>
          </a:bodyPr>
          <a:lstStyle/>
          <a:p>
            <a:r>
              <a:rPr lang="cs-CZ" sz="1400" b="0" i="0">
                <a:solidFill>
                  <a:schemeClr val="tx1">
                    <a:lumMod val="65000"/>
                    <a:lumOff val="35000"/>
                  </a:schemeClr>
                </a:solidFill>
                <a:latin typeface="Gotham Book" charset="0"/>
                <a:ea typeface="Proxima Nova Rg" charset="0"/>
                <a:cs typeface="Gotham Book" charset="0"/>
              </a:rPr>
              <a:t>RGB</a:t>
            </a:r>
          </a:p>
          <a:p>
            <a:r>
              <a:rPr lang="cs-CZ" sz="1400" b="0" i="0">
                <a:solidFill>
                  <a:schemeClr val="tx1">
                    <a:lumMod val="65000"/>
                    <a:lumOff val="35000"/>
                  </a:schemeClr>
                </a:solidFill>
                <a:latin typeface="Gotham Book" charset="0"/>
                <a:ea typeface="Proxima Nova Rg" charset="0"/>
                <a:cs typeface="Gotham Book" charset="0"/>
              </a:rPr>
              <a:t>60 166 22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3" name="TextBox 12"/>
          <p:cNvSpPr txBox="1"/>
          <p:nvPr/>
        </p:nvSpPr>
        <p:spPr>
          <a:xfrm>
            <a:off x="4456316" y="4225592"/>
            <a:ext cx="130516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06 224 237</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4" name="Rounded Rectangle 13"/>
          <p:cNvSpPr/>
          <p:nvPr/>
        </p:nvSpPr>
        <p:spPr>
          <a:xfrm>
            <a:off x="5807968" y="1650267"/>
            <a:ext cx="937601" cy="2286209"/>
          </a:xfrm>
          <a:prstGeom prst="roundRect">
            <a:avLst>
              <a:gd name="adj" fmla="val 50000"/>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TextBox 14"/>
          <p:cNvSpPr txBox="1"/>
          <p:nvPr/>
        </p:nvSpPr>
        <p:spPr>
          <a:xfrm>
            <a:off x="5807968" y="4225592"/>
            <a:ext cx="1066318"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37 28 36</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8" name="Title 17"/>
          <p:cNvSpPr>
            <a:spLocks noGrp="1"/>
          </p:cNvSpPr>
          <p:nvPr>
            <p:ph type="title" hasCustomPrompt="1"/>
          </p:nvPr>
        </p:nvSpPr>
        <p:spPr>
          <a:xfrm>
            <a:off x="334963" y="623455"/>
            <a:ext cx="6410606" cy="645305"/>
          </a:xfrm>
        </p:spPr>
        <p:txBody>
          <a:bodyPr/>
          <a:lstStyle>
            <a:lvl1pPr>
              <a:defRPr baseline="0"/>
            </a:lvl1pPr>
          </a:lstStyle>
          <a:p>
            <a:br>
              <a:rPr lang="en-US"/>
            </a:br>
            <a:r>
              <a:rPr lang="en-US"/>
              <a:t>Visual Assets -  Presentation Color Scheme</a:t>
            </a:r>
          </a:p>
        </p:txBody>
      </p:sp>
      <p:sp>
        <p:nvSpPr>
          <p:cNvPr id="19" name="Oval 18"/>
          <p:cNvSpPr/>
          <p:nvPr/>
        </p:nvSpPr>
        <p:spPr>
          <a:xfrm>
            <a:off x="531919" y="5038149"/>
            <a:ext cx="930719" cy="930719"/>
          </a:xfrm>
          <a:prstGeom prst="ellipse">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Oval 19"/>
          <p:cNvSpPr/>
          <p:nvPr/>
        </p:nvSpPr>
        <p:spPr>
          <a:xfrm>
            <a:off x="1761733" y="5038149"/>
            <a:ext cx="930719" cy="930719"/>
          </a:xfrm>
          <a:prstGeom prst="ellipse">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Oval 20"/>
          <p:cNvSpPr/>
          <p:nvPr/>
        </p:nvSpPr>
        <p:spPr>
          <a:xfrm>
            <a:off x="3075578" y="5038149"/>
            <a:ext cx="930719" cy="930719"/>
          </a:xfrm>
          <a:prstGeom prst="ellipse">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Oval 21"/>
          <p:cNvSpPr/>
          <p:nvPr/>
        </p:nvSpPr>
        <p:spPr>
          <a:xfrm>
            <a:off x="4419478" y="5038149"/>
            <a:ext cx="930719" cy="930719"/>
          </a:xfrm>
          <a:prstGeom prst="ellipse">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3" name="Oval 22"/>
          <p:cNvSpPr/>
          <p:nvPr/>
        </p:nvSpPr>
        <p:spPr>
          <a:xfrm>
            <a:off x="5808450" y="5038149"/>
            <a:ext cx="930719" cy="930719"/>
          </a:xfrm>
          <a:prstGeom prst="ellipse">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3" name="Date Placeholder 32"/>
          <p:cNvSpPr>
            <a:spLocks noGrp="1"/>
          </p:cNvSpPr>
          <p:nvPr>
            <p:ph type="dt" sz="half" idx="10"/>
          </p:nvPr>
        </p:nvSpPr>
        <p:spPr/>
        <p:txBody>
          <a:bodyPr/>
          <a:lstStyle/>
          <a:p>
            <a:r>
              <a:rPr lang="en-ID"/>
              <a:t>Thursday, 11 December 2021</a:t>
            </a:r>
            <a:endParaRPr lang="id-ID"/>
          </a:p>
        </p:txBody>
      </p:sp>
      <p:sp>
        <p:nvSpPr>
          <p:cNvPr id="34" name="Footer Placeholder 33"/>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35" name="Slide Number Placeholder 34"/>
          <p:cNvSpPr>
            <a:spLocks noGrp="1"/>
          </p:cNvSpPr>
          <p:nvPr>
            <p:ph type="sldNum" sz="quarter" idx="12"/>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MIND ID Presentation Color Scheme">
    <p:spTree>
      <p:nvGrpSpPr>
        <p:cNvPr id="1" name=""/>
        <p:cNvGrpSpPr/>
        <p:nvPr/>
      </p:nvGrpSpPr>
      <p:grpSpPr>
        <a:xfrm>
          <a:off x="0" y="0"/>
          <a:ext cx="0" cy="0"/>
          <a:chOff x="0" y="0"/>
          <a:chExt cx="0" cy="0"/>
        </a:xfrm>
      </p:grpSpPr>
      <p:sp>
        <p:nvSpPr>
          <p:cNvPr id="18" name="Title 17"/>
          <p:cNvSpPr>
            <a:spLocks noGrp="1"/>
          </p:cNvSpPr>
          <p:nvPr>
            <p:ph type="title" hasCustomPrompt="1"/>
          </p:nvPr>
        </p:nvSpPr>
        <p:spPr>
          <a:xfrm>
            <a:off x="334963" y="623456"/>
            <a:ext cx="3500281" cy="523420"/>
          </a:xfrm>
        </p:spPr>
        <p:txBody>
          <a:bodyPr/>
          <a:lstStyle>
            <a:lvl1pPr>
              <a:defRPr baseline="0"/>
            </a:lvl1pPr>
          </a:lstStyle>
          <a:p>
            <a:br>
              <a:rPr lang="en-US"/>
            </a:br>
            <a:r>
              <a:rPr lang="en-US"/>
              <a:t>Visual Assets - Iconography Bank</a:t>
            </a:r>
          </a:p>
        </p:txBody>
      </p:sp>
      <p:sp>
        <p:nvSpPr>
          <p:cNvPr id="36" name="TextBox 35"/>
          <p:cNvSpPr txBox="1"/>
          <p:nvPr/>
        </p:nvSpPr>
        <p:spPr>
          <a:xfrm>
            <a:off x="334963" y="1340768"/>
            <a:ext cx="4286280" cy="383438"/>
          </a:xfrm>
          <a:prstGeom prst="rect">
            <a:avLst/>
          </a:prstGeom>
          <a:noFill/>
        </p:spPr>
        <p:txBody>
          <a:bodyPr wrap="square" lIns="0" rtlCol="0" anchor="ctr">
            <a:spAutoFit/>
          </a:bodyPr>
          <a:lstStyle/>
          <a:p>
            <a:pPr lvl="0">
              <a:lnSpc>
                <a:spcPts val="2400"/>
              </a:lnSpc>
              <a:defRPr/>
            </a:pPr>
            <a:r>
              <a:rPr lang="en-US" sz="1400" noProof="1">
                <a:solidFill>
                  <a:schemeClr val="accent2"/>
                </a:solidFill>
                <a:latin typeface="Proxima Nova Rg" charset="0"/>
                <a:ea typeface="Proxima Nova Rg" charset="0"/>
                <a:cs typeface="Proxima Nova Rg" charset="0"/>
              </a:rPr>
              <a:t>Primary</a:t>
            </a:r>
          </a:p>
        </p:txBody>
      </p:sp>
      <p:sp>
        <p:nvSpPr>
          <p:cNvPr id="44" name="TextBox 43"/>
          <p:cNvSpPr txBox="1"/>
          <p:nvPr/>
        </p:nvSpPr>
        <p:spPr>
          <a:xfrm>
            <a:off x="334963" y="4797152"/>
            <a:ext cx="4286280" cy="383438"/>
          </a:xfrm>
          <a:prstGeom prst="rect">
            <a:avLst/>
          </a:prstGeom>
          <a:noFill/>
        </p:spPr>
        <p:txBody>
          <a:bodyPr wrap="square" lIns="0" rtlCol="0" anchor="ctr">
            <a:spAutoFit/>
          </a:bodyPr>
          <a:lstStyle/>
          <a:p>
            <a:pPr lvl="0">
              <a:lnSpc>
                <a:spcPts val="2400"/>
              </a:lnSpc>
              <a:defRPr/>
            </a:pPr>
            <a:r>
              <a:rPr lang="en-US" sz="1400" noProof="1">
                <a:solidFill>
                  <a:schemeClr val="accent2"/>
                </a:solidFill>
                <a:latin typeface="Proxima Nova Rg" charset="0"/>
                <a:ea typeface="Proxima Nova Rg" charset="0"/>
                <a:cs typeface="Proxima Nova Rg" charset="0"/>
              </a:rPr>
              <a:t>Secondary</a:t>
            </a:r>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Footer Placeholder 3"/>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12"/>
          </p:nvPr>
        </p:nvSpPr>
        <p:spPr/>
        <p:txBody>
          <a:bodyPr/>
          <a:lstStyle/>
          <a:p>
            <a:r>
              <a:rPr lang="id-ID"/>
              <a:t>|          </a:t>
            </a:r>
            <a:fld id="{7904F5B5-DD6E-6442-8C14-4BFE420CE974}" type="slidenum">
              <a:rPr lang="id-ID" smtClean="0"/>
              <a:t>‹#›</a:t>
            </a:fld>
            <a:endParaRPr lang="id-ID"/>
          </a:p>
        </p:txBody>
      </p:sp>
      <p:sp>
        <p:nvSpPr>
          <p:cNvPr id="17" name="Text Placeholder 16"/>
          <p:cNvSpPr>
            <a:spLocks noGrp="1"/>
          </p:cNvSpPr>
          <p:nvPr>
            <p:ph type="body" sz="quarter" idx="13" hasCustomPrompt="1"/>
          </p:nvPr>
        </p:nvSpPr>
        <p:spPr>
          <a:xfrm>
            <a:off x="2024680"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6" name="Text Placeholder 16"/>
          <p:cNvSpPr>
            <a:spLocks noGrp="1"/>
          </p:cNvSpPr>
          <p:nvPr>
            <p:ph type="body" sz="quarter" idx="14" hasCustomPrompt="1"/>
          </p:nvPr>
        </p:nvSpPr>
        <p:spPr>
          <a:xfrm>
            <a:off x="346736"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7" name="Text Placeholder 16"/>
          <p:cNvSpPr>
            <a:spLocks noGrp="1"/>
          </p:cNvSpPr>
          <p:nvPr>
            <p:ph type="body" sz="quarter" idx="15" hasCustomPrompt="1"/>
          </p:nvPr>
        </p:nvSpPr>
        <p:spPr>
          <a:xfrm>
            <a:off x="3702624"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8" name="Text Placeholder 16"/>
          <p:cNvSpPr>
            <a:spLocks noGrp="1"/>
          </p:cNvSpPr>
          <p:nvPr>
            <p:ph type="body" sz="quarter" idx="16" hasCustomPrompt="1"/>
          </p:nvPr>
        </p:nvSpPr>
        <p:spPr>
          <a:xfrm>
            <a:off x="5380568"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9" name="Text Placeholder 16"/>
          <p:cNvSpPr>
            <a:spLocks noGrp="1"/>
          </p:cNvSpPr>
          <p:nvPr>
            <p:ph type="body" sz="quarter" idx="17" hasCustomPrompt="1"/>
          </p:nvPr>
        </p:nvSpPr>
        <p:spPr>
          <a:xfrm>
            <a:off x="2024680"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0" name="Text Placeholder 16"/>
          <p:cNvSpPr>
            <a:spLocks noGrp="1"/>
          </p:cNvSpPr>
          <p:nvPr>
            <p:ph type="body" sz="quarter" idx="18" hasCustomPrompt="1"/>
          </p:nvPr>
        </p:nvSpPr>
        <p:spPr>
          <a:xfrm>
            <a:off x="346736"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1" name="Text Placeholder 16"/>
          <p:cNvSpPr>
            <a:spLocks noGrp="1"/>
          </p:cNvSpPr>
          <p:nvPr>
            <p:ph type="body" sz="quarter" idx="19" hasCustomPrompt="1"/>
          </p:nvPr>
        </p:nvSpPr>
        <p:spPr>
          <a:xfrm>
            <a:off x="3702624"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2" name="Text Placeholder 16"/>
          <p:cNvSpPr>
            <a:spLocks noGrp="1"/>
          </p:cNvSpPr>
          <p:nvPr>
            <p:ph type="body" sz="quarter" idx="20" hasCustomPrompt="1"/>
          </p:nvPr>
        </p:nvSpPr>
        <p:spPr>
          <a:xfrm>
            <a:off x="5380568"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90" name="Text Placeholder 16"/>
          <p:cNvSpPr>
            <a:spLocks noGrp="1"/>
          </p:cNvSpPr>
          <p:nvPr>
            <p:ph type="body" sz="quarter" idx="22" hasCustomPrompt="1"/>
          </p:nvPr>
        </p:nvSpPr>
        <p:spPr>
          <a:xfrm>
            <a:off x="7058512"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94" name="Text Placeholder 16"/>
          <p:cNvSpPr>
            <a:spLocks noGrp="1"/>
          </p:cNvSpPr>
          <p:nvPr>
            <p:ph type="body" sz="quarter" idx="26" hasCustomPrompt="1"/>
          </p:nvPr>
        </p:nvSpPr>
        <p:spPr>
          <a:xfrm>
            <a:off x="7058512"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pic>
        <p:nvPicPr>
          <p:cNvPr id="53" name="Picture 28"/>
          <p:cNvPicPr>
            <a:picLocks noChangeAspect="1"/>
          </p:cNvPicPr>
          <p:nvPr/>
        </p:nvPicPr>
        <p:blipFill>
          <a:blip r:embed="rId2" cstate="screen"/>
          <a:srcRect/>
          <a:stretch>
            <a:fillRect/>
          </a:stretch>
        </p:blipFill>
        <p:spPr>
          <a:xfrm>
            <a:off x="2230091" y="1696956"/>
            <a:ext cx="1002126" cy="1002126"/>
          </a:xfrm>
          <a:prstGeom prst="rect">
            <a:avLst/>
          </a:prstGeom>
        </p:spPr>
      </p:pic>
      <p:pic>
        <p:nvPicPr>
          <p:cNvPr id="54" name="Picture 28"/>
          <p:cNvPicPr>
            <a:picLocks noChangeAspect="1"/>
          </p:cNvPicPr>
          <p:nvPr/>
        </p:nvPicPr>
        <p:blipFill>
          <a:blip r:embed="rId3" cstate="screen"/>
          <a:srcRect/>
          <a:stretch>
            <a:fillRect/>
          </a:stretch>
        </p:blipFill>
        <p:spPr>
          <a:xfrm>
            <a:off x="552147" y="1696956"/>
            <a:ext cx="1002126" cy="1002126"/>
          </a:xfrm>
          <a:prstGeom prst="rect">
            <a:avLst/>
          </a:prstGeom>
        </p:spPr>
      </p:pic>
      <p:pic>
        <p:nvPicPr>
          <p:cNvPr id="55" name="Picture 28"/>
          <p:cNvPicPr>
            <a:picLocks noChangeAspect="1"/>
          </p:cNvPicPr>
          <p:nvPr/>
        </p:nvPicPr>
        <p:blipFill>
          <a:blip r:embed="rId4" cstate="screen"/>
          <a:srcRect/>
          <a:stretch>
            <a:fillRect/>
          </a:stretch>
        </p:blipFill>
        <p:spPr>
          <a:xfrm>
            <a:off x="3877919" y="1696956"/>
            <a:ext cx="1002126" cy="1002126"/>
          </a:xfrm>
          <a:prstGeom prst="rect">
            <a:avLst/>
          </a:prstGeom>
        </p:spPr>
      </p:pic>
      <p:pic>
        <p:nvPicPr>
          <p:cNvPr id="56" name="Picture 28"/>
          <p:cNvPicPr>
            <a:picLocks noChangeAspect="1"/>
          </p:cNvPicPr>
          <p:nvPr/>
        </p:nvPicPr>
        <p:blipFill>
          <a:blip r:embed="rId5" cstate="screen"/>
          <a:srcRect/>
          <a:stretch>
            <a:fillRect/>
          </a:stretch>
        </p:blipFill>
        <p:spPr>
          <a:xfrm>
            <a:off x="5565738" y="1696956"/>
            <a:ext cx="1002126" cy="1002126"/>
          </a:xfrm>
          <a:prstGeom prst="rect">
            <a:avLst/>
          </a:prstGeom>
        </p:spPr>
      </p:pic>
      <p:pic>
        <p:nvPicPr>
          <p:cNvPr id="57" name="Picture 28"/>
          <p:cNvPicPr>
            <a:picLocks noChangeAspect="1"/>
          </p:cNvPicPr>
          <p:nvPr/>
        </p:nvPicPr>
        <p:blipFill>
          <a:blip r:embed="rId6" cstate="screen"/>
          <a:srcRect/>
          <a:stretch>
            <a:fillRect/>
          </a:stretch>
        </p:blipFill>
        <p:spPr>
          <a:xfrm>
            <a:off x="7237672" y="1696956"/>
            <a:ext cx="1002126" cy="1002126"/>
          </a:xfrm>
          <a:prstGeom prst="rect">
            <a:avLst/>
          </a:prstGeom>
        </p:spPr>
      </p:pic>
      <p:pic>
        <p:nvPicPr>
          <p:cNvPr id="58" name="Picture 28"/>
          <p:cNvPicPr>
            <a:picLocks noChangeAspect="1"/>
          </p:cNvPicPr>
          <p:nvPr/>
        </p:nvPicPr>
        <p:blipFill>
          <a:blip r:embed="rId7" cstate="screen"/>
          <a:srcRect/>
          <a:stretch>
            <a:fillRect/>
          </a:stretch>
        </p:blipFill>
        <p:spPr>
          <a:xfrm>
            <a:off x="2230091" y="3017972"/>
            <a:ext cx="1002126" cy="1002126"/>
          </a:xfrm>
          <a:prstGeom prst="rect">
            <a:avLst/>
          </a:prstGeom>
        </p:spPr>
      </p:pic>
      <p:pic>
        <p:nvPicPr>
          <p:cNvPr id="59" name="Picture 28"/>
          <p:cNvPicPr>
            <a:picLocks noChangeAspect="1"/>
          </p:cNvPicPr>
          <p:nvPr/>
        </p:nvPicPr>
        <p:blipFill>
          <a:blip r:embed="rId8" cstate="screen"/>
          <a:srcRect/>
          <a:stretch>
            <a:fillRect/>
          </a:stretch>
        </p:blipFill>
        <p:spPr>
          <a:xfrm>
            <a:off x="552147" y="3017972"/>
            <a:ext cx="1002126" cy="1002126"/>
          </a:xfrm>
          <a:prstGeom prst="rect">
            <a:avLst/>
          </a:prstGeom>
        </p:spPr>
      </p:pic>
      <p:pic>
        <p:nvPicPr>
          <p:cNvPr id="60" name="Picture 28"/>
          <p:cNvPicPr>
            <a:picLocks noChangeAspect="1"/>
          </p:cNvPicPr>
          <p:nvPr/>
        </p:nvPicPr>
        <p:blipFill>
          <a:blip r:embed="rId9" cstate="screen"/>
          <a:srcRect/>
          <a:stretch>
            <a:fillRect/>
          </a:stretch>
        </p:blipFill>
        <p:spPr>
          <a:xfrm>
            <a:off x="3877919" y="3017972"/>
            <a:ext cx="1002126" cy="1002126"/>
          </a:xfrm>
          <a:prstGeom prst="rect">
            <a:avLst/>
          </a:prstGeom>
        </p:spPr>
      </p:pic>
      <p:pic>
        <p:nvPicPr>
          <p:cNvPr id="61" name="Picture 28"/>
          <p:cNvPicPr>
            <a:picLocks noChangeAspect="1"/>
          </p:cNvPicPr>
          <p:nvPr/>
        </p:nvPicPr>
        <p:blipFill>
          <a:blip r:embed="rId10" cstate="screen"/>
          <a:srcRect/>
          <a:stretch>
            <a:fillRect/>
          </a:stretch>
        </p:blipFill>
        <p:spPr>
          <a:xfrm>
            <a:off x="5565738" y="3017972"/>
            <a:ext cx="1002126" cy="1002126"/>
          </a:xfrm>
          <a:prstGeom prst="rect">
            <a:avLst/>
          </a:prstGeom>
        </p:spPr>
      </p:pic>
      <p:pic>
        <p:nvPicPr>
          <p:cNvPr id="62" name="Picture 28"/>
          <p:cNvPicPr>
            <a:picLocks noChangeAspect="1"/>
          </p:cNvPicPr>
          <p:nvPr/>
        </p:nvPicPr>
        <p:blipFill>
          <a:blip r:embed="rId11" cstate="screen"/>
          <a:srcRect/>
          <a:stretch>
            <a:fillRect/>
          </a:stretch>
        </p:blipFill>
        <p:spPr>
          <a:xfrm>
            <a:off x="7237672" y="3017972"/>
            <a:ext cx="1002126" cy="1002126"/>
          </a:xfrm>
          <a:prstGeom prst="rect">
            <a:avLst/>
          </a:prstGeom>
        </p:spPr>
      </p:pic>
      <p:pic>
        <p:nvPicPr>
          <p:cNvPr id="63" name="Picture 28"/>
          <p:cNvPicPr>
            <a:picLocks noChangeAspect="1"/>
          </p:cNvPicPr>
          <p:nvPr/>
        </p:nvPicPr>
        <p:blipFill>
          <a:blip r:embed="rId12" cstate="screen"/>
          <a:srcRect/>
          <a:stretch>
            <a:fillRect/>
          </a:stretch>
        </p:blipFill>
        <p:spPr>
          <a:xfrm>
            <a:off x="352706" y="5383499"/>
            <a:ext cx="620297" cy="620297"/>
          </a:xfrm>
          <a:prstGeom prst="rect">
            <a:avLst/>
          </a:prstGeom>
        </p:spPr>
      </p:pic>
      <p:pic>
        <p:nvPicPr>
          <p:cNvPr id="64" name="Picture 28"/>
          <p:cNvPicPr>
            <a:picLocks noChangeAspect="1"/>
          </p:cNvPicPr>
          <p:nvPr/>
        </p:nvPicPr>
        <p:blipFill>
          <a:blip r:embed="rId13" cstate="screen"/>
          <a:srcRect/>
          <a:stretch>
            <a:fillRect/>
          </a:stretch>
        </p:blipFill>
        <p:spPr>
          <a:xfrm>
            <a:off x="1247366" y="5383499"/>
            <a:ext cx="620297" cy="620297"/>
          </a:xfrm>
          <a:prstGeom prst="rect">
            <a:avLst/>
          </a:prstGeom>
        </p:spPr>
      </p:pic>
      <p:pic>
        <p:nvPicPr>
          <p:cNvPr id="65" name="Picture 28"/>
          <p:cNvPicPr>
            <a:picLocks noChangeAspect="1"/>
          </p:cNvPicPr>
          <p:nvPr/>
        </p:nvPicPr>
        <p:blipFill>
          <a:blip r:embed="rId14" cstate="screen"/>
          <a:srcRect/>
          <a:stretch>
            <a:fillRect/>
          </a:stretch>
        </p:blipFill>
        <p:spPr>
          <a:xfrm>
            <a:off x="2142026" y="5383499"/>
            <a:ext cx="620297" cy="620297"/>
          </a:xfrm>
          <a:prstGeom prst="rect">
            <a:avLst/>
          </a:prstGeom>
        </p:spPr>
      </p:pic>
      <p:pic>
        <p:nvPicPr>
          <p:cNvPr id="66" name="Picture 28"/>
          <p:cNvPicPr>
            <a:picLocks noChangeAspect="1"/>
          </p:cNvPicPr>
          <p:nvPr/>
        </p:nvPicPr>
        <p:blipFill>
          <a:blip r:embed="rId15" cstate="screen"/>
          <a:srcRect/>
          <a:stretch>
            <a:fillRect/>
          </a:stretch>
        </p:blipFill>
        <p:spPr>
          <a:xfrm>
            <a:off x="3036686" y="5383499"/>
            <a:ext cx="620297" cy="620297"/>
          </a:xfrm>
          <a:prstGeom prst="rect">
            <a:avLst/>
          </a:prstGeom>
        </p:spPr>
      </p:pic>
      <p:pic>
        <p:nvPicPr>
          <p:cNvPr id="67" name="Picture 28"/>
          <p:cNvPicPr>
            <a:picLocks noChangeAspect="1"/>
          </p:cNvPicPr>
          <p:nvPr/>
        </p:nvPicPr>
        <p:blipFill>
          <a:blip r:embed="rId16" cstate="screen"/>
          <a:srcRect/>
          <a:stretch>
            <a:fillRect/>
          </a:stretch>
        </p:blipFill>
        <p:spPr>
          <a:xfrm>
            <a:off x="3931346" y="5383499"/>
            <a:ext cx="620297" cy="620297"/>
          </a:xfrm>
          <a:prstGeom prst="rect">
            <a:avLst/>
          </a:prstGeom>
        </p:spPr>
      </p:pic>
      <p:pic>
        <p:nvPicPr>
          <p:cNvPr id="68" name="Picture 28"/>
          <p:cNvPicPr>
            <a:picLocks noChangeAspect="1"/>
          </p:cNvPicPr>
          <p:nvPr/>
        </p:nvPicPr>
        <p:blipFill>
          <a:blip r:embed="rId17" cstate="screen"/>
          <a:srcRect/>
          <a:stretch>
            <a:fillRect/>
          </a:stretch>
        </p:blipFill>
        <p:spPr>
          <a:xfrm>
            <a:off x="4826006" y="5383499"/>
            <a:ext cx="620297" cy="620297"/>
          </a:xfrm>
          <a:prstGeom prst="rect">
            <a:avLst/>
          </a:prstGeom>
        </p:spPr>
      </p:pic>
      <p:pic>
        <p:nvPicPr>
          <p:cNvPr id="69" name="Picture 28"/>
          <p:cNvPicPr>
            <a:picLocks noChangeAspect="1"/>
          </p:cNvPicPr>
          <p:nvPr/>
        </p:nvPicPr>
        <p:blipFill>
          <a:blip r:embed="rId18" cstate="screen"/>
          <a:srcRect/>
          <a:stretch>
            <a:fillRect/>
          </a:stretch>
        </p:blipFill>
        <p:spPr>
          <a:xfrm>
            <a:off x="5720668" y="5383499"/>
            <a:ext cx="620297" cy="620297"/>
          </a:xfrm>
          <a:prstGeom prst="rect">
            <a:avLst/>
          </a:prstGeom>
        </p:spPr>
      </p:pic>
      <p:pic>
        <p:nvPicPr>
          <p:cNvPr id="70" name="Picture 28"/>
          <p:cNvPicPr>
            <a:picLocks noChangeAspect="1"/>
          </p:cNvPicPr>
          <p:nvPr/>
        </p:nvPicPr>
        <p:blipFill>
          <a:blip r:embed="rId19" cstate="screen"/>
          <a:srcRect/>
          <a:stretch>
            <a:fillRect/>
          </a:stretch>
        </p:blipFill>
        <p:spPr>
          <a:xfrm>
            <a:off x="6615330" y="5383499"/>
            <a:ext cx="620297" cy="620297"/>
          </a:xfrm>
          <a:prstGeom prst="rect">
            <a:avLst/>
          </a:prstGeom>
        </p:spPr>
      </p:pic>
      <p:pic>
        <p:nvPicPr>
          <p:cNvPr id="71" name="Picture 28"/>
          <p:cNvPicPr>
            <a:picLocks noChangeAspect="1"/>
          </p:cNvPicPr>
          <p:nvPr/>
        </p:nvPicPr>
        <p:blipFill>
          <a:blip r:embed="rId20" cstate="screen"/>
          <a:srcRect/>
          <a:stretch>
            <a:fillRect/>
          </a:stretch>
        </p:blipFill>
        <p:spPr>
          <a:xfrm>
            <a:off x="7509652" y="5383499"/>
            <a:ext cx="620297" cy="620297"/>
          </a:xfrm>
          <a:prstGeom prst="rect">
            <a:avLst/>
          </a:prstGeom>
        </p:spPr>
      </p:pic>
      <p:pic>
        <p:nvPicPr>
          <p:cNvPr id="72" name="Picture 28"/>
          <p:cNvPicPr>
            <a:picLocks noChangeAspect="1"/>
          </p:cNvPicPr>
          <p:nvPr/>
        </p:nvPicPr>
        <p:blipFill>
          <a:blip r:embed="rId21" cstate="screen"/>
          <a:srcRect/>
          <a:stretch>
            <a:fillRect/>
          </a:stretch>
        </p:blipFill>
        <p:spPr>
          <a:xfrm>
            <a:off x="8403974" y="5383499"/>
            <a:ext cx="620297" cy="620297"/>
          </a:xfrm>
          <a:prstGeom prst="rect">
            <a:avLst/>
          </a:prstGeom>
        </p:spPr>
      </p:pic>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lose cover">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pic>
        <p:nvPicPr>
          <p:cNvPr id="14" name="Picture 13"/>
          <p:cNvPicPr>
            <a:picLocks noChangeAspect="1"/>
          </p:cNvPicPr>
          <p:nvPr/>
        </p:nvPicPr>
        <p:blipFill>
          <a:blip r:embed="rId2"/>
          <a:stretch>
            <a:fillRect/>
          </a:stretch>
        </p:blipFill>
        <p:spPr>
          <a:xfrm>
            <a:off x="9480376" y="5882751"/>
            <a:ext cx="1725229" cy="504000"/>
          </a:xfrm>
          <a:prstGeom prst="rect">
            <a:avLst/>
          </a:prstGeom>
        </p:spPr>
      </p:pic>
      <p:pic>
        <p:nvPicPr>
          <p:cNvPr id="15" name="Picture 14"/>
          <p:cNvPicPr>
            <a:picLocks noChangeAspect="1"/>
          </p:cNvPicPr>
          <p:nvPr/>
        </p:nvPicPr>
        <p:blipFill>
          <a:blip r:embed="rId3" cstate="screen"/>
          <a:stretch>
            <a:fillRect/>
          </a:stretch>
        </p:blipFill>
        <p:spPr>
          <a:xfrm flipV="1">
            <a:off x="5696712" y="0"/>
            <a:ext cx="6495288" cy="6144768"/>
          </a:xfrm>
          <a:prstGeom prst="rect">
            <a:avLst/>
          </a:prstGeom>
        </p:spPr>
      </p:pic>
      <p:pic>
        <p:nvPicPr>
          <p:cNvPr id="16" name="Picture 15"/>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50863" y="5962650"/>
            <a:ext cx="1336258" cy="260867"/>
          </a:xfrm>
          <a:prstGeom prst="rect">
            <a:avLst/>
          </a:prstGeom>
        </p:spPr>
      </p:pic>
      <p:sp>
        <p:nvSpPr>
          <p:cNvPr id="9" name="Text Placeholder 8"/>
          <p:cNvSpPr>
            <a:spLocks noGrp="1"/>
          </p:cNvSpPr>
          <p:nvPr>
            <p:ph type="body" sz="quarter" idx="13" hasCustomPrompt="1"/>
          </p:nvPr>
        </p:nvSpPr>
        <p:spPr>
          <a:xfrm>
            <a:off x="550863" y="1730829"/>
            <a:ext cx="5545137" cy="618052"/>
          </a:xfrm>
        </p:spPr>
        <p:txBody>
          <a:bodyPr/>
          <a:lstStyle>
            <a:lvl1pPr marL="0" indent="0">
              <a:buNone/>
              <a:defRPr sz="4800" b="0" i="0">
                <a:solidFill>
                  <a:schemeClr val="bg1"/>
                </a:solidFill>
                <a:latin typeface="Gotham Medium" charset="0"/>
                <a:cs typeface="Gotham Medium" charset="0"/>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a:t>Terima kasih</a:t>
            </a: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Content &amp; Coloums Mix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a:br>
            <a:r>
              <a:rPr lang="en-US"/>
              <a:t>Click to edit Title text. Ex. MIND ID Group</a:t>
            </a:r>
            <a:endParaRPr lang="id-ID"/>
          </a:p>
        </p:txBody>
      </p:sp>
      <p:sp>
        <p:nvSpPr>
          <p:cNvPr id="17" name="Picture Placeholder 4"/>
          <p:cNvSpPr>
            <a:spLocks noGrp="1"/>
          </p:cNvSpPr>
          <p:nvPr>
            <p:ph type="pic" sz="quarter" idx="35"/>
          </p:nvPr>
        </p:nvSpPr>
        <p:spPr>
          <a:xfrm>
            <a:off x="334962" y="3086301"/>
            <a:ext cx="1308101" cy="751562"/>
          </a:xfrm>
          <a:prstGeom prst="roundRect">
            <a:avLst>
              <a:gd name="adj" fmla="val 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1" name="Text Placeholder 21"/>
          <p:cNvSpPr>
            <a:spLocks noGrp="1"/>
          </p:cNvSpPr>
          <p:nvPr>
            <p:ph type="body" sz="quarter" idx="37"/>
          </p:nvPr>
        </p:nvSpPr>
        <p:spPr>
          <a:xfrm>
            <a:off x="33496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2" name="Picture Placeholder 4"/>
          <p:cNvSpPr>
            <a:spLocks noGrp="1"/>
          </p:cNvSpPr>
          <p:nvPr>
            <p:ph type="pic" sz="quarter" idx="38"/>
          </p:nvPr>
        </p:nvSpPr>
        <p:spPr>
          <a:xfrm>
            <a:off x="2031206" y="3086301"/>
            <a:ext cx="1308101" cy="751562"/>
          </a:xfrm>
          <a:prstGeom prst="roundRect">
            <a:avLst>
              <a:gd name="adj" fmla="val 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5" name="Text Placeholder 21"/>
          <p:cNvSpPr>
            <a:spLocks noGrp="1"/>
          </p:cNvSpPr>
          <p:nvPr>
            <p:ph type="body" sz="quarter" idx="40"/>
          </p:nvPr>
        </p:nvSpPr>
        <p:spPr>
          <a:xfrm>
            <a:off x="2031206"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Picture Placeholder 4"/>
          <p:cNvSpPr>
            <a:spLocks noGrp="1"/>
          </p:cNvSpPr>
          <p:nvPr>
            <p:ph type="pic" sz="quarter" idx="41"/>
          </p:nvPr>
        </p:nvSpPr>
        <p:spPr>
          <a:xfrm>
            <a:off x="3727450" y="3086301"/>
            <a:ext cx="1308101" cy="751562"/>
          </a:xfrm>
          <a:prstGeom prst="roundRect">
            <a:avLst>
              <a:gd name="adj" fmla="val 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0" name="Picture Placeholder 4"/>
          <p:cNvSpPr>
            <a:spLocks noGrp="1"/>
          </p:cNvSpPr>
          <p:nvPr>
            <p:ph type="pic" sz="quarter" idx="44"/>
          </p:nvPr>
        </p:nvSpPr>
        <p:spPr>
          <a:xfrm>
            <a:off x="5423694" y="3086301"/>
            <a:ext cx="1308101" cy="751562"/>
          </a:xfrm>
          <a:prstGeom prst="roundRect">
            <a:avLst>
              <a:gd name="adj" fmla="val 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2" name="Text Placeholder 21"/>
          <p:cNvSpPr>
            <a:spLocks noGrp="1"/>
          </p:cNvSpPr>
          <p:nvPr>
            <p:ph type="body" sz="quarter" idx="46"/>
          </p:nvPr>
        </p:nvSpPr>
        <p:spPr>
          <a:xfrm>
            <a:off x="542369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3" name="Picture Placeholder 4"/>
          <p:cNvSpPr>
            <a:spLocks noGrp="1"/>
          </p:cNvSpPr>
          <p:nvPr>
            <p:ph type="pic" sz="quarter" idx="47"/>
          </p:nvPr>
        </p:nvSpPr>
        <p:spPr>
          <a:xfrm>
            <a:off x="7119938" y="3086301"/>
            <a:ext cx="1308101" cy="751562"/>
          </a:xfrm>
          <a:prstGeom prst="roundRect">
            <a:avLst>
              <a:gd name="adj" fmla="val 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5" name="Text Placeholder 21"/>
          <p:cNvSpPr>
            <a:spLocks noGrp="1"/>
          </p:cNvSpPr>
          <p:nvPr>
            <p:ph type="body" sz="quarter" idx="49"/>
          </p:nvPr>
        </p:nvSpPr>
        <p:spPr>
          <a:xfrm>
            <a:off x="7119938"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7" name="Picture Placeholder 4"/>
          <p:cNvSpPr>
            <a:spLocks noGrp="1"/>
          </p:cNvSpPr>
          <p:nvPr>
            <p:ph type="pic" sz="quarter" idx="50"/>
          </p:nvPr>
        </p:nvSpPr>
        <p:spPr>
          <a:xfrm>
            <a:off x="8816182" y="3086301"/>
            <a:ext cx="1308101" cy="751562"/>
          </a:xfrm>
          <a:prstGeom prst="roundRect">
            <a:avLst>
              <a:gd name="adj" fmla="val 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9" name="Text Placeholder 21"/>
          <p:cNvSpPr>
            <a:spLocks noGrp="1"/>
          </p:cNvSpPr>
          <p:nvPr>
            <p:ph type="body" sz="quarter" idx="52"/>
          </p:nvPr>
        </p:nvSpPr>
        <p:spPr>
          <a:xfrm>
            <a:off x="881618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0" name="Picture Placeholder 4"/>
          <p:cNvSpPr>
            <a:spLocks noGrp="1"/>
          </p:cNvSpPr>
          <p:nvPr>
            <p:ph type="pic" sz="quarter" idx="53"/>
          </p:nvPr>
        </p:nvSpPr>
        <p:spPr>
          <a:xfrm>
            <a:off x="10512424" y="3086301"/>
            <a:ext cx="1308101" cy="751562"/>
          </a:xfrm>
          <a:prstGeom prst="roundRect">
            <a:avLst>
              <a:gd name="adj" fmla="val 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42" name="Text Placeholder 21"/>
          <p:cNvSpPr>
            <a:spLocks noGrp="1"/>
          </p:cNvSpPr>
          <p:nvPr>
            <p:ph type="body" sz="quarter" idx="55"/>
          </p:nvPr>
        </p:nvSpPr>
        <p:spPr>
          <a:xfrm>
            <a:off x="1051242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3" name="Text Placeholder 21"/>
          <p:cNvSpPr>
            <a:spLocks noGrp="1"/>
          </p:cNvSpPr>
          <p:nvPr>
            <p:ph type="body" sz="quarter" idx="56" hasCustomPrompt="1"/>
          </p:nvPr>
        </p:nvSpPr>
        <p:spPr>
          <a:xfrm>
            <a:off x="334961" y="5640779"/>
            <a:ext cx="11485564" cy="621798"/>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44" name="Picture Placeholder 6"/>
          <p:cNvSpPr>
            <a:spLocks noGrp="1"/>
          </p:cNvSpPr>
          <p:nvPr>
            <p:ph type="pic" sz="quarter" idx="58"/>
          </p:nvPr>
        </p:nvSpPr>
        <p:spPr>
          <a:xfrm>
            <a:off x="2031383" y="2598788"/>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2598788"/>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2598788"/>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2598788"/>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2598788"/>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2598788"/>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2598788"/>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1712626"/>
            <a:ext cx="1308101" cy="629247"/>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p:txBody>
          <a:bodyPr/>
          <a:lstStyle/>
          <a:p>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a:xfrm>
            <a:off x="9448800" y="6480009"/>
            <a:ext cx="2743200" cy="365125"/>
          </a:xfrm>
        </p:spPr>
        <p:txBody>
          <a:bodyPr/>
          <a:lstStyle>
            <a:lvl1pPr>
              <a:defRPr sz="1050">
                <a:solidFill>
                  <a:schemeClr val="tx1"/>
                </a:solidFill>
                <a:latin typeface="Arial" panose="020B0604020202090204" pitchFamily="34" charset="0"/>
                <a:cs typeface="Arial" panose="020B0604020202090204" pitchFamily="34" charset="0"/>
              </a:defRPr>
            </a:lvl1pPr>
          </a:lstStyle>
          <a:p>
            <a:fld id="{76674A29-37F1-4912-85EA-D6B96A927AE2}" type="slidenum">
              <a:rPr lang="en-AU" smtClean="0"/>
              <a:t>‹#›</a:t>
            </a:fld>
            <a:endParaRPr lang="en-AU"/>
          </a:p>
        </p:txBody>
      </p:sp>
      <p:cxnSp>
        <p:nvCxnSpPr>
          <p:cNvPr id="11" name="Straight Connector 10"/>
          <p:cNvCxnSpPr/>
          <p:nvPr/>
        </p:nvCxnSpPr>
        <p:spPr>
          <a:xfrm flipH="1">
            <a:off x="0" y="6500608"/>
            <a:ext cx="12192000" cy="0"/>
          </a:xfrm>
          <a:prstGeom prst="line">
            <a:avLst/>
          </a:prstGeom>
          <a:ln>
            <a:solidFill>
              <a:srgbClr val="79D1F0"/>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2684931" y="6524293"/>
            <a:ext cx="6822137" cy="338554"/>
          </a:xfrm>
          <a:prstGeom prst="rect">
            <a:avLst/>
          </a:prstGeom>
          <a:noFill/>
        </p:spPr>
        <p:txBody>
          <a:bodyPr wrap="square" rtlCol="0">
            <a:spAutoFit/>
          </a:bodyPr>
          <a:lstStyle/>
          <a:p>
            <a:pPr algn="ctr"/>
            <a:r>
              <a:rPr lang="en-US" sz="800">
                <a:solidFill>
                  <a:schemeClr val="bg1">
                    <a:lumMod val="50000"/>
                  </a:schemeClr>
                </a:solidFill>
                <a:latin typeface="GothamBook" pitchFamily="50" charset="0"/>
                <a:ea typeface="Open Sans" charset="0"/>
                <a:cs typeface="Open Sans" charset="0"/>
              </a:rPr>
              <a:t>This presentation has been prepared specifically by MIND ID. The content of this presentation may not be used,</a:t>
            </a:r>
          </a:p>
          <a:p>
            <a:pPr algn="ctr"/>
            <a:r>
              <a:rPr lang="en-US" sz="800">
                <a:solidFill>
                  <a:schemeClr val="bg1">
                    <a:lumMod val="50000"/>
                  </a:schemeClr>
                </a:solidFill>
                <a:latin typeface="GothamBook" pitchFamily="50" charset="0"/>
                <a:ea typeface="Open Sans" charset="0"/>
                <a:cs typeface="Open Sans" charset="0"/>
              </a:rPr>
              <a:t>duplicated or transmitted in any form without the written consent from MIND ID. All rights reserved.</a:t>
            </a:r>
            <a:endParaRPr lang="en-US" sz="800" b="1">
              <a:solidFill>
                <a:schemeClr val="bg1">
                  <a:lumMod val="50000"/>
                </a:schemeClr>
              </a:solidFill>
              <a:latin typeface="GothamBook" pitchFamily="50" charset="0"/>
              <a:ea typeface="Open Sans" charset="0"/>
              <a:cs typeface="Open Sans"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mp; Coloums Mix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dirty="0"/>
            </a:br>
            <a:r>
              <a:rPr lang="en-US" dirty="0"/>
              <a:t>Click to edit Title text. Ex. MIND ID Group</a:t>
            </a:r>
            <a:endParaRPr lang="id-ID" dirty="0"/>
          </a:p>
        </p:txBody>
      </p:sp>
      <p:pic>
        <p:nvPicPr>
          <p:cNvPr id="36" name="Picture 35"/>
          <p:cNvPicPr>
            <a:picLocks noChangeAspect="1"/>
          </p:cNvPicPr>
          <p:nvPr userDrawn="1"/>
        </p:nvPicPr>
        <p:blipFill>
          <a:blip r:embed="rId2"/>
          <a:stretch>
            <a:fillRect/>
          </a:stretch>
        </p:blipFill>
        <p:spPr>
          <a:xfrm>
            <a:off x="5534706" y="1090969"/>
            <a:ext cx="1122589" cy="324000"/>
          </a:xfrm>
          <a:prstGeom prst="rect">
            <a:avLst/>
          </a:prstGeom>
        </p:spPr>
      </p:pic>
      <p:sp>
        <p:nvSpPr>
          <p:cNvPr id="17" name="Picture Placeholder 4"/>
          <p:cNvSpPr>
            <a:spLocks noGrp="1"/>
          </p:cNvSpPr>
          <p:nvPr>
            <p:ph type="pic" sz="quarter" idx="35"/>
          </p:nvPr>
        </p:nvSpPr>
        <p:spPr>
          <a:xfrm>
            <a:off x="334962" y="3460974"/>
            <a:ext cx="1308101" cy="751562"/>
          </a:xfrm>
          <a:prstGeom prst="roundRect">
            <a:avLst>
              <a:gd name="adj" fmla="val 5000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1" name="Text Placeholder 21"/>
          <p:cNvSpPr>
            <a:spLocks noGrp="1"/>
          </p:cNvSpPr>
          <p:nvPr>
            <p:ph type="body" sz="quarter" idx="37"/>
          </p:nvPr>
        </p:nvSpPr>
        <p:spPr>
          <a:xfrm>
            <a:off x="33496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2" name="Picture Placeholder 4"/>
          <p:cNvSpPr>
            <a:spLocks noGrp="1"/>
          </p:cNvSpPr>
          <p:nvPr>
            <p:ph type="pic" sz="quarter" idx="38"/>
          </p:nvPr>
        </p:nvSpPr>
        <p:spPr>
          <a:xfrm>
            <a:off x="2031206" y="3460974"/>
            <a:ext cx="1308101" cy="751562"/>
          </a:xfrm>
          <a:prstGeom prst="roundRect">
            <a:avLst>
              <a:gd name="adj" fmla="val 5000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5" name="Text Placeholder 21"/>
          <p:cNvSpPr>
            <a:spLocks noGrp="1"/>
          </p:cNvSpPr>
          <p:nvPr>
            <p:ph type="body" sz="quarter" idx="40"/>
          </p:nvPr>
        </p:nvSpPr>
        <p:spPr>
          <a:xfrm>
            <a:off x="2031206"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Picture Placeholder 4"/>
          <p:cNvSpPr>
            <a:spLocks noGrp="1"/>
          </p:cNvSpPr>
          <p:nvPr>
            <p:ph type="pic" sz="quarter" idx="41"/>
          </p:nvPr>
        </p:nvSpPr>
        <p:spPr>
          <a:xfrm>
            <a:off x="3727450" y="3460974"/>
            <a:ext cx="1308101" cy="751562"/>
          </a:xfrm>
          <a:prstGeom prst="roundRect">
            <a:avLst>
              <a:gd name="adj" fmla="val 5000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0" name="Picture Placeholder 4"/>
          <p:cNvSpPr>
            <a:spLocks noGrp="1"/>
          </p:cNvSpPr>
          <p:nvPr>
            <p:ph type="pic" sz="quarter" idx="44"/>
          </p:nvPr>
        </p:nvSpPr>
        <p:spPr>
          <a:xfrm>
            <a:off x="5423694" y="3460974"/>
            <a:ext cx="1308101" cy="751562"/>
          </a:xfrm>
          <a:prstGeom prst="roundRect">
            <a:avLst>
              <a:gd name="adj" fmla="val 5000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2" name="Text Placeholder 21"/>
          <p:cNvSpPr>
            <a:spLocks noGrp="1"/>
          </p:cNvSpPr>
          <p:nvPr>
            <p:ph type="body" sz="quarter" idx="46"/>
          </p:nvPr>
        </p:nvSpPr>
        <p:spPr>
          <a:xfrm>
            <a:off x="542369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3" name="Picture Placeholder 4"/>
          <p:cNvSpPr>
            <a:spLocks noGrp="1"/>
          </p:cNvSpPr>
          <p:nvPr>
            <p:ph type="pic" sz="quarter" idx="47"/>
          </p:nvPr>
        </p:nvSpPr>
        <p:spPr>
          <a:xfrm>
            <a:off x="7119938" y="3460974"/>
            <a:ext cx="1308101" cy="751562"/>
          </a:xfrm>
          <a:prstGeom prst="roundRect">
            <a:avLst>
              <a:gd name="adj" fmla="val 5000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5" name="Text Placeholder 21"/>
          <p:cNvSpPr>
            <a:spLocks noGrp="1"/>
          </p:cNvSpPr>
          <p:nvPr>
            <p:ph type="body" sz="quarter" idx="49"/>
          </p:nvPr>
        </p:nvSpPr>
        <p:spPr>
          <a:xfrm>
            <a:off x="7119938"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7" name="Picture Placeholder 4"/>
          <p:cNvSpPr>
            <a:spLocks noGrp="1"/>
          </p:cNvSpPr>
          <p:nvPr>
            <p:ph type="pic" sz="quarter" idx="50"/>
          </p:nvPr>
        </p:nvSpPr>
        <p:spPr>
          <a:xfrm>
            <a:off x="8816182" y="3460974"/>
            <a:ext cx="1308101" cy="751562"/>
          </a:xfrm>
          <a:prstGeom prst="roundRect">
            <a:avLst>
              <a:gd name="adj" fmla="val 5000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9" name="Text Placeholder 21"/>
          <p:cNvSpPr>
            <a:spLocks noGrp="1"/>
          </p:cNvSpPr>
          <p:nvPr>
            <p:ph type="body" sz="quarter" idx="52"/>
          </p:nvPr>
        </p:nvSpPr>
        <p:spPr>
          <a:xfrm>
            <a:off x="881618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0" name="Picture Placeholder 4"/>
          <p:cNvSpPr>
            <a:spLocks noGrp="1"/>
          </p:cNvSpPr>
          <p:nvPr>
            <p:ph type="pic" sz="quarter" idx="53"/>
          </p:nvPr>
        </p:nvSpPr>
        <p:spPr>
          <a:xfrm>
            <a:off x="10512424" y="3460974"/>
            <a:ext cx="1308101" cy="751562"/>
          </a:xfrm>
          <a:prstGeom prst="roundRect">
            <a:avLst>
              <a:gd name="adj" fmla="val 5000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42" name="Text Placeholder 21"/>
          <p:cNvSpPr>
            <a:spLocks noGrp="1"/>
          </p:cNvSpPr>
          <p:nvPr>
            <p:ph type="body" sz="quarter" idx="55"/>
          </p:nvPr>
        </p:nvSpPr>
        <p:spPr>
          <a:xfrm>
            <a:off x="1051242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3" name="Text Placeholder 21"/>
          <p:cNvSpPr>
            <a:spLocks noGrp="1"/>
          </p:cNvSpPr>
          <p:nvPr>
            <p:ph type="body" sz="quarter" idx="56" hasCustomPrompt="1"/>
          </p:nvPr>
        </p:nvSpPr>
        <p:spPr>
          <a:xfrm>
            <a:off x="334961" y="5890437"/>
            <a:ext cx="11485564" cy="372140"/>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caption text </a:t>
            </a:r>
          </a:p>
        </p:txBody>
      </p:sp>
      <p:sp>
        <p:nvSpPr>
          <p:cNvPr id="44" name="Picture Placeholder 6"/>
          <p:cNvSpPr>
            <a:spLocks noGrp="1"/>
          </p:cNvSpPr>
          <p:nvPr>
            <p:ph type="pic" sz="quarter" idx="58"/>
          </p:nvPr>
        </p:nvSpPr>
        <p:spPr>
          <a:xfrm>
            <a:off x="2031383" y="3018669"/>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3018669"/>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3018669"/>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3018669"/>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3018669"/>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3018669"/>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3018669"/>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2124147"/>
            <a:ext cx="1308101" cy="7704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9" name="Picture Placeholder 9"/>
          <p:cNvPicPr>
            <a:picLocks noChangeAspect="1"/>
          </p:cNvPicPr>
          <p:nvPr userDrawn="1"/>
        </p:nvPicPr>
        <p:blipFill>
          <a:blip r:embed="rId6"/>
          <a:srcRect t="33157" b="33157"/>
          <a:stretch>
            <a:fillRect/>
          </a:stretch>
        </p:blipFill>
        <p:spPr>
          <a:xfrm>
            <a:off x="0" y="4419600"/>
            <a:ext cx="10883900" cy="24384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703020202090204" pitchFamily="34" charset="0"/>
            </a:endParaRPr>
          </a:p>
        </p:txBody>
      </p:sp>
      <p:pic>
        <p:nvPicPr>
          <p:cNvPr id="13" name="Graphic 12"/>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51384" y="298363"/>
            <a:ext cx="1800200" cy="320398"/>
          </a:xfrm>
          <a:prstGeom prst="rect">
            <a:avLst/>
          </a:prstGeom>
        </p:spPr>
      </p:pic>
      <p:pic>
        <p:nvPicPr>
          <p:cNvPr id="16" name="Picture 15"/>
          <p:cNvPicPr>
            <a:picLocks noChangeAspect="1"/>
          </p:cNvPicPr>
          <p:nvPr userDrawn="1"/>
        </p:nvPicPr>
        <p:blipFill>
          <a:blip r:embed="rId9"/>
          <a:stretch>
            <a:fillRect/>
          </a:stretch>
        </p:blipFill>
        <p:spPr>
          <a:xfrm>
            <a:off x="551384" y="1422493"/>
            <a:ext cx="2736304" cy="789746"/>
          </a:xfrm>
          <a:prstGeom prst="rect">
            <a:avLst/>
          </a:prstGeom>
        </p:spPr>
      </p:pic>
      <p:sp>
        <p:nvSpPr>
          <p:cNvPr id="22" name="Text Placeholder 6"/>
          <p:cNvSpPr>
            <a:spLocks noGrp="1"/>
          </p:cNvSpPr>
          <p:nvPr>
            <p:ph type="body" sz="quarter" idx="12" hasCustomPrompt="1"/>
          </p:nvPr>
        </p:nvSpPr>
        <p:spPr bwMode="black">
          <a:xfrm>
            <a:off x="4702097" y="3830886"/>
            <a:ext cx="2995280" cy="365125"/>
          </a:xfrm>
          <a:prstGeom prst="rect">
            <a:avLst/>
          </a:prstGeom>
          <a:noFill/>
        </p:spPr>
        <p:txBody>
          <a:bodyPr anchor="ctr"/>
          <a:lstStyle>
            <a:lvl1pPr algn="l">
              <a:lnSpc>
                <a:spcPct val="110000"/>
              </a:lnSpc>
              <a:buNone/>
              <a:defRPr sz="1400" b="0" cap="all" baseline="0">
                <a:solidFill>
                  <a:srgbClr val="0862A3"/>
                </a:solidFill>
                <a:latin typeface="+mn-lt"/>
                <a:ea typeface="+mn-ea"/>
                <a:cs typeface="+mn-cs"/>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4707274" y="3113928"/>
            <a:ext cx="6646526" cy="561668"/>
          </a:xfrm>
          <a:prstGeom prst="rect">
            <a:avLst/>
          </a:prstGeom>
        </p:spPr>
        <p:txBody>
          <a:bodyPr anchor="ctr"/>
          <a:lstStyle>
            <a:lvl1pPr marL="0" indent="0" algn="l">
              <a:lnSpc>
                <a:spcPct val="110000"/>
              </a:lnSpc>
              <a:buNone/>
              <a:defRPr sz="2400" baseline="0">
                <a:solidFill>
                  <a:srgbClr val="15325B"/>
                </a:solidFill>
                <a:latin typeface="+mn-lt"/>
                <a:ea typeface="+mn-ea"/>
                <a:cs typeface="+mn-cs"/>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4702097" y="1262063"/>
            <a:ext cx="6651704" cy="1772080"/>
          </a:xfrm>
          <a:prstGeom prst="rect">
            <a:avLst/>
          </a:prstGeom>
        </p:spPr>
        <p:txBody>
          <a:bodyPr vert="horz" anchor="b">
            <a:normAutofit/>
          </a:bodyPr>
          <a:lstStyle>
            <a:lvl1pPr algn="l">
              <a:lnSpc>
                <a:spcPct val="93000"/>
              </a:lnSpc>
              <a:defRPr sz="3600" b="1" baseline="0">
                <a:solidFill>
                  <a:srgbClr val="15325B"/>
                </a:solidFill>
                <a:latin typeface="+mj-lt"/>
                <a:ea typeface="+mj-ea"/>
                <a:cs typeface="+mj-cs"/>
                <a:sym typeface="Trebuchet MS" panose="020B0703020202090204" pitchFamily="34" charset="0"/>
              </a:defRPr>
            </a:lvl1pPr>
          </a:lstStyle>
          <a:p>
            <a:r>
              <a:rPr lang="en-US" dirty="0"/>
              <a:t>Title in Title Case</a:t>
            </a:r>
          </a:p>
        </p:txBody>
      </p:sp>
      <p:pic>
        <p:nvPicPr>
          <p:cNvPr id="28" name="Picture 27"/>
          <p:cNvPicPr>
            <a:picLocks noChangeAspect="1"/>
          </p:cNvPicPr>
          <p:nvPr userDrawn="1"/>
        </p:nvPicPr>
        <p:blipFill>
          <a:blip r:embed="rId10"/>
          <a:stretch>
            <a:fillRect/>
          </a:stretch>
        </p:blipFill>
        <p:spPr>
          <a:xfrm>
            <a:off x="9575800" y="3073400"/>
            <a:ext cx="2616200" cy="378460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334962" y="623454"/>
            <a:ext cx="11485562" cy="649224"/>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351069" y="1704977"/>
            <a:ext cx="11469455" cy="3884264"/>
          </a:xfrm>
          <a:prstGeom prst="rect">
            <a:avLst/>
          </a:prstGeom>
          <a:noFill/>
          <a:ln>
            <a:noFill/>
          </a:ln>
        </p:spPr>
        <p:txBody>
          <a:bodyPr tIns="46800" numCol="2" spcCol="540000">
            <a:noAutofit/>
          </a:bodyPr>
          <a:lstStyle>
            <a:lvl1pPr marL="0" indent="0" algn="l">
              <a:lnSpc>
                <a:spcPts val="1400"/>
              </a:lnSpc>
              <a:spcBef>
                <a:spcPts val="0"/>
              </a:spcBef>
              <a:buFont typeface="Arial" panose="020B0604020202090204" pitchFamily="34" charset="0"/>
              <a:buNone/>
              <a:defRPr sz="1050" b="0" i="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indent="-228600">
              <a:lnSpc>
                <a:spcPts val="1400"/>
              </a:lnSpc>
              <a:buFont typeface="Arial" panose="020B0604020202090204" pitchFamily="34" charset="0"/>
              <a:buChar char="•"/>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2" name="Title 1"/>
          <p:cNvSpPr>
            <a:spLocks noGrp="1"/>
          </p:cNvSpPr>
          <p:nvPr>
            <p:ph type="title" hasCustomPrompt="1"/>
          </p:nvPr>
        </p:nvSpPr>
        <p:spPr>
          <a:xfrm>
            <a:off x="334963" y="858983"/>
            <a:ext cx="5328989" cy="481786"/>
          </a:xfrm>
        </p:spPr>
        <p:txBody>
          <a:bodyPr vert="horz"/>
          <a:lstStyle>
            <a:lvl1pPr>
              <a:defRPr baseline="0">
                <a:latin typeface="+mj-lt"/>
                <a:ea typeface="+mj-ea"/>
                <a:cs typeface="+mj-cs"/>
              </a:defRPr>
            </a:lvl1pPr>
          </a:lstStyle>
          <a:p>
            <a:r>
              <a:rPr lang="en-US" dirty="0"/>
              <a:t>Disclaimer page</a:t>
            </a:r>
            <a:endParaRPr lang="id-ID" dirty="0"/>
          </a:p>
        </p:txBody>
      </p:sp>
      <p:sp>
        <p:nvSpPr>
          <p:cNvPr id="8" name="Footer Placeholder 7"/>
          <p:cNvSpPr>
            <a:spLocks noGrp="1"/>
          </p:cNvSpPr>
          <p:nvPr>
            <p:ph type="ftr" sz="quarter" idx="11"/>
          </p:nvPr>
        </p:nvSpPr>
        <p:spPr/>
        <p:txBody>
          <a:bodyPr/>
          <a:lstStyle/>
          <a:p>
            <a:pPr algn="l"/>
            <a:r>
              <a:rPr lang="en-US">
                <a:solidFill>
                  <a:schemeClr val="bg1">
                    <a:lumMod val="50000"/>
                  </a:schemeClr>
                </a:solidFill>
                <a:latin typeface="+mn-lt"/>
              </a:rPr>
              <a:t>This presentation has been prepared specifically by MIND ID. The content of this presentation may not be used,</a:t>
            </a:r>
            <a:r>
              <a:rPr lang="en-US">
                <a:solidFill>
                  <a:schemeClr val="bg1">
                    <a:lumMod val="50000"/>
                  </a:schemeClr>
                </a:solidFill>
              </a:rPr>
              <a:t> duplicated or transmitted in any form without the written consent from MIND ID. All rights reserved.</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51156" t="55496" b="200"/>
          <a:stretch>
            <a:fillRect/>
          </a:stretch>
        </p:blipFill>
        <p:spPr>
          <a:xfrm>
            <a:off x="6239282" y="3802895"/>
            <a:ext cx="5952718" cy="3055105"/>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vert="horz" anchor="b">
            <a:normAutofit/>
          </a:bodyPr>
          <a:lstStyle>
            <a:lvl1pPr>
              <a:defRPr sz="2400" b="1" i="0" baseline="0">
                <a:solidFill>
                  <a:schemeClr val="tx2"/>
                </a:solidFill>
                <a:latin typeface="+mj-lt"/>
                <a:ea typeface="+mj-ea"/>
                <a:cs typeface="+mj-cs"/>
              </a:defRPr>
            </a:lvl1pPr>
          </a:lstStyle>
          <a:p>
            <a:r>
              <a:rPr lang="en-US" dirty="0"/>
              <a:t>Section 01</a:t>
            </a:r>
            <a:endParaRPr lang="id-ID" dirty="0"/>
          </a:p>
        </p:txBody>
      </p:sp>
      <p:sp>
        <p:nvSpPr>
          <p:cNvPr id="5" name="Text Placeholder 4"/>
          <p:cNvSpPr>
            <a:spLocks noGrp="1"/>
          </p:cNvSpPr>
          <p:nvPr>
            <p:ph type="body" sz="quarter" idx="19" hasCustomPrompt="1"/>
          </p:nvPr>
        </p:nvSpPr>
        <p:spPr>
          <a:xfrm>
            <a:off x="682625" y="2479675"/>
            <a:ext cx="6963517" cy="3036888"/>
          </a:xfrm>
        </p:spPr>
        <p:txBody>
          <a:bodyPr/>
          <a:lstStyle>
            <a:lvl1pPr marL="0" indent="0">
              <a:lnSpc>
                <a:spcPts val="5800"/>
              </a:lnSpc>
              <a:spcBef>
                <a:spcPts val="0"/>
              </a:spcBef>
              <a:buNone/>
              <a:defRPr sz="5400" b="1" i="0">
                <a:solidFill>
                  <a:schemeClr val="tx2"/>
                </a:solidFill>
                <a:latin typeface="+mj-lt"/>
                <a:ea typeface="+mn-ea"/>
                <a:cs typeface="+mn-cs"/>
              </a:defRPr>
            </a:lvl1pPr>
          </a:lstStyle>
          <a:p>
            <a:pPr lvl="0"/>
            <a:r>
              <a:rPr lang="en-US" dirty="0"/>
              <a:t>Headline text goes here</a:t>
            </a:r>
            <a:endParaRPr lang="id-ID" dirty="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0713"/>
            <a:ext cx="9074355" cy="576039"/>
          </a:xfrm>
          <a:prstGeom prst="rect">
            <a:avLst/>
          </a:prstGeom>
        </p:spPr>
        <p:txBody>
          <a:bodyPr vert="horz"/>
          <a:lstStyle>
            <a:lvl1pPr>
              <a:defRPr>
                <a:solidFill>
                  <a:schemeClr val="tx2"/>
                </a:solidFill>
                <a:latin typeface="+mj-lt"/>
                <a:ea typeface="+mj-ea"/>
                <a:cs typeface="+mj-cs"/>
              </a:defRPr>
            </a:lvl1pPr>
          </a:lstStyle>
          <a:p>
            <a:br>
              <a:rPr lang="en-US" dirty="0"/>
            </a:br>
            <a:r>
              <a:rPr lang="en-US" dirty="0"/>
              <a:t>Click to edit Title custom layout</a:t>
            </a:r>
            <a:endParaRPr lang="id-ID" dirty="0"/>
          </a:p>
        </p:txBody>
      </p:sp>
      <p:sp>
        <p:nvSpPr>
          <p:cNvPr id="7" name="Footer Placeholder 6"/>
          <p:cNvSpPr>
            <a:spLocks noGrp="1"/>
          </p:cNvSpPr>
          <p:nvPr>
            <p:ph type="ftr" sz="quarter" idx="11"/>
          </p:nvPr>
        </p:nvSpPr>
        <p:spPr/>
        <p:txBody>
          <a:bodyPr/>
          <a:lstStyle/>
          <a:p>
            <a:pPr algn="l"/>
            <a:r>
              <a:rPr lang="en-US">
                <a:solidFill>
                  <a:schemeClr val="bg1">
                    <a:lumMod val="50000"/>
                  </a:schemeClr>
                </a:solidFill>
                <a:latin typeface="+mn-lt"/>
              </a:rPr>
              <a:t>This presentation has been prepared specifically by MIND ID. The content of this presentation may not be used,</a:t>
            </a:r>
            <a:r>
              <a:rPr lang="en-US">
                <a:solidFill>
                  <a:schemeClr val="bg1">
                    <a:lumMod val="50000"/>
                  </a:schemeClr>
                </a:solidFill>
              </a:rPr>
              <a:t> duplicated or transmitted in any form without the written consent from MIND ID. All rights reserved.</a:t>
            </a:r>
            <a:endParaRPr lang="en-US" dirty="0">
              <a:solidFill>
                <a:schemeClr val="bg1">
                  <a:lumMod val="50000"/>
                </a:schemeClr>
              </a:solidFil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p:cNvSpPr>
            <a:spLocks noGrp="1"/>
          </p:cNvSpPr>
          <p:nvPr>
            <p:ph type="ftr" sz="quarter" idx="11"/>
          </p:nvPr>
        </p:nvSpPr>
        <p:spPr/>
        <p:txBody>
          <a:bodyPr/>
          <a:lstStyle/>
          <a:p>
            <a:pPr algn="l"/>
            <a:r>
              <a:rPr lang="en-US">
                <a:solidFill>
                  <a:schemeClr val="bg1">
                    <a:lumMod val="50000"/>
                  </a:schemeClr>
                </a:solidFill>
                <a:latin typeface="+mn-lt"/>
              </a:rPr>
              <a:t>This presentation has been prepared specifically by MIND ID. The content of this presentation may not be used,</a:t>
            </a:r>
            <a:r>
              <a:rPr lang="en-US">
                <a:solidFill>
                  <a:schemeClr val="bg1">
                    <a:lumMod val="50000"/>
                  </a:schemeClr>
                </a:solidFill>
              </a:rPr>
              <a:t> duplicated or transmitted in any form without the written consent from MIND ID. All rights reserved.</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IND ID Presentation Color Schem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ounded Rectangle 5"/>
          <p:cNvSpPr/>
          <p:nvPr userDrawn="1"/>
        </p:nvSpPr>
        <p:spPr>
          <a:xfrm>
            <a:off x="514144" y="1650267"/>
            <a:ext cx="937601" cy="2286209"/>
          </a:xfrm>
          <a:prstGeom prst="roundRect">
            <a:avLst>
              <a:gd name="adj" fmla="val 50000"/>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7" name="Rounded Rectangle 6"/>
          <p:cNvSpPr/>
          <p:nvPr userDrawn="1"/>
        </p:nvSpPr>
        <p:spPr>
          <a:xfrm>
            <a:off x="1749893" y="1650267"/>
            <a:ext cx="937601" cy="2286209"/>
          </a:xfrm>
          <a:prstGeom prst="roundRect">
            <a:avLst>
              <a:gd name="adj" fmla="val 50000"/>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8" name="Rounded Rectangle 7"/>
          <p:cNvSpPr/>
          <p:nvPr userDrawn="1"/>
        </p:nvSpPr>
        <p:spPr>
          <a:xfrm>
            <a:off x="3067549" y="1650267"/>
            <a:ext cx="937601" cy="2286209"/>
          </a:xfrm>
          <a:prstGeom prst="roundRect">
            <a:avLst>
              <a:gd name="adj" fmla="val 50000"/>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9" name="Rounded Rectangle 8"/>
          <p:cNvSpPr/>
          <p:nvPr userDrawn="1"/>
        </p:nvSpPr>
        <p:spPr>
          <a:xfrm>
            <a:off x="4418996" y="1650267"/>
            <a:ext cx="937601" cy="2286209"/>
          </a:xfrm>
          <a:prstGeom prst="roundRect">
            <a:avLst>
              <a:gd name="adj" fmla="val 50000"/>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10" name="TextBox 9"/>
          <p:cNvSpPr txBox="1"/>
          <p:nvPr userDrawn="1"/>
        </p:nvSpPr>
        <p:spPr>
          <a:xfrm>
            <a:off x="565103" y="4225592"/>
            <a:ext cx="968342"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22 50 92</a:t>
            </a:r>
            <a:endParaRPr lang="id-ID" sz="1400" b="0" i="0">
              <a:solidFill>
                <a:schemeClr val="tx1">
                  <a:lumMod val="65000"/>
                  <a:lumOff val="35000"/>
                </a:schemeClr>
              </a:solidFill>
              <a:latin typeface="+mn-lt"/>
              <a:ea typeface="+mn-ea"/>
              <a:cs typeface="+mn-cs"/>
            </a:endParaRPr>
          </a:p>
        </p:txBody>
      </p:sp>
      <p:sp>
        <p:nvSpPr>
          <p:cNvPr id="11" name="TextBox 10"/>
          <p:cNvSpPr txBox="1"/>
          <p:nvPr userDrawn="1"/>
        </p:nvSpPr>
        <p:spPr>
          <a:xfrm>
            <a:off x="1757517" y="4225592"/>
            <a:ext cx="936475"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8 98 164</a:t>
            </a:r>
            <a:endParaRPr lang="id-ID" sz="1400" b="0" i="0">
              <a:solidFill>
                <a:schemeClr val="tx1">
                  <a:lumMod val="65000"/>
                  <a:lumOff val="35000"/>
                </a:schemeClr>
              </a:solidFill>
              <a:latin typeface="+mn-lt"/>
              <a:ea typeface="+mn-ea"/>
              <a:cs typeface="+mn-cs"/>
            </a:endParaRPr>
          </a:p>
        </p:txBody>
      </p:sp>
      <p:sp>
        <p:nvSpPr>
          <p:cNvPr id="12" name="TextBox 11"/>
          <p:cNvSpPr txBox="1"/>
          <p:nvPr userDrawn="1"/>
        </p:nvSpPr>
        <p:spPr>
          <a:xfrm>
            <a:off x="3085212" y="4225592"/>
            <a:ext cx="1154483" cy="523220"/>
          </a:xfrm>
          <a:prstGeom prst="rect">
            <a:avLst/>
          </a:prstGeom>
          <a:noFill/>
        </p:spPr>
        <p:txBody>
          <a:bodyPr wrap="none" rtlCol="0">
            <a:spAutoFit/>
          </a:bodyPr>
          <a:lstStyle/>
          <a:p>
            <a:r>
              <a:rPr lang="cs-CZ" sz="1400" b="0" i="0">
                <a:solidFill>
                  <a:schemeClr val="tx1">
                    <a:lumMod val="65000"/>
                    <a:lumOff val="35000"/>
                  </a:schemeClr>
                </a:solidFill>
                <a:latin typeface="+mn-lt"/>
                <a:ea typeface="+mn-ea"/>
                <a:cs typeface="+mn-cs"/>
              </a:rPr>
              <a:t>RGB</a:t>
            </a:r>
          </a:p>
          <a:p>
            <a:r>
              <a:rPr lang="cs-CZ" sz="1400" b="0" i="0">
                <a:solidFill>
                  <a:schemeClr val="tx1">
                    <a:lumMod val="65000"/>
                    <a:lumOff val="35000"/>
                  </a:schemeClr>
                </a:solidFill>
                <a:latin typeface="+mn-lt"/>
                <a:ea typeface="+mn-ea"/>
                <a:cs typeface="+mn-cs"/>
              </a:rPr>
              <a:t>60 166 222</a:t>
            </a:r>
            <a:endParaRPr lang="id-ID" sz="1400" b="0" i="0">
              <a:solidFill>
                <a:schemeClr val="tx1">
                  <a:lumMod val="65000"/>
                  <a:lumOff val="35000"/>
                </a:schemeClr>
              </a:solidFill>
              <a:latin typeface="+mn-lt"/>
              <a:ea typeface="+mn-ea"/>
              <a:cs typeface="+mn-cs"/>
            </a:endParaRPr>
          </a:p>
        </p:txBody>
      </p:sp>
      <p:sp>
        <p:nvSpPr>
          <p:cNvPr id="13" name="TextBox 12"/>
          <p:cNvSpPr txBox="1"/>
          <p:nvPr userDrawn="1"/>
        </p:nvSpPr>
        <p:spPr>
          <a:xfrm>
            <a:off x="4456316" y="4225592"/>
            <a:ext cx="1296189"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206 224 237</a:t>
            </a:r>
            <a:endParaRPr lang="id-ID" sz="1400" b="0" i="0">
              <a:solidFill>
                <a:schemeClr val="tx1">
                  <a:lumMod val="65000"/>
                  <a:lumOff val="35000"/>
                </a:schemeClr>
              </a:solidFill>
              <a:latin typeface="+mn-lt"/>
              <a:ea typeface="+mn-ea"/>
              <a:cs typeface="+mn-cs"/>
            </a:endParaRPr>
          </a:p>
        </p:txBody>
      </p:sp>
      <p:sp>
        <p:nvSpPr>
          <p:cNvPr id="14" name="Rounded Rectangle 13"/>
          <p:cNvSpPr/>
          <p:nvPr userDrawn="1"/>
        </p:nvSpPr>
        <p:spPr>
          <a:xfrm>
            <a:off x="5807968" y="1650267"/>
            <a:ext cx="937601" cy="2286209"/>
          </a:xfrm>
          <a:prstGeom prst="roundRect">
            <a:avLst>
              <a:gd name="adj" fmla="val 50000"/>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15" name="TextBox 14"/>
          <p:cNvSpPr txBox="1"/>
          <p:nvPr userDrawn="1"/>
        </p:nvSpPr>
        <p:spPr>
          <a:xfrm>
            <a:off x="5807968" y="4225592"/>
            <a:ext cx="1062022"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237 28 36</a:t>
            </a:r>
            <a:endParaRPr lang="id-ID" sz="1400" b="0" i="0">
              <a:solidFill>
                <a:schemeClr val="tx1">
                  <a:lumMod val="65000"/>
                  <a:lumOff val="35000"/>
                </a:schemeClr>
              </a:solidFill>
              <a:latin typeface="+mn-lt"/>
              <a:ea typeface="+mn-ea"/>
              <a:cs typeface="+mn-cs"/>
            </a:endParaRPr>
          </a:p>
        </p:txBody>
      </p:sp>
      <p:sp>
        <p:nvSpPr>
          <p:cNvPr id="18" name="Title 17"/>
          <p:cNvSpPr>
            <a:spLocks noGrp="1"/>
          </p:cNvSpPr>
          <p:nvPr>
            <p:ph type="title" hasCustomPrompt="1"/>
          </p:nvPr>
        </p:nvSpPr>
        <p:spPr>
          <a:xfrm>
            <a:off x="334963" y="623455"/>
            <a:ext cx="6410606" cy="645305"/>
          </a:xfrm>
        </p:spPr>
        <p:txBody>
          <a:bodyPr vert="horz"/>
          <a:lstStyle>
            <a:lvl1pPr>
              <a:defRPr baseline="0">
                <a:latin typeface="+mj-lt"/>
                <a:ea typeface="+mj-ea"/>
                <a:cs typeface="+mj-cs"/>
              </a:defRPr>
            </a:lvl1pPr>
          </a:lstStyle>
          <a:p>
            <a:br>
              <a:rPr lang="en-US" dirty="0"/>
            </a:br>
            <a:r>
              <a:rPr lang="en-US" dirty="0"/>
              <a:t>Visual Assets -  Presentation Color Scheme</a:t>
            </a:r>
          </a:p>
        </p:txBody>
      </p:sp>
      <p:sp>
        <p:nvSpPr>
          <p:cNvPr id="19" name="Oval 18"/>
          <p:cNvSpPr/>
          <p:nvPr userDrawn="1"/>
        </p:nvSpPr>
        <p:spPr>
          <a:xfrm>
            <a:off x="531919" y="5038149"/>
            <a:ext cx="930719" cy="930719"/>
          </a:xfrm>
          <a:prstGeom prst="ellipse">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0" name="Oval 19"/>
          <p:cNvSpPr/>
          <p:nvPr userDrawn="1"/>
        </p:nvSpPr>
        <p:spPr>
          <a:xfrm>
            <a:off x="1761733" y="5038149"/>
            <a:ext cx="930719" cy="930719"/>
          </a:xfrm>
          <a:prstGeom prst="ellipse">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1" name="Oval 20"/>
          <p:cNvSpPr/>
          <p:nvPr userDrawn="1"/>
        </p:nvSpPr>
        <p:spPr>
          <a:xfrm>
            <a:off x="3075578" y="5038149"/>
            <a:ext cx="930719" cy="930719"/>
          </a:xfrm>
          <a:prstGeom prst="ellipse">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2" name="Oval 21"/>
          <p:cNvSpPr/>
          <p:nvPr userDrawn="1"/>
        </p:nvSpPr>
        <p:spPr>
          <a:xfrm>
            <a:off x="4419478" y="5038149"/>
            <a:ext cx="930719" cy="930719"/>
          </a:xfrm>
          <a:prstGeom prst="ellipse">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3" name="Oval 22"/>
          <p:cNvSpPr/>
          <p:nvPr userDrawn="1"/>
        </p:nvSpPr>
        <p:spPr>
          <a:xfrm>
            <a:off x="5808450" y="5038149"/>
            <a:ext cx="930719" cy="930719"/>
          </a:xfrm>
          <a:prstGeom prst="ellipse">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34" name="Footer Placeholder 33"/>
          <p:cNvSpPr>
            <a:spLocks noGrp="1"/>
          </p:cNvSpPr>
          <p:nvPr>
            <p:ph type="ftr" sz="quarter" idx="11"/>
          </p:nvPr>
        </p:nvSpPr>
        <p:spPr/>
        <p:txBody>
          <a:bodyPr/>
          <a:lstStyle/>
          <a:p>
            <a:pPr algn="l"/>
            <a:r>
              <a:rPr lang="en-US">
                <a:solidFill>
                  <a:schemeClr val="bg1">
                    <a:lumMod val="50000"/>
                  </a:schemeClr>
                </a:solidFill>
                <a:latin typeface="+mn-lt"/>
              </a:rPr>
              <a:t>This presentation has been prepared specifically by MIND ID. The content of this presentation may not be used,</a:t>
            </a:r>
            <a:r>
              <a:rPr lang="en-US">
                <a:solidFill>
                  <a:schemeClr val="bg1">
                    <a:lumMod val="50000"/>
                  </a:schemeClr>
                </a:solidFill>
              </a:rPr>
              <a:t> duplicated or transmitted in any form without the written consent from MIND ID. All rights reserved.</a:t>
            </a:r>
          </a:p>
        </p:txBody>
      </p:sp>
      <p:sp>
        <p:nvSpPr>
          <p:cNvPr id="35" name="Slide Number Placeholder 34"/>
          <p:cNvSpPr>
            <a:spLocks noGrp="1"/>
          </p:cNvSpPr>
          <p:nvPr>
            <p:ph type="sldNum" sz="quarter" idx="12"/>
          </p:nvPr>
        </p:nvSpPr>
        <p:spPr/>
        <p:txBody>
          <a:bodyPr/>
          <a:lstStyle>
            <a:lvl1pPr>
              <a:defRPr>
                <a:latin typeface="+mn-lt"/>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p:nvPr>
        </p:nvSpPr>
        <p:spPr>
          <a:xfrm>
            <a:off x="334962" y="2085628"/>
            <a:ext cx="11485562"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34962" y="623454"/>
            <a:ext cx="11485562" cy="649224"/>
          </a:xfrm>
        </p:spPr>
        <p:txBody>
          <a:bodyPr vert="horz"/>
          <a:lstStyle>
            <a:lvl1pPr>
              <a:defRPr sz="2400">
                <a:latin typeface="+mj-lt"/>
                <a:ea typeface="+mj-ea"/>
                <a:cs typeface="+mj-cs"/>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2400">
                <a:solidFill>
                  <a:schemeClr val="tx2"/>
                </a:solidFill>
                <a:latin typeface="+mj-lt"/>
                <a:ea typeface="+mj-ea"/>
                <a:cs typeface="+mj-cs"/>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703020202090204" pitchFamily="34" charset="0"/>
              </a:defRPr>
            </a:lvl1pPr>
          </a:lstStyle>
          <a:p>
            <a:r>
              <a:rPr lang="en-US" dirty="0"/>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mp; Coloums Mix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8995965" cy="645305"/>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lvl1pPr>
              <a:defRPr>
                <a:solidFill>
                  <a:schemeClr val="bg1">
                    <a:lumMod val="85000"/>
                  </a:schemeClr>
                </a:solidFill>
              </a:defRPr>
            </a:lvl1pPr>
          </a:lstStyle>
          <a:p>
            <a:r>
              <a:rPr lang="en-ID"/>
              <a:t>Thursday, 11 December 2021</a:t>
            </a:r>
            <a:endParaRPr lang="id-ID"/>
          </a:p>
        </p:txBody>
      </p:sp>
      <p:sp>
        <p:nvSpPr>
          <p:cNvPr id="4" name="Slide Number Placeholder 3"/>
          <p:cNvSpPr>
            <a:spLocks noGrp="1"/>
          </p:cNvSpPr>
          <p:nvPr>
            <p:ph type="sldNum" sz="quarter" idx="11"/>
          </p:nvPr>
        </p:nvSpPr>
        <p:spPr/>
        <p:txBody>
          <a:bodyPr/>
          <a:lstStyle>
            <a:lvl1pPr>
              <a:defRPr>
                <a:solidFill>
                  <a:schemeClr val="bg1">
                    <a:lumMod val="85000"/>
                  </a:schemeClr>
                </a:solidFill>
              </a:defRPr>
            </a:lvl1p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lvl1pPr>
              <a:defRPr>
                <a:solidFill>
                  <a:schemeClr val="bg1">
                    <a:lumMod val="85000"/>
                  </a:schemeClr>
                </a:solidFill>
              </a:defRPr>
            </a:lvl1pPr>
          </a:lstStyle>
          <a:p>
            <a:pPr algn="l"/>
            <a:r>
              <a:rPr lang="en-US"/>
              <a:t>This presentation has been prepared specifically by MIND ID. The content of this presentation may not be used, duplicated or transmitted in any form without the written consent from MIND ID. All rights reserved.</a:t>
            </a:r>
          </a:p>
        </p:txBody>
      </p:sp>
      <p:sp>
        <p:nvSpPr>
          <p:cNvPr id="9" name="Picture Placeholder 6"/>
          <p:cNvSpPr>
            <a:spLocks noGrp="1"/>
          </p:cNvSpPr>
          <p:nvPr>
            <p:ph type="pic" sz="quarter" idx="59"/>
          </p:nvPr>
        </p:nvSpPr>
        <p:spPr>
          <a:xfrm>
            <a:off x="867648" y="1270000"/>
            <a:ext cx="2348032" cy="483228"/>
          </a:xfrm>
        </p:spPr>
        <p:txBody>
          <a:bodyPr anchor="ctr"/>
          <a:lstStyle>
            <a:lvl1pPr marL="0" indent="0" algn="ctr">
              <a:buNone/>
              <a:defRPr sz="1200"/>
            </a:lvl1pPr>
          </a:lstStyle>
          <a:p>
            <a:endParaRPr lang="id-ID"/>
          </a:p>
        </p:txBody>
      </p:sp>
      <p:sp>
        <p:nvSpPr>
          <p:cNvPr id="14" name="Text Placeholder 21"/>
          <p:cNvSpPr>
            <a:spLocks noGrp="1"/>
          </p:cNvSpPr>
          <p:nvPr>
            <p:ph type="body" sz="quarter" idx="63" hasCustomPrompt="1"/>
          </p:nvPr>
        </p:nvSpPr>
        <p:spPr>
          <a:xfrm>
            <a:off x="86764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15" name="Text Placeholder 21"/>
          <p:cNvSpPr>
            <a:spLocks noGrp="1"/>
          </p:cNvSpPr>
          <p:nvPr>
            <p:ph type="body" sz="quarter" idx="64" hasCustomPrompt="1"/>
          </p:nvPr>
        </p:nvSpPr>
        <p:spPr>
          <a:xfrm>
            <a:off x="86764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18" name="Text Placeholder 21"/>
          <p:cNvSpPr>
            <a:spLocks noGrp="1"/>
          </p:cNvSpPr>
          <p:nvPr>
            <p:ph type="body" sz="quarter" idx="65" hasCustomPrompt="1"/>
          </p:nvPr>
        </p:nvSpPr>
        <p:spPr>
          <a:xfrm>
            <a:off x="86764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en-US" dirty="0"/>
          </a:p>
        </p:txBody>
      </p:sp>
      <p:sp>
        <p:nvSpPr>
          <p:cNvPr id="19" name="Picture Placeholder 6"/>
          <p:cNvSpPr>
            <a:spLocks noGrp="1"/>
          </p:cNvSpPr>
          <p:nvPr>
            <p:ph type="pic" sz="quarter" idx="66"/>
          </p:nvPr>
        </p:nvSpPr>
        <p:spPr>
          <a:xfrm>
            <a:off x="3641328" y="1270000"/>
            <a:ext cx="2348032" cy="483228"/>
          </a:xfrm>
        </p:spPr>
        <p:txBody>
          <a:bodyPr anchor="ctr"/>
          <a:lstStyle>
            <a:lvl1pPr marL="0" indent="0" algn="ctr">
              <a:buNone/>
              <a:defRPr sz="1200"/>
            </a:lvl1pPr>
          </a:lstStyle>
          <a:p>
            <a:endParaRPr lang="id-ID"/>
          </a:p>
        </p:txBody>
      </p:sp>
      <p:sp>
        <p:nvSpPr>
          <p:cNvPr id="20" name="Text Placeholder 21"/>
          <p:cNvSpPr>
            <a:spLocks noGrp="1"/>
          </p:cNvSpPr>
          <p:nvPr>
            <p:ph type="body" sz="quarter" idx="67" hasCustomPrompt="1"/>
          </p:nvPr>
        </p:nvSpPr>
        <p:spPr>
          <a:xfrm>
            <a:off x="36413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21" name="Text Placeholder 21"/>
          <p:cNvSpPr>
            <a:spLocks noGrp="1"/>
          </p:cNvSpPr>
          <p:nvPr>
            <p:ph type="body" sz="quarter" idx="68" hasCustomPrompt="1"/>
          </p:nvPr>
        </p:nvSpPr>
        <p:spPr>
          <a:xfrm>
            <a:off x="36413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22" name="Text Placeholder 21"/>
          <p:cNvSpPr>
            <a:spLocks noGrp="1"/>
          </p:cNvSpPr>
          <p:nvPr>
            <p:ph type="body" sz="quarter" idx="69" hasCustomPrompt="1"/>
          </p:nvPr>
        </p:nvSpPr>
        <p:spPr>
          <a:xfrm>
            <a:off x="36413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dirty="0"/>
          </a:p>
        </p:txBody>
      </p:sp>
      <p:sp>
        <p:nvSpPr>
          <p:cNvPr id="27" name="Picture Placeholder 6"/>
          <p:cNvSpPr>
            <a:spLocks noGrp="1"/>
          </p:cNvSpPr>
          <p:nvPr>
            <p:ph type="pic" sz="quarter" idx="70"/>
          </p:nvPr>
        </p:nvSpPr>
        <p:spPr>
          <a:xfrm>
            <a:off x="6465808" y="1270000"/>
            <a:ext cx="2348032" cy="483228"/>
          </a:xfrm>
        </p:spPr>
        <p:txBody>
          <a:bodyPr anchor="ctr"/>
          <a:lstStyle>
            <a:lvl1pPr marL="0" indent="0" algn="ctr">
              <a:buNone/>
              <a:defRPr sz="1200"/>
            </a:lvl1pPr>
          </a:lstStyle>
          <a:p>
            <a:endParaRPr lang="id-ID"/>
          </a:p>
        </p:txBody>
      </p:sp>
      <p:sp>
        <p:nvSpPr>
          <p:cNvPr id="28" name="Text Placeholder 21"/>
          <p:cNvSpPr>
            <a:spLocks noGrp="1"/>
          </p:cNvSpPr>
          <p:nvPr>
            <p:ph type="body" sz="quarter" idx="71" hasCustomPrompt="1"/>
          </p:nvPr>
        </p:nvSpPr>
        <p:spPr>
          <a:xfrm>
            <a:off x="646580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29" name="Text Placeholder 21"/>
          <p:cNvSpPr>
            <a:spLocks noGrp="1"/>
          </p:cNvSpPr>
          <p:nvPr>
            <p:ph type="body" sz="quarter" idx="72" hasCustomPrompt="1"/>
          </p:nvPr>
        </p:nvSpPr>
        <p:spPr>
          <a:xfrm>
            <a:off x="646580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30" name="Text Placeholder 21"/>
          <p:cNvSpPr>
            <a:spLocks noGrp="1"/>
          </p:cNvSpPr>
          <p:nvPr>
            <p:ph type="body" sz="quarter" idx="73" hasCustomPrompt="1"/>
          </p:nvPr>
        </p:nvSpPr>
        <p:spPr>
          <a:xfrm>
            <a:off x="646580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dirty="0"/>
          </a:p>
        </p:txBody>
      </p:sp>
      <p:sp>
        <p:nvSpPr>
          <p:cNvPr id="31" name="Picture Placeholder 6"/>
          <p:cNvSpPr>
            <a:spLocks noGrp="1"/>
          </p:cNvSpPr>
          <p:nvPr>
            <p:ph type="pic" sz="quarter" idx="74"/>
          </p:nvPr>
        </p:nvSpPr>
        <p:spPr>
          <a:xfrm>
            <a:off x="9330928" y="1270000"/>
            <a:ext cx="2348032" cy="483228"/>
          </a:xfrm>
        </p:spPr>
        <p:txBody>
          <a:bodyPr anchor="ctr"/>
          <a:lstStyle>
            <a:lvl1pPr marL="0" indent="0" algn="ctr">
              <a:buNone/>
              <a:defRPr sz="1200"/>
            </a:lvl1pPr>
          </a:lstStyle>
          <a:p>
            <a:endParaRPr lang="id-ID"/>
          </a:p>
        </p:txBody>
      </p:sp>
      <p:sp>
        <p:nvSpPr>
          <p:cNvPr id="32" name="Text Placeholder 21"/>
          <p:cNvSpPr>
            <a:spLocks noGrp="1"/>
          </p:cNvSpPr>
          <p:nvPr>
            <p:ph type="body" sz="quarter" idx="75" hasCustomPrompt="1"/>
          </p:nvPr>
        </p:nvSpPr>
        <p:spPr>
          <a:xfrm>
            <a:off x="93309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33" name="Text Placeholder 21"/>
          <p:cNvSpPr>
            <a:spLocks noGrp="1"/>
          </p:cNvSpPr>
          <p:nvPr>
            <p:ph type="body" sz="quarter" idx="76" hasCustomPrompt="1"/>
          </p:nvPr>
        </p:nvSpPr>
        <p:spPr>
          <a:xfrm>
            <a:off x="93309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34" name="Text Placeholder 21"/>
          <p:cNvSpPr>
            <a:spLocks noGrp="1"/>
          </p:cNvSpPr>
          <p:nvPr>
            <p:ph type="body" sz="quarter" idx="77" hasCustomPrompt="1"/>
          </p:nvPr>
        </p:nvSpPr>
        <p:spPr>
          <a:xfrm>
            <a:off x="93309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dirty="0"/>
          </a:p>
        </p:txBody>
      </p:sp>
      <p:sp>
        <p:nvSpPr>
          <p:cNvPr id="36" name="Text Placeholder 21"/>
          <p:cNvSpPr>
            <a:spLocks noGrp="1"/>
          </p:cNvSpPr>
          <p:nvPr>
            <p:ph type="body" sz="quarter" idx="78" hasCustomPrompt="1"/>
          </p:nvPr>
        </p:nvSpPr>
        <p:spPr>
          <a:xfrm>
            <a:off x="336520" y="182880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Title Text</a:t>
            </a:r>
            <a:endParaRPr lang="id-ID" dirty="0"/>
          </a:p>
        </p:txBody>
      </p:sp>
      <p:sp>
        <p:nvSpPr>
          <p:cNvPr id="39" name="Text Placeholder 21"/>
          <p:cNvSpPr>
            <a:spLocks noGrp="1"/>
          </p:cNvSpPr>
          <p:nvPr>
            <p:ph type="body" sz="quarter" idx="79" hasCustomPrompt="1"/>
          </p:nvPr>
        </p:nvSpPr>
        <p:spPr>
          <a:xfrm>
            <a:off x="336520" y="458216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solidFill>
                  <a:schemeClr val="bg1"/>
                </a:solidFill>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Title Text</a:t>
            </a:r>
            <a:endParaRPr lang="id-ID"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70302020209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23" name="Title 3"/>
          <p:cNvSpPr>
            <a:spLocks noGrp="1"/>
          </p:cNvSpPr>
          <p:nvPr>
            <p:ph type="title" hasCustomPrompt="1"/>
          </p:nvPr>
        </p:nvSpPr>
        <p:spPr>
          <a:xfrm>
            <a:off x="630000" y="622800"/>
            <a:ext cx="62568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70302020209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70302020209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70302020209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dirty="0"/>
              <a:t>Click to add title</a:t>
            </a:r>
          </a:p>
        </p:txBody>
      </p:sp>
      <p:pic>
        <p:nvPicPr>
          <p:cNvPr id="9" name="Picture 8"/>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70302020209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dirty="0"/>
              <a:t>Click to edit title</a:t>
            </a:r>
          </a:p>
        </p:txBody>
      </p:sp>
      <p:pic>
        <p:nvPicPr>
          <p:cNvPr id="15" name="Picture 14"/>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baseline="0">
                <a:solidFill>
                  <a:schemeClr val="tx2"/>
                </a:solidFill>
                <a:latin typeface="+mj-lt"/>
                <a:ea typeface="+mj-ea"/>
                <a:cs typeface="+mj-cs"/>
                <a:sym typeface="Trebuchet MS" panose="020B070302020209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2400" baseline="0">
                <a:solidFill>
                  <a:srgbClr val="FFFFFF"/>
                </a:solidFill>
                <a:latin typeface="+mj-lt"/>
                <a:ea typeface="+mj-ea"/>
                <a:cs typeface="+mj-cs"/>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70302020209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70302020209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1" y="1917659"/>
            <a:ext cx="11485563"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761036"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19" name="Text Placeholder 8"/>
          <p:cNvSpPr>
            <a:spLocks noGrp="1"/>
          </p:cNvSpPr>
          <p:nvPr>
            <p:ph type="body" sz="quarter" idx="18" hasCustomPrompt="1"/>
          </p:nvPr>
        </p:nvSpPr>
        <p:spPr>
          <a:xfrm>
            <a:off x="3624734"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0" name="Text Placeholder 8"/>
          <p:cNvSpPr>
            <a:spLocks noGrp="1"/>
          </p:cNvSpPr>
          <p:nvPr>
            <p:ph type="body" sz="quarter" idx="19" hasCustomPrompt="1"/>
          </p:nvPr>
        </p:nvSpPr>
        <p:spPr>
          <a:xfrm>
            <a:off x="6914505"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2" name="Text Placeholder 8"/>
          <p:cNvSpPr>
            <a:spLocks noGrp="1"/>
          </p:cNvSpPr>
          <p:nvPr>
            <p:ph type="body" sz="quarter" idx="21" hasCustomPrompt="1"/>
          </p:nvPr>
        </p:nvSpPr>
        <p:spPr>
          <a:xfrm>
            <a:off x="10235952" y="1923924"/>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4" name="Text Placeholder 8"/>
          <p:cNvSpPr>
            <a:spLocks noGrp="1"/>
          </p:cNvSpPr>
          <p:nvPr>
            <p:ph type="body" sz="quarter" idx="23" hasCustomPrompt="1"/>
          </p:nvPr>
        </p:nvSpPr>
        <p:spPr>
          <a:xfrm>
            <a:off x="3624734"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5" name="Text Placeholder 8"/>
          <p:cNvSpPr>
            <a:spLocks noGrp="1"/>
          </p:cNvSpPr>
          <p:nvPr>
            <p:ph type="body" sz="quarter" idx="24" hasCustomPrompt="1"/>
          </p:nvPr>
        </p:nvSpPr>
        <p:spPr>
          <a:xfrm>
            <a:off x="6914505"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6" name="Text Placeholder 8"/>
          <p:cNvSpPr>
            <a:spLocks noGrp="1"/>
          </p:cNvSpPr>
          <p:nvPr>
            <p:ph type="body" sz="quarter" idx="25" hasCustomPrompt="1"/>
          </p:nvPr>
        </p:nvSpPr>
        <p:spPr>
          <a:xfrm>
            <a:off x="10235952" y="4509961"/>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7" name="Text Placeholder 8"/>
          <p:cNvSpPr>
            <a:spLocks noGrp="1"/>
          </p:cNvSpPr>
          <p:nvPr>
            <p:ph type="body" sz="quarter" idx="26" hasCustomPrompt="1"/>
          </p:nvPr>
        </p:nvSpPr>
        <p:spPr>
          <a:xfrm>
            <a:off x="334963" y="5013176"/>
            <a:ext cx="6481117"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a:t>
            </a:r>
          </a:p>
          <a:p>
            <a:pPr lvl="0"/>
            <a:endParaRPr lang="en-US" dirty="0"/>
          </a:p>
          <a:p>
            <a:pPr lvl="0"/>
            <a:endParaRPr lang="en-US" dirty="0"/>
          </a:p>
        </p:txBody>
      </p:sp>
      <p:sp>
        <p:nvSpPr>
          <p:cNvPr id="28" name="Text Placeholder 8"/>
          <p:cNvSpPr>
            <a:spLocks noGrp="1"/>
          </p:cNvSpPr>
          <p:nvPr>
            <p:ph type="body" sz="quarter" idx="27" hasCustomPrompt="1"/>
          </p:nvPr>
        </p:nvSpPr>
        <p:spPr>
          <a:xfrm>
            <a:off x="334963" y="5663201"/>
            <a:ext cx="11485562" cy="166099"/>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lvl="0"/>
            <a:endParaRPr lang="en-US" dirty="0"/>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dirty="0"/>
          </a:p>
          <a:p>
            <a:pPr lvl="0"/>
            <a:endParaRPr lang="en-US" dirty="0"/>
          </a:p>
          <a:p>
            <a:pPr lvl="0"/>
            <a:endParaRPr lang="en-US" dirty="0"/>
          </a:p>
          <a:p>
            <a:pPr lvl="0"/>
            <a:endParaRPr lang="en-US" dirty="0"/>
          </a:p>
          <a:p>
            <a:pPr lvl="0"/>
            <a:endParaRPr lang="en-US" dirty="0"/>
          </a:p>
        </p:txBody>
      </p:sp>
      <p:sp>
        <p:nvSpPr>
          <p:cNvPr id="5" name="TextBox 4"/>
          <p:cNvSpPr txBox="1"/>
          <p:nvPr userDrawn="1"/>
        </p:nvSpPr>
        <p:spPr>
          <a:xfrm>
            <a:off x="-176645" y="426027"/>
            <a:ext cx="0" cy="0"/>
          </a:xfrm>
          <a:prstGeom prst="rect">
            <a:avLst/>
          </a:prstGeom>
        </p:spPr>
        <p:txBody>
          <a:bodyPr vert="horz" wrap="none" lIns="0" tIns="45720" rIns="91440" bIns="45720" rtlCol="0" anchor="ctr">
            <a:noAutofit/>
          </a:bodyPr>
          <a:lstStyle/>
          <a:p>
            <a:endParaRPr lang="en-US" sz="1600" b="0" i="0">
              <a:solidFill>
                <a:schemeClr val="accent1"/>
              </a:solidFill>
              <a:latin typeface="Gotham Medium" charset="0"/>
              <a:ea typeface="Gotham Medium" charset="0"/>
              <a:cs typeface="Gotham Medium" charset="0"/>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16" name="Title 2"/>
          <p:cNvSpPr>
            <a:spLocks noGrp="1"/>
          </p:cNvSpPr>
          <p:nvPr>
            <p:ph type="title" hasCustomPrompt="1"/>
          </p:nvPr>
        </p:nvSpPr>
        <p:spPr>
          <a:xfrm>
            <a:off x="630000" y="622800"/>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16" name="Title 2"/>
          <p:cNvSpPr>
            <a:spLocks noGrp="1"/>
          </p:cNvSpPr>
          <p:nvPr>
            <p:ph type="title" hasCustomPrompt="1"/>
          </p:nvPr>
        </p:nvSpPr>
        <p:spPr>
          <a:xfrm>
            <a:off x="630000" y="622800"/>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70302020209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703020202090204" pitchFamily="34" charset="0"/>
            </a:endParaRPr>
          </a:p>
        </p:txBody>
      </p:sp>
      <p:sp>
        <p:nvSpPr>
          <p:cNvPr id="11" name="Title 3"/>
          <p:cNvSpPr>
            <a:spLocks noGrp="1"/>
          </p:cNvSpPr>
          <p:nvPr>
            <p:ph type="title" hasCustomPrompt="1"/>
          </p:nvPr>
        </p:nvSpPr>
        <p:spPr>
          <a:xfrm>
            <a:off x="630000" y="622800"/>
            <a:ext cx="62568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703020202090204" pitchFamily="34" charset="0"/>
            </a:endParaRPr>
          </a:p>
        </p:txBody>
      </p:sp>
      <p:sp>
        <p:nvSpPr>
          <p:cNvPr id="11" name="Title 3"/>
          <p:cNvSpPr>
            <a:spLocks noGrp="1"/>
          </p:cNvSpPr>
          <p:nvPr>
            <p:ph type="title" hasCustomPrompt="1"/>
          </p:nvPr>
        </p:nvSpPr>
        <p:spPr>
          <a:xfrm>
            <a:off x="630000" y="622800"/>
            <a:ext cx="62568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70302020209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703020202090204" pitchFamily="34" charset="0"/>
              </a:defRPr>
            </a:lvl1pPr>
          </a:lstStyle>
          <a:p>
            <a:r>
              <a:rPr lang="en-US" dirty="0"/>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70302020209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703020202090204" pitchFamily="34" charset="0"/>
              </a:defRPr>
            </a:lvl1pPr>
          </a:lstStyle>
          <a:p>
            <a:r>
              <a:rPr lang="en-US" dirty="0"/>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630000" y="622800"/>
            <a:ext cx="10933200" cy="470898"/>
          </a:xfrm>
        </p:spPr>
        <p:txBody>
          <a:bodyPr vert="horz"/>
          <a:lstStyle>
            <a:lvl1pPr>
              <a:defRPr sz="2400">
                <a:solidFill>
                  <a:schemeClr val="bg1"/>
                </a:solidFill>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Two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2" y="1917659"/>
            <a:ext cx="5617022"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617020"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19" name="Text Placeholder 8"/>
          <p:cNvSpPr>
            <a:spLocks noGrp="1"/>
          </p:cNvSpPr>
          <p:nvPr>
            <p:ph type="body" sz="quarter" idx="18" hasCustomPrompt="1"/>
          </p:nvPr>
        </p:nvSpPr>
        <p:spPr>
          <a:xfrm>
            <a:off x="23589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4" name="Text Placeholder 8"/>
          <p:cNvSpPr>
            <a:spLocks noGrp="1"/>
          </p:cNvSpPr>
          <p:nvPr>
            <p:ph type="body" sz="quarter" idx="23" hasCustomPrompt="1"/>
          </p:nvPr>
        </p:nvSpPr>
        <p:spPr>
          <a:xfrm>
            <a:off x="23589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7" name="Text Placeholder 8"/>
          <p:cNvSpPr>
            <a:spLocks noGrp="1"/>
          </p:cNvSpPr>
          <p:nvPr>
            <p:ph type="body" sz="quarter" idx="26" hasCustomPrompt="1"/>
          </p:nvPr>
        </p:nvSpPr>
        <p:spPr>
          <a:xfrm>
            <a:off x="334963" y="5013176"/>
            <a:ext cx="5617021"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a:t>
            </a:r>
          </a:p>
          <a:p>
            <a:pPr lvl="0"/>
            <a:endParaRPr lang="en-US" dirty="0"/>
          </a:p>
          <a:p>
            <a:pPr lvl="0"/>
            <a:endParaRPr lang="en-US" dirty="0"/>
          </a:p>
        </p:txBody>
      </p:sp>
      <p:sp>
        <p:nvSpPr>
          <p:cNvPr id="28" name="Text Placeholder 8"/>
          <p:cNvSpPr>
            <a:spLocks noGrp="1"/>
          </p:cNvSpPr>
          <p:nvPr>
            <p:ph type="body" sz="quarter" idx="27" hasCustomPrompt="1"/>
          </p:nvPr>
        </p:nvSpPr>
        <p:spPr>
          <a:xfrm>
            <a:off x="334963" y="5663201"/>
            <a:ext cx="11485562" cy="142063"/>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lvl="0"/>
            <a:endParaRPr lang="en-US" dirty="0"/>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dirty="0"/>
          </a:p>
          <a:p>
            <a:pPr lvl="0"/>
            <a:endParaRPr lang="en-US" dirty="0"/>
          </a:p>
          <a:p>
            <a:pPr lvl="0"/>
            <a:endParaRPr lang="en-US" dirty="0"/>
          </a:p>
          <a:p>
            <a:pPr lvl="0"/>
            <a:endParaRPr lang="en-US" dirty="0"/>
          </a:p>
          <a:p>
            <a:pPr lvl="0"/>
            <a:endParaRPr lang="en-US" dirty="0"/>
          </a:p>
        </p:txBody>
      </p:sp>
      <p:sp>
        <p:nvSpPr>
          <p:cNvPr id="21" name="Picture Placeholder 30"/>
          <p:cNvSpPr>
            <a:spLocks noGrp="1"/>
          </p:cNvSpPr>
          <p:nvPr>
            <p:ph type="pic" sz="quarter" idx="30" hasCustomPrompt="1"/>
          </p:nvPr>
        </p:nvSpPr>
        <p:spPr>
          <a:xfrm>
            <a:off x="6272212" y="1917659"/>
            <a:ext cx="5537645" cy="3042702"/>
          </a:xfrm>
        </p:spPr>
        <p:txBody>
          <a:bodyPr anchor="ctr"/>
          <a:lstStyle>
            <a:lvl1pPr algn="ctr">
              <a:defRPr sz="1800"/>
            </a:lvl1pPr>
          </a:lstStyle>
          <a:p>
            <a:r>
              <a:rPr lang="id-ID"/>
              <a:t>Picture Map</a:t>
            </a:r>
          </a:p>
        </p:txBody>
      </p:sp>
      <p:sp>
        <p:nvSpPr>
          <p:cNvPr id="30" name="Text Placeholder 8"/>
          <p:cNvSpPr>
            <a:spLocks noGrp="1"/>
          </p:cNvSpPr>
          <p:nvPr>
            <p:ph type="body" sz="quarter" idx="31" hasCustomPrompt="1"/>
          </p:nvPr>
        </p:nvSpPr>
        <p:spPr>
          <a:xfrm>
            <a:off x="6272212" y="1354667"/>
            <a:ext cx="5537645"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p:txBody>
      </p:sp>
      <p:sp>
        <p:nvSpPr>
          <p:cNvPr id="32" name="Text Placeholder 8"/>
          <p:cNvSpPr>
            <a:spLocks noGrp="1"/>
          </p:cNvSpPr>
          <p:nvPr>
            <p:ph type="body" sz="quarter" idx="32" hasCustomPrompt="1"/>
          </p:nvPr>
        </p:nvSpPr>
        <p:spPr>
          <a:xfrm>
            <a:off x="4382889"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3" name="Text Placeholder 8"/>
          <p:cNvSpPr>
            <a:spLocks noGrp="1"/>
          </p:cNvSpPr>
          <p:nvPr>
            <p:ph type="body" sz="quarter" idx="33" hasCustomPrompt="1"/>
          </p:nvPr>
        </p:nvSpPr>
        <p:spPr>
          <a:xfrm>
            <a:off x="4382889"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4" name="Text Placeholder 8"/>
          <p:cNvSpPr>
            <a:spLocks noGrp="1"/>
          </p:cNvSpPr>
          <p:nvPr>
            <p:ph type="body" sz="quarter" idx="34" hasCustomPrompt="1"/>
          </p:nvPr>
        </p:nvSpPr>
        <p:spPr>
          <a:xfrm>
            <a:off x="6240019" y="5013176"/>
            <a:ext cx="5580506"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a:t>
            </a:r>
          </a:p>
          <a:p>
            <a:pPr lvl="0"/>
            <a:endParaRPr lang="en-US" dirty="0"/>
          </a:p>
          <a:p>
            <a:pPr lvl="0"/>
            <a:endParaRPr lang="en-US" dirty="0"/>
          </a:p>
        </p:txBody>
      </p:sp>
      <p:sp>
        <p:nvSpPr>
          <p:cNvPr id="35" name="Text Placeholder 8"/>
          <p:cNvSpPr>
            <a:spLocks noGrp="1"/>
          </p:cNvSpPr>
          <p:nvPr>
            <p:ph type="body" sz="quarter" idx="35" hasCustomPrompt="1"/>
          </p:nvPr>
        </p:nvSpPr>
        <p:spPr>
          <a:xfrm>
            <a:off x="6249988"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6" name="Text Placeholder 8"/>
          <p:cNvSpPr>
            <a:spLocks noGrp="1"/>
          </p:cNvSpPr>
          <p:nvPr>
            <p:ph type="body" sz="quarter" idx="36" hasCustomPrompt="1"/>
          </p:nvPr>
        </p:nvSpPr>
        <p:spPr>
          <a:xfrm>
            <a:off x="8240807"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7" name="Text Placeholder 8"/>
          <p:cNvSpPr>
            <a:spLocks noGrp="1"/>
          </p:cNvSpPr>
          <p:nvPr>
            <p:ph type="body" sz="quarter" idx="37" hasCustomPrompt="1"/>
          </p:nvPr>
        </p:nvSpPr>
        <p:spPr>
          <a:xfrm>
            <a:off x="6249988"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8" name="Text Placeholder 8"/>
          <p:cNvSpPr>
            <a:spLocks noGrp="1"/>
          </p:cNvSpPr>
          <p:nvPr>
            <p:ph type="body" sz="quarter" idx="38" hasCustomPrompt="1"/>
          </p:nvPr>
        </p:nvSpPr>
        <p:spPr>
          <a:xfrm>
            <a:off x="8240807"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9" name="Text Placeholder 8"/>
          <p:cNvSpPr>
            <a:spLocks noGrp="1"/>
          </p:cNvSpPr>
          <p:nvPr>
            <p:ph type="body" sz="quarter" idx="39" hasCustomPrompt="1"/>
          </p:nvPr>
        </p:nvSpPr>
        <p:spPr>
          <a:xfrm>
            <a:off x="102316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40" name="Text Placeholder 8"/>
          <p:cNvSpPr>
            <a:spLocks noGrp="1"/>
          </p:cNvSpPr>
          <p:nvPr>
            <p:ph type="body" sz="quarter" idx="40" hasCustomPrompt="1"/>
          </p:nvPr>
        </p:nvSpPr>
        <p:spPr>
          <a:xfrm>
            <a:off x="102316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a:xfrm>
            <a:off x="0" y="0"/>
            <a:ext cx="12192000" cy="6858000"/>
          </a:xfrm>
          <a:prstGeom prst="rect">
            <a:avLst/>
          </a:prstGeom>
          <a:solidFill>
            <a:srgbClr val="153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mn-lt"/>
              <a:ea typeface="+mn-ea"/>
              <a:cs typeface="+mn-cs"/>
            </a:endParaRPr>
          </a:p>
        </p:txBody>
      </p:sp>
      <p:pic>
        <p:nvPicPr>
          <p:cNvPr id="11" name="Picture 10"/>
          <p:cNvPicPr>
            <a:picLocks noChangeAspect="1"/>
          </p:cNvPicPr>
          <p:nvPr userDrawn="1"/>
        </p:nvPicPr>
        <p:blipFill>
          <a:blip r:embed="rId5"/>
          <a:stretch>
            <a:fillRect/>
          </a:stretch>
        </p:blipFill>
        <p:spPr>
          <a:xfrm>
            <a:off x="9480376" y="5882751"/>
            <a:ext cx="1725229" cy="504000"/>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3" name="Picture 12"/>
          <p:cNvPicPr>
            <a:picLocks noChangeAspect="1"/>
          </p:cNvPicPr>
          <p:nvPr userDrawn="1"/>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550863" y="5962650"/>
            <a:ext cx="1336258" cy="260867"/>
          </a:xfrm>
          <a:prstGeom prst="rect">
            <a:avLst/>
          </a:prstGeom>
        </p:spPr>
      </p:pic>
      <p:sp>
        <p:nvSpPr>
          <p:cNvPr id="14" name="Text Placeholder 8"/>
          <p:cNvSpPr>
            <a:spLocks noGrp="1"/>
          </p:cNvSpPr>
          <p:nvPr>
            <p:ph type="body" sz="quarter" idx="13" hasCustomPrompt="1"/>
          </p:nvPr>
        </p:nvSpPr>
        <p:spPr>
          <a:xfrm>
            <a:off x="550863" y="1730829"/>
            <a:ext cx="5545137" cy="771878"/>
          </a:xfrm>
        </p:spPr>
        <p:txBody>
          <a:bodyPr>
            <a:spAutoFit/>
          </a:bodyPr>
          <a:lstStyle>
            <a:lvl1pPr marL="0" indent="0">
              <a:buNone/>
              <a:defRPr sz="4800" b="0" i="0">
                <a:solidFill>
                  <a:schemeClr val="bg1"/>
                </a:solidFill>
                <a:latin typeface="+mj-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dirty="0"/>
              <a:t>Terima kasih</a:t>
            </a:r>
          </a:p>
        </p:txBody>
      </p:sp>
      <p:sp>
        <p:nvSpPr>
          <p:cNvPr id="16" name="TextBox 15"/>
          <p:cNvSpPr txBox="1"/>
          <p:nvPr userDrawn="1"/>
        </p:nvSpPr>
        <p:spPr>
          <a:xfrm>
            <a:off x="575418"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mn-lt"/>
                <a:ea typeface="+mn-ea"/>
                <a:cs typeface="+mn-cs"/>
              </a:rPr>
              <a:t>Gedung Energy Lt. 16 SCBD</a:t>
            </a:r>
            <a:br>
              <a:rPr lang="en-US" sz="1050" noProof="1">
                <a:solidFill>
                  <a:schemeClr val="bg1"/>
                </a:solidFill>
                <a:latin typeface="+mn-lt"/>
                <a:ea typeface="+mn-ea"/>
                <a:cs typeface="+mn-cs"/>
              </a:rPr>
            </a:br>
            <a:r>
              <a:rPr lang="en-US" sz="1050" noProof="1">
                <a:solidFill>
                  <a:schemeClr val="bg1"/>
                </a:solidFill>
                <a:latin typeface="+mn-lt"/>
                <a:ea typeface="+mn-ea"/>
                <a:cs typeface="+mn-cs"/>
              </a:rPr>
              <a:t>Jl. Jenderal Sudirman Kav. 52-53 Jakarta 12190.</a:t>
            </a:r>
            <a:br>
              <a:rPr lang="en-US" sz="1050" noProof="1">
                <a:solidFill>
                  <a:schemeClr val="bg1"/>
                </a:solidFill>
                <a:latin typeface="+mn-lt"/>
                <a:ea typeface="+mn-ea"/>
                <a:cs typeface="+mn-cs"/>
              </a:rPr>
            </a:br>
            <a:r>
              <a:rPr lang="en-US" sz="1050" noProof="1">
                <a:solidFill>
                  <a:schemeClr val="bg1"/>
                </a:solidFill>
                <a:latin typeface="+mn-lt"/>
                <a:ea typeface="+mn-ea"/>
                <a:cs typeface="+mn-cs"/>
              </a:rPr>
              <a:t>P.O. BOX 6917 Jakarta Selatan, Indonesia</a:t>
            </a:r>
            <a:br>
              <a:rPr lang="en-US" sz="1050" noProof="1">
                <a:solidFill>
                  <a:schemeClr val="bg1"/>
                </a:solidFill>
                <a:latin typeface="+mn-lt"/>
                <a:ea typeface="+mn-ea"/>
                <a:cs typeface="+mn-cs"/>
              </a:rPr>
            </a:br>
            <a:r>
              <a:rPr lang="en-US" sz="1050" noProof="1">
                <a:solidFill>
                  <a:schemeClr val="bg1"/>
                </a:solidFill>
                <a:latin typeface="+mn-lt"/>
                <a:ea typeface="+mn-ea"/>
                <a:cs typeface="+mn-cs"/>
              </a:rPr>
              <a:t>Telp (+6221) 27938750.</a:t>
            </a:r>
            <a:br>
              <a:rPr lang="en-US" sz="1050" noProof="1">
                <a:solidFill>
                  <a:schemeClr val="bg1"/>
                </a:solidFill>
                <a:latin typeface="+mn-lt"/>
                <a:ea typeface="+mn-ea"/>
                <a:cs typeface="+mn-cs"/>
              </a:rPr>
            </a:br>
            <a:r>
              <a:rPr lang="en-US" sz="1050" noProof="1">
                <a:solidFill>
                  <a:schemeClr val="bg1"/>
                </a:solidFill>
                <a:latin typeface="+mn-lt"/>
                <a:ea typeface="+mn-ea"/>
                <a:cs typeface="+mn-cs"/>
              </a:rPr>
              <a:t>Fax (+6221) 27936331.</a:t>
            </a:r>
            <a:br>
              <a:rPr lang="en-US" sz="1050" noProof="1">
                <a:solidFill>
                  <a:schemeClr val="bg1"/>
                </a:solidFill>
                <a:latin typeface="+mn-lt"/>
                <a:ea typeface="+mn-ea"/>
                <a:cs typeface="+mn-cs"/>
              </a:rPr>
            </a:br>
            <a:r>
              <a:rPr lang="en-US" sz="1050" noProof="1">
                <a:solidFill>
                  <a:schemeClr val="bg1"/>
                </a:solidFill>
                <a:latin typeface="+mn-lt"/>
                <a:ea typeface="+mn-ea"/>
                <a:cs typeface="+mn-cs"/>
              </a:rPr>
              <a:t>e-mail : corsec@mind.id</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Source: Include a source for every chart that you use. Separate sources with a semicolon; BCG-related sources go at the end</a:t>
              </a: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703020202090204" pitchFamily="34" charset="0"/>
            </a:endParaRPr>
          </a:p>
        </p:txBody>
      </p:sp>
      <p:pic>
        <p:nvPicPr>
          <p:cNvPr id="16" name="Picture Placeholder 9"/>
          <p:cNvPicPr>
            <a:picLocks noChangeAspect="1"/>
          </p:cNvPicPr>
          <p:nvPr userDrawn="1"/>
        </p:nvPicPr>
        <p:blipFill>
          <a:blip r:embed="rId6"/>
          <a:srcRect t="33157" b="33157"/>
          <a:stretch>
            <a:fillRect/>
          </a:stretch>
        </p:blipFill>
        <p:spPr>
          <a:xfrm>
            <a:off x="0" y="4419600"/>
            <a:ext cx="10883900" cy="2438400"/>
          </a:xfrm>
          <a:prstGeom prst="rect">
            <a:avLst/>
          </a:prstGeom>
        </p:spPr>
      </p:pic>
      <p:pic>
        <p:nvPicPr>
          <p:cNvPr id="17" name="Graphic 16"/>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51384" y="298363"/>
            <a:ext cx="1800200" cy="320398"/>
          </a:xfrm>
          <a:prstGeom prst="rect">
            <a:avLst/>
          </a:prstGeom>
        </p:spPr>
      </p:pic>
      <p:pic>
        <p:nvPicPr>
          <p:cNvPr id="19" name="Picture 18"/>
          <p:cNvPicPr>
            <a:picLocks noChangeAspect="1"/>
          </p:cNvPicPr>
          <p:nvPr userDrawn="1"/>
        </p:nvPicPr>
        <p:blipFill>
          <a:blip r:embed="rId9"/>
          <a:stretch>
            <a:fillRect/>
          </a:stretch>
        </p:blipFill>
        <p:spPr>
          <a:xfrm>
            <a:off x="551384" y="1422493"/>
            <a:ext cx="2736304" cy="789746"/>
          </a:xfrm>
          <a:prstGeom prst="rect">
            <a:avLst/>
          </a:prstGeom>
        </p:spPr>
      </p:pic>
      <p:sp>
        <p:nvSpPr>
          <p:cNvPr id="23" name="Text Placeholder 6"/>
          <p:cNvSpPr>
            <a:spLocks noGrp="1"/>
          </p:cNvSpPr>
          <p:nvPr>
            <p:ph type="body" sz="quarter" idx="12" hasCustomPrompt="1"/>
          </p:nvPr>
        </p:nvSpPr>
        <p:spPr bwMode="black">
          <a:xfrm>
            <a:off x="4702097" y="3830886"/>
            <a:ext cx="2995280" cy="365125"/>
          </a:xfrm>
          <a:prstGeom prst="rect">
            <a:avLst/>
          </a:prstGeom>
          <a:noFill/>
        </p:spPr>
        <p:txBody>
          <a:bodyPr anchor="ctr"/>
          <a:lstStyle>
            <a:lvl1pPr algn="l">
              <a:lnSpc>
                <a:spcPct val="110000"/>
              </a:lnSpc>
              <a:buNone/>
              <a:defRPr sz="1400" b="0" cap="all" baseline="0">
                <a:solidFill>
                  <a:srgbClr val="0862A3"/>
                </a:solidFill>
                <a:latin typeface="+mn-lt"/>
                <a:ea typeface="+mn-ea"/>
                <a:cs typeface="+mn-cs"/>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4" name="Subtitle 2"/>
          <p:cNvSpPr>
            <a:spLocks noGrp="1"/>
          </p:cNvSpPr>
          <p:nvPr>
            <p:ph type="subTitle" idx="1" hasCustomPrompt="1"/>
          </p:nvPr>
        </p:nvSpPr>
        <p:spPr bwMode="white">
          <a:xfrm>
            <a:off x="4707274" y="3113928"/>
            <a:ext cx="6646526" cy="561668"/>
          </a:xfrm>
          <a:prstGeom prst="rect">
            <a:avLst/>
          </a:prstGeom>
        </p:spPr>
        <p:txBody>
          <a:bodyPr anchor="ctr"/>
          <a:lstStyle>
            <a:lvl1pPr marL="0" indent="0" algn="l">
              <a:lnSpc>
                <a:spcPct val="110000"/>
              </a:lnSpc>
              <a:buNone/>
              <a:defRPr sz="2400" baseline="0">
                <a:solidFill>
                  <a:srgbClr val="15325B"/>
                </a:solidFill>
                <a:latin typeface="+mn-lt"/>
                <a:ea typeface="+mn-ea"/>
                <a:cs typeface="+mn-cs"/>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5" name="Title 1"/>
          <p:cNvSpPr>
            <a:spLocks noGrp="1"/>
          </p:cNvSpPr>
          <p:nvPr>
            <p:ph type="ctrTitle" hasCustomPrompt="1"/>
          </p:nvPr>
        </p:nvSpPr>
        <p:spPr bwMode="ltGray">
          <a:xfrm>
            <a:off x="4702097" y="1262063"/>
            <a:ext cx="6651704" cy="1772080"/>
          </a:xfrm>
          <a:prstGeom prst="rect">
            <a:avLst/>
          </a:prstGeom>
        </p:spPr>
        <p:txBody>
          <a:bodyPr vert="horz" anchor="b">
            <a:normAutofit/>
          </a:bodyPr>
          <a:lstStyle>
            <a:lvl1pPr algn="l">
              <a:lnSpc>
                <a:spcPct val="93000"/>
              </a:lnSpc>
              <a:defRPr sz="3600" b="1" baseline="0">
                <a:solidFill>
                  <a:srgbClr val="15325B"/>
                </a:solidFill>
                <a:latin typeface="+mj-lt"/>
                <a:ea typeface="+mj-ea"/>
                <a:cs typeface="+mj-cs"/>
                <a:sym typeface="Trebuchet MS" panose="020B0703020202090204" pitchFamily="34" charset="0"/>
              </a:defRPr>
            </a:lvl1pPr>
          </a:lstStyle>
          <a:p>
            <a:r>
              <a:rPr lang="en-US" dirty="0"/>
              <a:t>Title in Title Case</a:t>
            </a:r>
          </a:p>
        </p:txBody>
      </p:sp>
      <p:pic>
        <p:nvPicPr>
          <p:cNvPr id="28" name="Picture 27"/>
          <p:cNvPicPr>
            <a:picLocks noChangeAspect="1"/>
          </p:cNvPicPr>
          <p:nvPr userDrawn="1"/>
        </p:nvPicPr>
        <p:blipFill>
          <a:blip r:embed="rId10"/>
          <a:stretch>
            <a:fillRect/>
          </a:stretch>
        </p:blipFill>
        <p:spPr>
          <a:xfrm>
            <a:off x="9575800" y="3073400"/>
            <a:ext cx="2616200" cy="378460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334962" y="623454"/>
            <a:ext cx="11485562" cy="576072"/>
          </a:xfrm>
        </p:spPr>
        <p:txBody>
          <a:bodyPr vert="horz" anchor="ctr"/>
          <a:lstStyle>
            <a:lvl1pPr>
              <a:defRPr>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10"/>
          </p:nvPr>
        </p:nvSpPr>
        <p:spPr>
          <a:xfrm>
            <a:off x="334962" y="2085628"/>
            <a:ext cx="11485562"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7"/>
          <p:cNvSpPr>
            <a:spLocks noGrp="1"/>
          </p:cNvSpPr>
          <p:nvPr>
            <p:ph type="title" hasCustomPrompt="1"/>
          </p:nvPr>
        </p:nvSpPr>
        <p:spPr>
          <a:xfrm>
            <a:off x="334962" y="623454"/>
            <a:ext cx="11485562" cy="576072"/>
          </a:xfrm>
        </p:spPr>
        <p:txBody>
          <a:bodyPr vert="horz" anchor="ctr"/>
          <a:lstStyle>
            <a:lvl1pPr>
              <a:defRPr>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a typeface="+mn-ea"/>
              <a:cs typeface="+mn-cs"/>
              <a:sym typeface="Trebuchet MS" panose="020B070302020209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70302020209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Trebuchet MS" panose="020B070302020209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9074355" cy="501289"/>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8" name="Text Placeholder 7"/>
          <p:cNvSpPr>
            <a:spLocks noGrp="1"/>
          </p:cNvSpPr>
          <p:nvPr>
            <p:ph type="body" sz="quarter" idx="13" hasCustomPrompt="1"/>
          </p:nvPr>
        </p:nvSpPr>
        <p:spPr>
          <a:xfrm>
            <a:off x="334963" y="1158241"/>
            <a:ext cx="11485562" cy="345440"/>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000"/>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dirty="0"/>
              <a:t>Click to edit Master text styles. Ex. </a:t>
            </a:r>
            <a:r>
              <a:rPr lang="en-US" sz="1000" noProof="1">
                <a:solidFill>
                  <a:schemeClr val="tx1">
                    <a:lumMod val="65000"/>
                    <a:lumOff val="35000"/>
                  </a:schemeClr>
                </a:solidFill>
                <a:latin typeface="Gotham Book" charset="0"/>
                <a:ea typeface="Gotham Book" charset="0"/>
                <a:cs typeface="Gotham Book" charset="0"/>
                <a:sym typeface="Arial" panose="020B0604020202090204" pitchFamily="34" charset="0"/>
              </a:rPr>
              <a:t>Membangun sumber daya yang berkelanjutan dalam skala besar untuk Indonesia - Menggandakan volume hulu, memperluas aset hilir - mewujudkan Noble Purpose untuk mengeksplorasi kemakmuran; meningkat secara berkelanjutan hingga ~&gt; 8 x EBITDA (MIND ID &gt; 5x), dan secara signifikan memperluas 7 …</a:t>
            </a:r>
            <a:endParaRPr lang="en-US" dirty="0"/>
          </a:p>
        </p:txBody>
      </p:sp>
      <p:sp>
        <p:nvSpPr>
          <p:cNvPr id="10" name="Text Placeholder 7"/>
          <p:cNvSpPr>
            <a:spLocks noGrp="1"/>
          </p:cNvSpPr>
          <p:nvPr>
            <p:ph type="body" sz="quarter" idx="14" hasCustomPrompt="1"/>
          </p:nvPr>
        </p:nvSpPr>
        <p:spPr>
          <a:xfrm>
            <a:off x="334963" y="1717041"/>
            <a:ext cx="11485562" cy="175251"/>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200" b="1" i="0">
                <a:solidFill>
                  <a:schemeClr val="accent2"/>
                </a:solidFill>
                <a:latin typeface="Gotham Bold" pitchFamily="2" charset="0"/>
                <a:cs typeface="Gotham Bold" pitchFamily="2" charset="0"/>
              </a:defRPr>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dirty="0"/>
              <a:t>Click to edit Title table text styles. Ex. </a:t>
            </a:r>
            <a:r>
              <a:rPr kumimoji="0" lang="en-US" sz="1200" b="1" u="none" strike="noStrike" kern="0" cap="none" spc="0" normalizeH="0" baseline="0" noProof="1">
                <a:ln>
                  <a:noFill/>
                </a:ln>
                <a:solidFill>
                  <a:srgbClr val="0862A4"/>
                </a:solidFill>
                <a:effectLst/>
                <a:uLnTx/>
                <a:uFillTx/>
                <a:latin typeface="Gotham Bold" pitchFamily="2" charset="0"/>
                <a:ea typeface="Gotham Bold" pitchFamily="2" charset="0"/>
                <a:cs typeface="Gotham Bold" pitchFamily="2" charset="0"/>
              </a:rPr>
              <a:t>Strategi terintegrasi </a:t>
            </a:r>
            <a:endParaRPr lang="en-US" dirty="0"/>
          </a:p>
        </p:txBody>
      </p:sp>
      <p:sp>
        <p:nvSpPr>
          <p:cNvPr id="12" name="Table Placeholder 11"/>
          <p:cNvSpPr>
            <a:spLocks noGrp="1"/>
          </p:cNvSpPr>
          <p:nvPr>
            <p:ph type="tbl" sz="quarter" idx="15"/>
          </p:nvPr>
        </p:nvSpPr>
        <p:spPr>
          <a:xfrm>
            <a:off x="334963" y="1988840"/>
            <a:ext cx="11485562" cy="4147800"/>
          </a:xfrm>
        </p:spPr>
        <p:txBody>
          <a:bodyPr anchor="ctr"/>
          <a:lstStyle>
            <a:lvl1pPr algn="ctr">
              <a:defRPr sz="2800"/>
            </a:lvl1pPr>
          </a:lstStyle>
          <a:p>
            <a:endParaRPr lang="id-ID"/>
          </a:p>
        </p:txBody>
      </p:sp>
      <p:sp>
        <p:nvSpPr>
          <p:cNvPr id="15" name="Text Placeholder 14"/>
          <p:cNvSpPr>
            <a:spLocks noGrp="1"/>
          </p:cNvSpPr>
          <p:nvPr>
            <p:ph type="body" sz="quarter" idx="16" hasCustomPrompt="1"/>
          </p:nvPr>
        </p:nvSpPr>
        <p:spPr>
          <a:xfrm>
            <a:off x="334963" y="6217921"/>
            <a:ext cx="7993285" cy="451439"/>
          </a:xfrm>
        </p:spPr>
        <p:txBody>
          <a:bodyPr/>
          <a:lstStyle>
            <a:lvl1pPr marL="144145" marR="0" indent="-144145" algn="l" defTabSz="914400" rtl="0" eaLnBrk="1" fontAlgn="auto" latinLnBrk="0" hangingPunct="1">
              <a:lnSpc>
                <a:spcPct val="100000"/>
              </a:lnSpc>
              <a:spcBef>
                <a:spcPts val="0"/>
              </a:spcBef>
              <a:spcAft>
                <a:spcPts val="0"/>
              </a:spcAft>
              <a:buClrTx/>
              <a:buSzTx/>
              <a:buFont typeface="+mj-lt"/>
              <a:buAutoNum type="arabicPeriod"/>
              <a:defRPr sz="800"/>
            </a:lvl1pPr>
            <a:lvl2pPr indent="0">
              <a:lnSpc>
                <a:spcPct val="100000"/>
              </a:lnSpc>
              <a:defRPr sz="800"/>
            </a:lvl2pPr>
            <a:lvl3pPr indent="0">
              <a:lnSpc>
                <a:spcPct val="100000"/>
              </a:lnSpc>
              <a:defRPr sz="800"/>
            </a:lvl3pPr>
            <a:lvl4pPr indent="0">
              <a:lnSpc>
                <a:spcPct val="100000"/>
              </a:lnSpc>
              <a:defRPr sz="800"/>
            </a:lvl4pPr>
            <a:lvl5pPr indent="0">
              <a:lnSpc>
                <a:spcPct val="100000"/>
              </a:lnSpc>
              <a:defRPr sz="800"/>
            </a:lvl5pPr>
          </a:lstStyle>
          <a:p>
            <a:pPr lvl="0"/>
            <a:r>
              <a:rPr lang="en-US" dirty="0"/>
              <a:t>Click to edit Caption text styles</a:t>
            </a:r>
          </a:p>
          <a:p>
            <a:pPr lvl="0"/>
            <a:r>
              <a:rPr lang="en-US" dirty="0"/>
              <a:t>Click to edit Caption text styles</a:t>
            </a:r>
          </a:p>
          <a:p>
            <a:pPr marL="144145" marR="0" lvl="0" indent="-144145" algn="l" defTabSz="914400" rtl="0" eaLnBrk="1" fontAlgn="auto" latinLnBrk="0" hangingPunct="1">
              <a:lnSpc>
                <a:spcPct val="100000"/>
              </a:lnSpc>
              <a:spcBef>
                <a:spcPts val="0"/>
              </a:spcBef>
              <a:spcAft>
                <a:spcPts val="0"/>
              </a:spcAft>
              <a:buClrTx/>
              <a:buSzTx/>
              <a:buFont typeface="+mj-lt"/>
              <a:buAutoNum type="arabicPeriod"/>
              <a:defRPr/>
            </a:pPr>
            <a:r>
              <a:rPr lang="en-US" dirty="0"/>
              <a:t>Click to edit Caption text styles</a:t>
            </a:r>
          </a:p>
          <a:p>
            <a:pPr lvl="0"/>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70302020209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70302020209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70302020209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dirty="0"/>
              <a:t>Click to add title</a:t>
            </a:r>
          </a:p>
        </p:txBody>
      </p:sp>
      <p:pic>
        <p:nvPicPr>
          <p:cNvPr id="9" name="Picture 8"/>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70302020209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dirty="0"/>
              <a:t>Click to add title</a:t>
            </a:r>
          </a:p>
        </p:txBody>
      </p:sp>
      <p:pic>
        <p:nvPicPr>
          <p:cNvPr id="9" name="Picture 8"/>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Trebuchet MS" panose="020B070302020209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70302020209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70302020209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dirty="0"/>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Coloum">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alphaModFix amt="25000"/>
          </a:blip>
          <a:stretch>
            <a:fillRect/>
          </a:stretch>
        </p:blipFill>
        <p:spPr>
          <a:xfrm>
            <a:off x="0" y="0"/>
            <a:ext cx="12192000" cy="6858000"/>
          </a:xfrm>
          <a:prstGeom prst="rect">
            <a:avLst/>
          </a:prstGeom>
        </p:spPr>
      </p:pic>
      <p:sp>
        <p:nvSpPr>
          <p:cNvPr id="2" name="Title 1"/>
          <p:cNvSpPr>
            <a:spLocks noGrp="1"/>
          </p:cNvSpPr>
          <p:nvPr>
            <p:ph type="title" hasCustomPrompt="1"/>
          </p:nvPr>
        </p:nvSpPr>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703020202090204" pitchFamily="34" charset="0"/>
              </a:defRPr>
            </a:lvl1pPr>
          </a:lstStyle>
          <a:p>
            <a:r>
              <a:rPr lang="en-US" dirty="0"/>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703020202090204" pitchFamily="34" charset="0"/>
              </a:defRPr>
            </a:lvl1pPr>
          </a:lstStyle>
          <a:p>
            <a:r>
              <a:rPr lang="en-US" dirty="0"/>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8" name="Picture 7"/>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703020202090204" pitchFamily="34" charset="0"/>
              </a:defRPr>
            </a:lvl1pPr>
          </a:lstStyle>
          <a:p>
            <a:r>
              <a:rPr lang="en-US" dirty="0"/>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70302020209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703020202090204" pitchFamily="34" charset="0"/>
              </a:defRPr>
            </a:lvl1pPr>
          </a:lstStyle>
          <a:p>
            <a:r>
              <a:rPr lang="en-US" dirty="0"/>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703020202090204" pitchFamily="34" charset="0"/>
              </a:defRPr>
            </a:lvl1pPr>
          </a:lstStyle>
          <a:p>
            <a:r>
              <a:rPr lang="en-US" dirty="0"/>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20" name="TextBox 19"/>
          <p:cNvSpPr txBox="1"/>
          <p:nvPr userDrawn="1"/>
        </p:nvSpPr>
        <p:spPr>
          <a:xfrm>
            <a:off x="630000" y="2577934"/>
            <a:ext cx="301744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j-lt"/>
                <a:ea typeface="+mn-ea"/>
                <a:cs typeface="+mn-cs"/>
                <a:sym typeface="Trebuchet MS" panose="020B0703020202090204" pitchFamily="34" charset="0"/>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1704977"/>
            <a:ext cx="11469455" cy="3884264"/>
          </a:xfrm>
          <a:prstGeom prst="rect">
            <a:avLst/>
          </a:prstGeom>
          <a:noFill/>
          <a:ln>
            <a:noFill/>
          </a:ln>
        </p:spPr>
        <p:txBody>
          <a:bodyPr tIns="46800" numCol="2" spcCol="540000">
            <a:noAutofit/>
          </a:bodyPr>
          <a:lstStyle>
            <a:lvl1pPr marL="0" indent="0" algn="l">
              <a:lnSpc>
                <a:spcPts val="1400"/>
              </a:lnSpc>
              <a:spcBef>
                <a:spcPts val="0"/>
              </a:spcBef>
              <a:buFont typeface="Arial" panose="020B0604020202090204" pitchFamily="34" charset="0"/>
              <a:buNone/>
              <a:defRPr sz="105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indent="-228600">
              <a:lnSpc>
                <a:spcPts val="1400"/>
              </a:lnSpc>
              <a:buFont typeface="Arial" panose="020B0604020202090204" pitchFamily="34" charset="0"/>
              <a:buChar char="•"/>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2" name="Title 1"/>
          <p:cNvSpPr>
            <a:spLocks noGrp="1"/>
          </p:cNvSpPr>
          <p:nvPr>
            <p:ph type="title" hasCustomPrompt="1"/>
          </p:nvPr>
        </p:nvSpPr>
        <p:spPr>
          <a:xfrm>
            <a:off x="334963" y="858983"/>
            <a:ext cx="5328989" cy="481786"/>
          </a:xfrm>
        </p:spPr>
        <p:txBody>
          <a:bodyPr/>
          <a:lstStyle>
            <a:lvl1pPr>
              <a:defRPr baseline="0"/>
            </a:lvl1pPr>
          </a:lstStyle>
          <a:p>
            <a:r>
              <a:rPr lang="en-US" dirty="0"/>
              <a:t>Disclaimer page</a:t>
            </a:r>
            <a:endParaRPr lang="id-ID" dirty="0"/>
          </a:p>
        </p:txBody>
      </p:sp>
      <p:sp>
        <p:nvSpPr>
          <p:cNvPr id="8" name="Footer Placeholder 7"/>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2"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3"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dirty="0"/>
            </a:br>
            <a:r>
              <a:rPr lang="en-US" dirty="0"/>
              <a:t>Click to edit Char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dirty="0"/>
              <a:t>Click to edit Title text styles</a:t>
            </a:r>
          </a:p>
        </p:txBody>
      </p:sp>
      <p:sp>
        <p:nvSpPr>
          <p:cNvPr id="11" name="Chart Placeholder 10"/>
          <p:cNvSpPr>
            <a:spLocks noGrp="1"/>
          </p:cNvSpPr>
          <p:nvPr>
            <p:ph type="chart" sz="quarter" idx="14"/>
          </p:nvPr>
        </p:nvSpPr>
        <p:spPr>
          <a:xfrm>
            <a:off x="253064" y="1916464"/>
            <a:ext cx="3682696" cy="1728192"/>
          </a:xfrm>
        </p:spPr>
        <p:txBody>
          <a:bodyPr anchor="ctr"/>
          <a:lstStyle>
            <a:lvl1pPr algn="ctr">
              <a:defRPr sz="1800"/>
            </a:lvl1pPr>
          </a:lstStyle>
          <a:p>
            <a:endParaRPr lang="id-ID"/>
          </a:p>
        </p:txBody>
      </p:sp>
      <p:sp>
        <p:nvSpPr>
          <p:cNvPr id="18" name="Chart Placeholder 10"/>
          <p:cNvSpPr>
            <a:spLocks noGrp="1"/>
          </p:cNvSpPr>
          <p:nvPr>
            <p:ph type="chart" sz="quarter" idx="15"/>
          </p:nvPr>
        </p:nvSpPr>
        <p:spPr>
          <a:xfrm>
            <a:off x="8137829" y="1916464"/>
            <a:ext cx="3682696" cy="1728192"/>
          </a:xfrm>
        </p:spPr>
        <p:txBody>
          <a:bodyPr anchor="ctr"/>
          <a:lstStyle>
            <a:lvl1pPr algn="ctr">
              <a:defRPr sz="1800"/>
            </a:lvl1pPr>
          </a:lstStyle>
          <a:p>
            <a:endParaRPr lang="id-ID"/>
          </a:p>
        </p:txBody>
      </p:sp>
      <p:sp>
        <p:nvSpPr>
          <p:cNvPr id="21" name="Chart Placeholder 10"/>
          <p:cNvSpPr>
            <a:spLocks noGrp="1"/>
          </p:cNvSpPr>
          <p:nvPr>
            <p:ph type="chart" sz="quarter" idx="16"/>
          </p:nvPr>
        </p:nvSpPr>
        <p:spPr>
          <a:xfrm>
            <a:off x="4195221" y="1916464"/>
            <a:ext cx="3682696" cy="1728192"/>
          </a:xfrm>
        </p:spPr>
        <p:txBody>
          <a:bodyPr anchor="ctr"/>
          <a:lstStyle>
            <a:lvl1pPr algn="ctr">
              <a:defRPr sz="1800"/>
            </a:lvl1pPr>
          </a:lstStyle>
          <a:p>
            <a:endParaRPr lang="id-ID"/>
          </a:p>
        </p:txBody>
      </p:sp>
      <p:sp>
        <p:nvSpPr>
          <p:cNvPr id="22" name="Chart Placeholder 10"/>
          <p:cNvSpPr>
            <a:spLocks noGrp="1"/>
          </p:cNvSpPr>
          <p:nvPr>
            <p:ph type="chart" sz="quarter" idx="17"/>
          </p:nvPr>
        </p:nvSpPr>
        <p:spPr>
          <a:xfrm>
            <a:off x="253064" y="4076704"/>
            <a:ext cx="3682696" cy="1728192"/>
          </a:xfrm>
        </p:spPr>
        <p:txBody>
          <a:bodyPr anchor="ctr"/>
          <a:lstStyle>
            <a:lvl1pPr algn="ctr">
              <a:defRPr sz="1800"/>
            </a:lvl1pPr>
          </a:lstStyle>
          <a:p>
            <a:endParaRPr lang="id-ID"/>
          </a:p>
        </p:txBody>
      </p:sp>
      <p:sp>
        <p:nvSpPr>
          <p:cNvPr id="23" name="Chart Placeholder 10"/>
          <p:cNvSpPr>
            <a:spLocks noGrp="1"/>
          </p:cNvSpPr>
          <p:nvPr>
            <p:ph type="chart" sz="quarter" idx="18"/>
          </p:nvPr>
        </p:nvSpPr>
        <p:spPr>
          <a:xfrm>
            <a:off x="8137829" y="4076704"/>
            <a:ext cx="3682696" cy="1728192"/>
          </a:xfrm>
        </p:spPr>
        <p:txBody>
          <a:bodyPr anchor="ctr"/>
          <a:lstStyle>
            <a:lvl1pPr algn="ctr">
              <a:defRPr sz="1800"/>
            </a:lvl1pPr>
          </a:lstStyle>
          <a:p>
            <a:endParaRPr lang="id-ID"/>
          </a:p>
        </p:txBody>
      </p:sp>
      <p:sp>
        <p:nvSpPr>
          <p:cNvPr id="24" name="Chart Placeholder 10"/>
          <p:cNvSpPr>
            <a:spLocks noGrp="1"/>
          </p:cNvSpPr>
          <p:nvPr>
            <p:ph type="chart" sz="quarter" idx="19"/>
          </p:nvPr>
        </p:nvSpPr>
        <p:spPr>
          <a:xfrm>
            <a:off x="4195221" y="4076704"/>
            <a:ext cx="3682696" cy="1728192"/>
          </a:xfrm>
        </p:spPr>
        <p:txBody>
          <a:bodyPr anchor="ctr"/>
          <a:lstStyle>
            <a:lvl1pPr algn="ctr">
              <a:defRPr sz="1800"/>
            </a:lvl1pPr>
          </a:lstStyle>
          <a:p>
            <a:endParaRPr lang="id-ID"/>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0"/>
            <a:ext cx="12192000" cy="6858000"/>
          </a:xfrm>
          <a:prstGeom prst="rect">
            <a:avLst/>
          </a:prstGeom>
          <a:solidFill>
            <a:srgbClr val="153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mn-lt"/>
              <a:ea typeface="+mn-ea"/>
              <a:cs typeface="+mn-cs"/>
            </a:endParaRPr>
          </a:p>
        </p:txBody>
      </p:sp>
      <p:pic>
        <p:nvPicPr>
          <p:cNvPr id="11" name="Picture 10"/>
          <p:cNvPicPr>
            <a:picLocks noChangeAspect="1"/>
          </p:cNvPicPr>
          <p:nvPr userDrawn="1"/>
        </p:nvPicPr>
        <p:blipFill>
          <a:blip r:embed="rId5"/>
          <a:stretch>
            <a:fillRect/>
          </a:stretch>
        </p:blipFill>
        <p:spPr>
          <a:xfrm>
            <a:off x="9480376" y="5882751"/>
            <a:ext cx="1725229" cy="504000"/>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3" name="Picture 12"/>
          <p:cNvPicPr>
            <a:picLocks noChangeAspect="1"/>
          </p:cNvPicPr>
          <p:nvPr userDrawn="1"/>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550863" y="5962650"/>
            <a:ext cx="1336258" cy="260867"/>
          </a:xfrm>
          <a:prstGeom prst="rect">
            <a:avLst/>
          </a:prstGeom>
        </p:spPr>
      </p:pic>
      <p:sp>
        <p:nvSpPr>
          <p:cNvPr id="14" name="Text Placeholder 8"/>
          <p:cNvSpPr>
            <a:spLocks noGrp="1"/>
          </p:cNvSpPr>
          <p:nvPr>
            <p:ph type="body" sz="quarter" idx="13" hasCustomPrompt="1"/>
          </p:nvPr>
        </p:nvSpPr>
        <p:spPr>
          <a:xfrm>
            <a:off x="550863" y="1730829"/>
            <a:ext cx="5545137" cy="771878"/>
          </a:xfrm>
        </p:spPr>
        <p:txBody>
          <a:bodyPr>
            <a:spAutoFit/>
          </a:bodyPr>
          <a:lstStyle>
            <a:lvl1pPr marL="0" indent="0">
              <a:buNone/>
              <a:defRPr sz="4800" b="0" i="0">
                <a:solidFill>
                  <a:schemeClr val="bg1"/>
                </a:solidFill>
                <a:latin typeface="+mj-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dirty="0"/>
              <a:t>Terima kasih</a:t>
            </a:r>
          </a:p>
        </p:txBody>
      </p:sp>
      <p:sp>
        <p:nvSpPr>
          <p:cNvPr id="16" name="TextBox 15"/>
          <p:cNvSpPr txBox="1"/>
          <p:nvPr userDrawn="1"/>
        </p:nvSpPr>
        <p:spPr>
          <a:xfrm>
            <a:off x="575418"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mn-lt"/>
                <a:ea typeface="+mn-ea"/>
                <a:cs typeface="+mn-cs"/>
              </a:rPr>
              <a:t>Gedung Energy Lt. 16 SCBD</a:t>
            </a:r>
            <a:br>
              <a:rPr lang="en-US" sz="1050" noProof="1">
                <a:solidFill>
                  <a:schemeClr val="bg1"/>
                </a:solidFill>
                <a:latin typeface="+mn-lt"/>
                <a:ea typeface="+mn-ea"/>
                <a:cs typeface="+mn-cs"/>
              </a:rPr>
            </a:br>
            <a:r>
              <a:rPr lang="en-US" sz="1050" noProof="1">
                <a:solidFill>
                  <a:schemeClr val="bg1"/>
                </a:solidFill>
                <a:latin typeface="+mn-lt"/>
                <a:ea typeface="+mn-ea"/>
                <a:cs typeface="+mn-cs"/>
              </a:rPr>
              <a:t>Jl. Jenderal Sudirman Kav. 52-53 Jakarta 12190.</a:t>
            </a:r>
            <a:br>
              <a:rPr lang="en-US" sz="1050" noProof="1">
                <a:solidFill>
                  <a:schemeClr val="bg1"/>
                </a:solidFill>
                <a:latin typeface="+mn-lt"/>
                <a:ea typeface="+mn-ea"/>
                <a:cs typeface="+mn-cs"/>
              </a:rPr>
            </a:br>
            <a:r>
              <a:rPr lang="en-US" sz="1050" noProof="1">
                <a:solidFill>
                  <a:schemeClr val="bg1"/>
                </a:solidFill>
                <a:latin typeface="+mn-lt"/>
                <a:ea typeface="+mn-ea"/>
                <a:cs typeface="+mn-cs"/>
              </a:rPr>
              <a:t>P.O. BOX 6917 Jakarta Selatan, Indonesia</a:t>
            </a:r>
            <a:br>
              <a:rPr lang="en-US" sz="1050" noProof="1">
                <a:solidFill>
                  <a:schemeClr val="bg1"/>
                </a:solidFill>
                <a:latin typeface="+mn-lt"/>
                <a:ea typeface="+mn-ea"/>
                <a:cs typeface="+mn-cs"/>
              </a:rPr>
            </a:br>
            <a:r>
              <a:rPr lang="en-US" sz="1050" noProof="1">
                <a:solidFill>
                  <a:schemeClr val="bg1"/>
                </a:solidFill>
                <a:latin typeface="+mn-lt"/>
                <a:ea typeface="+mn-ea"/>
                <a:cs typeface="+mn-cs"/>
              </a:rPr>
              <a:t>Telp (+6221) 27938750.</a:t>
            </a:r>
            <a:br>
              <a:rPr lang="en-US" sz="1050" noProof="1">
                <a:solidFill>
                  <a:schemeClr val="bg1"/>
                </a:solidFill>
                <a:latin typeface="+mn-lt"/>
                <a:ea typeface="+mn-ea"/>
                <a:cs typeface="+mn-cs"/>
              </a:rPr>
            </a:br>
            <a:r>
              <a:rPr lang="en-US" sz="1050" noProof="1">
                <a:solidFill>
                  <a:schemeClr val="bg1"/>
                </a:solidFill>
                <a:latin typeface="+mn-lt"/>
                <a:ea typeface="+mn-ea"/>
                <a:cs typeface="+mn-cs"/>
              </a:rPr>
              <a:t>Fax (+6221) 27936331.</a:t>
            </a:r>
            <a:br>
              <a:rPr lang="en-US" sz="1050" noProof="1">
                <a:solidFill>
                  <a:schemeClr val="bg1"/>
                </a:solidFill>
                <a:latin typeface="+mn-lt"/>
                <a:ea typeface="+mn-ea"/>
                <a:cs typeface="+mn-cs"/>
              </a:rPr>
            </a:br>
            <a:r>
              <a:rPr lang="en-US" sz="1050" noProof="1">
                <a:solidFill>
                  <a:schemeClr val="bg1"/>
                </a:solidFill>
                <a:latin typeface="+mn-lt"/>
                <a:ea typeface="+mn-ea"/>
                <a:cs typeface="+mn-cs"/>
              </a:rPr>
              <a:t>e-mail : corsec@mind.id</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grpSp>
        <p:sp>
          <p:nvSpPr>
            <p:cNvPr id="148"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Source: Include a source for every chart that you use. Separate sources with a semicolon; BCG-related sources go at the end</a:t>
              </a: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918230" y="1115416"/>
            <a:ext cx="2871620"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ea typeface="+mn-ea"/>
                <a:cs typeface="+mn-cs"/>
              </a:rPr>
              <a:t>Agenda</a:t>
            </a:r>
          </a:p>
        </p:txBody>
      </p:sp>
      <p:sp>
        <p:nvSpPr>
          <p:cNvPr id="8" name="Rectangle 7"/>
          <p:cNvSpPr/>
          <p:nvPr userDrawn="1"/>
        </p:nvSpPr>
        <p:spPr bwMode="invGray">
          <a:xfrm>
            <a:off x="1388145" y="4691187"/>
            <a:ext cx="929337" cy="995874"/>
          </a:xfrm>
          <a:prstGeom prst="rect">
            <a:avLst/>
          </a:prstGeom>
          <a:no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703020202090204" pitchFamily="34" charset="0"/>
            </a:endParaRPr>
          </a:p>
        </p:txBody>
      </p:sp>
      <p:sp>
        <p:nvSpPr>
          <p:cNvPr id="9" name="Rectangle 8"/>
          <p:cNvSpPr/>
          <p:nvPr userDrawn="1">
            <p:custDataLst>
              <p:tags r:id="rId3"/>
            </p:custDataLst>
          </p:nvPr>
        </p:nvSpPr>
        <p:spPr>
          <a:xfrm>
            <a:off x="2509482" y="4691187"/>
            <a:ext cx="1570152" cy="1468176"/>
          </a:xfrm>
          <a:prstGeom prst="rect">
            <a:avLst/>
          </a:prstGeom>
          <a:noFill/>
          <a:ln w="9525" cap="flat" cmpd="sng" algn="ctr">
            <a:solidFill>
              <a:srgbClr val="FFFFFF"/>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70302020209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dirty="0">
                <a:solidFill>
                  <a:schemeClr val="bg1"/>
                </a:solidFill>
                <a:latin typeface="+mj-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17" name="TextBox 16"/>
          <p:cNvSpPr txBox="1"/>
          <p:nvPr userDrawn="1"/>
        </p:nvSpPr>
        <p:spPr>
          <a:xfrm>
            <a:off x="630000" y="3207715"/>
            <a:ext cx="1706800"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j-lt"/>
                <a:ea typeface="+mn-ea"/>
                <a:cs typeface="+mn-cs"/>
              </a:rPr>
              <a:t>Agenda</a:t>
            </a:r>
          </a:p>
        </p:txBody>
      </p:sp>
      <p:pic>
        <p:nvPicPr>
          <p:cNvPr id="7" name="Picture 6"/>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918230" y="1115416"/>
            <a:ext cx="2871620"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j-lt"/>
                <a:ea typeface="+mn-ea"/>
                <a:cs typeface="+mn-cs"/>
              </a:rPr>
              <a:t>Agenda</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70302020209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dirty="0">
                <a:solidFill>
                  <a:schemeClr val="accent4"/>
                </a:solidFill>
                <a:latin typeface="+mj-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orking-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dirty="0"/>
            </a:br>
            <a:r>
              <a:rPr lang="en-US" dirty="0"/>
              <a:t>Click to edit Working-ou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3"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dirty="0"/>
              <a:t>Click to edit Title text styles</a:t>
            </a:r>
          </a:p>
        </p:txBody>
      </p:sp>
      <p:pic>
        <p:nvPicPr>
          <p:cNvPr id="14" name="Picture 13"/>
          <p:cNvPicPr>
            <a:picLocks noChangeAspect="1"/>
          </p:cNvPicPr>
          <p:nvPr userDrawn="1"/>
        </p:nvPicPr>
        <p:blipFill>
          <a:blip r:embed="rId2"/>
          <a:srcRect/>
          <a:stretch>
            <a:fillRect/>
          </a:stretch>
        </p:blipFill>
        <p:spPr>
          <a:xfrm>
            <a:off x="759101" y="2381992"/>
            <a:ext cx="720000" cy="720000"/>
          </a:xfrm>
          <a:prstGeom prst="rect">
            <a:avLst/>
          </a:prstGeom>
        </p:spPr>
      </p:pic>
      <p:sp>
        <p:nvSpPr>
          <p:cNvPr id="17" name="TextBox 16"/>
          <p:cNvSpPr txBox="1"/>
          <p:nvPr userDrawn="1"/>
        </p:nvSpPr>
        <p:spPr>
          <a:xfrm>
            <a:off x="5837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Aset</a:t>
            </a:r>
          </a:p>
        </p:txBody>
      </p:sp>
      <p:sp>
        <p:nvSpPr>
          <p:cNvPr id="32" name="Text Placeholder 10"/>
          <p:cNvSpPr>
            <a:spLocks noGrp="1"/>
          </p:cNvSpPr>
          <p:nvPr>
            <p:ph type="body" sz="quarter" idx="17" hasCustomPrompt="1"/>
          </p:nvPr>
        </p:nvSpPr>
        <p:spPr>
          <a:xfrm>
            <a:off x="373428"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46" name="Picture 45"/>
          <p:cNvPicPr>
            <a:picLocks noChangeAspect="1"/>
          </p:cNvPicPr>
          <p:nvPr userDrawn="1"/>
        </p:nvPicPr>
        <p:blipFill>
          <a:blip r:embed="rId3"/>
          <a:srcRect/>
          <a:stretch>
            <a:fillRect/>
          </a:stretch>
        </p:blipFill>
        <p:spPr>
          <a:xfrm>
            <a:off x="2787597" y="2381992"/>
            <a:ext cx="720000" cy="720000"/>
          </a:xfrm>
          <a:prstGeom prst="rect">
            <a:avLst/>
          </a:prstGeom>
        </p:spPr>
      </p:pic>
      <p:sp>
        <p:nvSpPr>
          <p:cNvPr id="47" name="TextBox 46"/>
          <p:cNvSpPr txBox="1"/>
          <p:nvPr userDrawn="1"/>
        </p:nvSpPr>
        <p:spPr>
          <a:xfrm>
            <a:off x="2612230"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ndapatan</a:t>
            </a:r>
          </a:p>
        </p:txBody>
      </p:sp>
      <p:sp>
        <p:nvSpPr>
          <p:cNvPr id="48" name="Text Placeholder 10"/>
          <p:cNvSpPr>
            <a:spLocks noGrp="1"/>
          </p:cNvSpPr>
          <p:nvPr>
            <p:ph type="body" sz="quarter" idx="18" hasCustomPrompt="1"/>
          </p:nvPr>
        </p:nvSpPr>
        <p:spPr>
          <a:xfrm>
            <a:off x="2401924"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49" name="Picture 48"/>
          <p:cNvPicPr>
            <a:picLocks noChangeAspect="1"/>
          </p:cNvPicPr>
          <p:nvPr userDrawn="1"/>
        </p:nvPicPr>
        <p:blipFill>
          <a:blip r:embed="rId4"/>
          <a:srcRect/>
          <a:stretch>
            <a:fillRect/>
          </a:stretch>
        </p:blipFill>
        <p:spPr>
          <a:xfrm>
            <a:off x="4721501" y="2381992"/>
            <a:ext cx="720000" cy="720000"/>
          </a:xfrm>
          <a:prstGeom prst="rect">
            <a:avLst/>
          </a:prstGeom>
        </p:spPr>
      </p:pic>
      <p:sp>
        <p:nvSpPr>
          <p:cNvPr id="50" name="TextBox 49"/>
          <p:cNvSpPr txBox="1"/>
          <p:nvPr userDrawn="1"/>
        </p:nvSpPr>
        <p:spPr>
          <a:xfrm>
            <a:off x="45461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EBITDA</a:t>
            </a:r>
          </a:p>
        </p:txBody>
      </p:sp>
      <p:sp>
        <p:nvSpPr>
          <p:cNvPr id="51" name="Text Placeholder 10"/>
          <p:cNvSpPr>
            <a:spLocks noGrp="1"/>
          </p:cNvSpPr>
          <p:nvPr>
            <p:ph type="body" sz="quarter" idx="19" hasCustomPrompt="1"/>
          </p:nvPr>
        </p:nvSpPr>
        <p:spPr>
          <a:xfrm>
            <a:off x="4335828"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52" name="Picture 51"/>
          <p:cNvPicPr>
            <a:picLocks noChangeAspect="1"/>
          </p:cNvPicPr>
          <p:nvPr userDrawn="1"/>
        </p:nvPicPr>
        <p:blipFill>
          <a:blip r:embed="rId5"/>
          <a:srcRect/>
          <a:stretch>
            <a:fillRect/>
          </a:stretch>
        </p:blipFill>
        <p:spPr>
          <a:xfrm>
            <a:off x="6655404" y="2381992"/>
            <a:ext cx="720000" cy="720000"/>
          </a:xfrm>
          <a:prstGeom prst="rect">
            <a:avLst/>
          </a:prstGeom>
        </p:spPr>
      </p:pic>
      <p:sp>
        <p:nvSpPr>
          <p:cNvPr id="53" name="TextBox 52"/>
          <p:cNvSpPr txBox="1"/>
          <p:nvPr userDrawn="1"/>
        </p:nvSpPr>
        <p:spPr>
          <a:xfrm>
            <a:off x="6480037" y="2151727"/>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Bold" pitchFamily="2" charset="0"/>
                <a:ea typeface="Gotham Bold" pitchFamily="2" charset="0"/>
                <a:cs typeface="Gotham Bold" pitchFamily="2" charset="0"/>
              </a:rPr>
              <a:t>Value</a:t>
            </a:r>
            <a:endParaRPr lang="id-ID" sz="1000" b="1" i="0">
              <a:solidFill>
                <a:schemeClr val="accent1"/>
              </a:solidFill>
              <a:latin typeface="Gotham Bold" pitchFamily="2" charset="0"/>
              <a:ea typeface="Gotham Bold" pitchFamily="2" charset="0"/>
              <a:cs typeface="Gotham Bold" pitchFamily="2" charset="0"/>
            </a:endParaRPr>
          </a:p>
        </p:txBody>
      </p:sp>
      <p:sp>
        <p:nvSpPr>
          <p:cNvPr id="54" name="Text Placeholder 10"/>
          <p:cNvSpPr>
            <a:spLocks noGrp="1"/>
          </p:cNvSpPr>
          <p:nvPr>
            <p:ph type="body" sz="quarter" idx="20" hasCustomPrompt="1"/>
          </p:nvPr>
        </p:nvSpPr>
        <p:spPr>
          <a:xfrm>
            <a:off x="6269731"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57" name="Picture 56"/>
          <p:cNvPicPr>
            <a:picLocks noChangeAspect="1"/>
          </p:cNvPicPr>
          <p:nvPr userDrawn="1"/>
        </p:nvPicPr>
        <p:blipFill>
          <a:blip r:embed="rId6"/>
          <a:srcRect/>
          <a:stretch>
            <a:fillRect/>
          </a:stretch>
        </p:blipFill>
        <p:spPr>
          <a:xfrm>
            <a:off x="759101" y="4263344"/>
            <a:ext cx="720000" cy="720000"/>
          </a:xfrm>
          <a:prstGeom prst="rect">
            <a:avLst/>
          </a:prstGeom>
        </p:spPr>
      </p:pic>
      <p:sp>
        <p:nvSpPr>
          <p:cNvPr id="58" name="TextBox 57"/>
          <p:cNvSpPr txBox="1"/>
          <p:nvPr userDrawn="1"/>
        </p:nvSpPr>
        <p:spPr>
          <a:xfrm>
            <a:off x="5837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rsen</a:t>
            </a:r>
          </a:p>
        </p:txBody>
      </p:sp>
      <p:sp>
        <p:nvSpPr>
          <p:cNvPr id="59" name="Text Placeholder 10"/>
          <p:cNvSpPr>
            <a:spLocks noGrp="1"/>
          </p:cNvSpPr>
          <p:nvPr>
            <p:ph type="body" sz="quarter" idx="21" hasCustomPrompt="1"/>
          </p:nvPr>
        </p:nvSpPr>
        <p:spPr>
          <a:xfrm>
            <a:off x="373428"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84" name="Picture 83"/>
          <p:cNvPicPr>
            <a:picLocks noChangeAspect="1"/>
          </p:cNvPicPr>
          <p:nvPr userDrawn="1"/>
        </p:nvPicPr>
        <p:blipFill>
          <a:blip r:embed="rId7"/>
          <a:srcRect/>
          <a:stretch>
            <a:fillRect/>
          </a:stretch>
        </p:blipFill>
        <p:spPr>
          <a:xfrm>
            <a:off x="2787597" y="4263344"/>
            <a:ext cx="720000" cy="720000"/>
          </a:xfrm>
          <a:prstGeom prst="rect">
            <a:avLst/>
          </a:prstGeom>
        </p:spPr>
      </p:pic>
      <p:sp>
        <p:nvSpPr>
          <p:cNvPr id="85" name="TextBox 84"/>
          <p:cNvSpPr txBox="1"/>
          <p:nvPr userDrawn="1"/>
        </p:nvSpPr>
        <p:spPr>
          <a:xfrm>
            <a:off x="2612230" y="4033079"/>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Bold" pitchFamily="2" charset="0"/>
                <a:ea typeface="Gotham Bold" pitchFamily="2" charset="0"/>
                <a:cs typeface="Gotham Bold" pitchFamily="2" charset="0"/>
              </a:rPr>
              <a:t>Grow</a:t>
            </a:r>
            <a:endParaRPr lang="id-ID" sz="1000" b="1" i="0">
              <a:solidFill>
                <a:schemeClr val="accent1"/>
              </a:solidFill>
              <a:latin typeface="Gotham Bold" pitchFamily="2" charset="0"/>
              <a:ea typeface="Gotham Bold" pitchFamily="2" charset="0"/>
              <a:cs typeface="Gotham Bold" pitchFamily="2" charset="0"/>
            </a:endParaRPr>
          </a:p>
        </p:txBody>
      </p:sp>
      <p:sp>
        <p:nvSpPr>
          <p:cNvPr id="86" name="Text Placeholder 10"/>
          <p:cNvSpPr>
            <a:spLocks noGrp="1"/>
          </p:cNvSpPr>
          <p:nvPr>
            <p:ph type="body" sz="quarter" idx="22" hasCustomPrompt="1"/>
          </p:nvPr>
        </p:nvSpPr>
        <p:spPr>
          <a:xfrm>
            <a:off x="2401924"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87" name="Picture 86"/>
          <p:cNvPicPr>
            <a:picLocks noChangeAspect="1"/>
          </p:cNvPicPr>
          <p:nvPr userDrawn="1"/>
        </p:nvPicPr>
        <p:blipFill>
          <a:blip r:embed="rId8"/>
          <a:srcRect/>
          <a:stretch>
            <a:fillRect/>
          </a:stretch>
        </p:blipFill>
        <p:spPr>
          <a:xfrm>
            <a:off x="4721501" y="4263344"/>
            <a:ext cx="720000" cy="720000"/>
          </a:xfrm>
          <a:prstGeom prst="rect">
            <a:avLst/>
          </a:prstGeom>
        </p:spPr>
      </p:pic>
      <p:sp>
        <p:nvSpPr>
          <p:cNvPr id="88" name="TextBox 87"/>
          <p:cNvSpPr txBox="1"/>
          <p:nvPr userDrawn="1"/>
        </p:nvSpPr>
        <p:spPr>
          <a:xfrm>
            <a:off x="45461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ndapatan</a:t>
            </a:r>
          </a:p>
        </p:txBody>
      </p:sp>
      <p:sp>
        <p:nvSpPr>
          <p:cNvPr id="89" name="Text Placeholder 10"/>
          <p:cNvSpPr>
            <a:spLocks noGrp="1"/>
          </p:cNvSpPr>
          <p:nvPr>
            <p:ph type="body" sz="quarter" idx="23" hasCustomPrompt="1"/>
          </p:nvPr>
        </p:nvSpPr>
        <p:spPr>
          <a:xfrm>
            <a:off x="4335828"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703020202090204" pitchFamily="34" charset="0"/>
            </a:endParaRPr>
          </a:p>
        </p:txBody>
      </p:sp>
      <p:sp>
        <p:nvSpPr>
          <p:cNvPr id="10" name="TextBox 9"/>
          <p:cNvSpPr txBox="1"/>
          <p:nvPr userDrawn="1"/>
        </p:nvSpPr>
        <p:spPr>
          <a:xfrm>
            <a:off x="630000" y="3262145"/>
            <a:ext cx="1290240"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j-lt"/>
                <a:ea typeface="+mn-ea"/>
                <a:cs typeface="+mn-cs"/>
              </a:rPr>
              <a:t>Agenda</a:t>
            </a:r>
          </a:p>
        </p:txBody>
      </p:sp>
      <p:pic>
        <p:nvPicPr>
          <p:cNvPr id="7" name="Picture 6"/>
          <p:cNvPicPr>
            <a:picLocks noChangeAspect="1"/>
          </p:cNvPicPr>
          <p:nvPr userDrawn="1"/>
        </p:nvPicPr>
        <p:blipFill>
          <a:blip r:embed="rId6"/>
          <a:stretch>
            <a:fillRect/>
          </a:stretch>
        </p:blipFill>
        <p:spPr>
          <a:xfrm>
            <a:off x="10452782" y="305201"/>
            <a:ext cx="1356866" cy="391616"/>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703020202090204" pitchFamily="34" charset="0"/>
            </a:endParaRPr>
          </a:p>
        </p:txBody>
      </p:sp>
      <p:sp>
        <p:nvSpPr>
          <p:cNvPr id="20" name="TextBox 19"/>
          <p:cNvSpPr txBox="1"/>
          <p:nvPr userDrawn="1"/>
        </p:nvSpPr>
        <p:spPr>
          <a:xfrm>
            <a:off x="630000" y="2577934"/>
            <a:ext cx="299872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j-lt"/>
                <a:ea typeface="+mn-ea"/>
                <a:cs typeface="+mn-cs"/>
                <a:sym typeface="Trebuchet MS" panose="020B070302020209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235635" y="6356352"/>
            <a:ext cx="2743200" cy="365125"/>
          </a:xfrm>
          <a:prstGeom prst="rect">
            <a:avLst/>
          </a:prstGeom>
        </p:spPr>
        <p:txBody>
          <a:bodyPr/>
          <a:lstStyle/>
          <a:p>
            <a:pPr defTabSz="857250"/>
            <a:fld id="{2FC68CC8-ECD2-4340-B095-4BD24DFFF1AF}" type="slidenum">
              <a:rPr lang="en-US" sz="1690" smtClean="0">
                <a:solidFill>
                  <a:prstClr val="black"/>
                </a:solidFill>
              </a:rPr>
              <a:t>‹#›</a:t>
            </a:fld>
            <a:endParaRPr lang="en-US" sz="1690">
              <a:solidFill>
                <a:prstClr val="black"/>
              </a:solidFill>
            </a:endParaRPr>
          </a:p>
        </p:txBody>
      </p:sp>
      <p:pic>
        <p:nvPicPr>
          <p:cNvPr id="3" name="Picture 2"/>
          <p:cNvPicPr>
            <a:picLocks noChangeAspect="1"/>
          </p:cNvPicPr>
          <p:nvPr userDrawn="1"/>
        </p:nvPicPr>
        <p:blipFill>
          <a:blip r:embed="rId2" cstate="screen"/>
          <a:stretch>
            <a:fillRect/>
          </a:stretch>
        </p:blipFill>
        <p:spPr>
          <a:xfrm>
            <a:off x="0" y="0"/>
            <a:ext cx="12192000" cy="6858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20539" y="1"/>
            <a:ext cx="1858296" cy="835348"/>
          </a:xfrm>
          <a:prstGeom prst="rect">
            <a:avLst/>
          </a:prstGeom>
        </p:spPr>
      </p:pic>
      <p:sp>
        <p:nvSpPr>
          <p:cNvPr id="7" name="TextBox 6"/>
          <p:cNvSpPr txBox="1"/>
          <p:nvPr userDrawn="1"/>
        </p:nvSpPr>
        <p:spPr>
          <a:xfrm>
            <a:off x="40717" y="6428145"/>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235635" y="6356352"/>
            <a:ext cx="2743200" cy="365125"/>
          </a:xfrm>
          <a:prstGeom prst="rect">
            <a:avLst/>
          </a:prstGeom>
        </p:spPr>
        <p:txBody>
          <a:bodyPr/>
          <a:lstStyle/>
          <a:p>
            <a:pPr defTabSz="857250"/>
            <a:fld id="{2FC68CC8-ECD2-4340-B095-4BD24DFFF1AF}" type="slidenum">
              <a:rPr lang="en-US" sz="1690" smtClean="0">
                <a:solidFill>
                  <a:prstClr val="black"/>
                </a:solidFill>
              </a:rPr>
              <a:t>‹#›</a:t>
            </a:fld>
            <a:endParaRPr lang="en-US" sz="1690">
              <a:solidFill>
                <a:prstClr val="black"/>
              </a:solidFill>
            </a:endParaRPr>
          </a:p>
        </p:txBody>
      </p:sp>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t="7744" b="7743"/>
          <a:stretch>
            <a:fillRect/>
          </a:stretch>
        </p:blipFill>
        <p:spPr>
          <a:xfrm>
            <a:off x="1" y="0"/>
            <a:ext cx="12192000" cy="6858000"/>
          </a:xfrm>
          <a:prstGeom prst="rect">
            <a:avLst/>
          </a:prstGeom>
        </p:spPr>
      </p:pic>
      <p:sp>
        <p:nvSpPr>
          <p:cNvPr id="7" name="TextBox 6"/>
          <p:cNvSpPr txBox="1"/>
          <p:nvPr userDrawn="1"/>
        </p:nvSpPr>
        <p:spPr>
          <a:xfrm>
            <a:off x="40717" y="6428145"/>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pic>
        <p:nvPicPr>
          <p:cNvPr id="9" name="Picture 8"/>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10" name="Graphic 9"/>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srcRect t="2729" b="12849"/>
          <a:stretch>
            <a:fillRect/>
          </a:stretch>
        </p:blipFill>
        <p:spPr>
          <a:xfrm>
            <a:off x="1" y="-1"/>
            <a:ext cx="12185153" cy="6858001"/>
          </a:xfrm>
          <a:prstGeom prst="rect">
            <a:avLst/>
          </a:prstGeom>
        </p:spPr>
      </p:pic>
      <p:sp>
        <p:nvSpPr>
          <p:cNvPr id="13" name="TextBox 12"/>
          <p:cNvSpPr txBox="1"/>
          <p:nvPr userDrawn="1"/>
        </p:nvSpPr>
        <p:spPr>
          <a:xfrm>
            <a:off x="40717" y="6428145"/>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7754" b="7810"/>
          <a:stretch>
            <a:fillRect/>
          </a:stretch>
        </p:blipFill>
        <p:spPr>
          <a:xfrm>
            <a:off x="2" y="-1"/>
            <a:ext cx="12191999" cy="6858001"/>
          </a:xfrm>
          <a:prstGeom prst="rect">
            <a:avLst/>
          </a:prstGeom>
        </p:spPr>
      </p:pic>
      <p:sp>
        <p:nvSpPr>
          <p:cNvPr id="13" name="TextBox 12"/>
          <p:cNvSpPr txBox="1"/>
          <p:nvPr userDrawn="1"/>
        </p:nvSpPr>
        <p:spPr>
          <a:xfrm>
            <a:off x="40717" y="6428145"/>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rcRect t="7801" b="7801"/>
          <a:stretch>
            <a:fillRect/>
          </a:stretch>
        </p:blipFill>
        <p:spPr>
          <a:xfrm>
            <a:off x="2" y="-1"/>
            <a:ext cx="12191999" cy="6858001"/>
          </a:xfrm>
          <a:prstGeom prst="rect">
            <a:avLst/>
          </a:prstGeom>
        </p:spPr>
      </p:pic>
      <p:sp>
        <p:nvSpPr>
          <p:cNvPr id="13" name="TextBox 12"/>
          <p:cNvSpPr txBox="1"/>
          <p:nvPr userDrawn="1"/>
        </p:nvSpPr>
        <p:spPr>
          <a:xfrm>
            <a:off x="40717" y="6428145"/>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rcRect t="7790" b="7790"/>
          <a:stretch>
            <a:fillRect/>
          </a:stretch>
        </p:blipFill>
        <p:spPr>
          <a:xfrm>
            <a:off x="2" y="-1"/>
            <a:ext cx="12191999" cy="6858001"/>
          </a:xfrm>
          <a:prstGeom prst="rect">
            <a:avLst/>
          </a:prstGeom>
        </p:spPr>
      </p:pic>
      <p:sp>
        <p:nvSpPr>
          <p:cNvPr id="13" name="TextBox 12"/>
          <p:cNvSpPr txBox="1"/>
          <p:nvPr userDrawn="1"/>
        </p:nvSpPr>
        <p:spPr>
          <a:xfrm>
            <a:off x="6295313" y="6423274"/>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2" y="-1"/>
            <a:ext cx="12191999" cy="6858001"/>
          </a:xfrm>
          <a:prstGeom prst="rect">
            <a:avLst/>
          </a:prstGeom>
        </p:spPr>
      </p:pic>
      <p:sp>
        <p:nvSpPr>
          <p:cNvPr id="13" name="TextBox 12"/>
          <p:cNvSpPr txBox="1"/>
          <p:nvPr userDrawn="1"/>
        </p:nvSpPr>
        <p:spPr>
          <a:xfrm>
            <a:off x="6295313" y="6423274"/>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t="7834" b="7834"/>
          <a:stretch>
            <a:fillRect/>
          </a:stretch>
        </p:blipFill>
        <p:spPr>
          <a:xfrm>
            <a:off x="2" y="-1"/>
            <a:ext cx="12191999" cy="6858001"/>
          </a:xfrm>
          <a:prstGeom prst="rect">
            <a:avLst/>
          </a:prstGeom>
        </p:spPr>
      </p:pic>
      <p:sp>
        <p:nvSpPr>
          <p:cNvPr id="13" name="TextBox 12"/>
          <p:cNvSpPr txBox="1"/>
          <p:nvPr userDrawn="1"/>
        </p:nvSpPr>
        <p:spPr>
          <a:xfrm>
            <a:off x="40717" y="6428145"/>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IND ID Presentation Color Scheme">
    <p:spTree>
      <p:nvGrpSpPr>
        <p:cNvPr id="1" name=""/>
        <p:cNvGrpSpPr/>
        <p:nvPr/>
      </p:nvGrpSpPr>
      <p:grpSpPr>
        <a:xfrm>
          <a:off x="0" y="0"/>
          <a:ext cx="0" cy="0"/>
          <a:chOff x="0" y="0"/>
          <a:chExt cx="0" cy="0"/>
        </a:xfrm>
      </p:grpSpPr>
      <p:sp>
        <p:nvSpPr>
          <p:cNvPr id="6" name="Rounded Rectangle 5"/>
          <p:cNvSpPr/>
          <p:nvPr userDrawn="1"/>
        </p:nvSpPr>
        <p:spPr>
          <a:xfrm>
            <a:off x="514144" y="1650267"/>
            <a:ext cx="937601" cy="2286209"/>
          </a:xfrm>
          <a:prstGeom prst="roundRect">
            <a:avLst>
              <a:gd name="adj" fmla="val 50000"/>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ounded Rectangle 6"/>
          <p:cNvSpPr/>
          <p:nvPr userDrawn="1"/>
        </p:nvSpPr>
        <p:spPr>
          <a:xfrm>
            <a:off x="1749893" y="1650267"/>
            <a:ext cx="937601" cy="2286209"/>
          </a:xfrm>
          <a:prstGeom prst="roundRect">
            <a:avLst>
              <a:gd name="adj" fmla="val 50000"/>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Rounded Rectangle 7"/>
          <p:cNvSpPr/>
          <p:nvPr userDrawn="1"/>
        </p:nvSpPr>
        <p:spPr>
          <a:xfrm>
            <a:off x="3067549" y="1650267"/>
            <a:ext cx="937601" cy="2286209"/>
          </a:xfrm>
          <a:prstGeom prst="roundRect">
            <a:avLst>
              <a:gd name="adj" fmla="val 50000"/>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ounded Rectangle 8"/>
          <p:cNvSpPr/>
          <p:nvPr userDrawn="1"/>
        </p:nvSpPr>
        <p:spPr>
          <a:xfrm>
            <a:off x="4418996" y="1650267"/>
            <a:ext cx="937601" cy="2286209"/>
          </a:xfrm>
          <a:prstGeom prst="roundRect">
            <a:avLst>
              <a:gd name="adj" fmla="val 50000"/>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userDrawn="1"/>
        </p:nvSpPr>
        <p:spPr>
          <a:xfrm>
            <a:off x="565103" y="4225592"/>
            <a:ext cx="970137"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2 50 9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1" name="TextBox 10"/>
          <p:cNvSpPr txBox="1"/>
          <p:nvPr userDrawn="1"/>
        </p:nvSpPr>
        <p:spPr>
          <a:xfrm>
            <a:off x="1757517" y="4225592"/>
            <a:ext cx="93647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8 98 164</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2" name="TextBox 11"/>
          <p:cNvSpPr txBox="1"/>
          <p:nvPr userDrawn="1"/>
        </p:nvSpPr>
        <p:spPr>
          <a:xfrm>
            <a:off x="3085212" y="4225592"/>
            <a:ext cx="1154483" cy="523220"/>
          </a:xfrm>
          <a:prstGeom prst="rect">
            <a:avLst/>
          </a:prstGeom>
          <a:noFill/>
        </p:spPr>
        <p:txBody>
          <a:bodyPr wrap="none" rtlCol="0">
            <a:spAutoFit/>
          </a:bodyPr>
          <a:lstStyle/>
          <a:p>
            <a:r>
              <a:rPr lang="cs-CZ" sz="1400" b="0" i="0">
                <a:solidFill>
                  <a:schemeClr val="tx1">
                    <a:lumMod val="65000"/>
                    <a:lumOff val="35000"/>
                  </a:schemeClr>
                </a:solidFill>
                <a:latin typeface="Gotham Book" charset="0"/>
                <a:ea typeface="Proxima Nova Rg" charset="0"/>
                <a:cs typeface="Gotham Book" charset="0"/>
              </a:rPr>
              <a:t>RGB</a:t>
            </a:r>
          </a:p>
          <a:p>
            <a:r>
              <a:rPr lang="cs-CZ" sz="1400" b="0" i="0">
                <a:solidFill>
                  <a:schemeClr val="tx1">
                    <a:lumMod val="65000"/>
                    <a:lumOff val="35000"/>
                  </a:schemeClr>
                </a:solidFill>
                <a:latin typeface="Gotham Book" charset="0"/>
                <a:ea typeface="Proxima Nova Rg" charset="0"/>
                <a:cs typeface="Gotham Book" charset="0"/>
              </a:rPr>
              <a:t>60 166 22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3" name="TextBox 12"/>
          <p:cNvSpPr txBox="1"/>
          <p:nvPr userDrawn="1"/>
        </p:nvSpPr>
        <p:spPr>
          <a:xfrm>
            <a:off x="4456316" y="4225592"/>
            <a:ext cx="130516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06 224 237</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4" name="Rounded Rectangle 13"/>
          <p:cNvSpPr/>
          <p:nvPr userDrawn="1"/>
        </p:nvSpPr>
        <p:spPr>
          <a:xfrm>
            <a:off x="5807968" y="1650267"/>
            <a:ext cx="937601" cy="2286209"/>
          </a:xfrm>
          <a:prstGeom prst="roundRect">
            <a:avLst>
              <a:gd name="adj" fmla="val 50000"/>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TextBox 14"/>
          <p:cNvSpPr txBox="1"/>
          <p:nvPr userDrawn="1"/>
        </p:nvSpPr>
        <p:spPr>
          <a:xfrm>
            <a:off x="5807968" y="4225592"/>
            <a:ext cx="1066318"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37 28 36</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8" name="Title 17"/>
          <p:cNvSpPr>
            <a:spLocks noGrp="1"/>
          </p:cNvSpPr>
          <p:nvPr>
            <p:ph type="title" hasCustomPrompt="1"/>
          </p:nvPr>
        </p:nvSpPr>
        <p:spPr>
          <a:xfrm>
            <a:off x="334963" y="623455"/>
            <a:ext cx="6410606" cy="645305"/>
          </a:xfrm>
        </p:spPr>
        <p:txBody>
          <a:bodyPr/>
          <a:lstStyle>
            <a:lvl1pPr>
              <a:defRPr baseline="0"/>
            </a:lvl1pPr>
          </a:lstStyle>
          <a:p>
            <a:br>
              <a:rPr lang="en-US" dirty="0"/>
            </a:br>
            <a:r>
              <a:rPr lang="en-US" dirty="0"/>
              <a:t>Visual Assets -  Presentation Color Scheme</a:t>
            </a:r>
          </a:p>
        </p:txBody>
      </p:sp>
      <p:sp>
        <p:nvSpPr>
          <p:cNvPr id="19" name="Oval 18"/>
          <p:cNvSpPr/>
          <p:nvPr userDrawn="1"/>
        </p:nvSpPr>
        <p:spPr>
          <a:xfrm>
            <a:off x="531919" y="5038149"/>
            <a:ext cx="930719" cy="930719"/>
          </a:xfrm>
          <a:prstGeom prst="ellipse">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Oval 19"/>
          <p:cNvSpPr/>
          <p:nvPr userDrawn="1"/>
        </p:nvSpPr>
        <p:spPr>
          <a:xfrm>
            <a:off x="1761733" y="5038149"/>
            <a:ext cx="930719" cy="930719"/>
          </a:xfrm>
          <a:prstGeom prst="ellipse">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Oval 20"/>
          <p:cNvSpPr/>
          <p:nvPr userDrawn="1"/>
        </p:nvSpPr>
        <p:spPr>
          <a:xfrm>
            <a:off x="3075578" y="5038149"/>
            <a:ext cx="930719" cy="930719"/>
          </a:xfrm>
          <a:prstGeom prst="ellipse">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Oval 21"/>
          <p:cNvSpPr/>
          <p:nvPr userDrawn="1"/>
        </p:nvSpPr>
        <p:spPr>
          <a:xfrm>
            <a:off x="4419478" y="5038149"/>
            <a:ext cx="930719" cy="930719"/>
          </a:xfrm>
          <a:prstGeom prst="ellipse">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3" name="Oval 22"/>
          <p:cNvSpPr/>
          <p:nvPr userDrawn="1"/>
        </p:nvSpPr>
        <p:spPr>
          <a:xfrm>
            <a:off x="5808450" y="5038149"/>
            <a:ext cx="930719" cy="930719"/>
          </a:xfrm>
          <a:prstGeom prst="ellipse">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3" name="Date Placeholder 32"/>
          <p:cNvSpPr>
            <a:spLocks noGrp="1"/>
          </p:cNvSpPr>
          <p:nvPr>
            <p:ph type="dt" sz="half" idx="10"/>
          </p:nvPr>
        </p:nvSpPr>
        <p:spPr/>
        <p:txBody>
          <a:bodyPr/>
          <a:lstStyle/>
          <a:p>
            <a:r>
              <a:rPr lang="en-ID"/>
              <a:t>Thursday, 11 December 2021</a:t>
            </a:r>
            <a:endParaRPr lang="id-ID"/>
          </a:p>
        </p:txBody>
      </p:sp>
      <p:sp>
        <p:nvSpPr>
          <p:cNvPr id="34" name="Footer Placeholder 33"/>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35" name="Slide Number Placeholder 34"/>
          <p:cNvSpPr>
            <a:spLocks noGrp="1"/>
          </p:cNvSpPr>
          <p:nvPr>
            <p:ph type="sldNum" sz="quarter" idx="12"/>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t="15" b="15"/>
          <a:stretch>
            <a:fillRect/>
          </a:stretch>
        </p:blipFill>
        <p:spPr>
          <a:xfrm>
            <a:off x="2" y="-1"/>
            <a:ext cx="12191999" cy="6858001"/>
          </a:xfrm>
          <a:prstGeom prst="rect">
            <a:avLst/>
          </a:prstGeom>
        </p:spPr>
      </p:pic>
      <p:sp>
        <p:nvSpPr>
          <p:cNvPr id="13" name="TextBox 12"/>
          <p:cNvSpPr txBox="1"/>
          <p:nvPr userDrawn="1"/>
        </p:nvSpPr>
        <p:spPr>
          <a:xfrm>
            <a:off x="40717" y="6428145"/>
            <a:ext cx="6822137" cy="338554"/>
          </a:xfrm>
          <a:prstGeom prst="rect">
            <a:avLst/>
          </a:prstGeom>
          <a:noFill/>
        </p:spPr>
        <p:txBody>
          <a:bodyPr wrap="square" rtlCol="0">
            <a:spAutoFit/>
          </a:bodyPr>
          <a:lstStyle/>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l"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a:ln>
                  <a:noFill/>
                </a:ln>
                <a:solidFill>
                  <a:prstClr val="white"/>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a:ln>
                <a:noFill/>
              </a:ln>
              <a:solidFill>
                <a:prstClr val="white"/>
              </a:solidFill>
              <a:effectLst/>
              <a:uLnTx/>
              <a:uFillTx/>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29316" y="-245602"/>
            <a:ext cx="3155837" cy="1418623"/>
          </a:xfrm>
          <a:prstGeom prst="rect">
            <a:avLst/>
          </a:prstGeom>
        </p:spPr>
      </p:pic>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srcRect/>
          <a:stretch>
            <a:fillRect/>
          </a:stretch>
        </p:blipFill>
        <p:spPr>
          <a:xfrm>
            <a:off x="0" y="-8004"/>
            <a:ext cx="12192000" cy="6857999"/>
          </a:xfrm>
          <a:prstGeom prst="rect">
            <a:avLst/>
          </a:prstGeom>
        </p:spPr>
      </p:pic>
      <p:sp>
        <p:nvSpPr>
          <p:cNvPr id="3" name="Slide Number Placeholder 2"/>
          <p:cNvSpPr>
            <a:spLocks noGrp="1"/>
          </p:cNvSpPr>
          <p:nvPr>
            <p:ph type="sldNum" sz="quarter" idx="11"/>
          </p:nvPr>
        </p:nvSpPr>
        <p:spPr>
          <a:xfrm>
            <a:off x="9146327" y="6356360"/>
            <a:ext cx="2743200" cy="365125"/>
          </a:xfrm>
        </p:spPr>
        <p:txBody>
          <a:bodyPr/>
          <a:lstStyle/>
          <a:p>
            <a:pPr defTabSz="857250"/>
            <a:fld id="{8D106B86-2C1D-4C37-AAEC-BECB664F03FD}" type="slidenum">
              <a:rPr lang="en-GB" sz="1690" smtClean="0">
                <a:solidFill>
                  <a:prstClr val="black"/>
                </a:solidFill>
              </a:rPr>
              <a:t>‹#›</a:t>
            </a:fld>
            <a:endParaRPr lang="en-GB" sz="1690">
              <a:solidFill>
                <a:prstClr val="black"/>
              </a:solidFill>
            </a:endParaRPr>
          </a:p>
        </p:txBody>
      </p:sp>
      <p:sp>
        <p:nvSpPr>
          <p:cNvPr id="11" name="Slide Number Placeholder 5"/>
          <p:cNvSpPr txBox="1"/>
          <p:nvPr/>
        </p:nvSpPr>
        <p:spPr>
          <a:xfrm>
            <a:off x="11353809" y="6500891"/>
            <a:ext cx="547255" cy="365125"/>
          </a:xfrm>
          <a:prstGeom prst="rect">
            <a:avLst/>
          </a:prstGeom>
        </p:spPr>
        <p:txBody>
          <a:bodyPr lIns="0" tIns="0" rIns="0" bIns="0">
            <a:noAutofit/>
          </a:bodyPr>
          <a:lstStyle>
            <a:defPPr>
              <a:defRPr lang="en-US"/>
            </a:defPPr>
            <a:lvl1pPr marL="0" algn="r" defTabSz="914400" rtl="0" eaLnBrk="1" latinLnBrk="0" hangingPunct="1">
              <a:defRPr sz="700" kern="1200">
                <a:solidFill>
                  <a:schemeClr val="tx1"/>
                </a:solidFill>
                <a:latin typeface="Arial" panose="020B0604020202090204" pitchFamily="34" charset="0"/>
                <a:ea typeface="+mn-ea"/>
                <a:cs typeface="Arial" panose="020B060402020209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57250" rtl="0" eaLnBrk="1" fontAlgn="auto" latinLnBrk="0" hangingPunct="1">
              <a:lnSpc>
                <a:spcPct val="100000"/>
              </a:lnSpc>
              <a:spcBef>
                <a:spcPts val="0"/>
              </a:spcBef>
              <a:spcAft>
                <a:spcPts val="0"/>
              </a:spcAft>
              <a:buClrTx/>
              <a:buSzTx/>
              <a:buFontTx/>
              <a:buNone/>
              <a:defRPr/>
            </a:pPr>
            <a:fld id="{8D106B86-2C1D-4C37-AAEC-BECB664F03FD}" type="slidenum">
              <a:rPr kumimoji="0" lang="en-GB" sz="700" b="0" i="0" u="none" strike="noStrike" kern="1200" cap="none" spc="0" normalizeH="0" baseline="0" noProof="0" smtClean="0">
                <a:ln>
                  <a:noFill/>
                </a:ln>
                <a:solidFill>
                  <a:prstClr val="white"/>
                </a:solidFill>
                <a:effectLst/>
                <a:uLnTx/>
                <a:uFillTx/>
                <a:latin typeface="Arial" panose="020B0604020202090204" pitchFamily="34" charset="0"/>
                <a:ea typeface="+mn-ea"/>
                <a:cs typeface="Arial" panose="020B0604020202090204" pitchFamily="34" charset="0"/>
              </a:rPr>
              <a:t>‹#›</a:t>
            </a:fld>
            <a:endParaRPr kumimoji="0" lang="en-GB" sz="700" b="0" i="0" u="none" strike="noStrike" kern="1200" cap="none" spc="0" normalizeH="0" baseline="0" noProof="0">
              <a:ln>
                <a:noFill/>
              </a:ln>
              <a:solidFill>
                <a:prstClr val="white"/>
              </a:solidFill>
              <a:effectLst/>
              <a:uLnTx/>
              <a:uFillTx/>
              <a:latin typeface="Arial" panose="020B0604020202090204" pitchFamily="34" charset="0"/>
              <a:ea typeface="+mn-ea"/>
              <a:cs typeface="Arial" panose="020B0604020202090204" pitchFamily="34" charset="0"/>
            </a:endParaRPr>
          </a:p>
        </p:txBody>
      </p:sp>
      <p:sp>
        <p:nvSpPr>
          <p:cNvPr id="2" name="Rectangle 1"/>
          <p:cNvSpPr/>
          <p:nvPr userDrawn="1"/>
        </p:nvSpPr>
        <p:spPr>
          <a:xfrm>
            <a:off x="0" y="3"/>
            <a:ext cx="12192000" cy="6857999"/>
          </a:xfrm>
          <a:prstGeom prst="rect">
            <a:avLst/>
          </a:prstGeom>
          <a:gradFill flip="none" rotWithShape="1">
            <a:gsLst>
              <a:gs pos="0">
                <a:schemeClr val="accent1">
                  <a:alpha val="0"/>
                </a:schemeClr>
              </a:gs>
              <a:gs pos="100000">
                <a:srgbClr val="00173B">
                  <a:alpha val="63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Content Placeholder 2"/>
          <p:cNvSpPr>
            <a:spLocks noGrp="1"/>
          </p:cNvSpPr>
          <p:nvPr>
            <p:ph idx="1"/>
          </p:nvPr>
        </p:nvSpPr>
        <p:spPr>
          <a:xfrm>
            <a:off x="6568098" y="2430684"/>
            <a:ext cx="4634465" cy="3685480"/>
          </a:xfrm>
          <a:prstGeom prst="rect">
            <a:avLst/>
          </a:prstGeom>
          <a:noFill/>
        </p:spPr>
        <p:txBody>
          <a:bodyPr lIns="91440" anchor="t">
            <a:normAutofit/>
          </a:bodyPr>
          <a:lstStyle>
            <a:lvl1pPr marL="0" indent="0" algn="r">
              <a:buNone/>
              <a:defRPr sz="2800" b="1">
                <a:solidFill>
                  <a:schemeClr val="bg1"/>
                </a:solidFill>
              </a:defRPr>
            </a:lvl1pPr>
            <a:lvl2pPr>
              <a:defRPr sz="2800" b="1"/>
            </a:lvl2pPr>
            <a:lvl3pPr>
              <a:defRPr sz="2800" b="1"/>
            </a:lvl3pPr>
            <a:lvl4pPr>
              <a:defRPr sz="2800" b="1"/>
            </a:lvl4pPr>
            <a:lvl5pPr>
              <a:defRPr sz="2800" b="1"/>
            </a:lvl5pPr>
          </a:lstStyle>
          <a:p>
            <a:pPr lvl="0"/>
            <a:r>
              <a:rPr lang="en-US"/>
              <a:t>Edit Master text styles</a:t>
            </a:r>
          </a:p>
        </p:txBody>
      </p:sp>
      <p:sp>
        <p:nvSpPr>
          <p:cNvPr id="10" name="Rectangle 9"/>
          <p:cNvSpPr/>
          <p:nvPr userDrawn="1"/>
        </p:nvSpPr>
        <p:spPr>
          <a:xfrm>
            <a:off x="0" y="6381585"/>
            <a:ext cx="12192000" cy="4893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Footer Placeholder 4"/>
          <p:cNvSpPr txBox="1"/>
          <p:nvPr userDrawn="1"/>
        </p:nvSpPr>
        <p:spPr>
          <a:xfrm>
            <a:off x="7909559" y="6558796"/>
            <a:ext cx="3657600" cy="228600"/>
          </a:xfrm>
          <a:prstGeom prst="rect">
            <a:avLst/>
          </a:prstGeom>
        </p:spPr>
        <p:txBody>
          <a:bodyPr lIns="0" tIns="0" rIns="0" bIns="0">
            <a:noAutofit/>
          </a:bodyPr>
          <a:lstStyle>
            <a:defPPr>
              <a:defRPr lang="en-US"/>
            </a:defPPr>
            <a:lvl1pPr marL="0" algn="r" defTabSz="914400" rtl="0" eaLnBrk="1" latinLnBrk="0" hangingPunct="1">
              <a:defRPr sz="700" kern="1200">
                <a:solidFill>
                  <a:schemeClr val="tx1"/>
                </a:solidFill>
                <a:latin typeface="Arial" panose="020B0604020202090204" pitchFamily="34" charset="0"/>
                <a:ea typeface="+mn-ea"/>
                <a:cs typeface="Arial" panose="020B060402020209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857250" rtl="0" eaLnBrk="1" fontAlgn="auto" latinLnBrk="0" hangingPunct="1">
              <a:lnSpc>
                <a:spcPct val="100000"/>
              </a:lnSpc>
              <a:spcBef>
                <a:spcPts val="0"/>
              </a:spcBef>
              <a:spcAft>
                <a:spcPts val="0"/>
              </a:spcAft>
              <a:buClrTx/>
              <a:buSzTx/>
              <a:buFontTx/>
              <a:buNone/>
              <a:defRPr/>
            </a:pPr>
            <a:r>
              <a:rPr kumimoji="0" lang="en-GB" sz="700" b="0" i="0" u="none" strike="noStrike" kern="1200" cap="none" spc="20" normalizeH="0" baseline="0" noProof="0">
                <a:ln>
                  <a:noFill/>
                </a:ln>
                <a:solidFill>
                  <a:prstClr val="black">
                    <a:lumMod val="50000"/>
                    <a:lumOff val="50000"/>
                  </a:prstClr>
                </a:solidFill>
                <a:effectLst/>
                <a:uLnTx/>
                <a:uFillTx/>
                <a:latin typeface="Calibri"/>
                <a:ea typeface="+mn-ea"/>
                <a:cs typeface="Arial" panose="020B0604020202090204" pitchFamily="34" charset="0"/>
              </a:rPr>
              <a:t>© 2021 KORN FERRY. ALL RIGHTS RESERVED.</a:t>
            </a:r>
          </a:p>
        </p:txBody>
      </p:sp>
      <p:grpSp>
        <p:nvGrpSpPr>
          <p:cNvPr id="17" name="Group 16"/>
          <p:cNvGrpSpPr/>
          <p:nvPr userDrawn="1"/>
        </p:nvGrpSpPr>
        <p:grpSpPr>
          <a:xfrm>
            <a:off x="46893" y="6319863"/>
            <a:ext cx="9515563" cy="606511"/>
            <a:chOff x="46894" y="6319860"/>
            <a:chExt cx="9515562" cy="606511"/>
          </a:xfrm>
        </p:grpSpPr>
        <p:sp>
          <p:nvSpPr>
            <p:cNvPr id="18" name="Footer Placeholder 4"/>
            <p:cNvSpPr txBox="1"/>
            <p:nvPr userDrawn="1"/>
          </p:nvSpPr>
          <p:spPr>
            <a:xfrm>
              <a:off x="6260124" y="6558796"/>
              <a:ext cx="3302332" cy="228600"/>
            </a:xfrm>
            <a:prstGeom prst="rect">
              <a:avLst/>
            </a:prstGeom>
          </p:spPr>
          <p:txBody>
            <a:bodyPr lIns="0" tIns="0" rIns="0" bIns="0">
              <a:noAutofit/>
            </a:bodyPr>
            <a:lstStyle>
              <a:defPPr>
                <a:defRPr lang="en-US"/>
              </a:defPPr>
              <a:lvl1pPr marL="0" algn="r" defTabSz="914400" rtl="0" eaLnBrk="1" latinLnBrk="0" hangingPunct="1">
                <a:defRPr sz="700" kern="1200">
                  <a:solidFill>
                    <a:schemeClr val="tx1"/>
                  </a:solidFill>
                  <a:latin typeface="Arial" panose="020B0604020202090204" pitchFamily="34" charset="0"/>
                  <a:ea typeface="+mn-ea"/>
                  <a:cs typeface="Arial" panose="020B060402020209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700" b="1" i="0" u="none" strike="noStrike" kern="1200" cap="all" spc="100" normalizeH="0" baseline="0" noProof="0">
                  <a:ln>
                    <a:noFill/>
                  </a:ln>
                  <a:solidFill>
                    <a:srgbClr val="DE4139"/>
                  </a:solidFill>
                  <a:effectLst/>
                  <a:uLnTx/>
                  <a:uFillTx/>
                  <a:latin typeface="Arial" panose="020B0604020202090204" pitchFamily="34" charset="0"/>
                  <a:ea typeface="+mn-ea"/>
                  <a:cs typeface="Arial" panose="020B0604020202090204" pitchFamily="34" charset="0"/>
                </a:rPr>
                <a:t>MIND ID EMERGING Leaders </a:t>
              </a:r>
              <a:r>
                <a:rPr kumimoji="0" lang="en-US" sz="700" b="0" i="0" u="none" strike="noStrike" kern="1200" cap="all" spc="100" normalizeH="0" baseline="0" noProof="0">
                  <a:ln>
                    <a:noFill/>
                  </a:ln>
                  <a:solidFill>
                    <a:srgbClr val="DE4139"/>
                  </a:solidFill>
                  <a:effectLst/>
                  <a:uLnTx/>
                  <a:uFillTx/>
                  <a:latin typeface="Arial" panose="020B0604020202090204" pitchFamily="34" charset="0"/>
                  <a:ea typeface="+mn-ea"/>
                  <a:cs typeface="Arial" panose="020B0604020202090204" pitchFamily="34" charset="0"/>
                </a:rPr>
                <a:t>Development Program  |</a:t>
              </a:r>
              <a:endParaRPr kumimoji="0" lang="en-GB" sz="700" b="0" i="0" u="none" strike="noStrike" kern="1200" cap="all" spc="100" normalizeH="0" baseline="0" noProof="0">
                <a:ln>
                  <a:noFill/>
                </a:ln>
                <a:solidFill>
                  <a:srgbClr val="DE4139"/>
                </a:solidFill>
                <a:effectLst/>
                <a:uLnTx/>
                <a:uFillTx/>
                <a:latin typeface="Arial" panose="020B0604020202090204" pitchFamily="34" charset="0"/>
                <a:ea typeface="+mn-ea"/>
                <a:cs typeface="Arial" panose="020B0604020202090204" pitchFamily="34" charset="0"/>
              </a:endParaRPr>
            </a:p>
          </p:txBody>
        </p:sp>
        <p:pic>
          <p:nvPicPr>
            <p:cNvPr id="19" name="Picture 18"/>
            <p:cNvPicPr>
              <a:picLocks noChangeAspect="1"/>
            </p:cNvPicPr>
            <p:nvPr userDrawn="1"/>
          </p:nvPicPr>
          <p:blipFill rotWithShape="1">
            <a:blip r:embed="rId3" cstate="email"/>
            <a:srcRect r="64200"/>
            <a:stretch>
              <a:fillRect/>
            </a:stretch>
          </p:blipFill>
          <p:spPr>
            <a:xfrm>
              <a:off x="46894" y="6319860"/>
              <a:ext cx="566360" cy="606511"/>
            </a:xfrm>
            <a:prstGeom prst="rect">
              <a:avLst/>
            </a:prstGeom>
          </p:spPr>
        </p:pic>
      </p:grpSp>
      <p:pic>
        <p:nvPicPr>
          <p:cNvPr id="20" name="Picture 19"/>
          <p:cNvPicPr>
            <a:picLocks noChangeAspect="1"/>
          </p:cNvPicPr>
          <p:nvPr userDrawn="1"/>
        </p:nvPicPr>
        <p:blipFill>
          <a:blip r:embed="rId4" cstate="email"/>
          <a:srcRect/>
          <a:stretch>
            <a:fillRect/>
          </a:stretch>
        </p:blipFill>
        <p:spPr>
          <a:xfrm>
            <a:off x="533337" y="6431111"/>
            <a:ext cx="888651" cy="384048"/>
          </a:xfrm>
          <a:prstGeom prst="rect">
            <a:avLst/>
          </a:prstGeom>
        </p:spPr>
      </p:pic>
      <p:pic>
        <p:nvPicPr>
          <p:cNvPr id="21" name="Picture 20"/>
          <p:cNvPicPr>
            <a:picLocks noChangeAspect="1"/>
          </p:cNvPicPr>
          <p:nvPr userDrawn="1"/>
        </p:nvPicPr>
        <p:blipFill>
          <a:blip r:embed="rId5" cstate="email"/>
          <a:srcRect/>
          <a:stretch>
            <a:fillRect/>
          </a:stretch>
        </p:blipFill>
        <p:spPr>
          <a:xfrm>
            <a:off x="3900933" y="6479679"/>
            <a:ext cx="917388" cy="327639"/>
          </a:xfrm>
          <a:prstGeom prst="rect">
            <a:avLst/>
          </a:prstGeom>
        </p:spPr>
      </p:pic>
      <p:pic>
        <p:nvPicPr>
          <p:cNvPr id="22" name="Picture 21"/>
          <p:cNvPicPr>
            <a:picLocks noChangeAspect="1"/>
          </p:cNvPicPr>
          <p:nvPr userDrawn="1"/>
        </p:nvPicPr>
        <p:blipFill>
          <a:blip r:embed="rId6"/>
          <a:srcRect/>
          <a:stretch>
            <a:fillRect/>
          </a:stretch>
        </p:blipFill>
        <p:spPr>
          <a:xfrm>
            <a:off x="4766752" y="6514699"/>
            <a:ext cx="829123" cy="261336"/>
          </a:xfrm>
          <a:prstGeom prst="rect">
            <a:avLst/>
          </a:prstGeom>
        </p:spPr>
      </p:pic>
      <p:pic>
        <p:nvPicPr>
          <p:cNvPr id="23" name="Picture 22"/>
          <p:cNvPicPr>
            <a:picLocks noChangeAspect="1"/>
          </p:cNvPicPr>
          <p:nvPr userDrawn="1"/>
        </p:nvPicPr>
        <p:blipFill>
          <a:blip r:embed="rId7" cstate="email"/>
          <a:srcRect/>
          <a:stretch>
            <a:fillRect/>
          </a:stretch>
        </p:blipFill>
        <p:spPr>
          <a:xfrm>
            <a:off x="1340500" y="6459793"/>
            <a:ext cx="1090073" cy="419259"/>
          </a:xfrm>
          <a:prstGeom prst="rect">
            <a:avLst/>
          </a:prstGeom>
        </p:spPr>
      </p:pic>
      <p:pic>
        <p:nvPicPr>
          <p:cNvPr id="24" name="Picture 23"/>
          <p:cNvPicPr>
            <a:picLocks noChangeAspect="1"/>
          </p:cNvPicPr>
          <p:nvPr userDrawn="1"/>
        </p:nvPicPr>
        <p:blipFill>
          <a:blip r:embed="rId8"/>
          <a:srcRect/>
          <a:stretch>
            <a:fillRect/>
          </a:stretch>
        </p:blipFill>
        <p:spPr>
          <a:xfrm>
            <a:off x="2379005" y="6538566"/>
            <a:ext cx="1573495" cy="258839"/>
          </a:xfrm>
          <a:prstGeom prst="rect">
            <a:avLst/>
          </a:prstGeom>
        </p:spPr>
      </p:pic>
      <p:pic>
        <p:nvPicPr>
          <p:cNvPr id="25" name="Graphic 24"/>
          <p:cNvPicPr>
            <a:picLocks noChangeAspect="1"/>
          </p:cNvPicPr>
          <p:nvPr userDrawn="1"/>
        </p:nvPicPr>
        <p:blipFill>
          <a:blip r:embed="rId9"/>
          <a:srcRect/>
          <a:stretch>
            <a:fillRect/>
          </a:stretch>
        </p:blipFill>
        <p:spPr>
          <a:xfrm>
            <a:off x="9185992" y="1292264"/>
            <a:ext cx="2016571" cy="773019"/>
          </a:xfrm>
          <a:prstGeom prst="rect">
            <a:avLst/>
          </a:prstGeom>
        </p:spPr>
      </p:pic>
      <p:sp>
        <p:nvSpPr>
          <p:cNvPr id="7" name="Rectangle 6"/>
          <p:cNvSpPr/>
          <p:nvPr userDrawn="1"/>
        </p:nvSpPr>
        <p:spPr>
          <a:xfrm>
            <a:off x="0" y="6311838"/>
            <a:ext cx="12192000" cy="78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725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 name="Holder 5"/>
          <p:cNvSpPr txBox="1"/>
          <p:nvPr userDrawn="1"/>
        </p:nvSpPr>
        <p:spPr>
          <a:xfrm>
            <a:off x="11676839" y="6553750"/>
            <a:ext cx="252399" cy="107722"/>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E4139"/>
                </a:solidFill>
                <a:latin typeface="Arial" panose="020B0604020202090204"/>
                <a:ea typeface="+mn-ea"/>
                <a:cs typeface="Arial" panose="020B060402020209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marR="0" lvl="0" indent="0" algn="r" defTabSz="857250" rtl="0" eaLnBrk="1" fontAlgn="auto" latinLnBrk="0" hangingPunct="1">
              <a:lnSpc>
                <a:spcPct val="100000"/>
              </a:lnSpc>
              <a:spcBef>
                <a:spcPts val="30"/>
              </a:spcBef>
              <a:spcAft>
                <a:spcPts val="0"/>
              </a:spcAft>
              <a:buClrTx/>
              <a:buSzTx/>
              <a:buFontTx/>
              <a:buNone/>
              <a:defRPr/>
            </a:pPr>
            <a:fld id="{81D60167-4931-47E6-BA6A-407CBD079E47}" type="slidenum">
              <a:rPr kumimoji="0" lang="en-US" sz="700" b="0" i="0" u="none" strike="noStrike" kern="1200" cap="none" spc="-5" normalizeH="0" baseline="0" noProof="0" smtClean="0">
                <a:ln>
                  <a:noFill/>
                </a:ln>
                <a:solidFill>
                  <a:srgbClr val="DE4139"/>
                </a:solidFill>
                <a:effectLst/>
                <a:uLnTx/>
                <a:uFillTx/>
                <a:latin typeface="Arial" panose="020B0604020202090204"/>
                <a:ea typeface="+mn-ea"/>
                <a:cs typeface="Arial" panose="020B0604020202090204"/>
              </a:rPr>
              <a:t>‹#›</a:t>
            </a:fld>
            <a:endParaRPr kumimoji="0" lang="en-US" sz="700" b="0" i="0" u="none" strike="noStrike" kern="1200" cap="none" spc="-5" normalizeH="0" baseline="0" noProof="0">
              <a:ln>
                <a:noFill/>
              </a:ln>
              <a:solidFill>
                <a:srgbClr val="DE4139"/>
              </a:solidFill>
              <a:effectLst/>
              <a:uLnTx/>
              <a:uFillTx/>
              <a:latin typeface="Arial" panose="020B0604020202090204"/>
              <a:ea typeface="+mn-ea"/>
              <a:cs typeface="Arial" panose="020B0604020202090204"/>
            </a:endParaRPr>
          </a:p>
        </p:txBody>
      </p:sp>
      <p:pic>
        <p:nvPicPr>
          <p:cNvPr id="27" name="Picture 2" descr="Berita Lelayu - PT. Perusahaan Perdagangan Indonesia (Persero)"/>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80340" y="136645"/>
            <a:ext cx="1673861" cy="565583"/>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p:cNvGrpSpPr/>
          <p:nvPr userDrawn="1"/>
        </p:nvGrpSpPr>
        <p:grpSpPr>
          <a:xfrm>
            <a:off x="10472420" y="230151"/>
            <a:ext cx="1346200" cy="388324"/>
            <a:chOff x="7664702" y="153563"/>
            <a:chExt cx="1182313" cy="341049"/>
          </a:xfrm>
        </p:grpSpPr>
        <p:pic>
          <p:nvPicPr>
            <p:cNvPr id="29" name="Picture 28"/>
            <p:cNvPicPr>
              <a:picLocks noChangeAspect="1"/>
            </p:cNvPicPr>
            <p:nvPr/>
          </p:nvPicPr>
          <p:blipFill rotWithShape="1">
            <a:blip r:embed="rId11" cstate="email"/>
            <a:srcRect r="67401"/>
            <a:stretch>
              <a:fillRect/>
            </a:stretch>
          </p:blipFill>
          <p:spPr>
            <a:xfrm>
              <a:off x="7664702" y="153756"/>
              <a:ext cx="384987" cy="340856"/>
            </a:xfrm>
            <a:prstGeom prst="rect">
              <a:avLst/>
            </a:prstGeom>
          </p:spPr>
        </p:pic>
        <p:pic>
          <p:nvPicPr>
            <p:cNvPr id="30" name="Picture 29"/>
            <p:cNvPicPr>
              <a:picLocks noChangeAspect="1"/>
            </p:cNvPicPr>
            <p:nvPr/>
          </p:nvPicPr>
          <p:blipFill rotWithShape="1">
            <a:blip r:embed="rId11" cstate="email">
              <a:duotone>
                <a:schemeClr val="bg2">
                  <a:shade val="45000"/>
                  <a:satMod val="135000"/>
                </a:schemeClr>
                <a:prstClr val="white"/>
              </a:duotone>
              <a:lum bright="100000" contrast="-40000"/>
            </a:blip>
            <a:srcRect l="32712"/>
            <a:stretch>
              <a:fillRect/>
            </a:stretch>
          </p:blipFill>
          <p:spPr>
            <a:xfrm>
              <a:off x="8052348" y="153563"/>
              <a:ext cx="794667" cy="340856"/>
            </a:xfrm>
            <a:prstGeom prst="rect">
              <a:avLst/>
            </a:prstGeom>
          </p:spPr>
        </p:pic>
      </p:gr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srcRect t="14534" r="2828" b="3949"/>
          <a:stretch>
            <a:fillRect/>
          </a:stretch>
        </p:blipFill>
        <p:spPr>
          <a:xfrm>
            <a:off x="-1" y="-1533"/>
            <a:ext cx="12192001" cy="6859532"/>
          </a:xfrm>
          <a:prstGeom prst="rect">
            <a:avLst/>
          </a:prstGeom>
        </p:spPr>
      </p:pic>
      <p:sp>
        <p:nvSpPr>
          <p:cNvPr id="8" name="TextBox 7"/>
          <p:cNvSpPr txBox="1"/>
          <p:nvPr userDrawn="1"/>
        </p:nvSpPr>
        <p:spPr>
          <a:xfrm>
            <a:off x="3420775" y="6397853"/>
            <a:ext cx="8295681" cy="307777"/>
          </a:xfrm>
          <a:prstGeom prst="rect">
            <a:avLst/>
          </a:prstGeom>
          <a:noFill/>
        </p:spPr>
        <p:txBody>
          <a:bodyPr wrap="square" rtlCol="0">
            <a:spAutoFit/>
          </a:bodyPr>
          <a:lstStyle/>
          <a:p>
            <a:pPr algn="r"/>
            <a:r>
              <a:rPr lang="en-US" sz="1400">
                <a:solidFill>
                  <a:schemeClr val="bg1"/>
                </a:solidFill>
                <a:latin typeface="GothamBook" pitchFamily="50" charset="0"/>
                <a:ea typeface="GothamBook" pitchFamily="50" charset="0"/>
                <a:cs typeface="GothamBook" pitchFamily="50" charset="0"/>
              </a:rPr>
              <a:t>mind.id</a:t>
            </a:r>
          </a:p>
        </p:txBody>
      </p:sp>
      <p:sp>
        <p:nvSpPr>
          <p:cNvPr id="12" name="Rectangle 11"/>
          <p:cNvSpPr/>
          <p:nvPr userDrawn="1"/>
        </p:nvSpPr>
        <p:spPr>
          <a:xfrm>
            <a:off x="0" y="6367755"/>
            <a:ext cx="7909096" cy="420756"/>
          </a:xfrm>
          <a:prstGeom prst="rect">
            <a:avLst/>
          </a:prstGeom>
        </p:spPr>
        <p:txBody>
          <a:bodyPr wrap="square">
            <a:spAutoFit/>
          </a:bodyPr>
          <a:lstStyle/>
          <a:p>
            <a:r>
              <a:rPr lang="en-US" sz="1065" dirty="0">
                <a:solidFill>
                  <a:schemeClr val="bg1"/>
                </a:solidFill>
                <a:latin typeface="Calibri" panose="020F0502020204030204" pitchFamily="34" charset="0"/>
                <a:ea typeface="Gotham Book" charset="0"/>
                <a:cs typeface="Calibri" panose="020F0502020204030204" pitchFamily="34" charset="0"/>
              </a:rPr>
              <a:t>This presentation has been prepared specifically by MIND ID. The content of this presentation may not be used,</a:t>
            </a:r>
          </a:p>
          <a:p>
            <a:r>
              <a:rPr lang="en-US" sz="1065" dirty="0">
                <a:solidFill>
                  <a:schemeClr val="bg1"/>
                </a:solidFill>
                <a:latin typeface="Calibri" panose="020F0502020204030204" pitchFamily="34" charset="0"/>
                <a:ea typeface="Gotham Book" charset="0"/>
                <a:cs typeface="Calibri" panose="020F0502020204030204" pitchFamily="34" charset="0"/>
              </a:rPr>
              <a:t>duplicated or transmitted in any form without the written consent from MIND ID. All rights reserved.</a:t>
            </a: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235635" y="6356352"/>
            <a:ext cx="2743200" cy="365125"/>
          </a:xfrm>
          <a:prstGeom prst="rect">
            <a:avLst/>
          </a:prstGeom>
        </p:spPr>
        <p:txBody>
          <a:bodyPr/>
          <a:lstStyle/>
          <a:p>
            <a:fld id="{2FC68CC8-ECD2-4340-B095-4BD24DFFF1AF}" type="slidenum">
              <a:rPr lang="en-US" smtClean="0"/>
              <a:t>‹#›</a:t>
            </a:fld>
            <a:endParaRPr lang="en-US"/>
          </a:p>
        </p:txBody>
      </p:sp>
      <p:pic>
        <p:nvPicPr>
          <p:cNvPr id="3" name="Picture 2"/>
          <p:cNvPicPr>
            <a:picLocks noChangeAspect="1"/>
          </p:cNvPicPr>
          <p:nvPr userDrawn="1"/>
        </p:nvPicPr>
        <p:blipFill>
          <a:blip r:embed="rId2" cstate="screen"/>
          <a:stretch>
            <a:fillRect/>
          </a:stretch>
        </p:blipFill>
        <p:spPr>
          <a:xfrm>
            <a:off x="0" y="0"/>
            <a:ext cx="12192000" cy="6858000"/>
          </a:xfrm>
          <a:prstGeom prst="rect">
            <a:avLst/>
          </a:prstGeom>
        </p:spPr>
      </p:pic>
      <p:sp>
        <p:nvSpPr>
          <p:cNvPr id="7" name="TextBox 6"/>
          <p:cNvSpPr txBox="1"/>
          <p:nvPr userDrawn="1"/>
        </p:nvSpPr>
        <p:spPr>
          <a:xfrm>
            <a:off x="40718" y="6428145"/>
            <a:ext cx="6822137" cy="338554"/>
          </a:xfrm>
          <a:prstGeom prst="rect">
            <a:avLst/>
          </a:prstGeom>
          <a:noFill/>
        </p:spPr>
        <p:txBody>
          <a:bodyPr wrap="square" rtlCol="0">
            <a:spAutoFit/>
          </a:bodyPr>
          <a:lstStyle/>
          <a:p>
            <a:pPr algn="l"/>
            <a:r>
              <a:rPr lang="en-US" sz="800">
                <a:solidFill>
                  <a:schemeClr val="bg1"/>
                </a:solidFill>
                <a:latin typeface="GothamBook" pitchFamily="50" charset="0"/>
                <a:ea typeface="Open Sans" charset="0"/>
                <a:cs typeface="Open Sans" charset="0"/>
              </a:rPr>
              <a:t>This presentation has been prepared specifically by MIND ID. The content of this presentation may not be used,</a:t>
            </a:r>
          </a:p>
          <a:p>
            <a:pPr algn="l"/>
            <a:r>
              <a:rPr lang="en-US" sz="800">
                <a:solidFill>
                  <a:schemeClr val="bg1"/>
                </a:solidFill>
                <a:latin typeface="GothamBook" pitchFamily="50" charset="0"/>
                <a:ea typeface="Open Sans" charset="0"/>
                <a:cs typeface="Open Sans" charset="0"/>
              </a:rPr>
              <a:t>duplicated or transmitted in any form without the written consent from MIND ID. All rights reserved.</a:t>
            </a:r>
            <a:endParaRPr lang="en-US" sz="800" b="1">
              <a:solidFill>
                <a:schemeClr val="bg1"/>
              </a:solidFill>
              <a:latin typeface="GothamBook" pitchFamily="50" charset="0"/>
              <a:ea typeface="Open Sans" charset="0"/>
              <a:cs typeface="Open Sans" charset="0"/>
            </a:endParaRPr>
          </a:p>
        </p:txBody>
      </p:sp>
      <p:pic>
        <p:nvPicPr>
          <p:cNvPr id="8" name="Picture 2" descr="Berita Lelayu - PT. Perusahaan Perdagangan Indonesia (Persero)"/>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80340" y="136645"/>
            <a:ext cx="1673861" cy="565583"/>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userDrawn="1"/>
        </p:nvGrpSpPr>
        <p:grpSpPr>
          <a:xfrm>
            <a:off x="10472420" y="230151"/>
            <a:ext cx="1346200" cy="388324"/>
            <a:chOff x="7664702" y="153563"/>
            <a:chExt cx="1182313" cy="341049"/>
          </a:xfrm>
        </p:grpSpPr>
        <p:pic>
          <p:nvPicPr>
            <p:cNvPr id="10" name="Picture 9"/>
            <p:cNvPicPr>
              <a:picLocks noChangeAspect="1"/>
            </p:cNvPicPr>
            <p:nvPr/>
          </p:nvPicPr>
          <p:blipFill rotWithShape="1">
            <a:blip r:embed="rId4" cstate="email"/>
            <a:srcRect r="67401"/>
            <a:stretch>
              <a:fillRect/>
            </a:stretch>
          </p:blipFill>
          <p:spPr>
            <a:xfrm>
              <a:off x="7664702" y="153756"/>
              <a:ext cx="384987" cy="340856"/>
            </a:xfrm>
            <a:prstGeom prst="rect">
              <a:avLst/>
            </a:prstGeom>
          </p:spPr>
        </p:pic>
        <p:pic>
          <p:nvPicPr>
            <p:cNvPr id="12" name="Picture 11"/>
            <p:cNvPicPr>
              <a:picLocks noChangeAspect="1"/>
            </p:cNvPicPr>
            <p:nvPr/>
          </p:nvPicPr>
          <p:blipFill rotWithShape="1">
            <a:blip r:embed="rId4" cstate="email">
              <a:duotone>
                <a:schemeClr val="bg2">
                  <a:shade val="45000"/>
                  <a:satMod val="135000"/>
                </a:schemeClr>
                <a:prstClr val="white"/>
              </a:duotone>
              <a:lum bright="100000" contrast="-40000"/>
            </a:blip>
            <a:srcRect l="32712"/>
            <a:stretch>
              <a:fillRect/>
            </a:stretch>
          </p:blipFill>
          <p:spPr>
            <a:xfrm>
              <a:off x="8052348" y="153563"/>
              <a:ext cx="794667" cy="340856"/>
            </a:xfrm>
            <a:prstGeom prst="rect">
              <a:avLst/>
            </a:prstGeom>
          </p:spPr>
        </p:pic>
      </p:gr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srcRect t="2729" b="12849"/>
          <a:stretch>
            <a:fillRect/>
          </a:stretch>
        </p:blipFill>
        <p:spPr>
          <a:xfrm>
            <a:off x="-1" y="-1"/>
            <a:ext cx="12185153" cy="6858001"/>
          </a:xfrm>
          <a:prstGeom prst="rect">
            <a:avLst/>
          </a:prstGeom>
        </p:spPr>
      </p:pic>
      <p:sp>
        <p:nvSpPr>
          <p:cNvPr id="13" name="TextBox 12"/>
          <p:cNvSpPr txBox="1"/>
          <p:nvPr userDrawn="1"/>
        </p:nvSpPr>
        <p:spPr>
          <a:xfrm>
            <a:off x="40718" y="6428145"/>
            <a:ext cx="6822137" cy="338554"/>
          </a:xfrm>
          <a:prstGeom prst="rect">
            <a:avLst/>
          </a:prstGeom>
          <a:noFill/>
        </p:spPr>
        <p:txBody>
          <a:bodyPr wrap="square" rtlCol="0">
            <a:spAutoFit/>
          </a:bodyPr>
          <a:lstStyle/>
          <a:p>
            <a:pPr algn="l"/>
            <a:r>
              <a:rPr lang="en-US" sz="800">
                <a:solidFill>
                  <a:schemeClr val="bg1"/>
                </a:solidFill>
                <a:latin typeface="GothamBook" pitchFamily="50" charset="0"/>
                <a:ea typeface="Open Sans" charset="0"/>
                <a:cs typeface="Open Sans" charset="0"/>
              </a:rPr>
              <a:t>This presentation has been prepared specifically by MIND ID. The content of this presentation may not be used,</a:t>
            </a:r>
          </a:p>
          <a:p>
            <a:pPr algn="l"/>
            <a:r>
              <a:rPr lang="en-US" sz="800">
                <a:solidFill>
                  <a:schemeClr val="bg1"/>
                </a:solidFill>
                <a:latin typeface="GothamBook" pitchFamily="50" charset="0"/>
                <a:ea typeface="Open Sans" charset="0"/>
                <a:cs typeface="Open Sans" charset="0"/>
              </a:rPr>
              <a:t>duplicated or transmitted in any form without the written consent from MIND ID. All rights reserved.</a:t>
            </a:r>
            <a:endParaRPr lang="en-US" sz="800" b="1">
              <a:solidFill>
                <a:schemeClr val="bg1"/>
              </a:solidFill>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a:stretch>
            <a:fillRect/>
          </a:stretch>
        </p:blipFill>
        <p:spPr>
          <a:xfrm>
            <a:off x="1591" y="-1"/>
            <a:ext cx="12181975" cy="6858001"/>
          </a:xfrm>
          <a:prstGeom prst="rect">
            <a:avLst/>
          </a:prstGeom>
        </p:spPr>
      </p:pic>
      <p:sp>
        <p:nvSpPr>
          <p:cNvPr id="13" name="TextBox 12"/>
          <p:cNvSpPr txBox="1"/>
          <p:nvPr userDrawn="1"/>
        </p:nvSpPr>
        <p:spPr>
          <a:xfrm>
            <a:off x="40718" y="6428145"/>
            <a:ext cx="6822137" cy="338554"/>
          </a:xfrm>
          <a:prstGeom prst="rect">
            <a:avLst/>
          </a:prstGeom>
          <a:noFill/>
        </p:spPr>
        <p:txBody>
          <a:bodyPr wrap="square" rtlCol="0">
            <a:spAutoFit/>
          </a:bodyPr>
          <a:lstStyle/>
          <a:p>
            <a:pPr algn="l"/>
            <a:r>
              <a:rPr lang="en-US" sz="800">
                <a:solidFill>
                  <a:schemeClr val="bg1"/>
                </a:solidFill>
                <a:latin typeface="GothamBook" pitchFamily="50" charset="0"/>
                <a:ea typeface="Open Sans" charset="0"/>
                <a:cs typeface="Open Sans" charset="0"/>
              </a:rPr>
              <a:t>This presentation has been prepared specifically by MIND ID. The content of this presentation may not be used,</a:t>
            </a:r>
          </a:p>
          <a:p>
            <a:pPr algn="l"/>
            <a:r>
              <a:rPr lang="en-US" sz="800">
                <a:solidFill>
                  <a:schemeClr val="bg1"/>
                </a:solidFill>
                <a:latin typeface="GothamBook" pitchFamily="50" charset="0"/>
                <a:ea typeface="Open Sans" charset="0"/>
                <a:cs typeface="Open Sans" charset="0"/>
              </a:rPr>
              <a:t>duplicated or transmitted in any form without the written consent from MIND ID. All rights reserved.</a:t>
            </a:r>
            <a:endParaRPr lang="en-US" sz="800" b="1">
              <a:solidFill>
                <a:schemeClr val="bg1"/>
              </a:solidFill>
              <a:latin typeface="GothamBook" pitchFamily="50" charset="0"/>
              <a:ea typeface="Open Sans" charset="0"/>
              <a:cs typeface="Open Sans" charset="0"/>
            </a:endParaRPr>
          </a:p>
        </p:txBody>
      </p:sp>
      <p:pic>
        <p:nvPicPr>
          <p:cNvPr id="6" name="Picture 5"/>
          <p:cNvPicPr>
            <a:picLocks noChangeAspect="1"/>
          </p:cNvPicPr>
          <p:nvPr userDrawn="1"/>
        </p:nvPicPr>
        <p:blipFill>
          <a:blip r:embed="rId3" cstate="print"/>
          <a:stretch>
            <a:fillRect/>
          </a:stretch>
        </p:blipFill>
        <p:spPr>
          <a:xfrm>
            <a:off x="10458127" y="231840"/>
            <a:ext cx="1356867" cy="391616"/>
          </a:xfrm>
          <a:prstGeom prst="rect">
            <a:avLst/>
          </a:prstGeom>
        </p:spPr>
      </p:pic>
      <p:pic>
        <p:nvPicPr>
          <p:cNvPr id="7" name="Graphic 6"/>
          <p:cNvPicPr>
            <a:picLocks noChangeAspect="1"/>
          </p:cNvPicPr>
          <p:nvPr userDrawn="1"/>
        </p:nvPicPr>
        <p:blipFill>
          <a:blip r:embed="rId4" cstate="print">
            <a:extLst>
              <a:ext uri="{96DAC541-7B7A-43D3-8B79-37D633B846F1}">
                <asvg:svgBlip xmlns:asvg="http://schemas.microsoft.com/office/drawing/2016/SVG/main" r:embed="rId5"/>
              </a:ext>
            </a:extLst>
          </a:blip>
          <a:stretch>
            <a:fillRect/>
          </a:stretch>
        </p:blipFill>
        <p:spPr>
          <a:xfrm>
            <a:off x="334962" y="298363"/>
            <a:ext cx="1356867" cy="241495"/>
          </a:xfrm>
          <a:prstGeom prst="rect">
            <a:avLst/>
          </a:prstGeom>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e cover">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rgbClr val="19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800">
              <a:solidFill>
                <a:schemeClr val="bg1"/>
              </a:solidFill>
            </a:endParaRPr>
          </a:p>
        </p:txBody>
      </p:sp>
      <p:pic>
        <p:nvPicPr>
          <p:cNvPr id="14" name="Picture 13"/>
          <p:cNvPicPr>
            <a:picLocks noChangeAspect="1"/>
          </p:cNvPicPr>
          <p:nvPr userDrawn="1"/>
        </p:nvPicPr>
        <p:blipFill>
          <a:blip r:embed="rId2"/>
          <a:stretch>
            <a:fillRect/>
          </a:stretch>
        </p:blipFill>
        <p:spPr>
          <a:xfrm>
            <a:off x="9480376" y="5882751"/>
            <a:ext cx="1725229" cy="504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6" name="Picture 15"/>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50863" y="5962651"/>
            <a:ext cx="1336259" cy="260867"/>
          </a:xfrm>
          <a:prstGeom prst="rect">
            <a:avLst/>
          </a:prstGeom>
        </p:spPr>
      </p:pic>
      <p:sp>
        <p:nvSpPr>
          <p:cNvPr id="9" name="Text Placeholder 8"/>
          <p:cNvSpPr>
            <a:spLocks noGrp="1"/>
          </p:cNvSpPr>
          <p:nvPr>
            <p:ph type="body" sz="quarter" idx="13" hasCustomPrompt="1"/>
          </p:nvPr>
        </p:nvSpPr>
        <p:spPr>
          <a:xfrm>
            <a:off x="550865" y="1730830"/>
            <a:ext cx="5545137" cy="618052"/>
          </a:xfrm>
          <a:prstGeom prst="rect">
            <a:avLst/>
          </a:prstGeom>
        </p:spPr>
        <p:txBody>
          <a:bodyPr anchor="ctr"/>
          <a:lstStyle>
            <a:lvl1pPr marL="0" indent="0">
              <a:buNone/>
              <a:defRPr sz="4800" b="0" i="0">
                <a:solidFill>
                  <a:schemeClr val="bg1"/>
                </a:solidFill>
                <a:latin typeface="+mj-lt"/>
                <a:cs typeface="Gotham Medium" charset="0"/>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dirty="0"/>
              <a:t>Terima kasih</a:t>
            </a:r>
          </a:p>
        </p:txBody>
      </p:sp>
      <p:sp>
        <p:nvSpPr>
          <p:cNvPr id="12" name="TextBox 11"/>
          <p:cNvSpPr txBox="1"/>
          <p:nvPr userDrawn="1"/>
        </p:nvSpPr>
        <p:spPr>
          <a:xfrm>
            <a:off x="575419"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Calibri" panose="020F0502020204030204" pitchFamily="34" charset="0"/>
                <a:ea typeface="Gotham Book" charset="0"/>
                <a:cs typeface="Calibri" panose="020F0502020204030204" pitchFamily="34" charset="0"/>
              </a:rPr>
              <a:t>Gedung Energy Lt. 16 SCBD</a:t>
            </a:r>
            <a:br>
              <a:rPr lang="en-US" sz="1050" noProof="1">
                <a:solidFill>
                  <a:schemeClr val="bg1"/>
                </a:solidFill>
                <a:latin typeface="Calibri" panose="020F0502020204030204" pitchFamily="34" charset="0"/>
                <a:ea typeface="Gotham Book" charset="0"/>
                <a:cs typeface="Calibri" panose="020F0502020204030204" pitchFamily="34" charset="0"/>
              </a:rPr>
            </a:br>
            <a:r>
              <a:rPr lang="en-US" sz="1050" noProof="1">
                <a:solidFill>
                  <a:schemeClr val="bg1"/>
                </a:solidFill>
                <a:latin typeface="Calibri" panose="020F0502020204030204" pitchFamily="34" charset="0"/>
                <a:ea typeface="Gotham Book" charset="0"/>
                <a:cs typeface="Calibri" panose="020F0502020204030204" pitchFamily="34" charset="0"/>
              </a:rPr>
              <a:t>Jl. Jenderal Sudirman Kav. 52-53 Jakarta 12190.</a:t>
            </a:r>
            <a:br>
              <a:rPr lang="en-US" sz="1050" noProof="1">
                <a:solidFill>
                  <a:schemeClr val="bg1"/>
                </a:solidFill>
                <a:latin typeface="Calibri" panose="020F0502020204030204" pitchFamily="34" charset="0"/>
                <a:ea typeface="Gotham Book" charset="0"/>
                <a:cs typeface="Calibri" panose="020F0502020204030204" pitchFamily="34" charset="0"/>
              </a:rPr>
            </a:br>
            <a:r>
              <a:rPr lang="en-US" sz="1050" noProof="1">
                <a:solidFill>
                  <a:schemeClr val="bg1"/>
                </a:solidFill>
                <a:latin typeface="Calibri" panose="020F0502020204030204" pitchFamily="34" charset="0"/>
                <a:ea typeface="Gotham Book" charset="0"/>
                <a:cs typeface="Calibri" panose="020F0502020204030204" pitchFamily="34" charset="0"/>
              </a:rPr>
              <a:t>P.O. BOX 6917 Jakarta Selatan, Indonesia</a:t>
            </a:r>
            <a:br>
              <a:rPr lang="en-US" sz="1050" noProof="1">
                <a:solidFill>
                  <a:schemeClr val="bg1"/>
                </a:solidFill>
                <a:latin typeface="Calibri" panose="020F0502020204030204" pitchFamily="34" charset="0"/>
                <a:ea typeface="Gotham Book" charset="0"/>
                <a:cs typeface="Calibri" panose="020F0502020204030204" pitchFamily="34" charset="0"/>
              </a:rPr>
            </a:br>
            <a:r>
              <a:rPr lang="en-US" sz="1050" noProof="1">
                <a:solidFill>
                  <a:schemeClr val="bg1"/>
                </a:solidFill>
                <a:latin typeface="Calibri" panose="020F0502020204030204" pitchFamily="34" charset="0"/>
                <a:ea typeface="Gotham Book" charset="0"/>
                <a:cs typeface="Calibri" panose="020F0502020204030204" pitchFamily="34" charset="0"/>
              </a:rPr>
              <a:t>Telp (+6221) 27938750.</a:t>
            </a:r>
            <a:br>
              <a:rPr lang="en-US" sz="1050" noProof="1">
                <a:solidFill>
                  <a:schemeClr val="bg1"/>
                </a:solidFill>
                <a:latin typeface="Calibri" panose="020F0502020204030204" pitchFamily="34" charset="0"/>
                <a:ea typeface="Gotham Book" charset="0"/>
                <a:cs typeface="Calibri" panose="020F0502020204030204" pitchFamily="34" charset="0"/>
              </a:rPr>
            </a:br>
            <a:r>
              <a:rPr lang="en-US" sz="1050" noProof="1">
                <a:solidFill>
                  <a:schemeClr val="bg1"/>
                </a:solidFill>
                <a:latin typeface="Calibri" panose="020F0502020204030204" pitchFamily="34" charset="0"/>
                <a:ea typeface="Gotham Book" charset="0"/>
                <a:cs typeface="Calibri" panose="020F0502020204030204" pitchFamily="34" charset="0"/>
              </a:rPr>
              <a:t>Fax (+6221) 27936331.</a:t>
            </a:r>
            <a:br>
              <a:rPr lang="en-US" sz="1050" noProof="1">
                <a:solidFill>
                  <a:schemeClr val="bg1"/>
                </a:solidFill>
                <a:latin typeface="Calibri" panose="020F0502020204030204" pitchFamily="34" charset="0"/>
                <a:ea typeface="Gotham Book" charset="0"/>
                <a:cs typeface="Calibri" panose="020F0502020204030204" pitchFamily="34" charset="0"/>
              </a:rPr>
            </a:br>
            <a:r>
              <a:rPr lang="en-US" sz="1050" noProof="1">
                <a:solidFill>
                  <a:schemeClr val="bg1"/>
                </a:solidFill>
                <a:latin typeface="Calibri" panose="020F0502020204030204" pitchFamily="34" charset="0"/>
                <a:ea typeface="Gotham Book" charset="0"/>
                <a:cs typeface="Calibri" panose="020F0502020204030204" pitchFamily="34" charset="0"/>
              </a:rPr>
              <a:t>e-mail : corsec@mind.id</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34964" y="6396328"/>
            <a:ext cx="6553125" cy="365125"/>
          </a:xfrm>
          <a:prstGeom prst="rect">
            <a:avLst/>
          </a:prstGeom>
        </p:spPr>
        <p:txBody>
          <a:bodyPr/>
          <a:lstStyle>
            <a:lvl1pPr>
              <a:defRPr>
                <a:latin typeface="Calibri" panose="020F0502020204030204" pitchFamily="34" charset="0"/>
                <a:cs typeface="Calibri" panose="020F0502020204030204" pitchFamily="34" charset="0"/>
              </a:defRPr>
            </a:lvl1pPr>
          </a:lstStyle>
          <a:p>
            <a:endParaRPr lang="en-US" sz="900" dirty="0">
              <a:solidFill>
                <a:schemeClr val="bg1">
                  <a:lumMod val="50000"/>
                </a:schemeClr>
              </a:solidFill>
            </a:endParaRPr>
          </a:p>
        </p:txBody>
      </p:sp>
      <p:sp>
        <p:nvSpPr>
          <p:cNvPr id="10" name="Date Placeholder 3"/>
          <p:cNvSpPr>
            <a:spLocks noGrp="1"/>
          </p:cNvSpPr>
          <p:nvPr>
            <p:ph type="dt" sz="half" idx="2"/>
          </p:nvPr>
        </p:nvSpPr>
        <p:spPr>
          <a:xfrm>
            <a:off x="9336360" y="6396328"/>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Calibri" panose="020F0502020204030204" pitchFamily="34" charset="0"/>
                <a:ea typeface="Calibri" panose="020F0502020204030204" pitchFamily="34" charset="0"/>
                <a:cs typeface="Calibri" panose="020F0502020204030204" pitchFamily="34" charset="0"/>
              </a:defRPr>
            </a:lvl1pPr>
          </a:lstStyle>
          <a:p>
            <a:endParaRPr lang="id-ID" dirty="0"/>
          </a:p>
        </p:txBody>
      </p:sp>
      <p:sp>
        <p:nvSpPr>
          <p:cNvPr id="11" name="Slide Number Placeholder 5"/>
          <p:cNvSpPr>
            <a:spLocks noGrp="1"/>
          </p:cNvSpPr>
          <p:nvPr>
            <p:ph type="sldNum" sz="quarter" idx="4"/>
          </p:nvPr>
        </p:nvSpPr>
        <p:spPr>
          <a:xfrm>
            <a:off x="11136560" y="6396328"/>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dirty="0">
                <a:latin typeface="Calibri" panose="020F0502020204030204" pitchFamily="34" charset="0"/>
                <a:cs typeface="Calibri" panose="020F0502020204030204" pitchFamily="34" charset="0"/>
              </a:rPr>
              <a:t>|         </a:t>
            </a:r>
            <a:fld id="{7904F5B5-DD6E-6442-8C14-4BFE420CE974}" type="slidenum">
              <a:rPr lang="id-ID" smtClean="0">
                <a:latin typeface="Calibri" panose="020F0502020204030204" pitchFamily="34" charset="0"/>
                <a:cs typeface="Calibri" panose="020F0502020204030204" pitchFamily="34" charset="0"/>
              </a:rPr>
              <a:t>‹#›</a:t>
            </a:fld>
            <a:endParaRPr lang="id-ID" dirty="0">
              <a:latin typeface="Calibri" panose="020F0502020204030204" pitchFamily="34" charset="0"/>
              <a:cs typeface="Calibri" panose="020F0502020204030204" pitchFamily="34" charset="0"/>
            </a:endParaRP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Flowchart: Delay 5"/>
          <p:cNvSpPr/>
          <p:nvPr userDrawn="1"/>
        </p:nvSpPr>
        <p:spPr>
          <a:xfrm rot="5400000">
            <a:off x="5471645" y="-5471650"/>
            <a:ext cx="1248697" cy="12191999"/>
          </a:xfrm>
          <a:prstGeom prst="flowChartDelay">
            <a:avLst/>
          </a:prstGeom>
          <a:solidFill>
            <a:srgbClr val="19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67410" rtl="0" eaLnBrk="1" fontAlgn="auto" latinLnBrk="0" hangingPunct="1">
              <a:lnSpc>
                <a:spcPct val="100000"/>
              </a:lnSpc>
              <a:spcBef>
                <a:spcPts val="0"/>
              </a:spcBef>
              <a:spcAft>
                <a:spcPts val="0"/>
              </a:spcAft>
              <a:buClrTx/>
              <a:buSzTx/>
              <a:buFontTx/>
              <a:buNone/>
              <a:defRPr/>
            </a:pPr>
            <a:endParaRPr kumimoji="0" lang="en-US" sz="1710" b="0" i="0" u="none" strike="noStrike" kern="1200" cap="none" spc="0" normalizeH="0" baseline="0" noProof="0">
              <a:ln>
                <a:noFill/>
              </a:ln>
              <a:solidFill>
                <a:prstClr val="white"/>
              </a:solidFill>
              <a:effectLst/>
              <a:uLnTx/>
              <a:uFillTx/>
              <a:latin typeface="GothamBook" pitchFamily="50" charset="0"/>
            </a:endParaRPr>
          </a:p>
        </p:txBody>
      </p:sp>
      <p:sp>
        <p:nvSpPr>
          <p:cNvPr id="9" name="Title 1"/>
          <p:cNvSpPr>
            <a:spLocks noGrp="1"/>
          </p:cNvSpPr>
          <p:nvPr>
            <p:ph type="title"/>
          </p:nvPr>
        </p:nvSpPr>
        <p:spPr>
          <a:xfrm>
            <a:off x="2238158" y="281833"/>
            <a:ext cx="7715673" cy="609176"/>
          </a:xfrm>
          <a:prstGeom prst="rect">
            <a:avLst/>
          </a:prstGeom>
        </p:spPr>
        <p:txBody>
          <a:bodyPr anchor="ctr"/>
          <a:lstStyle>
            <a:lvl1pPr algn="ctr">
              <a:defRPr sz="2135">
                <a:solidFill>
                  <a:schemeClr val="bg1"/>
                </a:solidFill>
                <a:latin typeface="GothamBold" pitchFamily="50" charset="0"/>
              </a:defRPr>
            </a:lvl1pPr>
          </a:lstStyle>
          <a:p>
            <a:r>
              <a:rPr lang="en-US" dirty="0"/>
              <a:t>Click to edit Master title style</a:t>
            </a:r>
          </a:p>
        </p:txBody>
      </p:sp>
      <p:pic>
        <p:nvPicPr>
          <p:cNvPr id="18" name="Picture 2" descr="Berita Lelayu - PT. Perusahaan Perdagangan Indonesia (Perser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80340" y="136645"/>
            <a:ext cx="1673861" cy="565583"/>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p:cNvGrpSpPr/>
          <p:nvPr userDrawn="1"/>
        </p:nvGrpSpPr>
        <p:grpSpPr>
          <a:xfrm>
            <a:off x="10472420" y="230151"/>
            <a:ext cx="1346200" cy="388324"/>
            <a:chOff x="7664702" y="153563"/>
            <a:chExt cx="1182313" cy="341049"/>
          </a:xfrm>
        </p:grpSpPr>
        <p:pic>
          <p:nvPicPr>
            <p:cNvPr id="20" name="Picture 19"/>
            <p:cNvPicPr>
              <a:picLocks noChangeAspect="1"/>
            </p:cNvPicPr>
            <p:nvPr/>
          </p:nvPicPr>
          <p:blipFill rotWithShape="1">
            <a:blip r:embed="rId3" cstate="email"/>
            <a:srcRect r="67401"/>
            <a:stretch>
              <a:fillRect/>
            </a:stretch>
          </p:blipFill>
          <p:spPr>
            <a:xfrm>
              <a:off x="7664702" y="153756"/>
              <a:ext cx="384987" cy="340856"/>
            </a:xfrm>
            <a:prstGeom prst="rect">
              <a:avLst/>
            </a:prstGeom>
          </p:spPr>
        </p:pic>
        <p:pic>
          <p:nvPicPr>
            <p:cNvPr id="21" name="Picture 20"/>
            <p:cNvPicPr>
              <a:picLocks noChangeAspect="1"/>
            </p:cNvPicPr>
            <p:nvPr/>
          </p:nvPicPr>
          <p:blipFill rotWithShape="1">
            <a:blip r:embed="rId3" cstate="email">
              <a:duotone>
                <a:schemeClr val="bg2">
                  <a:shade val="45000"/>
                  <a:satMod val="135000"/>
                </a:schemeClr>
                <a:prstClr val="white"/>
              </a:duotone>
              <a:lum bright="100000" contrast="-40000"/>
            </a:blip>
            <a:srcRect l="32712"/>
            <a:stretch>
              <a:fillRect/>
            </a:stretch>
          </p:blipFill>
          <p:spPr>
            <a:xfrm>
              <a:off x="8052348" y="153563"/>
              <a:ext cx="794667" cy="340856"/>
            </a:xfrm>
            <a:prstGeom prst="rect">
              <a:avLst/>
            </a:prstGeom>
          </p:spPr>
        </p:pic>
      </p:gr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cSld name="Divider 4">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376843" cy="6964680"/>
          </a:xfrm>
          <a:prstGeom prst="rect">
            <a:avLst/>
          </a:prstGeom>
        </p:spPr>
      </p:pic>
      <p:sp>
        <p:nvSpPr>
          <p:cNvPr id="30" name="Title 26"/>
          <p:cNvSpPr>
            <a:spLocks noGrp="1"/>
          </p:cNvSpPr>
          <p:nvPr>
            <p:ph type="title" hasCustomPrompt="1"/>
          </p:nvPr>
        </p:nvSpPr>
        <p:spPr>
          <a:xfrm>
            <a:off x="682014" y="1916184"/>
            <a:ext cx="6964129" cy="716405"/>
          </a:xfrm>
          <a:prstGeom prst="rect">
            <a:avLst/>
          </a:prstGeom>
        </p:spPr>
        <p:txBody>
          <a:bodyPr anchor="b">
            <a:normAutofit/>
          </a:bodyPr>
          <a:lstStyle>
            <a:lvl1pPr>
              <a:lnSpc>
                <a:spcPct val="100000"/>
              </a:lnSpc>
              <a:defRPr sz="2315" b="1" i="0" baseline="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dirty="0"/>
              <a:t>Section 01</a:t>
            </a:r>
            <a:endParaRPr lang="id-ID" dirty="0"/>
          </a:p>
        </p:txBody>
      </p:sp>
      <p:sp>
        <p:nvSpPr>
          <p:cNvPr id="5" name="Text Placeholder 4"/>
          <p:cNvSpPr>
            <a:spLocks noGrp="1"/>
          </p:cNvSpPr>
          <p:nvPr>
            <p:ph type="body" sz="quarter" idx="19" hasCustomPrompt="1"/>
          </p:nvPr>
        </p:nvSpPr>
        <p:spPr>
          <a:xfrm>
            <a:off x="682627" y="2767060"/>
            <a:ext cx="6963516" cy="3036888"/>
          </a:xfrm>
        </p:spPr>
        <p:txBody>
          <a:bodyPr>
            <a:normAutofit/>
          </a:bodyPr>
          <a:lstStyle>
            <a:lvl1pPr marL="0" indent="0">
              <a:lnSpc>
                <a:spcPct val="100000"/>
              </a:lnSpc>
              <a:spcBef>
                <a:spcPts val="0"/>
              </a:spcBef>
              <a:buNone/>
              <a:defRPr sz="5205" b="1">
                <a:solidFill>
                  <a:schemeClr val="bg1"/>
                </a:solidFill>
              </a:defRPr>
            </a:lvl1pPr>
          </a:lstStyle>
          <a:p>
            <a:pPr lvl="0"/>
            <a:r>
              <a:rPr lang="en-US"/>
              <a:t>Headline text</a:t>
            </a:r>
          </a:p>
          <a:p>
            <a:pPr lvl="0"/>
            <a:r>
              <a:rPr lang="en-US"/>
              <a:t>goes here</a:t>
            </a:r>
            <a:endParaRPr lang="id-ID"/>
          </a:p>
        </p:txBody>
      </p:sp>
      <p:pic>
        <p:nvPicPr>
          <p:cNvPr id="10" name="Picture 9"/>
          <p:cNvPicPr>
            <a:picLocks noChangeAspect="1"/>
          </p:cNvPicPr>
          <p:nvPr/>
        </p:nvPicPr>
        <p:blipFill>
          <a:blip r:embed="rId3"/>
          <a:stretch>
            <a:fillRect/>
          </a:stretch>
        </p:blipFill>
        <p:spPr>
          <a:xfrm>
            <a:off x="10452448" y="304417"/>
            <a:ext cx="1357200" cy="392400"/>
          </a:xfrm>
          <a:prstGeom prst="rect">
            <a:avLst/>
          </a:prstGeom>
        </p:spPr>
      </p:pic>
      <p:pic>
        <p:nvPicPr>
          <p:cNvPr id="12" name="Graphic 11"/>
          <p:cNvPicPr>
            <a:picLocks noChangeAspect="1"/>
          </p:cNvPicPr>
          <p:nvPr/>
        </p:nvPicPr>
        <p:blipFill>
          <a:blip r:embed="rId4">
            <a:lum bright="100000"/>
            <a:extLst>
              <a:ext uri="{96DAC541-7B7A-43D3-8B79-37D633B846F1}">
                <asvg:svgBlip xmlns:asvg="http://schemas.microsoft.com/office/drawing/2016/SVG/main" r:embed="rId5"/>
              </a:ext>
            </a:extLst>
          </a:blip>
          <a:stretch>
            <a:fillRect/>
          </a:stretch>
        </p:blipFill>
        <p:spPr>
          <a:xfrm>
            <a:off x="334963" y="296923"/>
            <a:ext cx="1274400" cy="226816"/>
          </a:xfrm>
          <a:prstGeom prst="rect">
            <a:avLst/>
          </a:prstGeom>
        </p:spPr>
      </p:pic>
      <p:sp>
        <p:nvSpPr>
          <p:cNvPr id="2" name="TextBox 1"/>
          <p:cNvSpPr txBox="1"/>
          <p:nvPr/>
        </p:nvSpPr>
        <p:spPr>
          <a:xfrm>
            <a:off x="4088675" y="-953588"/>
            <a:ext cx="0" cy="0"/>
          </a:xfrm>
          <a:prstGeom prst="rect">
            <a:avLst/>
          </a:prstGeom>
        </p:spPr>
        <p:txBody>
          <a:bodyPr vert="horz" wrap="none" lIns="0" tIns="44071" rIns="88140" bIns="44071" rtlCol="0" anchor="ctr">
            <a:noAutofit/>
          </a:bodyPr>
          <a:lstStyle/>
          <a:p>
            <a:endParaRPr lang="en-US" sz="1545" b="0" i="0">
              <a:solidFill>
                <a:schemeClr val="accent1"/>
              </a:solidFill>
              <a:latin typeface="Gotham Medium" charset="0"/>
              <a:ea typeface="Gotham Medium" charset="0"/>
              <a:cs typeface="Gotham Medium" charset="0"/>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MIND ID Presentation Color Scheme">
    <p:spTree>
      <p:nvGrpSpPr>
        <p:cNvPr id="1" name=""/>
        <p:cNvGrpSpPr/>
        <p:nvPr/>
      </p:nvGrpSpPr>
      <p:grpSpPr>
        <a:xfrm>
          <a:off x="0" y="0"/>
          <a:ext cx="0" cy="0"/>
          <a:chOff x="0" y="0"/>
          <a:chExt cx="0" cy="0"/>
        </a:xfrm>
      </p:grpSpPr>
      <p:sp>
        <p:nvSpPr>
          <p:cNvPr id="18" name="Title 17"/>
          <p:cNvSpPr>
            <a:spLocks noGrp="1"/>
          </p:cNvSpPr>
          <p:nvPr>
            <p:ph type="title" hasCustomPrompt="1"/>
          </p:nvPr>
        </p:nvSpPr>
        <p:spPr>
          <a:xfrm>
            <a:off x="334963" y="623456"/>
            <a:ext cx="3500281" cy="523420"/>
          </a:xfrm>
        </p:spPr>
        <p:txBody>
          <a:bodyPr/>
          <a:lstStyle>
            <a:lvl1pPr>
              <a:defRPr baseline="0"/>
            </a:lvl1pPr>
          </a:lstStyle>
          <a:p>
            <a:br>
              <a:rPr lang="en-US" dirty="0"/>
            </a:br>
            <a:r>
              <a:rPr lang="en-US" dirty="0"/>
              <a:t>Visual Assets - Iconography Bank</a:t>
            </a:r>
          </a:p>
        </p:txBody>
      </p:sp>
      <p:sp>
        <p:nvSpPr>
          <p:cNvPr id="5" name="Slide Number Placeholder 4"/>
          <p:cNvSpPr>
            <a:spLocks noGrp="1"/>
          </p:cNvSpPr>
          <p:nvPr>
            <p:ph type="sldNum" sz="quarter" idx="12"/>
          </p:nvPr>
        </p:nvSpPr>
        <p:spPr/>
        <p:txBody>
          <a:bodyPr/>
          <a:lstStyle/>
          <a:p>
            <a:r>
              <a:rPr lang="id-ID"/>
              <a:t>|          </a:t>
            </a:r>
            <a:fld id="{7904F5B5-DD6E-6442-8C14-4BFE420CE974}" type="slidenum">
              <a:rPr lang="id-ID" smtClean="0"/>
              <a:t>‹#›</a:t>
            </a:fld>
            <a:endParaRPr lang="id-ID"/>
          </a:p>
        </p:txBody>
      </p:sp>
      <p:sp>
        <p:nvSpPr>
          <p:cNvPr id="2" name="Footer Placeholder 6"/>
          <p:cNvSpPr>
            <a:spLocks noGrp="1"/>
          </p:cNvSpPr>
          <p:nvPr>
            <p:ph type="ftr" sz="quarter" idx="11"/>
          </p:nvPr>
        </p:nvSpPr>
        <p:spPr>
          <a:xfrm>
            <a:off x="334963" y="6396327"/>
            <a:ext cx="10153525" cy="365125"/>
          </a:xfrm>
        </p:spPr>
        <p:txBody>
          <a:bodyPr/>
          <a:lstStyle/>
          <a:p>
            <a:pPr algn="l"/>
            <a:r>
              <a:rPr lang="en-US" sz="900" b="0" i="0" dirty="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dirty="0">
                <a:solidFill>
                  <a:schemeClr val="bg1">
                    <a:lumMod val="50000"/>
                  </a:schemeClr>
                </a:solidFill>
                <a:latin typeface="Gotham Book" charset="0"/>
                <a:ea typeface="Gotham Book" charset="0"/>
                <a:cs typeface="Gotham Book" charset="0"/>
              </a:rPr>
              <a:t> </a:t>
            </a:r>
            <a:r>
              <a:rPr lang="en-US" sz="900" b="0" i="0" dirty="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9" y="1589"/>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3E44608-1952-534F-8A0A-90801538F7C7}" type="datetimeFigureOut">
              <a:rPr lang="en-US" smtClean="0"/>
              <a:t>5/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FC68CC8-ECD2-4340-B095-4BD24DFFF1AF}" type="slidenum">
              <a:rPr lang="en-US" smtClean="0"/>
              <a:t>‹#›</a:t>
            </a:fld>
            <a:endParaRPr lang="en-US"/>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9A6CAE6-6DCE-4DC8-8650-56F0A4D47EE3}" type="datetimeFigureOut">
              <a:rPr lang="en-US" smtClean="0"/>
              <a:t>5/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A6CAE6-6DCE-4DC8-8650-56F0A4D47EE3}" type="datetimeFigureOut">
              <a:rPr lang="en-US" smtClean="0"/>
              <a:t>5/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9A6CAE6-6DCE-4DC8-8650-56F0A4D47EE3}" type="datetimeFigureOut">
              <a:rPr lang="en-US" smtClean="0"/>
              <a:t>5/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9A6CAE6-6DCE-4DC8-8650-56F0A4D47EE3}" type="datetimeFigureOut">
              <a:rPr lang="en-US" smtClean="0"/>
              <a:t>5/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9A6CAE6-6DCE-4DC8-8650-56F0A4D47EE3}" type="datetimeFigureOut">
              <a:rPr lang="en-US" smtClean="0"/>
              <a:t>5/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9A6CAE6-6DCE-4DC8-8650-56F0A4D47EE3}" type="datetimeFigureOut">
              <a:rPr lang="en-US" smtClean="0"/>
              <a:t>5/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9A6CAE6-6DCE-4DC8-8650-56F0A4D47EE3}" type="datetimeFigureOut">
              <a:rPr lang="en-US" smtClean="0"/>
              <a:t>5/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9A6CAE6-6DCE-4DC8-8650-56F0A4D47EE3}" type="datetimeFigureOut">
              <a:rPr lang="en-US" smtClean="0"/>
              <a:t>5/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e cover">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pic>
        <p:nvPicPr>
          <p:cNvPr id="14" name="Picture 13"/>
          <p:cNvPicPr>
            <a:picLocks noChangeAspect="1"/>
          </p:cNvPicPr>
          <p:nvPr userDrawn="1"/>
        </p:nvPicPr>
        <p:blipFill>
          <a:blip r:embed="rId2"/>
          <a:stretch>
            <a:fillRect/>
          </a:stretch>
        </p:blipFill>
        <p:spPr>
          <a:xfrm>
            <a:off x="9480376" y="5882751"/>
            <a:ext cx="1725229" cy="504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6" name="Picture 15"/>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50863" y="5962650"/>
            <a:ext cx="1336258" cy="260867"/>
          </a:xfrm>
          <a:prstGeom prst="rect">
            <a:avLst/>
          </a:prstGeom>
        </p:spPr>
      </p:pic>
      <p:sp>
        <p:nvSpPr>
          <p:cNvPr id="9" name="Text Placeholder 8"/>
          <p:cNvSpPr>
            <a:spLocks noGrp="1"/>
          </p:cNvSpPr>
          <p:nvPr>
            <p:ph type="body" sz="quarter" idx="13" hasCustomPrompt="1"/>
          </p:nvPr>
        </p:nvSpPr>
        <p:spPr>
          <a:xfrm>
            <a:off x="550863" y="1730829"/>
            <a:ext cx="5545137" cy="618052"/>
          </a:xfrm>
        </p:spPr>
        <p:txBody>
          <a:bodyPr/>
          <a:lstStyle>
            <a:lvl1pPr marL="0" indent="0">
              <a:buNone/>
              <a:defRPr sz="4800" b="0" i="0">
                <a:solidFill>
                  <a:schemeClr val="bg1"/>
                </a:solidFill>
                <a:latin typeface="Gotham Medium" charset="0"/>
                <a:cs typeface="Gotham Medium" charset="0"/>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dirty="0"/>
              <a:t>Terima kasih</a:t>
            </a:r>
          </a:p>
        </p:txBody>
      </p:sp>
      <p:sp>
        <p:nvSpPr>
          <p:cNvPr id="12" name="TextBox 11"/>
          <p:cNvSpPr txBox="1"/>
          <p:nvPr userDrawn="1"/>
        </p:nvSpPr>
        <p:spPr>
          <a:xfrm>
            <a:off x="575418"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Gotham Book" charset="0"/>
                <a:ea typeface="Gotham Book" charset="0"/>
                <a:cs typeface="Gotham Book" charset="0"/>
              </a:rPr>
              <a:t>Gedung Energy Lt. 16 SCBD</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Jl. Jenderal Sudirman Kav. 52-53 Jakarta 12190.</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P.O. BOX 6917 Jakarta Selatan, Indonesia</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Telp (+6221) 27938750.</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Fax (+6221) 27936331.</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e-mail : corsec@mind.id</a:t>
            </a: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9A6CAE6-6DCE-4DC8-8650-56F0A4D47EE3}" type="datetimeFigureOut">
              <a:rPr lang="en-US" smtClean="0"/>
              <a:t>5/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A6CAE6-6DCE-4DC8-8650-56F0A4D47EE3}" type="datetimeFigureOut">
              <a:rPr lang="en-US" smtClean="0"/>
              <a:t>5/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9A6CAE6-6DCE-4DC8-8650-56F0A4D47EE3}" type="datetimeFigureOut">
              <a:rPr lang="en-US" smtClean="0"/>
              <a:t>5/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6AE403-9995-42DF-9E19-3F921ADE9700}" type="slidenum">
              <a:rPr lang="en-US" smtClean="0"/>
              <a:t>‹#›</a:t>
            </a:fld>
            <a:endParaRPr lang="en-US"/>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lvl1pPr>
              <a:defRPr>
                <a:solidFill>
                  <a:schemeClr val="accent1"/>
                </a:solidFill>
              </a:defRPr>
            </a:lvl1pPr>
          </a:lstStyle>
          <a:p>
            <a:br>
              <a:rPr lang="en-US"/>
            </a:br>
            <a:r>
              <a:rPr lang="en-US"/>
              <a:t>Click to edit Title custom layout</a:t>
            </a:r>
            <a:endParaRPr lang="id-ID"/>
          </a:p>
        </p:txBody>
      </p:sp>
      <p:sp>
        <p:nvSpPr>
          <p:cNvPr id="7" name="Footer Placeholder 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MIND ID Presentation Color Scheme">
    <p:spTree>
      <p:nvGrpSpPr>
        <p:cNvPr id="1" name=""/>
        <p:cNvGrpSpPr/>
        <p:nvPr/>
      </p:nvGrpSpPr>
      <p:grpSpPr>
        <a:xfrm>
          <a:off x="0" y="0"/>
          <a:ext cx="0" cy="0"/>
          <a:chOff x="0" y="0"/>
          <a:chExt cx="0" cy="0"/>
        </a:xfrm>
      </p:grpSpPr>
      <p:sp>
        <p:nvSpPr>
          <p:cNvPr id="18" name="Title 17"/>
          <p:cNvSpPr>
            <a:spLocks noGrp="1"/>
          </p:cNvSpPr>
          <p:nvPr>
            <p:ph type="title" hasCustomPrompt="1"/>
          </p:nvPr>
        </p:nvSpPr>
        <p:spPr>
          <a:xfrm>
            <a:off x="334963" y="623456"/>
            <a:ext cx="3500281" cy="523420"/>
          </a:xfrm>
        </p:spPr>
        <p:txBody>
          <a:bodyPr/>
          <a:lstStyle>
            <a:lvl1pPr>
              <a:defRPr baseline="0"/>
            </a:lvl1pPr>
          </a:lstStyle>
          <a:p>
            <a:br>
              <a:rPr lang="en-US"/>
            </a:br>
            <a:r>
              <a:rPr lang="en-US"/>
              <a:t>Visual Assets - Iconography Bank</a:t>
            </a:r>
          </a:p>
        </p:txBody>
      </p:sp>
      <p:sp>
        <p:nvSpPr>
          <p:cNvPr id="3" name="Date Placeholder 2"/>
          <p:cNvSpPr>
            <a:spLocks noGrp="1"/>
          </p:cNvSpPr>
          <p:nvPr>
            <p:ph type="dt" sz="half" idx="10"/>
          </p:nvPr>
        </p:nvSpPr>
        <p:spPr/>
        <p:txBody>
          <a:bodyPr/>
          <a:lstStyle/>
          <a:p>
            <a:fld id="{E09B6635-11A9-4A82-BAD3-2FFF6D81D2DA}" type="datetime1">
              <a:rPr lang="en-US" smtClean="0"/>
              <a:t>5/12/2024</a:t>
            </a:fld>
            <a:endParaRPr lang="id-ID"/>
          </a:p>
        </p:txBody>
      </p:sp>
      <p:sp>
        <p:nvSpPr>
          <p:cNvPr id="4" name="Footer Placeholder 3"/>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12"/>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96951" y="250826"/>
            <a:ext cx="11155032" cy="369332"/>
          </a:xfrm>
        </p:spPr>
        <p:txBody>
          <a:bodyPr lIns="0" tIns="0" rIns="0" bIns="0"/>
          <a:lstStyle>
            <a:lvl1pPr>
              <a:defRPr sz="2400" b="1" i="0">
                <a:solidFill>
                  <a:srgbClr val="002060"/>
                </a:solidFill>
                <a:latin typeface="Arial" panose="020B0604020202090204"/>
                <a:cs typeface="Arial" panose="020B0604020202090204"/>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79"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309BA6AF-3FB9-7245-8EAC-CBF50C316B7F}" type="datetime1">
              <a:rPr lang="en-ID" smtClean="0"/>
              <a:t>12/05/2024</a:t>
            </a:fld>
            <a:endParaRPr lang="en-US"/>
          </a:p>
        </p:txBody>
      </p:sp>
      <p:sp>
        <p:nvSpPr>
          <p:cNvPr id="11" name="Slide Number Placeholder 5"/>
          <p:cNvSpPr txBox="1"/>
          <p:nvPr userDrawn="1"/>
        </p:nvSpPr>
        <p:spPr>
          <a:xfrm>
            <a:off x="9448800" y="648000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50" kern="1200">
                <a:solidFill>
                  <a:schemeClr val="tx1">
                    <a:tint val="75000"/>
                  </a:schemeClr>
                </a:solidFill>
                <a:latin typeface="Arial" panose="020B0604020202090204" pitchFamily="34" charset="0"/>
                <a:ea typeface="+mn-ea"/>
                <a:cs typeface="Arial" panose="020B060402020209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674A29-37F1-4912-85EA-D6B96A927AE2}" type="slidenum">
              <a:rPr lang="en-AU" smtClean="0"/>
              <a:t>‹#›</a:t>
            </a:fld>
            <a:endParaRPr lang="en-AU"/>
          </a:p>
        </p:txBody>
      </p:sp>
      <p:cxnSp>
        <p:nvCxnSpPr>
          <p:cNvPr id="12" name="Straight Connector 11"/>
          <p:cNvCxnSpPr/>
          <p:nvPr userDrawn="1"/>
        </p:nvCxnSpPr>
        <p:spPr>
          <a:xfrm flipH="1">
            <a:off x="0" y="787400"/>
            <a:ext cx="12192000" cy="0"/>
          </a:xfrm>
          <a:prstGeom prst="line">
            <a:avLst/>
          </a:prstGeom>
          <a:ln>
            <a:solidFill>
              <a:srgbClr val="79D1F0"/>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H="1">
            <a:off x="0" y="6500608"/>
            <a:ext cx="12192000" cy="0"/>
          </a:xfrm>
          <a:prstGeom prst="line">
            <a:avLst/>
          </a:prstGeom>
          <a:ln>
            <a:solidFill>
              <a:srgbClr val="79D1F0"/>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Slide Number Placeholder 3"/>
          <p:cNvSpPr>
            <a:spLocks noGrp="1"/>
          </p:cNvSpPr>
          <p:nvPr>
            <p:ph type="sldNum" sz="quarter" idx="4"/>
          </p:nvPr>
        </p:nvSpPr>
        <p:spPr>
          <a:xfrm>
            <a:off x="11802534" y="6591300"/>
            <a:ext cx="205315" cy="110913"/>
          </a:xfrm>
          <a:prstGeom prst="rect">
            <a:avLst/>
          </a:prstGeom>
        </p:spPr>
        <p:txBody>
          <a:bodyPr lIns="0" tIns="0" rIns="0" bIns="0" anchor="ctr"/>
          <a:lstStyle>
            <a:lvl1pPr>
              <a:defRPr sz="900">
                <a:latin typeface="Calibri Light" panose="020F0302020204030204" pitchFamily="34" charset="0"/>
              </a:defRPr>
            </a:lvl1pPr>
          </a:lstStyle>
          <a:p>
            <a:pPr algn="ctr"/>
            <a:fld id="{39720F61-9C26-9E48-9B90-B4098352FCEB}" type="slidenum">
              <a:rPr lang="en-US" b="1" smtClean="0">
                <a:solidFill>
                  <a:srgbClr val="013C65"/>
                </a:solidFill>
              </a:rPr>
              <a:t>‹#›</a:t>
            </a:fld>
            <a:endParaRPr lang="en-US" b="1">
              <a:solidFill>
                <a:srgbClr val="013C65"/>
              </a:solidFill>
            </a:endParaRPr>
          </a:p>
        </p:txBody>
      </p:sp>
      <p:pic>
        <p:nvPicPr>
          <p:cNvPr id="3" name="Picture 2" descr="LOGO Timah MIND I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3311" y="47625"/>
            <a:ext cx="1871359" cy="584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2000" y="1"/>
            <a:ext cx="12216000" cy="6860409"/>
          </a:xfrm>
          <a:prstGeom prst="rect">
            <a:avLst/>
          </a:prstGeom>
        </p:spPr>
      </p:pic>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8487515" y="364629"/>
            <a:ext cx="3118311" cy="900000"/>
          </a:xfrm>
          <a:prstGeom prst="rect">
            <a:avLst/>
          </a:prstGeom>
        </p:spPr>
      </p:pic>
      <p:sp>
        <p:nvSpPr>
          <p:cNvPr id="17" name="TextBox 16"/>
          <p:cNvSpPr txBox="1"/>
          <p:nvPr userDrawn="1"/>
        </p:nvSpPr>
        <p:spPr>
          <a:xfrm>
            <a:off x="3298854" y="6041084"/>
            <a:ext cx="8295681" cy="307777"/>
          </a:xfrm>
          <a:prstGeom prst="rect">
            <a:avLst/>
          </a:prstGeom>
          <a:noFill/>
        </p:spPr>
        <p:txBody>
          <a:bodyPr wrap="square" rtlCol="0">
            <a:spAutoFit/>
          </a:bodyPr>
          <a:lstStyle/>
          <a:p>
            <a:pPr algn="r"/>
            <a:r>
              <a:rPr lang="en-US" sz="1400" err="1">
                <a:solidFill>
                  <a:prstClr val="white"/>
                </a:solidFill>
                <a:latin typeface="GothamBook" pitchFamily="50" charset="0"/>
                <a:ea typeface="GothamBook" pitchFamily="50" charset="0"/>
                <a:cs typeface="GothamBook" pitchFamily="50" charset="0"/>
              </a:rPr>
              <a:t>miningindustry.id</a:t>
            </a:r>
            <a:endParaRPr lang="en-US" sz="1400">
              <a:solidFill>
                <a:prstClr val="white"/>
              </a:solidFill>
              <a:latin typeface="GothamBook" pitchFamily="50" charset="0"/>
              <a:ea typeface="GothamBook" pitchFamily="50" charset="0"/>
              <a:cs typeface="GothamBook" pitchFamily="50" charset="0"/>
            </a:endParaRPr>
          </a:p>
        </p:txBody>
      </p:sp>
      <p:sp>
        <p:nvSpPr>
          <p:cNvPr id="2" name="Rectangle 1"/>
          <p:cNvSpPr/>
          <p:nvPr userDrawn="1"/>
        </p:nvSpPr>
        <p:spPr>
          <a:xfrm>
            <a:off x="180110" y="-2407"/>
            <a:ext cx="2355272" cy="4075643"/>
          </a:xfrm>
          <a:prstGeom prst="rect">
            <a:avLst/>
          </a:prstGeom>
          <a:solidFill>
            <a:srgbClr val="1420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Light" panose="020F0302020204030204" pitchFamily="34" charset="0"/>
            </a:endParaRP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stretch>
            <a:fillRect/>
          </a:stretch>
        </p:blipFill>
        <p:spPr>
          <a:xfrm>
            <a:off x="551384" y="1422493"/>
            <a:ext cx="2736304" cy="789746"/>
          </a:xfrm>
          <a:prstGeom prst="rect">
            <a:avLst/>
          </a:prstGeom>
        </p:spPr>
      </p:pic>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r>
              <a:rPr lang="en-ID"/>
              <a:t>Thursday, 11 December 2021</a:t>
            </a:r>
            <a:endParaRPr lang="id-ID"/>
          </a:p>
        </p:txBody>
      </p:sp>
      <p:sp>
        <p:nvSpPr>
          <p:cNvPr id="30" name="Title 26"/>
          <p:cNvSpPr>
            <a:spLocks noGrp="1"/>
          </p:cNvSpPr>
          <p:nvPr>
            <p:ph type="title" hasCustomPrompt="1"/>
          </p:nvPr>
        </p:nvSpPr>
        <p:spPr>
          <a:xfrm>
            <a:off x="4707274" y="3103418"/>
            <a:ext cx="6646526" cy="561668"/>
          </a:xfrm>
          <a:prstGeom prst="rect">
            <a:avLst/>
          </a:prstGeom>
        </p:spPr>
        <p:txBody>
          <a:bodyPr tIns="46800" bIns="46800" anchor="ctr">
            <a:normAutofit/>
          </a:bodyPr>
          <a:lstStyle>
            <a:lvl1pPr>
              <a:lnSpc>
                <a:spcPts val="2400"/>
              </a:lnSpc>
              <a:defRPr sz="2400" b="0" i="0" baseline="0">
                <a:solidFill>
                  <a:schemeClr val="accent1"/>
                </a:solidFill>
                <a:latin typeface="Gotham Book" charset="0"/>
                <a:ea typeface="Gotham Book" charset="0"/>
                <a:cs typeface="Gotham Book" charset="0"/>
              </a:defRPr>
            </a:lvl1pPr>
          </a:lstStyle>
          <a:p>
            <a:r>
              <a:rPr lang="en-US"/>
              <a:t>Subtitle for the document</a:t>
            </a:r>
            <a:endParaRPr lang="id-ID"/>
          </a:p>
        </p:txBody>
      </p:sp>
      <p:sp>
        <p:nvSpPr>
          <p:cNvPr id="44" name="Text Placeholder 43"/>
          <p:cNvSpPr>
            <a:spLocks noGrp="1"/>
          </p:cNvSpPr>
          <p:nvPr>
            <p:ph type="body" sz="quarter" idx="20" hasCustomPrompt="1"/>
          </p:nvPr>
        </p:nvSpPr>
        <p:spPr>
          <a:xfrm>
            <a:off x="4702097" y="1262063"/>
            <a:ext cx="6651704" cy="1772080"/>
          </a:xfrm>
        </p:spPr>
        <p:txBody>
          <a:bodyPr/>
          <a:lstStyle>
            <a:lvl1pPr marL="0" indent="0">
              <a:buNone/>
              <a:defRPr sz="3600" b="1" i="0" baseline="0">
                <a:solidFill>
                  <a:schemeClr val="accent1"/>
                </a:solidFill>
                <a:latin typeface="Gotham" pitchFamily="2" charset="0"/>
                <a:ea typeface="Gotham" pitchFamily="2" charset="0"/>
                <a:cs typeface="Gotham" pitchFamily="2" charset="0"/>
              </a:defRPr>
            </a:lvl1pPr>
            <a:lvl2pPr>
              <a:defRPr sz="3600"/>
            </a:lvl2pPr>
            <a:lvl3pPr>
              <a:defRPr sz="3600"/>
            </a:lvl3pPr>
            <a:lvl4pPr>
              <a:defRPr sz="3600"/>
            </a:lvl4pPr>
            <a:lvl5pPr>
              <a:defRPr sz="3600"/>
            </a:lvl5pPr>
          </a:lstStyle>
          <a:p>
            <a:pPr lvl="0"/>
            <a:r>
              <a:rPr lang="en-US"/>
              <a:t>Title for the document enough for up to </a:t>
            </a:r>
          </a:p>
          <a:p>
            <a:pPr lvl="0"/>
            <a:r>
              <a:rPr lang="en-US"/>
              <a:t>three lines</a:t>
            </a:r>
            <a:endParaRPr lang="id-ID"/>
          </a:p>
        </p:txBody>
      </p:sp>
      <p:sp>
        <p:nvSpPr>
          <p:cNvPr id="10" name="Picture Placeholder 9"/>
          <p:cNvSpPr>
            <a:spLocks noGrp="1"/>
          </p:cNvSpPr>
          <p:nvPr>
            <p:ph type="pic" sz="quarter" idx="10"/>
          </p:nvPr>
        </p:nvSpPr>
        <p:spPr>
          <a:xfrm>
            <a:off x="0" y="4419600"/>
            <a:ext cx="10883900" cy="2438400"/>
          </a:xfrm>
          <a:custGeom>
            <a:avLst/>
            <a:gdLst>
              <a:gd name="connsiteX0" fmla="*/ 10336530 w 10883900"/>
              <a:gd name="connsiteY0" fmla="*/ 1598295 h 2438400"/>
              <a:gd name="connsiteX1" fmla="*/ 10883900 w 10883900"/>
              <a:gd name="connsiteY1" fmla="*/ 2438400 h 2438400"/>
              <a:gd name="connsiteX2" fmla="*/ 9615043 w 10883900"/>
              <a:gd name="connsiteY2" fmla="*/ 2438400 h 2438400"/>
              <a:gd name="connsiteX3" fmla="*/ 9615043 w 10883900"/>
              <a:gd name="connsiteY3" fmla="*/ 2415159 h 2438400"/>
              <a:gd name="connsiteX4" fmla="*/ 10336530 w 10883900"/>
              <a:gd name="connsiteY4" fmla="*/ 1598295 h 2438400"/>
              <a:gd name="connsiteX5" fmla="*/ 0 w 10883900"/>
              <a:gd name="connsiteY5" fmla="*/ 0 h 2438400"/>
              <a:gd name="connsiteX6" fmla="*/ 10764520 w 10883900"/>
              <a:gd name="connsiteY6" fmla="*/ 0 h 2438400"/>
              <a:gd name="connsiteX7" fmla="*/ 10278745 w 10883900"/>
              <a:gd name="connsiteY7" fmla="*/ 1165352 h 2438400"/>
              <a:gd name="connsiteX8" fmla="*/ 10326624 w 10883900"/>
              <a:gd name="connsiteY8" fmla="*/ 1560449 h 2438400"/>
              <a:gd name="connsiteX9" fmla="*/ 9575800 w 10883900"/>
              <a:gd name="connsiteY9" fmla="*/ 2415159 h 2438400"/>
              <a:gd name="connsiteX10" fmla="*/ 9575800 w 10883900"/>
              <a:gd name="connsiteY10" fmla="*/ 2438400 h 2438400"/>
              <a:gd name="connsiteX11" fmla="*/ 0 w 10883900"/>
              <a:gd name="connsiteY11" fmla="*/ 24384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3900" h="2438400">
                <a:moveTo>
                  <a:pt x="10336530" y="1598295"/>
                </a:moveTo>
                <a:cubicBezTo>
                  <a:pt x="10426843" y="1928591"/>
                  <a:pt x="10618242" y="2222351"/>
                  <a:pt x="10883900" y="2438400"/>
                </a:cubicBezTo>
                <a:lnTo>
                  <a:pt x="9615043" y="2438400"/>
                </a:lnTo>
                <a:cubicBezTo>
                  <a:pt x="9615043" y="2430695"/>
                  <a:pt x="9615043" y="2422948"/>
                  <a:pt x="9615043" y="2415159"/>
                </a:cubicBezTo>
                <a:cubicBezTo>
                  <a:pt x="9615120" y="1999884"/>
                  <a:pt x="9924445" y="1649668"/>
                  <a:pt x="10336530" y="1598295"/>
                </a:cubicBezTo>
                <a:close/>
                <a:moveTo>
                  <a:pt x="0" y="0"/>
                </a:moveTo>
                <a:lnTo>
                  <a:pt x="10764520" y="0"/>
                </a:lnTo>
                <a:cubicBezTo>
                  <a:pt x="10453168" y="307790"/>
                  <a:pt x="10278194" y="727546"/>
                  <a:pt x="10278745" y="1165352"/>
                </a:cubicBezTo>
                <a:cubicBezTo>
                  <a:pt x="10278664" y="1298503"/>
                  <a:pt x="10294741" y="1431172"/>
                  <a:pt x="10326624" y="1560449"/>
                </a:cubicBezTo>
                <a:cubicBezTo>
                  <a:pt x="9897201" y="1616334"/>
                  <a:pt x="9575879" y="1982114"/>
                  <a:pt x="9575800" y="2415159"/>
                </a:cubicBezTo>
                <a:cubicBezTo>
                  <a:pt x="9575800" y="2422906"/>
                  <a:pt x="9575800" y="2430653"/>
                  <a:pt x="9575800" y="2438400"/>
                </a:cubicBezTo>
                <a:lnTo>
                  <a:pt x="0" y="2438400"/>
                </a:lnTo>
                <a:close/>
              </a:path>
            </a:pathLst>
          </a:custGeom>
        </p:spPr>
        <p:txBody>
          <a:bodyPr wrap="square">
            <a:noAutofit/>
          </a:bodyPr>
          <a:lstStyle/>
          <a:p>
            <a:endParaRPr lang="en-US"/>
          </a:p>
        </p:txBody>
      </p:sp>
      <p:pic>
        <p:nvPicPr>
          <p:cNvPr id="11" name="Picture 10"/>
          <p:cNvPicPr>
            <a:picLocks noChangeAspect="1"/>
          </p:cNvPicPr>
          <p:nvPr userDrawn="1"/>
        </p:nvPicPr>
        <p:blipFill>
          <a:blip r:embed="rId3"/>
          <a:stretch>
            <a:fillRect/>
          </a:stretch>
        </p:blipFill>
        <p:spPr>
          <a:xfrm>
            <a:off x="9575800" y="3073400"/>
            <a:ext cx="2616200" cy="3784600"/>
          </a:xfrm>
          <a:prstGeom prst="rect">
            <a:avLst/>
          </a:prstGeom>
        </p:spPr>
      </p:pic>
      <p:pic>
        <p:nvPicPr>
          <p:cNvPr id="3" name="Graphic 2"/>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1384" y="298363"/>
            <a:ext cx="1800200" cy="320398"/>
          </a:xfrm>
          <a:prstGeom prst="rect">
            <a:avLst/>
          </a:prstGeom>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1704977"/>
            <a:ext cx="11469455" cy="3884264"/>
          </a:xfrm>
          <a:prstGeom prst="rect">
            <a:avLst/>
          </a:prstGeom>
          <a:noFill/>
          <a:ln>
            <a:noFill/>
          </a:ln>
        </p:spPr>
        <p:txBody>
          <a:bodyPr tIns="46800" numCol="2" spcCol="540000">
            <a:noAutofit/>
          </a:bodyPr>
          <a:lstStyle>
            <a:lvl1pPr marL="0" indent="0" algn="l">
              <a:lnSpc>
                <a:spcPts val="1400"/>
              </a:lnSpc>
              <a:spcBef>
                <a:spcPts val="0"/>
              </a:spcBef>
              <a:buFont typeface="Arial" panose="020B0604020202090204" pitchFamily="34" charset="0"/>
              <a:buNone/>
              <a:defRPr sz="105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indent="-228600">
              <a:lnSpc>
                <a:spcPts val="1400"/>
              </a:lnSpc>
              <a:buFont typeface="Arial" panose="020B0604020202090204" pitchFamily="34" charset="0"/>
              <a:buChar char="•"/>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2" name="Title 1"/>
          <p:cNvSpPr>
            <a:spLocks noGrp="1"/>
          </p:cNvSpPr>
          <p:nvPr>
            <p:ph type="title" hasCustomPrompt="1"/>
          </p:nvPr>
        </p:nvSpPr>
        <p:spPr>
          <a:xfrm>
            <a:off x="334963" y="858983"/>
            <a:ext cx="5328989" cy="481786"/>
          </a:xfrm>
        </p:spPr>
        <p:txBody>
          <a:bodyPr/>
          <a:lstStyle>
            <a:lvl1pPr>
              <a:defRPr baseline="0"/>
            </a:lvl1pPr>
          </a:lstStyle>
          <a:p>
            <a:r>
              <a:rPr lang="en-US"/>
              <a:t>Disclaimer page</a:t>
            </a:r>
            <a:endParaRPr lang="id-ID"/>
          </a:p>
        </p:txBody>
      </p:sp>
      <p:sp>
        <p:nvSpPr>
          <p:cNvPr id="8" name="Footer Placeholder 7"/>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2"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3"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9" name="Picture Placeholder 9"/>
          <p:cNvPicPr>
            <a:picLocks noChangeAspect="1"/>
          </p:cNvPicPr>
          <p:nvPr userDrawn="1"/>
        </p:nvPicPr>
        <p:blipFill>
          <a:blip r:embed="rId6"/>
          <a:srcRect t="33157" b="33157"/>
          <a:stretch>
            <a:fillRect/>
          </a:stretch>
        </p:blipFill>
        <p:spPr>
          <a:xfrm>
            <a:off x="0" y="4419600"/>
            <a:ext cx="10883900" cy="24384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703020202090204" pitchFamily="34" charset="0"/>
            </a:endParaRPr>
          </a:p>
        </p:txBody>
      </p:sp>
      <p:pic>
        <p:nvPicPr>
          <p:cNvPr id="13" name="Graphic 12"/>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51384" y="298363"/>
            <a:ext cx="1800200" cy="320398"/>
          </a:xfrm>
          <a:prstGeom prst="rect">
            <a:avLst/>
          </a:prstGeom>
        </p:spPr>
      </p:pic>
      <p:pic>
        <p:nvPicPr>
          <p:cNvPr id="16" name="Picture 15"/>
          <p:cNvPicPr>
            <a:picLocks noChangeAspect="1"/>
          </p:cNvPicPr>
          <p:nvPr userDrawn="1"/>
        </p:nvPicPr>
        <p:blipFill>
          <a:blip r:embed="rId9"/>
          <a:stretch>
            <a:fillRect/>
          </a:stretch>
        </p:blipFill>
        <p:spPr>
          <a:xfrm>
            <a:off x="551384" y="1422493"/>
            <a:ext cx="2736304" cy="789746"/>
          </a:xfrm>
          <a:prstGeom prst="rect">
            <a:avLst/>
          </a:prstGeom>
        </p:spPr>
      </p:pic>
      <p:sp>
        <p:nvSpPr>
          <p:cNvPr id="22" name="Text Placeholder 6"/>
          <p:cNvSpPr>
            <a:spLocks noGrp="1"/>
          </p:cNvSpPr>
          <p:nvPr>
            <p:ph type="body" sz="quarter" idx="12" hasCustomPrompt="1"/>
          </p:nvPr>
        </p:nvSpPr>
        <p:spPr bwMode="black">
          <a:xfrm>
            <a:off x="4702097" y="3830886"/>
            <a:ext cx="2995280" cy="365125"/>
          </a:xfrm>
          <a:prstGeom prst="rect">
            <a:avLst/>
          </a:prstGeom>
          <a:noFill/>
        </p:spPr>
        <p:txBody>
          <a:bodyPr anchor="ctr"/>
          <a:lstStyle>
            <a:lvl1pPr algn="l">
              <a:lnSpc>
                <a:spcPct val="110000"/>
              </a:lnSpc>
              <a:buNone/>
              <a:defRPr sz="1400" b="0" cap="all" baseline="0">
                <a:solidFill>
                  <a:srgbClr val="0862A3"/>
                </a:solidFill>
                <a:latin typeface="+mn-lt"/>
                <a:ea typeface="+mn-ea"/>
                <a:cs typeface="+mn-cs"/>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4707274" y="3113928"/>
            <a:ext cx="6646526" cy="561668"/>
          </a:xfrm>
          <a:prstGeom prst="rect">
            <a:avLst/>
          </a:prstGeom>
        </p:spPr>
        <p:txBody>
          <a:bodyPr anchor="ctr"/>
          <a:lstStyle>
            <a:lvl1pPr marL="0" indent="0" algn="l">
              <a:lnSpc>
                <a:spcPct val="110000"/>
              </a:lnSpc>
              <a:buNone/>
              <a:defRPr sz="2400" baseline="0">
                <a:solidFill>
                  <a:srgbClr val="15325B"/>
                </a:solidFill>
                <a:latin typeface="+mn-lt"/>
                <a:ea typeface="+mn-ea"/>
                <a:cs typeface="+mn-cs"/>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4702097" y="1262063"/>
            <a:ext cx="6651704" cy="1772080"/>
          </a:xfrm>
          <a:prstGeom prst="rect">
            <a:avLst/>
          </a:prstGeom>
        </p:spPr>
        <p:txBody>
          <a:bodyPr vert="horz" anchor="b">
            <a:normAutofit/>
          </a:bodyPr>
          <a:lstStyle>
            <a:lvl1pPr algn="l">
              <a:lnSpc>
                <a:spcPct val="93000"/>
              </a:lnSpc>
              <a:defRPr sz="3600" b="1" baseline="0">
                <a:solidFill>
                  <a:srgbClr val="15325B"/>
                </a:solidFill>
                <a:latin typeface="+mj-lt"/>
                <a:ea typeface="+mj-ea"/>
                <a:cs typeface="+mj-cs"/>
                <a:sym typeface="Trebuchet MS" panose="020B0703020202090204" pitchFamily="34" charset="0"/>
              </a:defRPr>
            </a:lvl1pPr>
          </a:lstStyle>
          <a:p>
            <a:r>
              <a:rPr lang="en-US"/>
              <a:t>Title in Title Case</a:t>
            </a:r>
          </a:p>
        </p:txBody>
      </p:sp>
      <p:pic>
        <p:nvPicPr>
          <p:cNvPr id="28" name="Picture 27"/>
          <p:cNvPicPr>
            <a:picLocks noChangeAspect="1"/>
          </p:cNvPicPr>
          <p:nvPr userDrawn="1"/>
        </p:nvPicPr>
        <p:blipFill>
          <a:blip r:embed="rId10"/>
          <a:stretch>
            <a:fillRect/>
          </a:stretch>
        </p:blipFill>
        <p:spPr>
          <a:xfrm>
            <a:off x="9575800" y="3073400"/>
            <a:ext cx="2616200" cy="378460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51156" t="55496" b="200"/>
          <a:stretch>
            <a:fillRect/>
          </a:stretch>
        </p:blipFill>
        <p:spPr>
          <a:xfrm>
            <a:off x="6239282" y="3802895"/>
            <a:ext cx="5952718" cy="3055105"/>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anchor="b">
            <a:normAutofit/>
          </a:bodyPr>
          <a:lstStyle>
            <a:lvl1pPr>
              <a:defRPr sz="2400" b="1" i="0" baseline="0">
                <a:solidFill>
                  <a:schemeClr val="accent1"/>
                </a:solidFill>
                <a:latin typeface="Gotham Book" charset="0"/>
                <a:ea typeface="Gotham Book" charset="0"/>
                <a:cs typeface="Gotham Book" charset="0"/>
              </a:defRPr>
            </a:lvl1pPr>
          </a:lstStyle>
          <a:p>
            <a:r>
              <a:rPr lang="en-US"/>
              <a:t>Section 01</a:t>
            </a:r>
            <a:endParaRPr lang="id-ID"/>
          </a:p>
        </p:txBody>
      </p:sp>
      <p:sp>
        <p:nvSpPr>
          <p:cNvPr id="5" name="Text Placeholder 4"/>
          <p:cNvSpPr>
            <a:spLocks noGrp="1"/>
          </p:cNvSpPr>
          <p:nvPr>
            <p:ph type="body" sz="quarter" idx="19" hasCustomPrompt="1"/>
          </p:nvPr>
        </p:nvSpPr>
        <p:spPr>
          <a:xfrm>
            <a:off x="682625" y="2479675"/>
            <a:ext cx="6963517" cy="3036888"/>
          </a:xfrm>
        </p:spPr>
        <p:txBody>
          <a:bodyPr/>
          <a:lstStyle>
            <a:lvl1pPr marL="0" indent="0">
              <a:lnSpc>
                <a:spcPts val="5800"/>
              </a:lnSpc>
              <a:spcBef>
                <a:spcPts val="0"/>
              </a:spcBef>
              <a:buNone/>
              <a:defRPr sz="5400" b="1" i="0">
                <a:solidFill>
                  <a:schemeClr val="accent1"/>
                </a:solidFill>
                <a:latin typeface="Gotham" pitchFamily="2" charset="0"/>
                <a:cs typeface="Gotham" pitchFamily="2" charset="0"/>
              </a:defRPr>
            </a:lvl1pPr>
          </a:lstStyle>
          <a:p>
            <a:pPr lvl="0"/>
            <a:r>
              <a:rPr lang="en-US"/>
              <a:t>Headline text goes here</a:t>
            </a:r>
            <a:endParaRPr lang="id-ID"/>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amp; a Pictur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2690488"/>
            <a:ext cx="5817155" cy="3705838"/>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nibh euismod tincidunt ut laoreet dolore magna aliquam hendrerit in vulputate velit esse molestie consequat, vel illum dolore eu feugiat nulla facilisis at vero eros et accumsan et iusto odio dignissim qui blandit praesent luptatum zzril delenit augue duis dolore te feugait nulla facilisi..</a:t>
            </a:r>
          </a:p>
          <a:p>
            <a:endParaRPr lang="id-ID"/>
          </a:p>
        </p:txBody>
      </p:sp>
      <p:sp>
        <p:nvSpPr>
          <p:cNvPr id="18" name="Title 1"/>
          <p:cNvSpPr>
            <a:spLocks noGrp="1"/>
          </p:cNvSpPr>
          <p:nvPr>
            <p:ph type="title" hasCustomPrompt="1"/>
          </p:nvPr>
        </p:nvSpPr>
        <p:spPr>
          <a:xfrm>
            <a:off x="351069" y="1397531"/>
            <a:ext cx="5817155" cy="1131717"/>
          </a:xfrm>
          <a:prstGeom prst="rect">
            <a:avLst/>
          </a:prstGeom>
        </p:spPr>
        <p:txBody>
          <a:bodyPr lIns="0">
            <a:normAutofit/>
          </a:bodyPr>
          <a:lstStyle>
            <a:lvl1pPr>
              <a:lnSpc>
                <a:spcPts val="4000"/>
              </a:lnSpc>
              <a:defRPr sz="2800" b="0" i="0">
                <a:solidFill>
                  <a:schemeClr val="accent2"/>
                </a:solidFill>
                <a:latin typeface="Gotham Medium" charset="0"/>
                <a:ea typeface="Gotham Medium" charset="0"/>
                <a:cs typeface="Gotham Medium" charset="0"/>
              </a:defRPr>
            </a:lvl1pPr>
          </a:lstStyle>
          <a:p>
            <a:pPr lvl="0">
              <a:defRPr/>
            </a:pPr>
            <a:r>
              <a:rPr lang="id-ID" sz="3200" err="1">
                <a:solidFill>
                  <a:srgbClr val="005DA0"/>
                </a:solidFill>
                <a:latin typeface="Gotham Medium" charset="0"/>
                <a:ea typeface="Gotham Medium" charset="0"/>
                <a:cs typeface="Gotham Medium" charset="0"/>
              </a:rPr>
              <a:t>Click</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o</a:t>
            </a:r>
            <a:r>
              <a:rPr lang="id-ID" sz="3200">
                <a:solidFill>
                  <a:srgbClr val="005DA0"/>
                </a:solidFill>
                <a:latin typeface="Gotham Medium" charset="0"/>
                <a:ea typeface="Gotham Medium" charset="0"/>
                <a:cs typeface="Gotham Medium" charset="0"/>
              </a:rPr>
              <a:t> edit </a:t>
            </a:r>
            <a:r>
              <a:rPr lang="id-ID" sz="3200" err="1">
                <a:solidFill>
                  <a:srgbClr val="005DA0"/>
                </a:solidFill>
                <a:latin typeface="Gotham Medium" charset="0"/>
                <a:ea typeface="Gotham Medium" charset="0"/>
                <a:cs typeface="Gotham Medium" charset="0"/>
              </a:rPr>
              <a:t>Title</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ext</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maximum</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is</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wo</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lines</a:t>
            </a:r>
            <a:r>
              <a:rPr lang="id-ID" sz="3200">
                <a:solidFill>
                  <a:srgbClr val="005DA0"/>
                </a:solidFill>
                <a:latin typeface="Gotham Medium" charset="0"/>
                <a:ea typeface="Gotham Medium" charset="0"/>
                <a:cs typeface="Gotham Medium" charset="0"/>
              </a:rPr>
              <a:t>.</a:t>
            </a:r>
            <a:endParaRPr lang="en-US" sz="3200" noProof="1">
              <a:solidFill>
                <a:srgbClr val="005DA0"/>
              </a:solidFill>
              <a:latin typeface="Gotham Medium" charset="0"/>
              <a:ea typeface="Gotham Medium" charset="0"/>
              <a:cs typeface="Gotham Medium" charset="0"/>
            </a:endParaRPr>
          </a:p>
        </p:txBody>
      </p:sp>
      <p:sp>
        <p:nvSpPr>
          <p:cNvPr id="4" name="Picture Placeholder 3"/>
          <p:cNvSpPr>
            <a:spLocks noGrp="1"/>
          </p:cNvSpPr>
          <p:nvPr>
            <p:ph type="pic" sz="quarter" idx="13" hasCustomPrompt="1"/>
          </p:nvPr>
        </p:nvSpPr>
        <p:spPr>
          <a:xfrm>
            <a:off x="6672064" y="1560512"/>
            <a:ext cx="5519936" cy="4433639"/>
          </a:xfrm>
          <a:ln>
            <a:noFill/>
          </a:ln>
        </p:spPr>
        <p:txBody>
          <a:bodyPr anchor="ctr"/>
          <a:lstStyle>
            <a:lvl1pPr marL="457200" indent="-457200" algn="ctr">
              <a:buFont typeface="Arial" panose="020B0604020202090204" pitchFamily="34" charset="0"/>
              <a:buChar char="•"/>
              <a:defRPr sz="2000"/>
            </a:lvl1pPr>
          </a:lstStyle>
          <a:p>
            <a:r>
              <a:rPr lang="id-ID"/>
              <a:t>Picture </a:t>
            </a:r>
            <a:r>
              <a:rPr lang="en-US"/>
              <a:t>ratio </a:t>
            </a:r>
            <a:r>
              <a:rPr lang="id-ID"/>
              <a:t>4:3</a:t>
            </a:r>
          </a:p>
        </p:txBody>
      </p:sp>
      <p:sp>
        <p:nvSpPr>
          <p:cNvPr id="5" name="Footer Placeholder 4"/>
          <p:cNvSpPr>
            <a:spLocks noGrp="1"/>
          </p:cNvSpPr>
          <p:nvPr>
            <p:ph type="ftr" sz="quarter" idx="15"/>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dirty="0"/>
              <a:t>Monday, 4</a:t>
            </a:r>
            <a:r>
              <a:rPr lang="en-ID" baseline="30000" dirty="0"/>
              <a:t>th</a:t>
            </a:r>
            <a:r>
              <a:rPr lang="en-ID" dirty="0"/>
              <a:t>  March 2024</a:t>
            </a:r>
            <a:endParaRPr lang="id-ID" dirty="0"/>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amp; Picture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38444" y="1268413"/>
            <a:ext cx="5682081" cy="2160587"/>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14pt/spc-exctly22pt</a:t>
            </a:r>
            <a:endParaRPr lang="id-ID"/>
          </a:p>
        </p:txBody>
      </p:sp>
      <p:sp>
        <p:nvSpPr>
          <p:cNvPr id="7" name="Text Placeholder 6"/>
          <p:cNvSpPr>
            <a:spLocks noGrp="1"/>
          </p:cNvSpPr>
          <p:nvPr>
            <p:ph type="body" sz="quarter" idx="15" hasCustomPrompt="1"/>
          </p:nvPr>
        </p:nvSpPr>
        <p:spPr>
          <a:xfrm>
            <a:off x="352424" y="1274618"/>
            <a:ext cx="5417200" cy="1454727"/>
          </a:xfrm>
        </p:spPr>
        <p:txBody>
          <a:bodyPr/>
          <a:lstStyle>
            <a:lvl1pPr marL="0" indent="0">
              <a:lnSpc>
                <a:spcPct val="100000"/>
              </a:lnSpc>
              <a:spcBef>
                <a:spcPts val="1000"/>
              </a:spcBef>
              <a:buNone/>
              <a:defRPr b="0" i="0">
                <a:solidFill>
                  <a:schemeClr val="accent2"/>
                </a:solidFill>
                <a:latin typeface="Gotham Medium" charset="0"/>
                <a:ea typeface="Gotham Medium" charset="0"/>
                <a:cs typeface="Gotham Medium" charset="0"/>
              </a:defRPr>
            </a:lvl1pPr>
          </a:lstStyle>
          <a:p>
            <a:pPr lvl="0"/>
            <a:r>
              <a:rPr lang="en-US"/>
              <a:t>Click to edit Title text with. some pictures, maximum is three lines.</a:t>
            </a:r>
            <a:endParaRPr lang="id-ID"/>
          </a:p>
        </p:txBody>
      </p:sp>
      <p:sp>
        <p:nvSpPr>
          <p:cNvPr id="4" name="Picture Placeholder 3"/>
          <p:cNvSpPr>
            <a:spLocks noGrp="1"/>
          </p:cNvSpPr>
          <p:nvPr>
            <p:ph type="pic" sz="quarter" idx="13" hasCustomPrompt="1"/>
          </p:nvPr>
        </p:nvSpPr>
        <p:spPr>
          <a:xfrm>
            <a:off x="-3916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19" name="Picture Placeholder 3"/>
          <p:cNvSpPr>
            <a:spLocks noGrp="1"/>
          </p:cNvSpPr>
          <p:nvPr>
            <p:ph type="pic" sz="quarter" idx="16" hasCustomPrompt="1"/>
          </p:nvPr>
        </p:nvSpPr>
        <p:spPr>
          <a:xfrm>
            <a:off x="404612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20" name="Picture Placeholder 3"/>
          <p:cNvSpPr>
            <a:spLocks noGrp="1"/>
          </p:cNvSpPr>
          <p:nvPr>
            <p:ph type="pic" sz="quarter" idx="17" hasCustomPrompt="1"/>
          </p:nvPr>
        </p:nvSpPr>
        <p:spPr>
          <a:xfrm>
            <a:off x="813140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a:t>
            </a:r>
            <a:r>
              <a:rPr lang="id-ID"/>
              <a:t> 4:3</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amp; Mix Preview">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352423" y="1274619"/>
            <a:ext cx="5599561" cy="1002254"/>
          </a:xfrm>
        </p:spPr>
        <p:txBody>
          <a:bodyPr/>
          <a:lstStyle>
            <a:lvl1pPr marL="0" indent="0">
              <a:lnSpc>
                <a:spcPct val="100000"/>
              </a:lnSpc>
              <a:spcBef>
                <a:spcPts val="1000"/>
              </a:spcBef>
              <a:buNone/>
              <a:defRPr sz="2800" b="0" i="0">
                <a:solidFill>
                  <a:schemeClr val="accent2"/>
                </a:solidFill>
                <a:latin typeface="Gotham Medium" charset="0"/>
                <a:ea typeface="Gotham Medium" charset="0"/>
                <a:cs typeface="Gotham Medium" charset="0"/>
              </a:defRPr>
            </a:lvl1pPr>
          </a:lstStyle>
          <a:p>
            <a:pPr lvl="0"/>
            <a:r>
              <a:rPr lang="en-US"/>
              <a:t>Click to edit Title text, maximum is two lines.</a:t>
            </a:r>
            <a:endParaRPr lang="id-ID"/>
          </a:p>
        </p:txBody>
      </p:sp>
      <p:sp>
        <p:nvSpPr>
          <p:cNvPr id="3" name="Subtitle 2"/>
          <p:cNvSpPr>
            <a:spLocks noGrp="1"/>
          </p:cNvSpPr>
          <p:nvPr>
            <p:ph type="subTitle" idx="1" hasCustomPrompt="1"/>
          </p:nvPr>
        </p:nvSpPr>
        <p:spPr>
          <a:xfrm>
            <a:off x="367881" y="2528876"/>
            <a:ext cx="5584104" cy="1764220"/>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14pt/spc-exctly22pt</a:t>
            </a:r>
            <a:endParaRPr lang="id-ID"/>
          </a:p>
        </p:txBody>
      </p:sp>
      <p:sp>
        <p:nvSpPr>
          <p:cNvPr id="5" name="Chart Placeholder 4"/>
          <p:cNvSpPr>
            <a:spLocks noGrp="1"/>
          </p:cNvSpPr>
          <p:nvPr>
            <p:ph type="chart" sz="quarter" idx="16"/>
          </p:nvPr>
        </p:nvSpPr>
        <p:spPr>
          <a:xfrm>
            <a:off x="379358" y="4469517"/>
            <a:ext cx="3536610" cy="1810691"/>
          </a:xfrm>
        </p:spPr>
        <p:txBody>
          <a:bodyPr anchor="ctr"/>
          <a:lstStyle>
            <a:lvl1pPr algn="ctr">
              <a:defRPr sz="2400"/>
            </a:lvl1pPr>
          </a:lstStyle>
          <a:p>
            <a:endParaRPr lang="id-ID"/>
          </a:p>
        </p:txBody>
      </p:sp>
      <p:sp>
        <p:nvSpPr>
          <p:cNvPr id="8" name="Picture Placeholder 7"/>
          <p:cNvSpPr>
            <a:spLocks noGrp="1"/>
          </p:cNvSpPr>
          <p:nvPr>
            <p:ph type="pic" sz="quarter" idx="17" hasCustomPrompt="1"/>
          </p:nvPr>
        </p:nvSpPr>
        <p:spPr>
          <a:xfrm>
            <a:off x="6664803" y="1047314"/>
            <a:ext cx="5133982" cy="3837077"/>
          </a:xfrm>
        </p:spPr>
        <p:txBody>
          <a:bodyPr anchor="ctr"/>
          <a:lstStyle>
            <a:lvl1pPr algn="ctr">
              <a:defRPr sz="1600" baseline="0"/>
            </a:lvl1pPr>
          </a:lstStyle>
          <a:p>
            <a:r>
              <a:rPr lang="id-ID"/>
              <a:t>Picture ratio 4:3</a:t>
            </a:r>
          </a:p>
        </p:txBody>
      </p:sp>
      <p:sp>
        <p:nvSpPr>
          <p:cNvPr id="18" name="Picture Placeholder 7"/>
          <p:cNvSpPr>
            <a:spLocks noGrp="1"/>
          </p:cNvSpPr>
          <p:nvPr>
            <p:ph type="pic" sz="quarter" idx="18" hasCustomPrompt="1"/>
          </p:nvPr>
        </p:nvSpPr>
        <p:spPr>
          <a:xfrm>
            <a:off x="6664803" y="4973901"/>
            <a:ext cx="2536725" cy="1884099"/>
          </a:xfrm>
        </p:spPr>
        <p:txBody>
          <a:bodyPr anchor="ctr"/>
          <a:lstStyle>
            <a:lvl1pPr algn="ctr">
              <a:defRPr sz="1600"/>
            </a:lvl1pPr>
          </a:lstStyle>
          <a:p>
            <a:r>
              <a:rPr lang="id-ID"/>
              <a:t>Picture ratio 4:3</a:t>
            </a:r>
          </a:p>
        </p:txBody>
      </p:sp>
      <p:sp>
        <p:nvSpPr>
          <p:cNvPr id="21" name="Picture Placeholder 7"/>
          <p:cNvSpPr>
            <a:spLocks noGrp="1"/>
          </p:cNvSpPr>
          <p:nvPr>
            <p:ph type="pic" sz="quarter" idx="19" hasCustomPrompt="1"/>
          </p:nvPr>
        </p:nvSpPr>
        <p:spPr>
          <a:xfrm>
            <a:off x="9263444" y="4973901"/>
            <a:ext cx="2536725" cy="1884099"/>
          </a:xfr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90204"/>
              <a:buChar char="•"/>
              <a:defRPr sz="1600"/>
            </a:lvl1pPr>
          </a:lstStyle>
          <a:p>
            <a:r>
              <a:rPr lang="id-ID"/>
              <a:t>Picture ratio 4:3</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a:br>
            <a:r>
              <a:rPr lang="en-US"/>
              <a:t>Click to edit Title text</a:t>
            </a:r>
            <a:endParaRPr lang="id-ID"/>
          </a:p>
        </p:txBody>
      </p:sp>
      <p:sp>
        <p:nvSpPr>
          <p:cNvPr id="5" name="Text Placeholder 4"/>
          <p:cNvSpPr>
            <a:spLocks noGrp="1"/>
          </p:cNvSpPr>
          <p:nvPr>
            <p:ph type="body" sz="quarter" idx="3" hasCustomPrompt="1"/>
          </p:nvPr>
        </p:nvSpPr>
        <p:spPr>
          <a:xfrm>
            <a:off x="6172199" y="1681163"/>
            <a:ext cx="5648325"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6" name="Content Placeholder 5"/>
          <p:cNvSpPr>
            <a:spLocks noGrp="1"/>
          </p:cNvSpPr>
          <p:nvPr>
            <p:ph sz="quarter" idx="4" hasCustomPrompt="1"/>
          </p:nvPr>
        </p:nvSpPr>
        <p:spPr>
          <a:xfrm>
            <a:off x="6172199"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7" name="Footer Placeholder 1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9" name="Text Placeholder 4"/>
          <p:cNvSpPr>
            <a:spLocks noGrp="1"/>
          </p:cNvSpPr>
          <p:nvPr>
            <p:ph type="body" sz="quarter" idx="13" hasCustomPrompt="1"/>
          </p:nvPr>
        </p:nvSpPr>
        <p:spPr>
          <a:xfrm>
            <a:off x="353291" y="1681163"/>
            <a:ext cx="5636450"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21" name="Content Placeholder 5"/>
          <p:cNvSpPr>
            <a:spLocks noGrp="1"/>
          </p:cNvSpPr>
          <p:nvPr>
            <p:ph sz="quarter" idx="14" hasCustomPrompt="1"/>
          </p:nvPr>
        </p:nvSpPr>
        <p:spPr>
          <a:xfrm>
            <a:off x="341415"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15"/>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a:br>
            <a:r>
              <a:rPr lang="en-US"/>
              <a:t>Click to edit Title text</a:t>
            </a:r>
            <a:endParaRPr lang="id-ID"/>
          </a:p>
        </p:txBody>
      </p:sp>
      <p:sp>
        <p:nvSpPr>
          <p:cNvPr id="3" name="Content Placeholder 2"/>
          <p:cNvSpPr>
            <a:spLocks noGrp="1"/>
          </p:cNvSpPr>
          <p:nvPr>
            <p:ph sz="half" idx="1" hasCustomPrompt="1"/>
          </p:nvPr>
        </p:nvSpPr>
        <p:spPr>
          <a:xfrm>
            <a:off x="334963" y="1704977"/>
            <a:ext cx="5684837"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hasCustomPrompt="1"/>
          </p:nvPr>
        </p:nvSpPr>
        <p:spPr>
          <a:xfrm>
            <a:off x="6172200" y="1704977"/>
            <a:ext cx="5648324"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9" name="Footer Placeholder 8"/>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1" name="Date Placeholder 3"/>
          <p:cNvSpPr>
            <a:spLocks noGrp="1"/>
          </p:cNvSpPr>
          <p:nvPr>
            <p:ph type="dt" sz="half" idx="1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2"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lvl1pPr>
              <a:defRPr>
                <a:solidFill>
                  <a:schemeClr val="accent1"/>
                </a:solidFill>
              </a:defRPr>
            </a:lvl1pPr>
          </a:lstStyle>
          <a:p>
            <a:br>
              <a:rPr lang="en-US"/>
            </a:br>
            <a:r>
              <a:rPr lang="en-US"/>
              <a:t>Click to edit Title custom layout</a:t>
            </a:r>
            <a:endParaRPr lang="id-ID"/>
          </a:p>
        </p:txBody>
      </p:sp>
      <p:sp>
        <p:nvSpPr>
          <p:cNvPr id="7" name="Footer Placeholder 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ent &amp; Coloums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p>
            <a:br>
              <a:rPr lang="en-US"/>
            </a:br>
            <a:r>
              <a:rPr lang="en-US"/>
              <a:t>Click to edit Title text. Ex. Strategy</a:t>
            </a:r>
            <a:endParaRPr lang="id-ID"/>
          </a:p>
        </p:txBody>
      </p:sp>
      <p:sp>
        <p:nvSpPr>
          <p:cNvPr id="10" name="Text Placeholder 9"/>
          <p:cNvSpPr>
            <a:spLocks noGrp="1"/>
          </p:cNvSpPr>
          <p:nvPr>
            <p:ph type="body" sz="quarter" idx="14" hasCustomPrompt="1"/>
          </p:nvPr>
        </p:nvSpPr>
        <p:spPr>
          <a:xfrm>
            <a:off x="334962" y="1604590"/>
            <a:ext cx="11485563" cy="720081"/>
          </a:xfrm>
        </p:spPr>
        <p:txBody>
          <a:bodyPr/>
          <a:lstStyle>
            <a:lvl1pPr marL="0" indent="0" algn="ctr">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a:t>
            </a:r>
          </a:p>
        </p:txBody>
      </p:sp>
      <p:sp>
        <p:nvSpPr>
          <p:cNvPr id="12" name="Text Placeholder 11"/>
          <p:cNvSpPr>
            <a:spLocks noGrp="1"/>
          </p:cNvSpPr>
          <p:nvPr>
            <p:ph type="body" sz="quarter" idx="15" hasCustomPrompt="1"/>
          </p:nvPr>
        </p:nvSpPr>
        <p:spPr>
          <a:xfrm>
            <a:off x="334963" y="2777924"/>
            <a:ext cx="3384277"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3" name="Text Placeholder 11"/>
          <p:cNvSpPr>
            <a:spLocks noGrp="1"/>
          </p:cNvSpPr>
          <p:nvPr>
            <p:ph type="body" sz="quarter" idx="16" hasCustomPrompt="1"/>
          </p:nvPr>
        </p:nvSpPr>
        <p:spPr>
          <a:xfrm>
            <a:off x="4223792" y="2777924"/>
            <a:ext cx="3744416"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4" name="Text Placeholder 11"/>
          <p:cNvSpPr>
            <a:spLocks noGrp="1"/>
          </p:cNvSpPr>
          <p:nvPr>
            <p:ph type="body" sz="quarter" idx="17" hasCustomPrompt="1"/>
          </p:nvPr>
        </p:nvSpPr>
        <p:spPr>
          <a:xfrm>
            <a:off x="8399736" y="2777924"/>
            <a:ext cx="3420789"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2.</a:t>
            </a:r>
            <a:endParaRPr lang="id-ID"/>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3.</a:t>
            </a:r>
            <a:endParaRPr lang="id-ID"/>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4.</a:t>
            </a:r>
            <a:endParaRPr lang="id-ID"/>
          </a:p>
        </p:txBody>
      </p:sp>
      <p:sp>
        <p:nvSpPr>
          <p:cNvPr id="20" name="Text Placeholder 11"/>
          <p:cNvSpPr>
            <a:spLocks noGrp="1"/>
          </p:cNvSpPr>
          <p:nvPr>
            <p:ph type="body" sz="quarter" idx="22" hasCustomPrompt="1"/>
          </p:nvPr>
        </p:nvSpPr>
        <p:spPr>
          <a:xfrm>
            <a:off x="7438813" y="3691633"/>
            <a:ext cx="673409"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5.</a:t>
            </a:r>
            <a:endParaRPr lang="id-ID"/>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p>
          <a:p>
            <a:pPr lvl="0"/>
            <a:r>
              <a:rPr lang="en-US"/>
              <a:t>Sixth level</a:t>
            </a:r>
          </a:p>
          <a:p>
            <a:pPr lvl="0"/>
            <a:r>
              <a:rPr lang="en-US"/>
              <a:t>Seventh level</a:t>
            </a:r>
            <a:endParaRPr lang="id-ID"/>
          </a:p>
        </p:txBody>
      </p:sp>
      <p:sp>
        <p:nvSpPr>
          <p:cNvPr id="28" name="Text Placeholder 11"/>
          <p:cNvSpPr>
            <a:spLocks noGrp="1"/>
          </p:cNvSpPr>
          <p:nvPr>
            <p:ph type="body" sz="quarter" idx="29" hasCustomPrompt="1"/>
          </p:nvPr>
        </p:nvSpPr>
        <p:spPr>
          <a:xfrm>
            <a:off x="334962" y="3691633"/>
            <a:ext cx="78923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1.</a:t>
            </a:r>
            <a:endParaRPr lang="id-ID"/>
          </a:p>
        </p:txBody>
      </p:sp>
      <p:cxnSp>
        <p:nvCxnSpPr>
          <p:cNvPr id="32" name="Straight Connector 31"/>
          <p:cNvCxnSpPr/>
          <p:nvPr userDrawn="1"/>
        </p:nvCxnSpPr>
        <p:spPr>
          <a:xfrm flipV="1">
            <a:off x="200170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flipV="1">
            <a:off x="379054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V="1">
            <a:off x="5546062"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V="1">
            <a:off x="7328784"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a:off x="9056012" y="40720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a:off x="9056012" y="44498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9056012" y="483525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9056012" y="5198151"/>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9056012" y="5551140"/>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9056012" y="591537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3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 &amp; Coloums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lvl1pPr>
              <a:defRPr/>
            </a:lvl1pPr>
          </a:lstStyle>
          <a:p>
            <a:br>
              <a:rPr lang="en-US"/>
            </a:br>
            <a:r>
              <a:rPr lang="en-US"/>
              <a:t>Click to edit Title text. Ex. Strategy</a:t>
            </a:r>
            <a:endParaRPr lang="id-ID"/>
          </a:p>
        </p:txBody>
      </p:sp>
      <p:sp>
        <p:nvSpPr>
          <p:cNvPr id="10" name="Text Placeholder 9"/>
          <p:cNvSpPr>
            <a:spLocks noGrp="1"/>
          </p:cNvSpPr>
          <p:nvPr>
            <p:ph type="body" sz="quarter" idx="14" hasCustomPrompt="1"/>
          </p:nvPr>
        </p:nvSpPr>
        <p:spPr>
          <a:xfrm>
            <a:off x="332913" y="1604182"/>
            <a:ext cx="11487612" cy="720081"/>
          </a:xfrm>
        </p:spPr>
        <p:txBody>
          <a:bodyPr/>
          <a:lstStyle>
            <a:lvl1pPr marL="0" indent="0" algn="ctr">
              <a:buNone/>
              <a:defRPr sz="4000" b="1" i="0">
                <a:solidFill>
                  <a:schemeClr val="accent2"/>
                </a:solidFill>
                <a:latin typeface="Gotham" pitchFamily="2" charset="0"/>
                <a:ea typeface="Gotham" pitchFamily="2" charset="0"/>
                <a:cs typeface="Gotham"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INING INDUSTRY INDONESIA</a:t>
            </a:r>
          </a:p>
        </p:txBody>
      </p:sp>
      <p:sp>
        <p:nvSpPr>
          <p:cNvPr id="12" name="Text Placeholder 11"/>
          <p:cNvSpPr>
            <a:spLocks noGrp="1"/>
          </p:cNvSpPr>
          <p:nvPr>
            <p:ph type="body" sz="quarter" idx="15" hasCustomPrompt="1"/>
          </p:nvPr>
        </p:nvSpPr>
        <p:spPr>
          <a:xfrm>
            <a:off x="332913" y="2780928"/>
            <a:ext cx="3386328"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3" name="Text Placeholder 11"/>
          <p:cNvSpPr>
            <a:spLocks noGrp="1"/>
          </p:cNvSpPr>
          <p:nvPr>
            <p:ph type="body" sz="quarter" idx="16" hasCustomPrompt="1"/>
          </p:nvPr>
        </p:nvSpPr>
        <p:spPr>
          <a:xfrm>
            <a:off x="4223792" y="2780928"/>
            <a:ext cx="3744416" cy="792163"/>
          </a:xfrm>
        </p:spPr>
        <p:txBody>
          <a:bodyPr rIns="0" bIns="0" anchor="ctr" anchorCtr="0"/>
          <a:lstStyle>
            <a:lvl1pPr marL="0" indent="0" algn="ctr">
              <a:lnSpc>
                <a:spcPct val="100000"/>
              </a:lnSpc>
              <a:buNone/>
              <a:defRPr sz="1800" b="0" i="0" baseline="0">
                <a:solidFill>
                  <a:schemeClr val="accent2"/>
                </a:solidFill>
                <a:latin typeface="Gotham Medium" charset="0"/>
                <a:ea typeface="Gotham Medium" charset="0"/>
                <a:cs typeface="Gotham Medium" charset="0"/>
              </a:defRPr>
            </a:lvl1pPr>
          </a:lstStyle>
          <a:p>
            <a:pPr lvl="0"/>
            <a:r>
              <a:rPr lang="en-US"/>
              <a:t>PENGEMBANGAN BISNIS HILIRISASI</a:t>
            </a:r>
            <a:endParaRPr lang="id-ID"/>
          </a:p>
        </p:txBody>
      </p:sp>
      <p:sp>
        <p:nvSpPr>
          <p:cNvPr id="14" name="Text Placeholder 11"/>
          <p:cNvSpPr>
            <a:spLocks noGrp="1"/>
          </p:cNvSpPr>
          <p:nvPr>
            <p:ph type="body" sz="quarter" idx="17" hasCustomPrompt="1"/>
          </p:nvPr>
        </p:nvSpPr>
        <p:spPr>
          <a:xfrm>
            <a:off x="8399736" y="2780928"/>
            <a:ext cx="3420789"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pitchFamily="2" charset="0"/>
                <a:ea typeface="Gotham" pitchFamily="2" charset="0"/>
                <a:cs typeface="Gotham" pitchFamily="2" charset="0"/>
              </a:defRPr>
            </a:lvl1pPr>
          </a:lstStyle>
          <a:p>
            <a:pPr lvl="0"/>
            <a:r>
              <a:rPr lang="en-US"/>
              <a:t>2.</a:t>
            </a:r>
            <a:endParaRPr lang="id-ID"/>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pitchFamily="2" charset="0"/>
                <a:ea typeface="Gotham" pitchFamily="2" charset="0"/>
                <a:cs typeface="Gotham" pitchFamily="2" charset="0"/>
              </a:defRPr>
            </a:lvl1pPr>
          </a:lstStyle>
          <a:p>
            <a:pPr lvl="0"/>
            <a:r>
              <a:rPr lang="en-US"/>
              <a:t>3.</a:t>
            </a:r>
            <a:endParaRPr lang="id-ID"/>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pitchFamily="2" charset="0"/>
                <a:ea typeface="Gotham" pitchFamily="2" charset="0"/>
                <a:cs typeface="Gotham" pitchFamily="2" charset="0"/>
              </a:defRPr>
            </a:lvl1pPr>
          </a:lstStyle>
          <a:p>
            <a:pPr lvl="0"/>
            <a:r>
              <a:rPr lang="en-US"/>
              <a:t>4.</a:t>
            </a:r>
            <a:endParaRPr lang="id-ID"/>
          </a:p>
        </p:txBody>
      </p:sp>
      <p:sp>
        <p:nvSpPr>
          <p:cNvPr id="20" name="Text Placeholder 11"/>
          <p:cNvSpPr>
            <a:spLocks noGrp="1"/>
          </p:cNvSpPr>
          <p:nvPr>
            <p:ph type="body" sz="quarter" idx="22" hasCustomPrompt="1"/>
          </p:nvPr>
        </p:nvSpPr>
        <p:spPr>
          <a:xfrm>
            <a:off x="7438814" y="3691633"/>
            <a:ext cx="673410" cy="588268"/>
          </a:xfrm>
        </p:spPr>
        <p:txBody>
          <a:bodyPr anchor="t" anchorCtr="0"/>
          <a:lstStyle>
            <a:lvl1pPr marL="0" indent="0" algn="ctr">
              <a:lnSpc>
                <a:spcPct val="100000"/>
              </a:lnSpc>
              <a:buNone/>
              <a:defRPr sz="4400" b="1" i="0">
                <a:solidFill>
                  <a:schemeClr val="tx1">
                    <a:lumMod val="50000"/>
                    <a:lumOff val="50000"/>
                  </a:schemeClr>
                </a:solidFill>
                <a:latin typeface="Gotham" pitchFamily="2" charset="0"/>
                <a:ea typeface="Gotham" pitchFamily="2" charset="0"/>
                <a:cs typeface="Gotham" pitchFamily="2" charset="0"/>
              </a:defRPr>
            </a:lvl1pPr>
          </a:lstStyle>
          <a:p>
            <a:pPr lvl="0"/>
            <a:r>
              <a:rPr lang="en-US"/>
              <a:t>5.</a:t>
            </a:r>
            <a:endParaRPr lang="id-ID"/>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p>
          <a:p>
            <a:pPr lvl="0"/>
            <a:r>
              <a:rPr lang="en-US"/>
              <a:t>Sixth level</a:t>
            </a:r>
          </a:p>
          <a:p>
            <a:pPr lvl="0"/>
            <a:r>
              <a:rPr lang="en-US"/>
              <a:t>Seventh level</a:t>
            </a:r>
            <a:endParaRPr lang="id-ID"/>
          </a:p>
        </p:txBody>
      </p:sp>
      <p:sp>
        <p:nvSpPr>
          <p:cNvPr id="28" name="Text Placeholder 11"/>
          <p:cNvSpPr>
            <a:spLocks noGrp="1"/>
          </p:cNvSpPr>
          <p:nvPr>
            <p:ph type="body" sz="quarter" idx="29" hasCustomPrompt="1"/>
          </p:nvPr>
        </p:nvSpPr>
        <p:spPr>
          <a:xfrm>
            <a:off x="332912" y="3691633"/>
            <a:ext cx="79128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pitchFamily="2" charset="0"/>
                <a:ea typeface="Gotham" pitchFamily="2" charset="0"/>
                <a:cs typeface="Gotham" pitchFamily="2" charset="0"/>
              </a:defRPr>
            </a:lvl1pPr>
          </a:lstStyle>
          <a:p>
            <a:pPr lvl="0"/>
            <a:r>
              <a:rPr lang="en-US"/>
              <a:t>1.</a:t>
            </a:r>
            <a:endParaRPr lang="id-ID"/>
          </a:p>
        </p:txBody>
      </p:sp>
      <p:sp>
        <p:nvSpPr>
          <p:cNvPr id="21"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29"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703020202090204" pitchFamily="34" charset="0"/>
              </a:defRPr>
            </a:lvl1pPr>
          </a:lstStyle>
          <a:p>
            <a:endParaRPr lang="en-US"/>
          </a:p>
        </p:txBody>
      </p:sp>
      <p:sp>
        <p:nvSpPr>
          <p:cNvPr id="5" name="Title 4"/>
          <p:cNvSpPr>
            <a:spLocks noGrp="1"/>
          </p:cNvSpPr>
          <p:nvPr>
            <p:ph type="title" hasCustomPrompt="1"/>
          </p:nvPr>
        </p:nvSpPr>
        <p:spPr>
          <a:xfrm>
            <a:off x="334962" y="623454"/>
            <a:ext cx="11485562" cy="649224"/>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amp; Coloums Mix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a:br>
            <a:r>
              <a:rPr lang="en-US"/>
              <a:t>Click to edit Title text. Ex. MIND ID Group</a:t>
            </a:r>
            <a:endParaRPr lang="id-ID"/>
          </a:p>
        </p:txBody>
      </p:sp>
      <p:sp>
        <p:nvSpPr>
          <p:cNvPr id="17" name="Picture Placeholder 4"/>
          <p:cNvSpPr>
            <a:spLocks noGrp="1"/>
          </p:cNvSpPr>
          <p:nvPr>
            <p:ph type="pic" sz="quarter" idx="35"/>
          </p:nvPr>
        </p:nvSpPr>
        <p:spPr>
          <a:xfrm>
            <a:off x="334962" y="3086301"/>
            <a:ext cx="1308101" cy="751562"/>
          </a:xfrm>
          <a:prstGeom prst="roundRect">
            <a:avLst>
              <a:gd name="adj" fmla="val 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1" name="Text Placeholder 21"/>
          <p:cNvSpPr>
            <a:spLocks noGrp="1"/>
          </p:cNvSpPr>
          <p:nvPr>
            <p:ph type="body" sz="quarter" idx="37"/>
          </p:nvPr>
        </p:nvSpPr>
        <p:spPr>
          <a:xfrm>
            <a:off x="33496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2" name="Picture Placeholder 4"/>
          <p:cNvSpPr>
            <a:spLocks noGrp="1"/>
          </p:cNvSpPr>
          <p:nvPr>
            <p:ph type="pic" sz="quarter" idx="38"/>
          </p:nvPr>
        </p:nvSpPr>
        <p:spPr>
          <a:xfrm>
            <a:off x="2031206" y="3086301"/>
            <a:ext cx="1308101" cy="751562"/>
          </a:xfrm>
          <a:prstGeom prst="roundRect">
            <a:avLst>
              <a:gd name="adj" fmla="val 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5" name="Text Placeholder 21"/>
          <p:cNvSpPr>
            <a:spLocks noGrp="1"/>
          </p:cNvSpPr>
          <p:nvPr>
            <p:ph type="body" sz="quarter" idx="40"/>
          </p:nvPr>
        </p:nvSpPr>
        <p:spPr>
          <a:xfrm>
            <a:off x="2031206"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Picture Placeholder 4"/>
          <p:cNvSpPr>
            <a:spLocks noGrp="1"/>
          </p:cNvSpPr>
          <p:nvPr>
            <p:ph type="pic" sz="quarter" idx="41"/>
          </p:nvPr>
        </p:nvSpPr>
        <p:spPr>
          <a:xfrm>
            <a:off x="3727450" y="3086301"/>
            <a:ext cx="1308101" cy="751562"/>
          </a:xfrm>
          <a:prstGeom prst="roundRect">
            <a:avLst>
              <a:gd name="adj" fmla="val 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0" name="Picture Placeholder 4"/>
          <p:cNvSpPr>
            <a:spLocks noGrp="1"/>
          </p:cNvSpPr>
          <p:nvPr>
            <p:ph type="pic" sz="quarter" idx="44"/>
          </p:nvPr>
        </p:nvSpPr>
        <p:spPr>
          <a:xfrm>
            <a:off x="5423694" y="3086301"/>
            <a:ext cx="1308101" cy="751562"/>
          </a:xfrm>
          <a:prstGeom prst="roundRect">
            <a:avLst>
              <a:gd name="adj" fmla="val 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2" name="Text Placeholder 21"/>
          <p:cNvSpPr>
            <a:spLocks noGrp="1"/>
          </p:cNvSpPr>
          <p:nvPr>
            <p:ph type="body" sz="quarter" idx="46"/>
          </p:nvPr>
        </p:nvSpPr>
        <p:spPr>
          <a:xfrm>
            <a:off x="542369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3" name="Picture Placeholder 4"/>
          <p:cNvSpPr>
            <a:spLocks noGrp="1"/>
          </p:cNvSpPr>
          <p:nvPr>
            <p:ph type="pic" sz="quarter" idx="47"/>
          </p:nvPr>
        </p:nvSpPr>
        <p:spPr>
          <a:xfrm>
            <a:off x="7119938" y="3086301"/>
            <a:ext cx="1308101" cy="751562"/>
          </a:xfrm>
          <a:prstGeom prst="roundRect">
            <a:avLst>
              <a:gd name="adj" fmla="val 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5" name="Text Placeholder 21"/>
          <p:cNvSpPr>
            <a:spLocks noGrp="1"/>
          </p:cNvSpPr>
          <p:nvPr>
            <p:ph type="body" sz="quarter" idx="49"/>
          </p:nvPr>
        </p:nvSpPr>
        <p:spPr>
          <a:xfrm>
            <a:off x="7119938"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7" name="Picture Placeholder 4"/>
          <p:cNvSpPr>
            <a:spLocks noGrp="1"/>
          </p:cNvSpPr>
          <p:nvPr>
            <p:ph type="pic" sz="quarter" idx="50"/>
          </p:nvPr>
        </p:nvSpPr>
        <p:spPr>
          <a:xfrm>
            <a:off x="8816182" y="3086301"/>
            <a:ext cx="1308101" cy="751562"/>
          </a:xfrm>
          <a:prstGeom prst="roundRect">
            <a:avLst>
              <a:gd name="adj" fmla="val 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9" name="Text Placeholder 21"/>
          <p:cNvSpPr>
            <a:spLocks noGrp="1"/>
          </p:cNvSpPr>
          <p:nvPr>
            <p:ph type="body" sz="quarter" idx="52"/>
          </p:nvPr>
        </p:nvSpPr>
        <p:spPr>
          <a:xfrm>
            <a:off x="881618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0" name="Picture Placeholder 4"/>
          <p:cNvSpPr>
            <a:spLocks noGrp="1"/>
          </p:cNvSpPr>
          <p:nvPr>
            <p:ph type="pic" sz="quarter" idx="53"/>
          </p:nvPr>
        </p:nvSpPr>
        <p:spPr>
          <a:xfrm>
            <a:off x="10512424" y="3086301"/>
            <a:ext cx="1308101" cy="751562"/>
          </a:xfrm>
          <a:prstGeom prst="roundRect">
            <a:avLst>
              <a:gd name="adj" fmla="val 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42" name="Text Placeholder 21"/>
          <p:cNvSpPr>
            <a:spLocks noGrp="1"/>
          </p:cNvSpPr>
          <p:nvPr>
            <p:ph type="body" sz="quarter" idx="55"/>
          </p:nvPr>
        </p:nvSpPr>
        <p:spPr>
          <a:xfrm>
            <a:off x="1051242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3" name="Text Placeholder 21"/>
          <p:cNvSpPr>
            <a:spLocks noGrp="1"/>
          </p:cNvSpPr>
          <p:nvPr>
            <p:ph type="body" sz="quarter" idx="56" hasCustomPrompt="1"/>
          </p:nvPr>
        </p:nvSpPr>
        <p:spPr>
          <a:xfrm>
            <a:off x="334961" y="5640779"/>
            <a:ext cx="11485564" cy="621798"/>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44" name="Picture Placeholder 6"/>
          <p:cNvSpPr>
            <a:spLocks noGrp="1"/>
          </p:cNvSpPr>
          <p:nvPr>
            <p:ph type="pic" sz="quarter" idx="58"/>
          </p:nvPr>
        </p:nvSpPr>
        <p:spPr>
          <a:xfrm>
            <a:off x="2031383" y="2598788"/>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2598788"/>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2598788"/>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2598788"/>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2598788"/>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2598788"/>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2598788"/>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1712626"/>
            <a:ext cx="1308101" cy="629247"/>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amp; Coloums Mix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a:br>
            <a:r>
              <a:rPr lang="en-US"/>
              <a:t>Click to edit Title text. Ex. MIND ID Group</a:t>
            </a:r>
            <a:endParaRPr lang="id-ID"/>
          </a:p>
        </p:txBody>
      </p:sp>
      <p:pic>
        <p:nvPicPr>
          <p:cNvPr id="36" name="Picture 35"/>
          <p:cNvPicPr>
            <a:picLocks noChangeAspect="1"/>
          </p:cNvPicPr>
          <p:nvPr userDrawn="1"/>
        </p:nvPicPr>
        <p:blipFill>
          <a:blip r:embed="rId2"/>
          <a:stretch>
            <a:fillRect/>
          </a:stretch>
        </p:blipFill>
        <p:spPr>
          <a:xfrm>
            <a:off x="5534706" y="1090969"/>
            <a:ext cx="1122589" cy="324000"/>
          </a:xfrm>
          <a:prstGeom prst="rect">
            <a:avLst/>
          </a:prstGeom>
        </p:spPr>
      </p:pic>
      <p:sp>
        <p:nvSpPr>
          <p:cNvPr id="17" name="Picture Placeholder 4"/>
          <p:cNvSpPr>
            <a:spLocks noGrp="1"/>
          </p:cNvSpPr>
          <p:nvPr>
            <p:ph type="pic" sz="quarter" idx="35"/>
          </p:nvPr>
        </p:nvSpPr>
        <p:spPr>
          <a:xfrm>
            <a:off x="334962" y="3460974"/>
            <a:ext cx="1308101" cy="751562"/>
          </a:xfrm>
          <a:prstGeom prst="roundRect">
            <a:avLst>
              <a:gd name="adj" fmla="val 5000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1" name="Text Placeholder 21"/>
          <p:cNvSpPr>
            <a:spLocks noGrp="1"/>
          </p:cNvSpPr>
          <p:nvPr>
            <p:ph type="body" sz="quarter" idx="37"/>
          </p:nvPr>
        </p:nvSpPr>
        <p:spPr>
          <a:xfrm>
            <a:off x="33496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2" name="Picture Placeholder 4"/>
          <p:cNvSpPr>
            <a:spLocks noGrp="1"/>
          </p:cNvSpPr>
          <p:nvPr>
            <p:ph type="pic" sz="quarter" idx="38"/>
          </p:nvPr>
        </p:nvSpPr>
        <p:spPr>
          <a:xfrm>
            <a:off x="2031206" y="3460974"/>
            <a:ext cx="1308101" cy="751562"/>
          </a:xfrm>
          <a:prstGeom prst="roundRect">
            <a:avLst>
              <a:gd name="adj" fmla="val 5000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5" name="Text Placeholder 21"/>
          <p:cNvSpPr>
            <a:spLocks noGrp="1"/>
          </p:cNvSpPr>
          <p:nvPr>
            <p:ph type="body" sz="quarter" idx="40"/>
          </p:nvPr>
        </p:nvSpPr>
        <p:spPr>
          <a:xfrm>
            <a:off x="2031206"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Picture Placeholder 4"/>
          <p:cNvSpPr>
            <a:spLocks noGrp="1"/>
          </p:cNvSpPr>
          <p:nvPr>
            <p:ph type="pic" sz="quarter" idx="41"/>
          </p:nvPr>
        </p:nvSpPr>
        <p:spPr>
          <a:xfrm>
            <a:off x="3727450" y="3460974"/>
            <a:ext cx="1308101" cy="751562"/>
          </a:xfrm>
          <a:prstGeom prst="roundRect">
            <a:avLst>
              <a:gd name="adj" fmla="val 5000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0" name="Picture Placeholder 4"/>
          <p:cNvSpPr>
            <a:spLocks noGrp="1"/>
          </p:cNvSpPr>
          <p:nvPr>
            <p:ph type="pic" sz="quarter" idx="44"/>
          </p:nvPr>
        </p:nvSpPr>
        <p:spPr>
          <a:xfrm>
            <a:off x="5423694" y="3460974"/>
            <a:ext cx="1308101" cy="751562"/>
          </a:xfrm>
          <a:prstGeom prst="roundRect">
            <a:avLst>
              <a:gd name="adj" fmla="val 5000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2" name="Text Placeholder 21"/>
          <p:cNvSpPr>
            <a:spLocks noGrp="1"/>
          </p:cNvSpPr>
          <p:nvPr>
            <p:ph type="body" sz="quarter" idx="46"/>
          </p:nvPr>
        </p:nvSpPr>
        <p:spPr>
          <a:xfrm>
            <a:off x="542369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3" name="Picture Placeholder 4"/>
          <p:cNvSpPr>
            <a:spLocks noGrp="1"/>
          </p:cNvSpPr>
          <p:nvPr>
            <p:ph type="pic" sz="quarter" idx="47"/>
          </p:nvPr>
        </p:nvSpPr>
        <p:spPr>
          <a:xfrm>
            <a:off x="7119938" y="3460974"/>
            <a:ext cx="1308101" cy="751562"/>
          </a:xfrm>
          <a:prstGeom prst="roundRect">
            <a:avLst>
              <a:gd name="adj" fmla="val 5000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5" name="Text Placeholder 21"/>
          <p:cNvSpPr>
            <a:spLocks noGrp="1"/>
          </p:cNvSpPr>
          <p:nvPr>
            <p:ph type="body" sz="quarter" idx="49"/>
          </p:nvPr>
        </p:nvSpPr>
        <p:spPr>
          <a:xfrm>
            <a:off x="7119938"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7" name="Picture Placeholder 4"/>
          <p:cNvSpPr>
            <a:spLocks noGrp="1"/>
          </p:cNvSpPr>
          <p:nvPr>
            <p:ph type="pic" sz="quarter" idx="50"/>
          </p:nvPr>
        </p:nvSpPr>
        <p:spPr>
          <a:xfrm>
            <a:off x="8816182" y="3460974"/>
            <a:ext cx="1308101" cy="751562"/>
          </a:xfrm>
          <a:prstGeom prst="roundRect">
            <a:avLst>
              <a:gd name="adj" fmla="val 5000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9" name="Text Placeholder 21"/>
          <p:cNvSpPr>
            <a:spLocks noGrp="1"/>
          </p:cNvSpPr>
          <p:nvPr>
            <p:ph type="body" sz="quarter" idx="52"/>
          </p:nvPr>
        </p:nvSpPr>
        <p:spPr>
          <a:xfrm>
            <a:off x="881618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0" name="Picture Placeholder 4"/>
          <p:cNvSpPr>
            <a:spLocks noGrp="1"/>
          </p:cNvSpPr>
          <p:nvPr>
            <p:ph type="pic" sz="quarter" idx="53"/>
          </p:nvPr>
        </p:nvSpPr>
        <p:spPr>
          <a:xfrm>
            <a:off x="10512424" y="3460974"/>
            <a:ext cx="1308101" cy="751562"/>
          </a:xfrm>
          <a:prstGeom prst="roundRect">
            <a:avLst>
              <a:gd name="adj" fmla="val 5000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42" name="Text Placeholder 21"/>
          <p:cNvSpPr>
            <a:spLocks noGrp="1"/>
          </p:cNvSpPr>
          <p:nvPr>
            <p:ph type="body" sz="quarter" idx="55"/>
          </p:nvPr>
        </p:nvSpPr>
        <p:spPr>
          <a:xfrm>
            <a:off x="1051242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3" name="Text Placeholder 21"/>
          <p:cNvSpPr>
            <a:spLocks noGrp="1"/>
          </p:cNvSpPr>
          <p:nvPr>
            <p:ph type="body" sz="quarter" idx="56" hasCustomPrompt="1"/>
          </p:nvPr>
        </p:nvSpPr>
        <p:spPr>
          <a:xfrm>
            <a:off x="334961" y="5890437"/>
            <a:ext cx="11485564" cy="372140"/>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44" name="Picture Placeholder 6"/>
          <p:cNvSpPr>
            <a:spLocks noGrp="1"/>
          </p:cNvSpPr>
          <p:nvPr>
            <p:ph type="pic" sz="quarter" idx="58"/>
          </p:nvPr>
        </p:nvSpPr>
        <p:spPr>
          <a:xfrm>
            <a:off x="2031383" y="3018669"/>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3018669"/>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3018669"/>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3018669"/>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3018669"/>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3018669"/>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3018669"/>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2124147"/>
            <a:ext cx="1308101" cy="7704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amp; Coloums Mix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8995965" cy="645305"/>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lvl1pPr>
              <a:defRPr>
                <a:solidFill>
                  <a:schemeClr val="bg1">
                    <a:lumMod val="85000"/>
                  </a:schemeClr>
                </a:solidFill>
              </a:defRPr>
            </a:lvl1pPr>
          </a:lstStyle>
          <a:p>
            <a:r>
              <a:rPr lang="en-ID"/>
              <a:t>Thursday, 11 December 2021</a:t>
            </a:r>
            <a:endParaRPr lang="id-ID"/>
          </a:p>
        </p:txBody>
      </p:sp>
      <p:sp>
        <p:nvSpPr>
          <p:cNvPr id="4" name="Slide Number Placeholder 3"/>
          <p:cNvSpPr>
            <a:spLocks noGrp="1"/>
          </p:cNvSpPr>
          <p:nvPr>
            <p:ph type="sldNum" sz="quarter" idx="11"/>
          </p:nvPr>
        </p:nvSpPr>
        <p:spPr/>
        <p:txBody>
          <a:bodyPr/>
          <a:lstStyle>
            <a:lvl1pPr>
              <a:defRPr>
                <a:solidFill>
                  <a:schemeClr val="bg1">
                    <a:lumMod val="85000"/>
                  </a:schemeClr>
                </a:solidFill>
              </a:defRPr>
            </a:lvl1p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lvl1pPr>
              <a:defRPr>
                <a:solidFill>
                  <a:schemeClr val="bg1">
                    <a:lumMod val="85000"/>
                  </a:schemeClr>
                </a:solidFill>
              </a:defRPr>
            </a:lvl1pPr>
          </a:lstStyle>
          <a:p>
            <a:pPr algn="l"/>
            <a:r>
              <a:rPr lang="en-US"/>
              <a:t>This presentation has been prepared specifically by MIND ID. The content of this presentation may not be used, duplicated or transmitted in any form without the written consent from MIND ID. All rights reserved.</a:t>
            </a:r>
          </a:p>
        </p:txBody>
      </p:sp>
      <p:sp>
        <p:nvSpPr>
          <p:cNvPr id="9" name="Picture Placeholder 6"/>
          <p:cNvSpPr>
            <a:spLocks noGrp="1"/>
          </p:cNvSpPr>
          <p:nvPr>
            <p:ph type="pic" sz="quarter" idx="59"/>
          </p:nvPr>
        </p:nvSpPr>
        <p:spPr>
          <a:xfrm>
            <a:off x="867648" y="1270000"/>
            <a:ext cx="2348032" cy="483228"/>
          </a:xfrm>
        </p:spPr>
        <p:txBody>
          <a:bodyPr anchor="ctr"/>
          <a:lstStyle>
            <a:lvl1pPr marL="0" indent="0" algn="ctr">
              <a:buNone/>
              <a:defRPr sz="1200"/>
            </a:lvl1pPr>
          </a:lstStyle>
          <a:p>
            <a:endParaRPr lang="id-ID"/>
          </a:p>
        </p:txBody>
      </p:sp>
      <p:sp>
        <p:nvSpPr>
          <p:cNvPr id="14" name="Text Placeholder 21"/>
          <p:cNvSpPr>
            <a:spLocks noGrp="1"/>
          </p:cNvSpPr>
          <p:nvPr>
            <p:ph type="body" sz="quarter" idx="63" hasCustomPrompt="1"/>
          </p:nvPr>
        </p:nvSpPr>
        <p:spPr>
          <a:xfrm>
            <a:off x="86764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15" name="Text Placeholder 21"/>
          <p:cNvSpPr>
            <a:spLocks noGrp="1"/>
          </p:cNvSpPr>
          <p:nvPr>
            <p:ph type="body" sz="quarter" idx="64" hasCustomPrompt="1"/>
          </p:nvPr>
        </p:nvSpPr>
        <p:spPr>
          <a:xfrm>
            <a:off x="86764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18" name="Text Placeholder 21"/>
          <p:cNvSpPr>
            <a:spLocks noGrp="1"/>
          </p:cNvSpPr>
          <p:nvPr>
            <p:ph type="body" sz="quarter" idx="65" hasCustomPrompt="1"/>
          </p:nvPr>
        </p:nvSpPr>
        <p:spPr>
          <a:xfrm>
            <a:off x="86764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en-US"/>
          </a:p>
        </p:txBody>
      </p:sp>
      <p:sp>
        <p:nvSpPr>
          <p:cNvPr id="19" name="Picture Placeholder 6"/>
          <p:cNvSpPr>
            <a:spLocks noGrp="1"/>
          </p:cNvSpPr>
          <p:nvPr>
            <p:ph type="pic" sz="quarter" idx="66"/>
          </p:nvPr>
        </p:nvSpPr>
        <p:spPr>
          <a:xfrm>
            <a:off x="3641328" y="1270000"/>
            <a:ext cx="2348032" cy="483228"/>
          </a:xfrm>
        </p:spPr>
        <p:txBody>
          <a:bodyPr anchor="ctr"/>
          <a:lstStyle>
            <a:lvl1pPr marL="0" indent="0" algn="ctr">
              <a:buNone/>
              <a:defRPr sz="1200"/>
            </a:lvl1pPr>
          </a:lstStyle>
          <a:p>
            <a:endParaRPr lang="id-ID"/>
          </a:p>
        </p:txBody>
      </p:sp>
      <p:sp>
        <p:nvSpPr>
          <p:cNvPr id="20" name="Text Placeholder 21"/>
          <p:cNvSpPr>
            <a:spLocks noGrp="1"/>
          </p:cNvSpPr>
          <p:nvPr>
            <p:ph type="body" sz="quarter" idx="67" hasCustomPrompt="1"/>
          </p:nvPr>
        </p:nvSpPr>
        <p:spPr>
          <a:xfrm>
            <a:off x="36413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1" name="Text Placeholder 21"/>
          <p:cNvSpPr>
            <a:spLocks noGrp="1"/>
          </p:cNvSpPr>
          <p:nvPr>
            <p:ph type="body" sz="quarter" idx="68" hasCustomPrompt="1"/>
          </p:nvPr>
        </p:nvSpPr>
        <p:spPr>
          <a:xfrm>
            <a:off x="36413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22" name="Text Placeholder 21"/>
          <p:cNvSpPr>
            <a:spLocks noGrp="1"/>
          </p:cNvSpPr>
          <p:nvPr>
            <p:ph type="body" sz="quarter" idx="69" hasCustomPrompt="1"/>
          </p:nvPr>
        </p:nvSpPr>
        <p:spPr>
          <a:xfrm>
            <a:off x="36413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27" name="Picture Placeholder 6"/>
          <p:cNvSpPr>
            <a:spLocks noGrp="1"/>
          </p:cNvSpPr>
          <p:nvPr>
            <p:ph type="pic" sz="quarter" idx="70"/>
          </p:nvPr>
        </p:nvSpPr>
        <p:spPr>
          <a:xfrm>
            <a:off x="6465808" y="1270000"/>
            <a:ext cx="2348032" cy="483228"/>
          </a:xfrm>
        </p:spPr>
        <p:txBody>
          <a:bodyPr anchor="ctr"/>
          <a:lstStyle>
            <a:lvl1pPr marL="0" indent="0" algn="ctr">
              <a:buNone/>
              <a:defRPr sz="1200"/>
            </a:lvl1pPr>
          </a:lstStyle>
          <a:p>
            <a:endParaRPr lang="id-ID"/>
          </a:p>
        </p:txBody>
      </p:sp>
      <p:sp>
        <p:nvSpPr>
          <p:cNvPr id="28" name="Text Placeholder 21"/>
          <p:cNvSpPr>
            <a:spLocks noGrp="1"/>
          </p:cNvSpPr>
          <p:nvPr>
            <p:ph type="body" sz="quarter" idx="71" hasCustomPrompt="1"/>
          </p:nvPr>
        </p:nvSpPr>
        <p:spPr>
          <a:xfrm>
            <a:off x="646580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9" name="Text Placeholder 21"/>
          <p:cNvSpPr>
            <a:spLocks noGrp="1"/>
          </p:cNvSpPr>
          <p:nvPr>
            <p:ph type="body" sz="quarter" idx="72" hasCustomPrompt="1"/>
          </p:nvPr>
        </p:nvSpPr>
        <p:spPr>
          <a:xfrm>
            <a:off x="646580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0" name="Text Placeholder 21"/>
          <p:cNvSpPr>
            <a:spLocks noGrp="1"/>
          </p:cNvSpPr>
          <p:nvPr>
            <p:ph type="body" sz="quarter" idx="73" hasCustomPrompt="1"/>
          </p:nvPr>
        </p:nvSpPr>
        <p:spPr>
          <a:xfrm>
            <a:off x="646580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1" name="Picture Placeholder 6"/>
          <p:cNvSpPr>
            <a:spLocks noGrp="1"/>
          </p:cNvSpPr>
          <p:nvPr>
            <p:ph type="pic" sz="quarter" idx="74"/>
          </p:nvPr>
        </p:nvSpPr>
        <p:spPr>
          <a:xfrm>
            <a:off x="9330928" y="1270000"/>
            <a:ext cx="2348032" cy="483228"/>
          </a:xfrm>
        </p:spPr>
        <p:txBody>
          <a:bodyPr anchor="ctr"/>
          <a:lstStyle>
            <a:lvl1pPr marL="0" indent="0" algn="ctr">
              <a:buNone/>
              <a:defRPr sz="1200"/>
            </a:lvl1pPr>
          </a:lstStyle>
          <a:p>
            <a:endParaRPr lang="id-ID"/>
          </a:p>
        </p:txBody>
      </p:sp>
      <p:sp>
        <p:nvSpPr>
          <p:cNvPr id="32" name="Text Placeholder 21"/>
          <p:cNvSpPr>
            <a:spLocks noGrp="1"/>
          </p:cNvSpPr>
          <p:nvPr>
            <p:ph type="body" sz="quarter" idx="75" hasCustomPrompt="1"/>
          </p:nvPr>
        </p:nvSpPr>
        <p:spPr>
          <a:xfrm>
            <a:off x="93309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33" name="Text Placeholder 21"/>
          <p:cNvSpPr>
            <a:spLocks noGrp="1"/>
          </p:cNvSpPr>
          <p:nvPr>
            <p:ph type="body" sz="quarter" idx="76" hasCustomPrompt="1"/>
          </p:nvPr>
        </p:nvSpPr>
        <p:spPr>
          <a:xfrm>
            <a:off x="93309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4" name="Text Placeholder 21"/>
          <p:cNvSpPr>
            <a:spLocks noGrp="1"/>
          </p:cNvSpPr>
          <p:nvPr>
            <p:ph type="body" sz="quarter" idx="77" hasCustomPrompt="1"/>
          </p:nvPr>
        </p:nvSpPr>
        <p:spPr>
          <a:xfrm>
            <a:off x="93309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6" name="Text Placeholder 21"/>
          <p:cNvSpPr>
            <a:spLocks noGrp="1"/>
          </p:cNvSpPr>
          <p:nvPr>
            <p:ph type="body" sz="quarter" idx="78" hasCustomPrompt="1"/>
          </p:nvPr>
        </p:nvSpPr>
        <p:spPr>
          <a:xfrm>
            <a:off x="336520" y="182880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
        <p:nvSpPr>
          <p:cNvPr id="39" name="Text Placeholder 21"/>
          <p:cNvSpPr>
            <a:spLocks noGrp="1"/>
          </p:cNvSpPr>
          <p:nvPr>
            <p:ph type="body" sz="quarter" idx="79" hasCustomPrompt="1"/>
          </p:nvPr>
        </p:nvSpPr>
        <p:spPr>
          <a:xfrm>
            <a:off x="336520" y="458216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solidFill>
                  <a:schemeClr val="bg1"/>
                </a:solidFill>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with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1" y="1917659"/>
            <a:ext cx="11485563"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761036"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19" name="Text Placeholder 8"/>
          <p:cNvSpPr>
            <a:spLocks noGrp="1"/>
          </p:cNvSpPr>
          <p:nvPr>
            <p:ph type="body" sz="quarter" idx="18" hasCustomPrompt="1"/>
          </p:nvPr>
        </p:nvSpPr>
        <p:spPr>
          <a:xfrm>
            <a:off x="3624734"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0" name="Text Placeholder 8"/>
          <p:cNvSpPr>
            <a:spLocks noGrp="1"/>
          </p:cNvSpPr>
          <p:nvPr>
            <p:ph type="body" sz="quarter" idx="19" hasCustomPrompt="1"/>
          </p:nvPr>
        </p:nvSpPr>
        <p:spPr>
          <a:xfrm>
            <a:off x="6914505"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2" name="Text Placeholder 8"/>
          <p:cNvSpPr>
            <a:spLocks noGrp="1"/>
          </p:cNvSpPr>
          <p:nvPr>
            <p:ph type="body" sz="quarter" idx="21" hasCustomPrompt="1"/>
          </p:nvPr>
        </p:nvSpPr>
        <p:spPr>
          <a:xfrm>
            <a:off x="10235952" y="1923924"/>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4" name="Text Placeholder 8"/>
          <p:cNvSpPr>
            <a:spLocks noGrp="1"/>
          </p:cNvSpPr>
          <p:nvPr>
            <p:ph type="body" sz="quarter" idx="23" hasCustomPrompt="1"/>
          </p:nvPr>
        </p:nvSpPr>
        <p:spPr>
          <a:xfrm>
            <a:off x="3624734"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5" name="Text Placeholder 8"/>
          <p:cNvSpPr>
            <a:spLocks noGrp="1"/>
          </p:cNvSpPr>
          <p:nvPr>
            <p:ph type="body" sz="quarter" idx="24" hasCustomPrompt="1"/>
          </p:nvPr>
        </p:nvSpPr>
        <p:spPr>
          <a:xfrm>
            <a:off x="6914505"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6" name="Text Placeholder 8"/>
          <p:cNvSpPr>
            <a:spLocks noGrp="1"/>
          </p:cNvSpPr>
          <p:nvPr>
            <p:ph type="body" sz="quarter" idx="25" hasCustomPrompt="1"/>
          </p:nvPr>
        </p:nvSpPr>
        <p:spPr>
          <a:xfrm>
            <a:off x="10235952" y="4509961"/>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7" name="Text Placeholder 8"/>
          <p:cNvSpPr>
            <a:spLocks noGrp="1"/>
          </p:cNvSpPr>
          <p:nvPr>
            <p:ph type="body" sz="quarter" idx="26" hasCustomPrompt="1"/>
          </p:nvPr>
        </p:nvSpPr>
        <p:spPr>
          <a:xfrm>
            <a:off x="334963" y="5013176"/>
            <a:ext cx="6481117"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28" name="Text Placeholder 8"/>
          <p:cNvSpPr>
            <a:spLocks noGrp="1"/>
          </p:cNvSpPr>
          <p:nvPr>
            <p:ph type="body" sz="quarter" idx="27" hasCustomPrompt="1"/>
          </p:nvPr>
        </p:nvSpPr>
        <p:spPr>
          <a:xfrm>
            <a:off x="334963" y="5663201"/>
            <a:ext cx="11485562" cy="166099"/>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a:p>
          <a:p>
            <a:pPr lvl="0"/>
            <a:endParaRPr lang="en-US"/>
          </a:p>
          <a:p>
            <a:pPr lvl="0"/>
            <a:endParaRPr lang="en-US"/>
          </a:p>
          <a:p>
            <a:pPr lvl="0"/>
            <a:endParaRPr lang="en-US"/>
          </a:p>
          <a:p>
            <a:pPr lvl="0"/>
            <a:endParaRPr lang="en-US"/>
          </a:p>
        </p:txBody>
      </p:sp>
      <p:sp>
        <p:nvSpPr>
          <p:cNvPr id="5" name="TextBox 4"/>
          <p:cNvSpPr txBox="1"/>
          <p:nvPr userDrawn="1"/>
        </p:nvSpPr>
        <p:spPr>
          <a:xfrm>
            <a:off x="-176645" y="426027"/>
            <a:ext cx="0" cy="0"/>
          </a:xfrm>
          <a:prstGeom prst="rect">
            <a:avLst/>
          </a:prstGeom>
        </p:spPr>
        <p:txBody>
          <a:bodyPr vert="horz" wrap="none" lIns="0" tIns="45720" rIns="91440" bIns="45720" rtlCol="0" anchor="ctr">
            <a:noAutofit/>
          </a:bodyPr>
          <a:lstStyle/>
          <a:p>
            <a:endParaRPr lang="en-US" sz="1600" b="0" i="0">
              <a:solidFill>
                <a:schemeClr val="accent1"/>
              </a:solidFill>
              <a:latin typeface="Gotham Medium" charset="0"/>
              <a:ea typeface="Gotham Medium" charset="0"/>
              <a:cs typeface="Gotham Medium" charset="0"/>
            </a:endParaRP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with Two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2" y="1917659"/>
            <a:ext cx="5617022"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617020"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19" name="Text Placeholder 8"/>
          <p:cNvSpPr>
            <a:spLocks noGrp="1"/>
          </p:cNvSpPr>
          <p:nvPr>
            <p:ph type="body" sz="quarter" idx="18" hasCustomPrompt="1"/>
          </p:nvPr>
        </p:nvSpPr>
        <p:spPr>
          <a:xfrm>
            <a:off x="23589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4" name="Text Placeholder 8"/>
          <p:cNvSpPr>
            <a:spLocks noGrp="1"/>
          </p:cNvSpPr>
          <p:nvPr>
            <p:ph type="body" sz="quarter" idx="23" hasCustomPrompt="1"/>
          </p:nvPr>
        </p:nvSpPr>
        <p:spPr>
          <a:xfrm>
            <a:off x="23589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7" name="Text Placeholder 8"/>
          <p:cNvSpPr>
            <a:spLocks noGrp="1"/>
          </p:cNvSpPr>
          <p:nvPr>
            <p:ph type="body" sz="quarter" idx="26" hasCustomPrompt="1"/>
          </p:nvPr>
        </p:nvSpPr>
        <p:spPr>
          <a:xfrm>
            <a:off x="334963" y="5013176"/>
            <a:ext cx="5617021"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28" name="Text Placeholder 8"/>
          <p:cNvSpPr>
            <a:spLocks noGrp="1"/>
          </p:cNvSpPr>
          <p:nvPr>
            <p:ph type="body" sz="quarter" idx="27" hasCustomPrompt="1"/>
          </p:nvPr>
        </p:nvSpPr>
        <p:spPr>
          <a:xfrm>
            <a:off x="334963" y="5663201"/>
            <a:ext cx="11485562" cy="142063"/>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a:p>
          <a:p>
            <a:pPr lvl="0"/>
            <a:endParaRPr lang="en-US"/>
          </a:p>
          <a:p>
            <a:pPr lvl="0"/>
            <a:endParaRPr lang="en-US"/>
          </a:p>
          <a:p>
            <a:pPr lvl="0"/>
            <a:endParaRPr lang="en-US"/>
          </a:p>
          <a:p>
            <a:pPr lvl="0"/>
            <a:endParaRPr lang="en-US"/>
          </a:p>
        </p:txBody>
      </p:sp>
      <p:sp>
        <p:nvSpPr>
          <p:cNvPr id="21" name="Picture Placeholder 30"/>
          <p:cNvSpPr>
            <a:spLocks noGrp="1"/>
          </p:cNvSpPr>
          <p:nvPr>
            <p:ph type="pic" sz="quarter" idx="30" hasCustomPrompt="1"/>
          </p:nvPr>
        </p:nvSpPr>
        <p:spPr>
          <a:xfrm>
            <a:off x="6272212" y="1917659"/>
            <a:ext cx="5537645" cy="3042702"/>
          </a:xfrm>
        </p:spPr>
        <p:txBody>
          <a:bodyPr anchor="ctr"/>
          <a:lstStyle>
            <a:lvl1pPr algn="ctr">
              <a:defRPr sz="1800"/>
            </a:lvl1pPr>
          </a:lstStyle>
          <a:p>
            <a:r>
              <a:rPr lang="id-ID"/>
              <a:t>Picture Map</a:t>
            </a:r>
          </a:p>
        </p:txBody>
      </p:sp>
      <p:sp>
        <p:nvSpPr>
          <p:cNvPr id="30" name="Text Placeholder 8"/>
          <p:cNvSpPr>
            <a:spLocks noGrp="1"/>
          </p:cNvSpPr>
          <p:nvPr>
            <p:ph type="body" sz="quarter" idx="31" hasCustomPrompt="1"/>
          </p:nvPr>
        </p:nvSpPr>
        <p:spPr>
          <a:xfrm>
            <a:off x="6272212" y="1354667"/>
            <a:ext cx="5537645"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2" name="Text Placeholder 8"/>
          <p:cNvSpPr>
            <a:spLocks noGrp="1"/>
          </p:cNvSpPr>
          <p:nvPr>
            <p:ph type="body" sz="quarter" idx="32" hasCustomPrompt="1"/>
          </p:nvPr>
        </p:nvSpPr>
        <p:spPr>
          <a:xfrm>
            <a:off x="4382889"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3" name="Text Placeholder 8"/>
          <p:cNvSpPr>
            <a:spLocks noGrp="1"/>
          </p:cNvSpPr>
          <p:nvPr>
            <p:ph type="body" sz="quarter" idx="33" hasCustomPrompt="1"/>
          </p:nvPr>
        </p:nvSpPr>
        <p:spPr>
          <a:xfrm>
            <a:off x="4382889"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4" name="Text Placeholder 8"/>
          <p:cNvSpPr>
            <a:spLocks noGrp="1"/>
          </p:cNvSpPr>
          <p:nvPr>
            <p:ph type="body" sz="quarter" idx="34" hasCustomPrompt="1"/>
          </p:nvPr>
        </p:nvSpPr>
        <p:spPr>
          <a:xfrm>
            <a:off x="6240019" y="5013176"/>
            <a:ext cx="5580506"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35" name="Text Placeholder 8"/>
          <p:cNvSpPr>
            <a:spLocks noGrp="1"/>
          </p:cNvSpPr>
          <p:nvPr>
            <p:ph type="body" sz="quarter" idx="35" hasCustomPrompt="1"/>
          </p:nvPr>
        </p:nvSpPr>
        <p:spPr>
          <a:xfrm>
            <a:off x="6249988"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6" name="Text Placeholder 8"/>
          <p:cNvSpPr>
            <a:spLocks noGrp="1"/>
          </p:cNvSpPr>
          <p:nvPr>
            <p:ph type="body" sz="quarter" idx="36" hasCustomPrompt="1"/>
          </p:nvPr>
        </p:nvSpPr>
        <p:spPr>
          <a:xfrm>
            <a:off x="8240807"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7" name="Text Placeholder 8"/>
          <p:cNvSpPr>
            <a:spLocks noGrp="1"/>
          </p:cNvSpPr>
          <p:nvPr>
            <p:ph type="body" sz="quarter" idx="37" hasCustomPrompt="1"/>
          </p:nvPr>
        </p:nvSpPr>
        <p:spPr>
          <a:xfrm>
            <a:off x="6249988"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8" name="Text Placeholder 8"/>
          <p:cNvSpPr>
            <a:spLocks noGrp="1"/>
          </p:cNvSpPr>
          <p:nvPr>
            <p:ph type="body" sz="quarter" idx="38" hasCustomPrompt="1"/>
          </p:nvPr>
        </p:nvSpPr>
        <p:spPr>
          <a:xfrm>
            <a:off x="8240807"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9" name="Text Placeholder 8"/>
          <p:cNvSpPr>
            <a:spLocks noGrp="1"/>
          </p:cNvSpPr>
          <p:nvPr>
            <p:ph type="body" sz="quarter" idx="39" hasCustomPrompt="1"/>
          </p:nvPr>
        </p:nvSpPr>
        <p:spPr>
          <a:xfrm>
            <a:off x="102316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40" name="Text Placeholder 8"/>
          <p:cNvSpPr>
            <a:spLocks noGrp="1"/>
          </p:cNvSpPr>
          <p:nvPr>
            <p:ph type="body" sz="quarter" idx="40" hasCustomPrompt="1"/>
          </p:nvPr>
        </p:nvSpPr>
        <p:spPr>
          <a:xfrm>
            <a:off x="102316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 with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9074355" cy="501289"/>
          </a:xfrm>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8" name="Text Placeholder 7"/>
          <p:cNvSpPr>
            <a:spLocks noGrp="1"/>
          </p:cNvSpPr>
          <p:nvPr>
            <p:ph type="body" sz="quarter" idx="13" hasCustomPrompt="1"/>
          </p:nvPr>
        </p:nvSpPr>
        <p:spPr>
          <a:xfrm>
            <a:off x="334963" y="1158241"/>
            <a:ext cx="11485562" cy="345440"/>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000"/>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a:t>Click to edit Master text styles. Ex. </a:t>
            </a:r>
            <a:r>
              <a:rPr lang="en-US" sz="1000" noProof="1">
                <a:solidFill>
                  <a:schemeClr val="tx1">
                    <a:lumMod val="65000"/>
                    <a:lumOff val="35000"/>
                  </a:schemeClr>
                </a:solidFill>
                <a:latin typeface="Gotham Book" charset="0"/>
                <a:ea typeface="Gotham Book" charset="0"/>
                <a:cs typeface="Gotham Book" charset="0"/>
                <a:sym typeface="Arial" panose="020B0604020202090204" pitchFamily="34" charset="0"/>
              </a:rPr>
              <a:t>Membangun sumber daya yang berkelanjutan dalam skala besar untuk Indonesia - Menggandakan volume hulu, memperluas aset hilir - mewujudkan Noble Purpose untuk mengeksplorasi kemakmuran; meningkat secara berkelanjutan hingga ~&gt; 8 x EBITDA (MIND ID &gt; 5x), dan secara signifikan memperluas 7 …</a:t>
            </a:r>
            <a:endParaRPr lang="en-US"/>
          </a:p>
        </p:txBody>
      </p:sp>
      <p:sp>
        <p:nvSpPr>
          <p:cNvPr id="10" name="Text Placeholder 7"/>
          <p:cNvSpPr>
            <a:spLocks noGrp="1"/>
          </p:cNvSpPr>
          <p:nvPr>
            <p:ph type="body" sz="quarter" idx="14" hasCustomPrompt="1"/>
          </p:nvPr>
        </p:nvSpPr>
        <p:spPr>
          <a:xfrm>
            <a:off x="334963" y="1717041"/>
            <a:ext cx="11485562" cy="175251"/>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200" b="1" i="0">
                <a:solidFill>
                  <a:schemeClr val="accent2"/>
                </a:solidFill>
                <a:latin typeface="Gotham Bold" pitchFamily="2" charset="0"/>
                <a:cs typeface="Gotham Bold" pitchFamily="2" charset="0"/>
              </a:defRPr>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a:t>Click to edit Title table text styles. Ex. </a:t>
            </a:r>
            <a:r>
              <a:rPr kumimoji="0" lang="en-US" sz="1200" b="1" u="none" strike="noStrike" kern="0" cap="none" spc="0" normalizeH="0" baseline="0" noProof="1">
                <a:ln>
                  <a:noFill/>
                </a:ln>
                <a:solidFill>
                  <a:srgbClr val="0862A4"/>
                </a:solidFill>
                <a:effectLst/>
                <a:uLnTx/>
                <a:uFillTx/>
                <a:latin typeface="Gotham Bold" pitchFamily="2" charset="0"/>
                <a:ea typeface="Gotham Bold" pitchFamily="2" charset="0"/>
                <a:cs typeface="Gotham Bold" pitchFamily="2" charset="0"/>
              </a:rPr>
              <a:t>Strategi terintegrasi </a:t>
            </a:r>
            <a:endParaRPr lang="en-US"/>
          </a:p>
        </p:txBody>
      </p:sp>
      <p:sp>
        <p:nvSpPr>
          <p:cNvPr id="12" name="Table Placeholder 11"/>
          <p:cNvSpPr>
            <a:spLocks noGrp="1"/>
          </p:cNvSpPr>
          <p:nvPr>
            <p:ph type="tbl" sz="quarter" idx="15"/>
          </p:nvPr>
        </p:nvSpPr>
        <p:spPr>
          <a:xfrm>
            <a:off x="334963" y="1988840"/>
            <a:ext cx="11485562" cy="4147800"/>
          </a:xfrm>
        </p:spPr>
        <p:txBody>
          <a:bodyPr anchor="ctr"/>
          <a:lstStyle>
            <a:lvl1pPr algn="ctr">
              <a:defRPr sz="2800"/>
            </a:lvl1pPr>
          </a:lstStyle>
          <a:p>
            <a:endParaRPr lang="id-ID"/>
          </a:p>
        </p:txBody>
      </p:sp>
      <p:sp>
        <p:nvSpPr>
          <p:cNvPr id="15" name="Text Placeholder 14"/>
          <p:cNvSpPr>
            <a:spLocks noGrp="1"/>
          </p:cNvSpPr>
          <p:nvPr>
            <p:ph type="body" sz="quarter" idx="16" hasCustomPrompt="1"/>
          </p:nvPr>
        </p:nvSpPr>
        <p:spPr>
          <a:xfrm>
            <a:off x="334963" y="6217921"/>
            <a:ext cx="7993285" cy="451439"/>
          </a:xfrm>
        </p:spPr>
        <p:txBody>
          <a:bodyPr/>
          <a:lstStyle>
            <a:lvl1pPr marL="144145" marR="0" indent="-144145" algn="l" defTabSz="914400" rtl="0" eaLnBrk="1" fontAlgn="auto" latinLnBrk="0" hangingPunct="1">
              <a:lnSpc>
                <a:spcPct val="100000"/>
              </a:lnSpc>
              <a:spcBef>
                <a:spcPts val="0"/>
              </a:spcBef>
              <a:spcAft>
                <a:spcPts val="0"/>
              </a:spcAft>
              <a:buClrTx/>
              <a:buSzTx/>
              <a:buFont typeface="+mj-lt"/>
              <a:buAutoNum type="arabicPeriod"/>
              <a:defRPr sz="800"/>
            </a:lvl1pPr>
            <a:lvl2pPr indent="0">
              <a:lnSpc>
                <a:spcPct val="100000"/>
              </a:lnSpc>
              <a:defRPr sz="800"/>
            </a:lvl2pPr>
            <a:lvl3pPr indent="0">
              <a:lnSpc>
                <a:spcPct val="100000"/>
              </a:lnSpc>
              <a:defRPr sz="800"/>
            </a:lvl3pPr>
            <a:lvl4pPr indent="0">
              <a:lnSpc>
                <a:spcPct val="100000"/>
              </a:lnSpc>
              <a:defRPr sz="800"/>
            </a:lvl4pPr>
            <a:lvl5pPr indent="0">
              <a:lnSpc>
                <a:spcPct val="100000"/>
              </a:lnSpc>
              <a:defRPr sz="800"/>
            </a:lvl5pPr>
          </a:lstStyle>
          <a:p>
            <a:pPr lvl="0"/>
            <a:r>
              <a:rPr lang="en-US"/>
              <a:t>Click to edit Caption text styles</a:t>
            </a:r>
          </a:p>
          <a:p>
            <a:pPr lvl="0"/>
            <a:r>
              <a:rPr lang="en-US"/>
              <a:t>Click to edit Caption text styles</a:t>
            </a:r>
          </a:p>
          <a:p>
            <a:pPr marL="144145" marR="0" lvl="0" indent="-144145" algn="l" defTabSz="914400" rtl="0" eaLnBrk="1" fontAlgn="auto" latinLnBrk="0" hangingPunct="1">
              <a:lnSpc>
                <a:spcPct val="100000"/>
              </a:lnSpc>
              <a:spcBef>
                <a:spcPts val="0"/>
              </a:spcBef>
              <a:spcAft>
                <a:spcPts val="0"/>
              </a:spcAft>
              <a:buClrTx/>
              <a:buSzTx/>
              <a:buFont typeface="+mj-lt"/>
              <a:buAutoNum type="arabicPeriod"/>
              <a:defRPr/>
            </a:pPr>
            <a:r>
              <a:rPr lang="en-US"/>
              <a:t>Click to edit Caption text styles</a:t>
            </a:r>
          </a:p>
          <a:p>
            <a:pPr lvl="0"/>
            <a:endParaRPr lang="en-US"/>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ustom Coloum">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alphaModFix amt="25000"/>
          </a:blip>
          <a:stretch>
            <a:fillRect/>
          </a:stretch>
        </p:blipFill>
        <p:spPr>
          <a:xfrm>
            <a:off x="0" y="0"/>
            <a:ext cx="12192000" cy="6858000"/>
          </a:xfrm>
          <a:prstGeom prst="rect">
            <a:avLst/>
          </a:prstGeom>
        </p:spPr>
      </p:pic>
      <p:sp>
        <p:nvSpPr>
          <p:cNvPr id="2" name="Title 1"/>
          <p:cNvSpPr>
            <a:spLocks noGrp="1"/>
          </p:cNvSpPr>
          <p:nvPr>
            <p:ph type="title" hasCustomPrompt="1"/>
          </p:nvPr>
        </p:nvSpPr>
        <p:spPr/>
        <p:txBody>
          <a:body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a:br>
            <a:r>
              <a:rPr lang="en-US"/>
              <a:t>Click to edit Char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a:t>Click to edit Title text styles</a:t>
            </a:r>
          </a:p>
        </p:txBody>
      </p:sp>
      <p:sp>
        <p:nvSpPr>
          <p:cNvPr id="11" name="Chart Placeholder 10"/>
          <p:cNvSpPr>
            <a:spLocks noGrp="1"/>
          </p:cNvSpPr>
          <p:nvPr>
            <p:ph type="chart" sz="quarter" idx="14"/>
          </p:nvPr>
        </p:nvSpPr>
        <p:spPr>
          <a:xfrm>
            <a:off x="253064" y="1916464"/>
            <a:ext cx="3682696" cy="1728192"/>
          </a:xfrm>
        </p:spPr>
        <p:txBody>
          <a:bodyPr anchor="ctr"/>
          <a:lstStyle>
            <a:lvl1pPr algn="ctr">
              <a:defRPr sz="1800"/>
            </a:lvl1pPr>
          </a:lstStyle>
          <a:p>
            <a:endParaRPr lang="id-ID"/>
          </a:p>
        </p:txBody>
      </p:sp>
      <p:sp>
        <p:nvSpPr>
          <p:cNvPr id="18" name="Chart Placeholder 10"/>
          <p:cNvSpPr>
            <a:spLocks noGrp="1"/>
          </p:cNvSpPr>
          <p:nvPr>
            <p:ph type="chart" sz="quarter" idx="15"/>
          </p:nvPr>
        </p:nvSpPr>
        <p:spPr>
          <a:xfrm>
            <a:off x="8137829" y="1916464"/>
            <a:ext cx="3682696" cy="1728192"/>
          </a:xfrm>
        </p:spPr>
        <p:txBody>
          <a:bodyPr anchor="ctr"/>
          <a:lstStyle>
            <a:lvl1pPr algn="ctr">
              <a:defRPr sz="1800"/>
            </a:lvl1pPr>
          </a:lstStyle>
          <a:p>
            <a:endParaRPr lang="id-ID"/>
          </a:p>
        </p:txBody>
      </p:sp>
      <p:sp>
        <p:nvSpPr>
          <p:cNvPr id="21" name="Chart Placeholder 10"/>
          <p:cNvSpPr>
            <a:spLocks noGrp="1"/>
          </p:cNvSpPr>
          <p:nvPr>
            <p:ph type="chart" sz="quarter" idx="16"/>
          </p:nvPr>
        </p:nvSpPr>
        <p:spPr>
          <a:xfrm>
            <a:off x="4195221" y="1916464"/>
            <a:ext cx="3682696" cy="1728192"/>
          </a:xfrm>
        </p:spPr>
        <p:txBody>
          <a:bodyPr anchor="ctr"/>
          <a:lstStyle>
            <a:lvl1pPr algn="ctr">
              <a:defRPr sz="1800"/>
            </a:lvl1pPr>
          </a:lstStyle>
          <a:p>
            <a:endParaRPr lang="id-ID"/>
          </a:p>
        </p:txBody>
      </p:sp>
      <p:sp>
        <p:nvSpPr>
          <p:cNvPr id="22" name="Chart Placeholder 10"/>
          <p:cNvSpPr>
            <a:spLocks noGrp="1"/>
          </p:cNvSpPr>
          <p:nvPr>
            <p:ph type="chart" sz="quarter" idx="17"/>
          </p:nvPr>
        </p:nvSpPr>
        <p:spPr>
          <a:xfrm>
            <a:off x="253064" y="4076704"/>
            <a:ext cx="3682696" cy="1728192"/>
          </a:xfrm>
        </p:spPr>
        <p:txBody>
          <a:bodyPr anchor="ctr"/>
          <a:lstStyle>
            <a:lvl1pPr algn="ctr">
              <a:defRPr sz="1800"/>
            </a:lvl1pPr>
          </a:lstStyle>
          <a:p>
            <a:endParaRPr lang="id-ID"/>
          </a:p>
        </p:txBody>
      </p:sp>
      <p:sp>
        <p:nvSpPr>
          <p:cNvPr id="23" name="Chart Placeholder 10"/>
          <p:cNvSpPr>
            <a:spLocks noGrp="1"/>
          </p:cNvSpPr>
          <p:nvPr>
            <p:ph type="chart" sz="quarter" idx="18"/>
          </p:nvPr>
        </p:nvSpPr>
        <p:spPr>
          <a:xfrm>
            <a:off x="8137829" y="4076704"/>
            <a:ext cx="3682696" cy="1728192"/>
          </a:xfrm>
        </p:spPr>
        <p:txBody>
          <a:bodyPr anchor="ctr"/>
          <a:lstStyle>
            <a:lvl1pPr algn="ctr">
              <a:defRPr sz="1800"/>
            </a:lvl1pPr>
          </a:lstStyle>
          <a:p>
            <a:endParaRPr lang="id-ID"/>
          </a:p>
        </p:txBody>
      </p:sp>
      <p:sp>
        <p:nvSpPr>
          <p:cNvPr id="24" name="Chart Placeholder 10"/>
          <p:cNvSpPr>
            <a:spLocks noGrp="1"/>
          </p:cNvSpPr>
          <p:nvPr>
            <p:ph type="chart" sz="quarter" idx="19"/>
          </p:nvPr>
        </p:nvSpPr>
        <p:spPr>
          <a:xfrm>
            <a:off x="4195221" y="4076704"/>
            <a:ext cx="3682696" cy="1728192"/>
          </a:xfrm>
        </p:spPr>
        <p:txBody>
          <a:bodyPr anchor="ctr"/>
          <a:lstStyle>
            <a:lvl1pPr algn="ctr">
              <a:defRPr sz="1800"/>
            </a:lvl1pPr>
          </a:lstStyle>
          <a:p>
            <a:endParaRPr lang="id-ID"/>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orking-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a:br>
            <a:r>
              <a:rPr lang="en-US"/>
              <a:t>Click to edit Working-out Title text</a:t>
            </a:r>
            <a:endParaRPr lang="id-ID"/>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3"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pitchFamily="2" charset="0"/>
                <a:cs typeface="Gotham"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a:t>Click to edit Title text styles</a:t>
            </a:r>
          </a:p>
        </p:txBody>
      </p:sp>
      <p:pic>
        <p:nvPicPr>
          <p:cNvPr id="14" name="Picture 13"/>
          <p:cNvPicPr>
            <a:picLocks noChangeAspect="1"/>
          </p:cNvPicPr>
          <p:nvPr userDrawn="1"/>
        </p:nvPicPr>
        <p:blipFill>
          <a:blip r:embed="rId2"/>
          <a:srcRect/>
          <a:stretch>
            <a:fillRect/>
          </a:stretch>
        </p:blipFill>
        <p:spPr>
          <a:xfrm>
            <a:off x="759101" y="2381992"/>
            <a:ext cx="720000" cy="720000"/>
          </a:xfrm>
          <a:prstGeom prst="rect">
            <a:avLst/>
          </a:prstGeom>
        </p:spPr>
      </p:pic>
      <p:sp>
        <p:nvSpPr>
          <p:cNvPr id="17" name="TextBox 16"/>
          <p:cNvSpPr txBox="1"/>
          <p:nvPr userDrawn="1"/>
        </p:nvSpPr>
        <p:spPr>
          <a:xfrm>
            <a:off x="5837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pitchFamily="2" charset="0"/>
                <a:ea typeface="Gotham Bold" pitchFamily="2" charset="0"/>
                <a:cs typeface="Gotham" pitchFamily="2" charset="0"/>
              </a:rPr>
              <a:t>Aset</a:t>
            </a:r>
          </a:p>
        </p:txBody>
      </p:sp>
      <p:sp>
        <p:nvSpPr>
          <p:cNvPr id="32" name="Text Placeholder 10"/>
          <p:cNvSpPr>
            <a:spLocks noGrp="1"/>
          </p:cNvSpPr>
          <p:nvPr>
            <p:ph type="body" sz="quarter" idx="17" hasCustomPrompt="1"/>
          </p:nvPr>
        </p:nvSpPr>
        <p:spPr>
          <a:xfrm>
            <a:off x="373428" y="3135883"/>
            <a:ext cx="1512000" cy="365125"/>
          </a:xfrm>
        </p:spPr>
        <p:txBody>
          <a:bodyPr anchor="t"/>
          <a:lstStyle>
            <a:lvl1pPr marL="0" indent="0" algn="ctr">
              <a:lnSpc>
                <a:spcPts val="2800"/>
              </a:lnSpc>
              <a:spcBef>
                <a:spcPts val="0"/>
              </a:spcBef>
              <a:buNone/>
              <a:defRPr sz="2400" b="1" i="0">
                <a:solidFill>
                  <a:schemeClr val="accent3"/>
                </a:solidFill>
                <a:latin typeface="Gotham" pitchFamily="2" charset="0"/>
                <a:cs typeface="Gotham"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46" name="Picture 45"/>
          <p:cNvPicPr>
            <a:picLocks noChangeAspect="1"/>
          </p:cNvPicPr>
          <p:nvPr userDrawn="1"/>
        </p:nvPicPr>
        <p:blipFill>
          <a:blip r:embed="rId3"/>
          <a:srcRect/>
          <a:stretch>
            <a:fillRect/>
          </a:stretch>
        </p:blipFill>
        <p:spPr>
          <a:xfrm>
            <a:off x="2787597" y="2381992"/>
            <a:ext cx="720000" cy="720000"/>
          </a:xfrm>
          <a:prstGeom prst="rect">
            <a:avLst/>
          </a:prstGeom>
        </p:spPr>
      </p:pic>
      <p:sp>
        <p:nvSpPr>
          <p:cNvPr id="47" name="TextBox 46"/>
          <p:cNvSpPr txBox="1"/>
          <p:nvPr userDrawn="1"/>
        </p:nvSpPr>
        <p:spPr>
          <a:xfrm>
            <a:off x="2612230"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pitchFamily="2" charset="0"/>
                <a:ea typeface="Gotham Bold" pitchFamily="2" charset="0"/>
                <a:cs typeface="Gotham" pitchFamily="2" charset="0"/>
              </a:rPr>
              <a:t>Pendapatan</a:t>
            </a:r>
          </a:p>
        </p:txBody>
      </p:sp>
      <p:sp>
        <p:nvSpPr>
          <p:cNvPr id="48" name="Text Placeholder 10"/>
          <p:cNvSpPr>
            <a:spLocks noGrp="1"/>
          </p:cNvSpPr>
          <p:nvPr>
            <p:ph type="body" sz="quarter" idx="18" hasCustomPrompt="1"/>
          </p:nvPr>
        </p:nvSpPr>
        <p:spPr>
          <a:xfrm>
            <a:off x="2401924" y="3135883"/>
            <a:ext cx="1512000" cy="365125"/>
          </a:xfrm>
        </p:spPr>
        <p:txBody>
          <a:bodyPr anchor="t"/>
          <a:lstStyle>
            <a:lvl1pPr marL="0" indent="0" algn="ctr">
              <a:lnSpc>
                <a:spcPts val="2800"/>
              </a:lnSpc>
              <a:spcBef>
                <a:spcPts val="0"/>
              </a:spcBef>
              <a:buNone/>
              <a:defRPr sz="2400" b="1" i="0">
                <a:solidFill>
                  <a:schemeClr val="accent3"/>
                </a:solidFill>
                <a:latin typeface="Gotham" pitchFamily="2" charset="0"/>
                <a:cs typeface="Gotham"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49" name="Picture 48"/>
          <p:cNvPicPr>
            <a:picLocks noChangeAspect="1"/>
          </p:cNvPicPr>
          <p:nvPr userDrawn="1"/>
        </p:nvPicPr>
        <p:blipFill>
          <a:blip r:embed="rId4"/>
          <a:srcRect/>
          <a:stretch>
            <a:fillRect/>
          </a:stretch>
        </p:blipFill>
        <p:spPr>
          <a:xfrm>
            <a:off x="4721501" y="2381992"/>
            <a:ext cx="720000" cy="720000"/>
          </a:xfrm>
          <a:prstGeom prst="rect">
            <a:avLst/>
          </a:prstGeom>
        </p:spPr>
      </p:pic>
      <p:sp>
        <p:nvSpPr>
          <p:cNvPr id="50" name="TextBox 49"/>
          <p:cNvSpPr txBox="1"/>
          <p:nvPr userDrawn="1"/>
        </p:nvSpPr>
        <p:spPr>
          <a:xfrm>
            <a:off x="45461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pitchFamily="2" charset="0"/>
                <a:ea typeface="Gotham Bold" pitchFamily="2" charset="0"/>
                <a:cs typeface="Gotham" pitchFamily="2" charset="0"/>
              </a:rPr>
              <a:t>EBITDA</a:t>
            </a:r>
          </a:p>
        </p:txBody>
      </p:sp>
      <p:sp>
        <p:nvSpPr>
          <p:cNvPr id="51" name="Text Placeholder 10"/>
          <p:cNvSpPr>
            <a:spLocks noGrp="1"/>
          </p:cNvSpPr>
          <p:nvPr>
            <p:ph type="body" sz="quarter" idx="19" hasCustomPrompt="1"/>
          </p:nvPr>
        </p:nvSpPr>
        <p:spPr>
          <a:xfrm>
            <a:off x="4335828" y="3135883"/>
            <a:ext cx="1512000" cy="365125"/>
          </a:xfrm>
        </p:spPr>
        <p:txBody>
          <a:bodyPr anchor="t"/>
          <a:lstStyle>
            <a:lvl1pPr marL="0" indent="0" algn="ctr">
              <a:lnSpc>
                <a:spcPts val="2800"/>
              </a:lnSpc>
              <a:spcBef>
                <a:spcPts val="0"/>
              </a:spcBef>
              <a:buNone/>
              <a:defRPr sz="2400" b="1" i="0">
                <a:solidFill>
                  <a:schemeClr val="accent3"/>
                </a:solidFill>
                <a:latin typeface="Gotham" pitchFamily="2" charset="0"/>
                <a:cs typeface="Gotham"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52" name="Picture 51"/>
          <p:cNvPicPr>
            <a:picLocks noChangeAspect="1"/>
          </p:cNvPicPr>
          <p:nvPr userDrawn="1"/>
        </p:nvPicPr>
        <p:blipFill>
          <a:blip r:embed="rId5"/>
          <a:srcRect/>
          <a:stretch>
            <a:fillRect/>
          </a:stretch>
        </p:blipFill>
        <p:spPr>
          <a:xfrm>
            <a:off x="6655404" y="2381992"/>
            <a:ext cx="720000" cy="720000"/>
          </a:xfrm>
          <a:prstGeom prst="rect">
            <a:avLst/>
          </a:prstGeom>
        </p:spPr>
      </p:pic>
      <p:sp>
        <p:nvSpPr>
          <p:cNvPr id="53" name="TextBox 52"/>
          <p:cNvSpPr txBox="1"/>
          <p:nvPr userDrawn="1"/>
        </p:nvSpPr>
        <p:spPr>
          <a:xfrm>
            <a:off x="6480037" y="2151727"/>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pitchFamily="2" charset="0"/>
                <a:ea typeface="Gotham Bold" pitchFamily="2" charset="0"/>
                <a:cs typeface="Gotham" pitchFamily="2" charset="0"/>
              </a:rPr>
              <a:t>Value</a:t>
            </a:r>
            <a:endParaRPr lang="id-ID" sz="1000" b="1" i="0">
              <a:solidFill>
                <a:schemeClr val="accent1"/>
              </a:solidFill>
              <a:latin typeface="Gotham" pitchFamily="2" charset="0"/>
              <a:ea typeface="Gotham Bold" pitchFamily="2" charset="0"/>
              <a:cs typeface="Gotham" pitchFamily="2" charset="0"/>
            </a:endParaRPr>
          </a:p>
        </p:txBody>
      </p:sp>
      <p:sp>
        <p:nvSpPr>
          <p:cNvPr id="54" name="Text Placeholder 10"/>
          <p:cNvSpPr>
            <a:spLocks noGrp="1"/>
          </p:cNvSpPr>
          <p:nvPr>
            <p:ph type="body" sz="quarter" idx="20" hasCustomPrompt="1"/>
          </p:nvPr>
        </p:nvSpPr>
        <p:spPr>
          <a:xfrm>
            <a:off x="6269731" y="3135883"/>
            <a:ext cx="1512000" cy="365125"/>
          </a:xfrm>
        </p:spPr>
        <p:txBody>
          <a:bodyPr anchor="t"/>
          <a:lstStyle>
            <a:lvl1pPr marL="0" indent="0" algn="ctr">
              <a:lnSpc>
                <a:spcPts val="2800"/>
              </a:lnSpc>
              <a:spcBef>
                <a:spcPts val="0"/>
              </a:spcBef>
              <a:buNone/>
              <a:defRPr sz="2400" b="1" i="0">
                <a:solidFill>
                  <a:schemeClr val="accent3"/>
                </a:solidFill>
                <a:latin typeface="Gotham" pitchFamily="2" charset="0"/>
                <a:cs typeface="Gotham"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57" name="Picture 56"/>
          <p:cNvPicPr>
            <a:picLocks noChangeAspect="1"/>
          </p:cNvPicPr>
          <p:nvPr userDrawn="1"/>
        </p:nvPicPr>
        <p:blipFill>
          <a:blip r:embed="rId6"/>
          <a:srcRect/>
          <a:stretch>
            <a:fillRect/>
          </a:stretch>
        </p:blipFill>
        <p:spPr>
          <a:xfrm>
            <a:off x="759101" y="4263344"/>
            <a:ext cx="720000" cy="720000"/>
          </a:xfrm>
          <a:prstGeom prst="rect">
            <a:avLst/>
          </a:prstGeom>
        </p:spPr>
      </p:pic>
      <p:sp>
        <p:nvSpPr>
          <p:cNvPr id="58" name="TextBox 57"/>
          <p:cNvSpPr txBox="1"/>
          <p:nvPr userDrawn="1"/>
        </p:nvSpPr>
        <p:spPr>
          <a:xfrm>
            <a:off x="5837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pitchFamily="2" charset="0"/>
                <a:ea typeface="Gotham Bold" pitchFamily="2" charset="0"/>
                <a:cs typeface="Gotham" pitchFamily="2" charset="0"/>
              </a:rPr>
              <a:t>Persen</a:t>
            </a:r>
          </a:p>
        </p:txBody>
      </p:sp>
      <p:sp>
        <p:nvSpPr>
          <p:cNvPr id="59" name="Text Placeholder 10"/>
          <p:cNvSpPr>
            <a:spLocks noGrp="1"/>
          </p:cNvSpPr>
          <p:nvPr>
            <p:ph type="body" sz="quarter" idx="21" hasCustomPrompt="1"/>
          </p:nvPr>
        </p:nvSpPr>
        <p:spPr>
          <a:xfrm>
            <a:off x="373428" y="5017235"/>
            <a:ext cx="1512000" cy="365125"/>
          </a:xfrm>
        </p:spPr>
        <p:txBody>
          <a:bodyPr anchor="t"/>
          <a:lstStyle>
            <a:lvl1pPr marL="0" indent="0" algn="ctr">
              <a:lnSpc>
                <a:spcPts val="2800"/>
              </a:lnSpc>
              <a:spcBef>
                <a:spcPts val="0"/>
              </a:spcBef>
              <a:buNone/>
              <a:defRPr sz="2400" b="1" i="0">
                <a:solidFill>
                  <a:schemeClr val="accent3"/>
                </a:solidFill>
                <a:latin typeface="Gotham" pitchFamily="2" charset="0"/>
                <a:cs typeface="Gotham"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84" name="Picture 83"/>
          <p:cNvPicPr>
            <a:picLocks noChangeAspect="1"/>
          </p:cNvPicPr>
          <p:nvPr userDrawn="1"/>
        </p:nvPicPr>
        <p:blipFill>
          <a:blip r:embed="rId7"/>
          <a:srcRect/>
          <a:stretch>
            <a:fillRect/>
          </a:stretch>
        </p:blipFill>
        <p:spPr>
          <a:xfrm>
            <a:off x="2787597" y="4263344"/>
            <a:ext cx="720000" cy="720000"/>
          </a:xfrm>
          <a:prstGeom prst="rect">
            <a:avLst/>
          </a:prstGeom>
        </p:spPr>
      </p:pic>
      <p:sp>
        <p:nvSpPr>
          <p:cNvPr id="85" name="TextBox 84"/>
          <p:cNvSpPr txBox="1"/>
          <p:nvPr userDrawn="1"/>
        </p:nvSpPr>
        <p:spPr>
          <a:xfrm>
            <a:off x="2612230" y="4033079"/>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pitchFamily="2" charset="0"/>
                <a:ea typeface="Gotham Bold" pitchFamily="2" charset="0"/>
                <a:cs typeface="Gotham" pitchFamily="2" charset="0"/>
              </a:rPr>
              <a:t>Grow</a:t>
            </a:r>
            <a:endParaRPr lang="id-ID" sz="1000" b="1" i="0">
              <a:solidFill>
                <a:schemeClr val="accent1"/>
              </a:solidFill>
              <a:latin typeface="Gotham" pitchFamily="2" charset="0"/>
              <a:ea typeface="Gotham Bold" pitchFamily="2" charset="0"/>
              <a:cs typeface="Gotham" pitchFamily="2" charset="0"/>
            </a:endParaRPr>
          </a:p>
        </p:txBody>
      </p:sp>
      <p:sp>
        <p:nvSpPr>
          <p:cNvPr id="86" name="Text Placeholder 10"/>
          <p:cNvSpPr>
            <a:spLocks noGrp="1"/>
          </p:cNvSpPr>
          <p:nvPr>
            <p:ph type="body" sz="quarter" idx="22" hasCustomPrompt="1"/>
          </p:nvPr>
        </p:nvSpPr>
        <p:spPr>
          <a:xfrm>
            <a:off x="2401924" y="5017235"/>
            <a:ext cx="1512000" cy="365125"/>
          </a:xfrm>
        </p:spPr>
        <p:txBody>
          <a:bodyPr anchor="t"/>
          <a:lstStyle>
            <a:lvl1pPr marL="0" indent="0" algn="ctr">
              <a:lnSpc>
                <a:spcPts val="2800"/>
              </a:lnSpc>
              <a:spcBef>
                <a:spcPts val="0"/>
              </a:spcBef>
              <a:buNone/>
              <a:defRPr sz="2400" b="1" i="0">
                <a:solidFill>
                  <a:schemeClr val="accent3"/>
                </a:solidFill>
                <a:latin typeface="Gotham" pitchFamily="2" charset="0"/>
                <a:cs typeface="Gotham"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87" name="Picture 86"/>
          <p:cNvPicPr>
            <a:picLocks noChangeAspect="1"/>
          </p:cNvPicPr>
          <p:nvPr userDrawn="1"/>
        </p:nvPicPr>
        <p:blipFill>
          <a:blip r:embed="rId8"/>
          <a:srcRect/>
          <a:stretch>
            <a:fillRect/>
          </a:stretch>
        </p:blipFill>
        <p:spPr>
          <a:xfrm>
            <a:off x="4721501" y="4263344"/>
            <a:ext cx="720000" cy="720000"/>
          </a:xfrm>
          <a:prstGeom prst="rect">
            <a:avLst/>
          </a:prstGeom>
        </p:spPr>
      </p:pic>
      <p:sp>
        <p:nvSpPr>
          <p:cNvPr id="88" name="TextBox 87"/>
          <p:cNvSpPr txBox="1"/>
          <p:nvPr userDrawn="1"/>
        </p:nvSpPr>
        <p:spPr>
          <a:xfrm>
            <a:off x="45461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pitchFamily="2" charset="0"/>
                <a:ea typeface="Gotham Bold" pitchFamily="2" charset="0"/>
                <a:cs typeface="Gotham" pitchFamily="2" charset="0"/>
              </a:rPr>
              <a:t>Pendapatan</a:t>
            </a:r>
          </a:p>
        </p:txBody>
      </p:sp>
      <p:sp>
        <p:nvSpPr>
          <p:cNvPr id="89" name="Text Placeholder 10"/>
          <p:cNvSpPr>
            <a:spLocks noGrp="1"/>
          </p:cNvSpPr>
          <p:nvPr>
            <p:ph type="body" sz="quarter" idx="23" hasCustomPrompt="1"/>
          </p:nvPr>
        </p:nvSpPr>
        <p:spPr>
          <a:xfrm>
            <a:off x="4335828" y="5017235"/>
            <a:ext cx="1512000" cy="365125"/>
          </a:xfrm>
        </p:spPr>
        <p:txBody>
          <a:bodyPr anchor="t"/>
          <a:lstStyle>
            <a:lvl1pPr marL="0" indent="0" algn="ctr">
              <a:lnSpc>
                <a:spcPts val="2800"/>
              </a:lnSpc>
              <a:spcBef>
                <a:spcPts val="0"/>
              </a:spcBef>
              <a:buNone/>
              <a:defRPr sz="2400" b="1" i="0">
                <a:solidFill>
                  <a:schemeClr val="accent3"/>
                </a:solidFill>
                <a:latin typeface="Gotham" pitchFamily="2" charset="0"/>
                <a:cs typeface="Gotham"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MIND ID Presentation Color Scheme">
    <p:spTree>
      <p:nvGrpSpPr>
        <p:cNvPr id="1" name=""/>
        <p:cNvGrpSpPr/>
        <p:nvPr/>
      </p:nvGrpSpPr>
      <p:grpSpPr>
        <a:xfrm>
          <a:off x="0" y="0"/>
          <a:ext cx="0" cy="0"/>
          <a:chOff x="0" y="0"/>
          <a:chExt cx="0" cy="0"/>
        </a:xfrm>
      </p:grpSpPr>
      <p:sp>
        <p:nvSpPr>
          <p:cNvPr id="6" name="Rounded Rectangle 5"/>
          <p:cNvSpPr/>
          <p:nvPr userDrawn="1"/>
        </p:nvSpPr>
        <p:spPr>
          <a:xfrm>
            <a:off x="514144" y="1650267"/>
            <a:ext cx="937601" cy="2286209"/>
          </a:xfrm>
          <a:prstGeom prst="roundRect">
            <a:avLst>
              <a:gd name="adj" fmla="val 50000"/>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ounded Rectangle 6"/>
          <p:cNvSpPr/>
          <p:nvPr userDrawn="1"/>
        </p:nvSpPr>
        <p:spPr>
          <a:xfrm>
            <a:off x="1749893" y="1650267"/>
            <a:ext cx="937601" cy="2286209"/>
          </a:xfrm>
          <a:prstGeom prst="roundRect">
            <a:avLst>
              <a:gd name="adj" fmla="val 50000"/>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Rounded Rectangle 7"/>
          <p:cNvSpPr/>
          <p:nvPr userDrawn="1"/>
        </p:nvSpPr>
        <p:spPr>
          <a:xfrm>
            <a:off x="3067549" y="1650267"/>
            <a:ext cx="937601" cy="2286209"/>
          </a:xfrm>
          <a:prstGeom prst="roundRect">
            <a:avLst>
              <a:gd name="adj" fmla="val 50000"/>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ounded Rectangle 8"/>
          <p:cNvSpPr/>
          <p:nvPr userDrawn="1"/>
        </p:nvSpPr>
        <p:spPr>
          <a:xfrm>
            <a:off x="4418996" y="1650267"/>
            <a:ext cx="937601" cy="2286209"/>
          </a:xfrm>
          <a:prstGeom prst="roundRect">
            <a:avLst>
              <a:gd name="adj" fmla="val 50000"/>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userDrawn="1"/>
        </p:nvSpPr>
        <p:spPr>
          <a:xfrm>
            <a:off x="565103" y="4225592"/>
            <a:ext cx="970137"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2 50 9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1" name="TextBox 10"/>
          <p:cNvSpPr txBox="1"/>
          <p:nvPr userDrawn="1"/>
        </p:nvSpPr>
        <p:spPr>
          <a:xfrm>
            <a:off x="1757517" y="4225592"/>
            <a:ext cx="93647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8 98 164</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2" name="TextBox 11"/>
          <p:cNvSpPr txBox="1"/>
          <p:nvPr userDrawn="1"/>
        </p:nvSpPr>
        <p:spPr>
          <a:xfrm>
            <a:off x="3085212" y="4225592"/>
            <a:ext cx="1154483" cy="523220"/>
          </a:xfrm>
          <a:prstGeom prst="rect">
            <a:avLst/>
          </a:prstGeom>
          <a:noFill/>
        </p:spPr>
        <p:txBody>
          <a:bodyPr wrap="none" rtlCol="0">
            <a:spAutoFit/>
          </a:bodyPr>
          <a:lstStyle/>
          <a:p>
            <a:r>
              <a:rPr lang="cs-CZ" sz="1400" b="0" i="0">
                <a:solidFill>
                  <a:schemeClr val="tx1">
                    <a:lumMod val="65000"/>
                    <a:lumOff val="35000"/>
                  </a:schemeClr>
                </a:solidFill>
                <a:latin typeface="Gotham Book" charset="0"/>
                <a:ea typeface="Proxima Nova Rg" charset="0"/>
                <a:cs typeface="Gotham Book" charset="0"/>
              </a:rPr>
              <a:t>RGB</a:t>
            </a:r>
          </a:p>
          <a:p>
            <a:r>
              <a:rPr lang="cs-CZ" sz="1400" b="0" i="0">
                <a:solidFill>
                  <a:schemeClr val="tx1">
                    <a:lumMod val="65000"/>
                    <a:lumOff val="35000"/>
                  </a:schemeClr>
                </a:solidFill>
                <a:latin typeface="Gotham Book" charset="0"/>
                <a:ea typeface="Proxima Nova Rg" charset="0"/>
                <a:cs typeface="Gotham Book" charset="0"/>
              </a:rPr>
              <a:t>60 166 22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3" name="TextBox 12"/>
          <p:cNvSpPr txBox="1"/>
          <p:nvPr userDrawn="1"/>
        </p:nvSpPr>
        <p:spPr>
          <a:xfrm>
            <a:off x="4456316" y="4225592"/>
            <a:ext cx="130516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06 224 237</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4" name="Rounded Rectangle 13"/>
          <p:cNvSpPr/>
          <p:nvPr userDrawn="1"/>
        </p:nvSpPr>
        <p:spPr>
          <a:xfrm>
            <a:off x="5807968" y="1650267"/>
            <a:ext cx="937601" cy="2286209"/>
          </a:xfrm>
          <a:prstGeom prst="roundRect">
            <a:avLst>
              <a:gd name="adj" fmla="val 50000"/>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TextBox 14"/>
          <p:cNvSpPr txBox="1"/>
          <p:nvPr userDrawn="1"/>
        </p:nvSpPr>
        <p:spPr>
          <a:xfrm>
            <a:off x="5807968" y="4225592"/>
            <a:ext cx="1066318"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37 28 36</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8" name="Title 17"/>
          <p:cNvSpPr>
            <a:spLocks noGrp="1"/>
          </p:cNvSpPr>
          <p:nvPr>
            <p:ph type="title" hasCustomPrompt="1"/>
          </p:nvPr>
        </p:nvSpPr>
        <p:spPr>
          <a:xfrm>
            <a:off x="334963" y="623455"/>
            <a:ext cx="6410606" cy="645305"/>
          </a:xfrm>
        </p:spPr>
        <p:txBody>
          <a:bodyPr/>
          <a:lstStyle>
            <a:lvl1pPr>
              <a:defRPr baseline="0"/>
            </a:lvl1pPr>
          </a:lstStyle>
          <a:p>
            <a:br>
              <a:rPr lang="en-US"/>
            </a:br>
            <a:r>
              <a:rPr lang="en-US"/>
              <a:t>Visual Assets -  Presentation Color Scheme</a:t>
            </a:r>
          </a:p>
        </p:txBody>
      </p:sp>
      <p:sp>
        <p:nvSpPr>
          <p:cNvPr id="19" name="Oval 18"/>
          <p:cNvSpPr/>
          <p:nvPr userDrawn="1"/>
        </p:nvSpPr>
        <p:spPr>
          <a:xfrm>
            <a:off x="531919" y="5038149"/>
            <a:ext cx="930719" cy="930719"/>
          </a:xfrm>
          <a:prstGeom prst="ellipse">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Oval 19"/>
          <p:cNvSpPr/>
          <p:nvPr userDrawn="1"/>
        </p:nvSpPr>
        <p:spPr>
          <a:xfrm>
            <a:off x="1761733" y="5038149"/>
            <a:ext cx="930719" cy="930719"/>
          </a:xfrm>
          <a:prstGeom prst="ellipse">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Oval 20"/>
          <p:cNvSpPr/>
          <p:nvPr userDrawn="1"/>
        </p:nvSpPr>
        <p:spPr>
          <a:xfrm>
            <a:off x="3075578" y="5038149"/>
            <a:ext cx="930719" cy="930719"/>
          </a:xfrm>
          <a:prstGeom prst="ellipse">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Oval 21"/>
          <p:cNvSpPr/>
          <p:nvPr userDrawn="1"/>
        </p:nvSpPr>
        <p:spPr>
          <a:xfrm>
            <a:off x="4419478" y="5038149"/>
            <a:ext cx="930719" cy="930719"/>
          </a:xfrm>
          <a:prstGeom prst="ellipse">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3" name="Oval 22"/>
          <p:cNvSpPr/>
          <p:nvPr userDrawn="1"/>
        </p:nvSpPr>
        <p:spPr>
          <a:xfrm>
            <a:off x="5808450" y="5038149"/>
            <a:ext cx="930719" cy="930719"/>
          </a:xfrm>
          <a:prstGeom prst="ellipse">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3" name="Date Placeholder 32"/>
          <p:cNvSpPr>
            <a:spLocks noGrp="1"/>
          </p:cNvSpPr>
          <p:nvPr>
            <p:ph type="dt" sz="half" idx="10"/>
          </p:nvPr>
        </p:nvSpPr>
        <p:spPr/>
        <p:txBody>
          <a:bodyPr/>
          <a:lstStyle/>
          <a:p>
            <a:r>
              <a:rPr lang="en-ID"/>
              <a:t>Thursday, 11 December 2021</a:t>
            </a:r>
            <a:endParaRPr lang="id-ID"/>
          </a:p>
        </p:txBody>
      </p:sp>
      <p:sp>
        <p:nvSpPr>
          <p:cNvPr id="34" name="Footer Placeholder 33"/>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35" name="Slide Number Placeholder 34"/>
          <p:cNvSpPr>
            <a:spLocks noGrp="1"/>
          </p:cNvSpPr>
          <p:nvPr>
            <p:ph type="sldNum" sz="quarter" idx="12"/>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351069" y="1704977"/>
            <a:ext cx="11469455" cy="3884264"/>
          </a:xfrm>
          <a:prstGeom prst="rect">
            <a:avLst/>
          </a:prstGeom>
          <a:noFill/>
          <a:ln>
            <a:noFill/>
          </a:ln>
        </p:spPr>
        <p:txBody>
          <a:bodyPr tIns="46800" numCol="2" spcCol="540000">
            <a:noAutofit/>
          </a:bodyPr>
          <a:lstStyle>
            <a:lvl1pPr marL="0" indent="0" algn="l">
              <a:lnSpc>
                <a:spcPts val="1400"/>
              </a:lnSpc>
              <a:spcBef>
                <a:spcPts val="0"/>
              </a:spcBef>
              <a:buFont typeface="Arial" panose="020B0604020202090204" pitchFamily="34" charset="0"/>
              <a:buNone/>
              <a:defRPr sz="1050" b="0" i="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indent="-228600">
              <a:lnSpc>
                <a:spcPts val="1400"/>
              </a:lnSpc>
              <a:buFont typeface="Arial" panose="020B0604020202090204" pitchFamily="34" charset="0"/>
              <a:buChar char="•"/>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2" name="Title 1"/>
          <p:cNvSpPr>
            <a:spLocks noGrp="1"/>
          </p:cNvSpPr>
          <p:nvPr>
            <p:ph type="title" hasCustomPrompt="1"/>
          </p:nvPr>
        </p:nvSpPr>
        <p:spPr>
          <a:xfrm>
            <a:off x="334963" y="858983"/>
            <a:ext cx="5328989" cy="481786"/>
          </a:xfrm>
        </p:spPr>
        <p:txBody>
          <a:bodyPr vert="horz"/>
          <a:lstStyle>
            <a:lvl1pPr>
              <a:defRPr baseline="0">
                <a:latin typeface="+mj-lt"/>
                <a:ea typeface="+mj-ea"/>
                <a:cs typeface="+mj-cs"/>
              </a:defRPr>
            </a:lvl1pPr>
          </a:lstStyle>
          <a:p>
            <a:r>
              <a:rPr lang="en-US"/>
              <a:t>Disclaimer page</a:t>
            </a:r>
            <a:endParaRPr lang="id-ID"/>
          </a:p>
        </p:txBody>
      </p:sp>
      <p:sp>
        <p:nvSpPr>
          <p:cNvPr id="8" name="Footer Placeholder 7"/>
          <p:cNvSpPr>
            <a:spLocks noGrp="1"/>
          </p:cNvSpPr>
          <p:nvPr>
            <p:ph type="ftr" sz="quarter" idx="11"/>
          </p:nvPr>
        </p:nvSpPr>
        <p:spPr/>
        <p:txBody>
          <a:bodyPr/>
          <a:lstStyle/>
          <a:p>
            <a:pPr algn="l"/>
            <a:endParaRPr lang="en-US">
              <a:solidFill>
                <a:schemeClr val="bg1">
                  <a:lumMod val="50000"/>
                </a:schemeClr>
              </a:solidFill>
            </a:endParaRPr>
          </a:p>
        </p:txBody>
      </p:sp>
      <p:sp>
        <p:nvSpPr>
          <p:cNvPr id="12"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MIND ID Presentation Color Scheme">
    <p:spTree>
      <p:nvGrpSpPr>
        <p:cNvPr id="1" name=""/>
        <p:cNvGrpSpPr/>
        <p:nvPr/>
      </p:nvGrpSpPr>
      <p:grpSpPr>
        <a:xfrm>
          <a:off x="0" y="0"/>
          <a:ext cx="0" cy="0"/>
          <a:chOff x="0" y="0"/>
          <a:chExt cx="0" cy="0"/>
        </a:xfrm>
      </p:grpSpPr>
      <p:sp>
        <p:nvSpPr>
          <p:cNvPr id="18" name="Title 17"/>
          <p:cNvSpPr>
            <a:spLocks noGrp="1"/>
          </p:cNvSpPr>
          <p:nvPr>
            <p:ph type="title" hasCustomPrompt="1"/>
          </p:nvPr>
        </p:nvSpPr>
        <p:spPr>
          <a:xfrm>
            <a:off x="334963" y="623456"/>
            <a:ext cx="3500281" cy="523420"/>
          </a:xfrm>
        </p:spPr>
        <p:txBody>
          <a:bodyPr/>
          <a:lstStyle>
            <a:lvl1pPr>
              <a:defRPr baseline="0"/>
            </a:lvl1pPr>
          </a:lstStyle>
          <a:p>
            <a:br>
              <a:rPr lang="en-US"/>
            </a:br>
            <a:r>
              <a:rPr lang="en-US"/>
              <a:t>Visual Assets - Iconography Bank</a:t>
            </a:r>
          </a:p>
        </p:txBody>
      </p:sp>
      <p:sp>
        <p:nvSpPr>
          <p:cNvPr id="36" name="TextBox 35"/>
          <p:cNvSpPr txBox="1"/>
          <p:nvPr userDrawn="1"/>
        </p:nvSpPr>
        <p:spPr>
          <a:xfrm>
            <a:off x="334963" y="1340768"/>
            <a:ext cx="4286280" cy="383438"/>
          </a:xfrm>
          <a:prstGeom prst="rect">
            <a:avLst/>
          </a:prstGeom>
          <a:noFill/>
        </p:spPr>
        <p:txBody>
          <a:bodyPr wrap="square" lIns="0" rtlCol="0" anchor="ctr">
            <a:spAutoFit/>
          </a:bodyPr>
          <a:lstStyle/>
          <a:p>
            <a:pPr lvl="0">
              <a:lnSpc>
                <a:spcPts val="2400"/>
              </a:lnSpc>
              <a:defRPr/>
            </a:pPr>
            <a:r>
              <a:rPr lang="en-US" sz="1400" noProof="1">
                <a:solidFill>
                  <a:schemeClr val="accent2"/>
                </a:solidFill>
                <a:latin typeface="Proxima Nova Rg" charset="0"/>
                <a:ea typeface="Proxima Nova Rg" charset="0"/>
                <a:cs typeface="Proxima Nova Rg" charset="0"/>
              </a:rPr>
              <a:t>Primary</a:t>
            </a:r>
          </a:p>
        </p:txBody>
      </p:sp>
      <p:sp>
        <p:nvSpPr>
          <p:cNvPr id="44" name="TextBox 43"/>
          <p:cNvSpPr txBox="1"/>
          <p:nvPr userDrawn="1"/>
        </p:nvSpPr>
        <p:spPr>
          <a:xfrm>
            <a:off x="334963" y="4797152"/>
            <a:ext cx="4286280" cy="383438"/>
          </a:xfrm>
          <a:prstGeom prst="rect">
            <a:avLst/>
          </a:prstGeom>
          <a:noFill/>
        </p:spPr>
        <p:txBody>
          <a:bodyPr wrap="square" lIns="0" rtlCol="0" anchor="ctr">
            <a:spAutoFit/>
          </a:bodyPr>
          <a:lstStyle/>
          <a:p>
            <a:pPr lvl="0">
              <a:lnSpc>
                <a:spcPts val="2400"/>
              </a:lnSpc>
              <a:defRPr/>
            </a:pPr>
            <a:r>
              <a:rPr lang="en-US" sz="1400" noProof="1">
                <a:solidFill>
                  <a:schemeClr val="accent2"/>
                </a:solidFill>
                <a:latin typeface="Proxima Nova Rg" charset="0"/>
                <a:ea typeface="Proxima Nova Rg" charset="0"/>
                <a:cs typeface="Proxima Nova Rg" charset="0"/>
              </a:rPr>
              <a:t>Secondary</a:t>
            </a:r>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Footer Placeholder 3"/>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12"/>
          </p:nvPr>
        </p:nvSpPr>
        <p:spPr/>
        <p:txBody>
          <a:bodyPr/>
          <a:lstStyle/>
          <a:p>
            <a:r>
              <a:rPr lang="id-ID"/>
              <a:t>|          </a:t>
            </a:r>
            <a:fld id="{7904F5B5-DD6E-6442-8C14-4BFE420CE974}" type="slidenum">
              <a:rPr lang="id-ID" smtClean="0"/>
              <a:t>‹#›</a:t>
            </a:fld>
            <a:endParaRPr lang="id-ID"/>
          </a:p>
        </p:txBody>
      </p:sp>
      <p:sp>
        <p:nvSpPr>
          <p:cNvPr id="17" name="Text Placeholder 16"/>
          <p:cNvSpPr>
            <a:spLocks noGrp="1"/>
          </p:cNvSpPr>
          <p:nvPr>
            <p:ph type="body" sz="quarter" idx="13" hasCustomPrompt="1"/>
          </p:nvPr>
        </p:nvSpPr>
        <p:spPr>
          <a:xfrm>
            <a:off x="2024680"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6" name="Text Placeholder 16"/>
          <p:cNvSpPr>
            <a:spLocks noGrp="1"/>
          </p:cNvSpPr>
          <p:nvPr>
            <p:ph type="body" sz="quarter" idx="14" hasCustomPrompt="1"/>
          </p:nvPr>
        </p:nvSpPr>
        <p:spPr>
          <a:xfrm>
            <a:off x="346736"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7" name="Text Placeholder 16"/>
          <p:cNvSpPr>
            <a:spLocks noGrp="1"/>
          </p:cNvSpPr>
          <p:nvPr>
            <p:ph type="body" sz="quarter" idx="15" hasCustomPrompt="1"/>
          </p:nvPr>
        </p:nvSpPr>
        <p:spPr>
          <a:xfrm>
            <a:off x="3702624"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8" name="Text Placeholder 16"/>
          <p:cNvSpPr>
            <a:spLocks noGrp="1"/>
          </p:cNvSpPr>
          <p:nvPr>
            <p:ph type="body" sz="quarter" idx="16" hasCustomPrompt="1"/>
          </p:nvPr>
        </p:nvSpPr>
        <p:spPr>
          <a:xfrm>
            <a:off x="5380568"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9" name="Text Placeholder 16"/>
          <p:cNvSpPr>
            <a:spLocks noGrp="1"/>
          </p:cNvSpPr>
          <p:nvPr>
            <p:ph type="body" sz="quarter" idx="17" hasCustomPrompt="1"/>
          </p:nvPr>
        </p:nvSpPr>
        <p:spPr>
          <a:xfrm>
            <a:off x="2024680"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0" name="Text Placeholder 16"/>
          <p:cNvSpPr>
            <a:spLocks noGrp="1"/>
          </p:cNvSpPr>
          <p:nvPr>
            <p:ph type="body" sz="quarter" idx="18" hasCustomPrompt="1"/>
          </p:nvPr>
        </p:nvSpPr>
        <p:spPr>
          <a:xfrm>
            <a:off x="346736"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1" name="Text Placeholder 16"/>
          <p:cNvSpPr>
            <a:spLocks noGrp="1"/>
          </p:cNvSpPr>
          <p:nvPr>
            <p:ph type="body" sz="quarter" idx="19" hasCustomPrompt="1"/>
          </p:nvPr>
        </p:nvSpPr>
        <p:spPr>
          <a:xfrm>
            <a:off x="3702624"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2" name="Text Placeholder 16"/>
          <p:cNvSpPr>
            <a:spLocks noGrp="1"/>
          </p:cNvSpPr>
          <p:nvPr>
            <p:ph type="body" sz="quarter" idx="20" hasCustomPrompt="1"/>
          </p:nvPr>
        </p:nvSpPr>
        <p:spPr>
          <a:xfrm>
            <a:off x="5380568"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90" name="Text Placeholder 16"/>
          <p:cNvSpPr>
            <a:spLocks noGrp="1"/>
          </p:cNvSpPr>
          <p:nvPr>
            <p:ph type="body" sz="quarter" idx="22" hasCustomPrompt="1"/>
          </p:nvPr>
        </p:nvSpPr>
        <p:spPr>
          <a:xfrm>
            <a:off x="7058512" y="2684134"/>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94" name="Text Placeholder 16"/>
          <p:cNvSpPr>
            <a:spLocks noGrp="1"/>
          </p:cNvSpPr>
          <p:nvPr>
            <p:ph type="body" sz="quarter" idx="26" hasCustomPrompt="1"/>
          </p:nvPr>
        </p:nvSpPr>
        <p:spPr>
          <a:xfrm>
            <a:off x="7058512" y="3997401"/>
            <a:ext cx="1395564" cy="246716"/>
          </a:xfrm>
        </p:spPr>
        <p:txBody>
          <a:bodyPr rIns="0" bIns="0" anchor="ctr"/>
          <a:lstStyle>
            <a:lvl1pPr marL="0" indent="0" algn="ctr">
              <a:buNone/>
              <a:defRPr sz="900" b="0" i="0">
                <a:latin typeface="Gotham Book" pitchFamily="2" charset="77"/>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pic>
        <p:nvPicPr>
          <p:cNvPr id="53" name="Picture 28"/>
          <p:cNvPicPr>
            <a:picLocks noChangeAspect="1"/>
          </p:cNvPicPr>
          <p:nvPr userDrawn="1"/>
        </p:nvPicPr>
        <p:blipFill>
          <a:blip r:embed="rId2"/>
          <a:srcRect/>
          <a:stretch>
            <a:fillRect/>
          </a:stretch>
        </p:blipFill>
        <p:spPr>
          <a:xfrm>
            <a:off x="2230091" y="1696956"/>
            <a:ext cx="1002126" cy="1002126"/>
          </a:xfrm>
          <a:prstGeom prst="rect">
            <a:avLst/>
          </a:prstGeom>
        </p:spPr>
      </p:pic>
      <p:pic>
        <p:nvPicPr>
          <p:cNvPr id="54" name="Picture 28"/>
          <p:cNvPicPr>
            <a:picLocks noChangeAspect="1"/>
          </p:cNvPicPr>
          <p:nvPr userDrawn="1"/>
        </p:nvPicPr>
        <p:blipFill>
          <a:blip r:embed="rId3"/>
          <a:srcRect/>
          <a:stretch>
            <a:fillRect/>
          </a:stretch>
        </p:blipFill>
        <p:spPr>
          <a:xfrm>
            <a:off x="552147" y="1696956"/>
            <a:ext cx="1002126" cy="1002126"/>
          </a:xfrm>
          <a:prstGeom prst="rect">
            <a:avLst/>
          </a:prstGeom>
        </p:spPr>
      </p:pic>
      <p:pic>
        <p:nvPicPr>
          <p:cNvPr id="55" name="Picture 28"/>
          <p:cNvPicPr>
            <a:picLocks noChangeAspect="1"/>
          </p:cNvPicPr>
          <p:nvPr userDrawn="1"/>
        </p:nvPicPr>
        <p:blipFill>
          <a:blip r:embed="rId4"/>
          <a:srcRect/>
          <a:stretch>
            <a:fillRect/>
          </a:stretch>
        </p:blipFill>
        <p:spPr>
          <a:xfrm>
            <a:off x="3877919" y="1696956"/>
            <a:ext cx="1002126" cy="1002126"/>
          </a:xfrm>
          <a:prstGeom prst="rect">
            <a:avLst/>
          </a:prstGeom>
        </p:spPr>
      </p:pic>
      <p:pic>
        <p:nvPicPr>
          <p:cNvPr id="56" name="Picture 28"/>
          <p:cNvPicPr>
            <a:picLocks noChangeAspect="1"/>
          </p:cNvPicPr>
          <p:nvPr userDrawn="1"/>
        </p:nvPicPr>
        <p:blipFill>
          <a:blip r:embed="rId5"/>
          <a:srcRect/>
          <a:stretch>
            <a:fillRect/>
          </a:stretch>
        </p:blipFill>
        <p:spPr>
          <a:xfrm>
            <a:off x="5565738" y="1696956"/>
            <a:ext cx="1002126" cy="1002126"/>
          </a:xfrm>
          <a:prstGeom prst="rect">
            <a:avLst/>
          </a:prstGeom>
        </p:spPr>
      </p:pic>
      <p:pic>
        <p:nvPicPr>
          <p:cNvPr id="57" name="Picture 28"/>
          <p:cNvPicPr>
            <a:picLocks noChangeAspect="1"/>
          </p:cNvPicPr>
          <p:nvPr userDrawn="1"/>
        </p:nvPicPr>
        <p:blipFill>
          <a:blip r:embed="rId6"/>
          <a:srcRect/>
          <a:stretch>
            <a:fillRect/>
          </a:stretch>
        </p:blipFill>
        <p:spPr>
          <a:xfrm>
            <a:off x="7237672" y="1696956"/>
            <a:ext cx="1002126" cy="1002126"/>
          </a:xfrm>
          <a:prstGeom prst="rect">
            <a:avLst/>
          </a:prstGeom>
        </p:spPr>
      </p:pic>
      <p:pic>
        <p:nvPicPr>
          <p:cNvPr id="58" name="Picture 28"/>
          <p:cNvPicPr>
            <a:picLocks noChangeAspect="1"/>
          </p:cNvPicPr>
          <p:nvPr userDrawn="1"/>
        </p:nvPicPr>
        <p:blipFill>
          <a:blip r:embed="rId7"/>
          <a:srcRect/>
          <a:stretch>
            <a:fillRect/>
          </a:stretch>
        </p:blipFill>
        <p:spPr>
          <a:xfrm>
            <a:off x="2230091" y="3017972"/>
            <a:ext cx="1002126" cy="1002126"/>
          </a:xfrm>
          <a:prstGeom prst="rect">
            <a:avLst/>
          </a:prstGeom>
        </p:spPr>
      </p:pic>
      <p:pic>
        <p:nvPicPr>
          <p:cNvPr id="59" name="Picture 28"/>
          <p:cNvPicPr>
            <a:picLocks noChangeAspect="1"/>
          </p:cNvPicPr>
          <p:nvPr userDrawn="1"/>
        </p:nvPicPr>
        <p:blipFill>
          <a:blip r:embed="rId8"/>
          <a:srcRect/>
          <a:stretch>
            <a:fillRect/>
          </a:stretch>
        </p:blipFill>
        <p:spPr>
          <a:xfrm>
            <a:off x="552147" y="3017972"/>
            <a:ext cx="1002126" cy="1002126"/>
          </a:xfrm>
          <a:prstGeom prst="rect">
            <a:avLst/>
          </a:prstGeom>
        </p:spPr>
      </p:pic>
      <p:pic>
        <p:nvPicPr>
          <p:cNvPr id="60" name="Picture 28"/>
          <p:cNvPicPr>
            <a:picLocks noChangeAspect="1"/>
          </p:cNvPicPr>
          <p:nvPr userDrawn="1"/>
        </p:nvPicPr>
        <p:blipFill>
          <a:blip r:embed="rId9"/>
          <a:srcRect/>
          <a:stretch>
            <a:fillRect/>
          </a:stretch>
        </p:blipFill>
        <p:spPr>
          <a:xfrm>
            <a:off x="3877919" y="3017972"/>
            <a:ext cx="1002126" cy="1002126"/>
          </a:xfrm>
          <a:prstGeom prst="rect">
            <a:avLst/>
          </a:prstGeom>
        </p:spPr>
      </p:pic>
      <p:pic>
        <p:nvPicPr>
          <p:cNvPr id="61" name="Picture 28"/>
          <p:cNvPicPr>
            <a:picLocks noChangeAspect="1"/>
          </p:cNvPicPr>
          <p:nvPr userDrawn="1"/>
        </p:nvPicPr>
        <p:blipFill>
          <a:blip r:embed="rId10"/>
          <a:srcRect/>
          <a:stretch>
            <a:fillRect/>
          </a:stretch>
        </p:blipFill>
        <p:spPr>
          <a:xfrm>
            <a:off x="5565738" y="3017972"/>
            <a:ext cx="1002126" cy="1002126"/>
          </a:xfrm>
          <a:prstGeom prst="rect">
            <a:avLst/>
          </a:prstGeom>
        </p:spPr>
      </p:pic>
      <p:pic>
        <p:nvPicPr>
          <p:cNvPr id="62" name="Picture 28"/>
          <p:cNvPicPr>
            <a:picLocks noChangeAspect="1"/>
          </p:cNvPicPr>
          <p:nvPr userDrawn="1"/>
        </p:nvPicPr>
        <p:blipFill>
          <a:blip r:embed="rId11"/>
          <a:srcRect/>
          <a:stretch>
            <a:fillRect/>
          </a:stretch>
        </p:blipFill>
        <p:spPr>
          <a:xfrm>
            <a:off x="7237672" y="3017972"/>
            <a:ext cx="1002126" cy="1002126"/>
          </a:xfrm>
          <a:prstGeom prst="rect">
            <a:avLst/>
          </a:prstGeom>
        </p:spPr>
      </p:pic>
      <p:pic>
        <p:nvPicPr>
          <p:cNvPr id="63" name="Picture 28"/>
          <p:cNvPicPr>
            <a:picLocks noChangeAspect="1"/>
          </p:cNvPicPr>
          <p:nvPr userDrawn="1"/>
        </p:nvPicPr>
        <p:blipFill>
          <a:blip r:embed="rId12"/>
          <a:srcRect/>
          <a:stretch>
            <a:fillRect/>
          </a:stretch>
        </p:blipFill>
        <p:spPr>
          <a:xfrm>
            <a:off x="352706" y="5383499"/>
            <a:ext cx="620297" cy="620297"/>
          </a:xfrm>
          <a:prstGeom prst="rect">
            <a:avLst/>
          </a:prstGeom>
        </p:spPr>
      </p:pic>
      <p:pic>
        <p:nvPicPr>
          <p:cNvPr id="64" name="Picture 28"/>
          <p:cNvPicPr>
            <a:picLocks noChangeAspect="1"/>
          </p:cNvPicPr>
          <p:nvPr userDrawn="1"/>
        </p:nvPicPr>
        <p:blipFill>
          <a:blip r:embed="rId13"/>
          <a:srcRect/>
          <a:stretch>
            <a:fillRect/>
          </a:stretch>
        </p:blipFill>
        <p:spPr>
          <a:xfrm>
            <a:off x="1247366" y="5383499"/>
            <a:ext cx="620297" cy="620297"/>
          </a:xfrm>
          <a:prstGeom prst="rect">
            <a:avLst/>
          </a:prstGeom>
        </p:spPr>
      </p:pic>
      <p:pic>
        <p:nvPicPr>
          <p:cNvPr id="65" name="Picture 28"/>
          <p:cNvPicPr>
            <a:picLocks noChangeAspect="1"/>
          </p:cNvPicPr>
          <p:nvPr userDrawn="1"/>
        </p:nvPicPr>
        <p:blipFill>
          <a:blip r:embed="rId14"/>
          <a:srcRect/>
          <a:stretch>
            <a:fillRect/>
          </a:stretch>
        </p:blipFill>
        <p:spPr>
          <a:xfrm>
            <a:off x="2142026" y="5383499"/>
            <a:ext cx="620297" cy="620297"/>
          </a:xfrm>
          <a:prstGeom prst="rect">
            <a:avLst/>
          </a:prstGeom>
        </p:spPr>
      </p:pic>
      <p:pic>
        <p:nvPicPr>
          <p:cNvPr id="66" name="Picture 28"/>
          <p:cNvPicPr>
            <a:picLocks noChangeAspect="1"/>
          </p:cNvPicPr>
          <p:nvPr userDrawn="1"/>
        </p:nvPicPr>
        <p:blipFill>
          <a:blip r:embed="rId15"/>
          <a:srcRect/>
          <a:stretch>
            <a:fillRect/>
          </a:stretch>
        </p:blipFill>
        <p:spPr>
          <a:xfrm>
            <a:off x="3036686" y="5383499"/>
            <a:ext cx="620297" cy="620297"/>
          </a:xfrm>
          <a:prstGeom prst="rect">
            <a:avLst/>
          </a:prstGeom>
        </p:spPr>
      </p:pic>
      <p:pic>
        <p:nvPicPr>
          <p:cNvPr id="67" name="Picture 28"/>
          <p:cNvPicPr>
            <a:picLocks noChangeAspect="1"/>
          </p:cNvPicPr>
          <p:nvPr userDrawn="1"/>
        </p:nvPicPr>
        <p:blipFill>
          <a:blip r:embed="rId16"/>
          <a:srcRect/>
          <a:stretch>
            <a:fillRect/>
          </a:stretch>
        </p:blipFill>
        <p:spPr>
          <a:xfrm>
            <a:off x="3931346" y="5383499"/>
            <a:ext cx="620297" cy="620297"/>
          </a:xfrm>
          <a:prstGeom prst="rect">
            <a:avLst/>
          </a:prstGeom>
        </p:spPr>
      </p:pic>
      <p:pic>
        <p:nvPicPr>
          <p:cNvPr id="68" name="Picture 28"/>
          <p:cNvPicPr>
            <a:picLocks noChangeAspect="1"/>
          </p:cNvPicPr>
          <p:nvPr userDrawn="1"/>
        </p:nvPicPr>
        <p:blipFill>
          <a:blip r:embed="rId17"/>
          <a:srcRect/>
          <a:stretch>
            <a:fillRect/>
          </a:stretch>
        </p:blipFill>
        <p:spPr>
          <a:xfrm>
            <a:off x="4826006" y="5383499"/>
            <a:ext cx="620297" cy="620297"/>
          </a:xfrm>
          <a:prstGeom prst="rect">
            <a:avLst/>
          </a:prstGeom>
        </p:spPr>
      </p:pic>
      <p:pic>
        <p:nvPicPr>
          <p:cNvPr id="69" name="Picture 28"/>
          <p:cNvPicPr>
            <a:picLocks noChangeAspect="1"/>
          </p:cNvPicPr>
          <p:nvPr userDrawn="1"/>
        </p:nvPicPr>
        <p:blipFill>
          <a:blip r:embed="rId18"/>
          <a:srcRect/>
          <a:stretch>
            <a:fillRect/>
          </a:stretch>
        </p:blipFill>
        <p:spPr>
          <a:xfrm>
            <a:off x="5720668" y="5383499"/>
            <a:ext cx="620297" cy="620297"/>
          </a:xfrm>
          <a:prstGeom prst="rect">
            <a:avLst/>
          </a:prstGeom>
        </p:spPr>
      </p:pic>
      <p:pic>
        <p:nvPicPr>
          <p:cNvPr id="70" name="Picture 28"/>
          <p:cNvPicPr>
            <a:picLocks noChangeAspect="1"/>
          </p:cNvPicPr>
          <p:nvPr userDrawn="1"/>
        </p:nvPicPr>
        <p:blipFill>
          <a:blip r:embed="rId19"/>
          <a:srcRect/>
          <a:stretch>
            <a:fillRect/>
          </a:stretch>
        </p:blipFill>
        <p:spPr>
          <a:xfrm>
            <a:off x="6615330" y="5383499"/>
            <a:ext cx="620297" cy="620297"/>
          </a:xfrm>
          <a:prstGeom prst="rect">
            <a:avLst/>
          </a:prstGeom>
        </p:spPr>
      </p:pic>
      <p:pic>
        <p:nvPicPr>
          <p:cNvPr id="71" name="Picture 28"/>
          <p:cNvPicPr>
            <a:picLocks noChangeAspect="1"/>
          </p:cNvPicPr>
          <p:nvPr userDrawn="1"/>
        </p:nvPicPr>
        <p:blipFill>
          <a:blip r:embed="rId20"/>
          <a:srcRect/>
          <a:stretch>
            <a:fillRect/>
          </a:stretch>
        </p:blipFill>
        <p:spPr>
          <a:xfrm>
            <a:off x="7509652" y="5383499"/>
            <a:ext cx="620297" cy="620297"/>
          </a:xfrm>
          <a:prstGeom prst="rect">
            <a:avLst/>
          </a:prstGeom>
        </p:spPr>
      </p:pic>
      <p:pic>
        <p:nvPicPr>
          <p:cNvPr id="72" name="Picture 28"/>
          <p:cNvPicPr>
            <a:picLocks noChangeAspect="1"/>
          </p:cNvPicPr>
          <p:nvPr userDrawn="1"/>
        </p:nvPicPr>
        <p:blipFill>
          <a:blip r:embed="rId21"/>
          <a:srcRect/>
          <a:stretch>
            <a:fillRect/>
          </a:stretch>
        </p:blipFill>
        <p:spPr>
          <a:xfrm>
            <a:off x="8403974" y="5383499"/>
            <a:ext cx="620297" cy="620297"/>
          </a:xfrm>
          <a:prstGeom prst="rect">
            <a:avLst/>
          </a:prstGeom>
        </p:spPr>
      </p:pic>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lose cover">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pic>
        <p:nvPicPr>
          <p:cNvPr id="14" name="Picture 13"/>
          <p:cNvPicPr>
            <a:picLocks noChangeAspect="1"/>
          </p:cNvPicPr>
          <p:nvPr userDrawn="1"/>
        </p:nvPicPr>
        <p:blipFill>
          <a:blip r:embed="rId2"/>
          <a:stretch>
            <a:fillRect/>
          </a:stretch>
        </p:blipFill>
        <p:spPr>
          <a:xfrm>
            <a:off x="9480376" y="5882751"/>
            <a:ext cx="1725229" cy="504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6" name="Picture 15"/>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50863" y="5962650"/>
            <a:ext cx="1336258" cy="260867"/>
          </a:xfrm>
          <a:prstGeom prst="rect">
            <a:avLst/>
          </a:prstGeom>
        </p:spPr>
      </p:pic>
      <p:sp>
        <p:nvSpPr>
          <p:cNvPr id="9" name="Text Placeholder 8"/>
          <p:cNvSpPr>
            <a:spLocks noGrp="1"/>
          </p:cNvSpPr>
          <p:nvPr>
            <p:ph type="body" sz="quarter" idx="13" hasCustomPrompt="1"/>
          </p:nvPr>
        </p:nvSpPr>
        <p:spPr>
          <a:xfrm>
            <a:off x="550863" y="1730829"/>
            <a:ext cx="5545137" cy="618052"/>
          </a:xfrm>
        </p:spPr>
        <p:txBody>
          <a:bodyPr/>
          <a:lstStyle>
            <a:lvl1pPr marL="0" indent="0">
              <a:buNone/>
              <a:defRPr sz="4800" b="0" i="0">
                <a:solidFill>
                  <a:schemeClr val="bg1"/>
                </a:solidFill>
                <a:latin typeface="Gotham Medium" charset="0"/>
                <a:cs typeface="Gotham Medium" charset="0"/>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a:t>Terima kasih</a:t>
            </a:r>
          </a:p>
        </p:txBody>
      </p:sp>
      <p:sp>
        <p:nvSpPr>
          <p:cNvPr id="12" name="TextBox 11"/>
          <p:cNvSpPr txBox="1"/>
          <p:nvPr userDrawn="1"/>
        </p:nvSpPr>
        <p:spPr>
          <a:xfrm>
            <a:off x="575418"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Gotham Book" charset="0"/>
                <a:ea typeface="Gotham Book" charset="0"/>
                <a:cs typeface="Gotham Book" charset="0"/>
              </a:rPr>
              <a:t>Gedung Energy Lt. 16 SCBD</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Jl. Jenderal Sudirman Kav. 52-53 Jakarta 12190.</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P.O. BOX 6917 Jakarta Selatan, Indonesia</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Telp (+6221) 27938750.</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Fax (+6221) 27936331.</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e-mail : corsec@mind.id</a:t>
            </a: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13" name="Rectangle 12"/>
          <p:cNvSpPr/>
          <p:nvPr/>
        </p:nvSpPr>
        <p:spPr>
          <a:xfrm>
            <a:off x="0" y="4422371"/>
            <a:ext cx="12192000" cy="24356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pic>
        <p:nvPicPr>
          <p:cNvPr id="16" name="Picture 15"/>
          <p:cNvPicPr>
            <a:picLocks noChangeAspect="1"/>
          </p:cNvPicPr>
          <p:nvPr/>
        </p:nvPicPr>
        <p:blipFill>
          <a:blip r:embed="rId2"/>
          <a:stretch>
            <a:fillRect/>
          </a:stretch>
        </p:blipFill>
        <p:spPr>
          <a:xfrm>
            <a:off x="551384" y="1422493"/>
            <a:ext cx="2736304" cy="789746"/>
          </a:xfrm>
          <a:prstGeom prst="rect">
            <a:avLst/>
          </a:prstGeom>
        </p:spPr>
      </p:pic>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fld id="{C07CB7C1-59CD-E849-A28A-6865C030414E}" type="datetime2">
              <a:rPr lang="en-ID" smtClean="0"/>
              <a:t>Sunday, 12 May 2024</a:t>
            </a:fld>
            <a:endParaRPr lang="id-ID"/>
          </a:p>
        </p:txBody>
      </p:sp>
      <p:sp>
        <p:nvSpPr>
          <p:cNvPr id="30" name="Title 26"/>
          <p:cNvSpPr>
            <a:spLocks noGrp="1"/>
          </p:cNvSpPr>
          <p:nvPr>
            <p:ph type="title" hasCustomPrompt="1"/>
          </p:nvPr>
        </p:nvSpPr>
        <p:spPr>
          <a:xfrm>
            <a:off x="4707274" y="2965747"/>
            <a:ext cx="6646526" cy="722531"/>
          </a:xfrm>
          <a:prstGeom prst="rect">
            <a:avLst/>
          </a:prstGeom>
        </p:spPr>
        <p:txBody>
          <a:bodyPr tIns="0" bIns="46800" anchor="ctr">
            <a:normAutofit/>
          </a:bodyPr>
          <a:lstStyle>
            <a:lvl1pPr>
              <a:lnSpc>
                <a:spcPct val="100000"/>
              </a:lnSpc>
              <a:defRPr sz="2400" b="0" i="0" baseline="0">
                <a:solidFill>
                  <a:schemeClr val="accent1"/>
                </a:solidFill>
                <a:latin typeface="Gotham Book" charset="0"/>
                <a:ea typeface="Gotham Book" charset="0"/>
                <a:cs typeface="Gotham Book" charset="0"/>
              </a:defRPr>
            </a:lvl1pPr>
          </a:lstStyle>
          <a:p>
            <a:r>
              <a:rPr lang="en-US"/>
              <a:t>Subtitle for the document</a:t>
            </a:r>
            <a:br>
              <a:rPr lang="en-US"/>
            </a:br>
            <a:r>
              <a:rPr lang="en-US"/>
              <a:t>text level two</a:t>
            </a:r>
            <a:endParaRPr lang="id-ID"/>
          </a:p>
        </p:txBody>
      </p:sp>
      <p:sp>
        <p:nvSpPr>
          <p:cNvPr id="44" name="Text Placeholder 43"/>
          <p:cNvSpPr>
            <a:spLocks noGrp="1"/>
          </p:cNvSpPr>
          <p:nvPr>
            <p:ph type="body" sz="quarter" idx="20" hasCustomPrompt="1"/>
          </p:nvPr>
        </p:nvSpPr>
        <p:spPr>
          <a:xfrm>
            <a:off x="4702097" y="1049902"/>
            <a:ext cx="6651704" cy="1772080"/>
          </a:xfrm>
        </p:spPr>
        <p:txBody>
          <a:bodyPr anchor="ctr">
            <a:normAutofit/>
          </a:bodyPr>
          <a:lstStyle>
            <a:lvl1pPr marL="0" indent="0">
              <a:lnSpc>
                <a:spcPct val="100000"/>
              </a:lnSpc>
              <a:buNone/>
              <a:defRPr sz="3600" b="1" i="0" baseline="0">
                <a:solidFill>
                  <a:schemeClr val="accent1"/>
                </a:solidFill>
                <a:latin typeface="Gotham Bold" pitchFamily="2" charset="0"/>
                <a:ea typeface="Gotham Bold" pitchFamily="2" charset="0"/>
                <a:cs typeface="Gotham Bold" pitchFamily="2" charset="0"/>
              </a:defRPr>
            </a:lvl1pPr>
            <a:lvl2pPr>
              <a:defRPr sz="3600"/>
            </a:lvl2pPr>
            <a:lvl3pPr>
              <a:defRPr sz="3600"/>
            </a:lvl3pPr>
            <a:lvl4pPr>
              <a:defRPr sz="3600"/>
            </a:lvl4pPr>
            <a:lvl5pPr>
              <a:defRPr sz="3600"/>
            </a:lvl5pPr>
          </a:lstStyle>
          <a:p>
            <a:pPr lvl="0"/>
            <a:r>
              <a:rPr lang="en-US"/>
              <a:t>Title for the document enough for up to </a:t>
            </a:r>
          </a:p>
          <a:p>
            <a:pPr lvl="0"/>
            <a:r>
              <a:rPr lang="en-US"/>
              <a:t>three lines</a:t>
            </a:r>
            <a:endParaRPr lang="id-ID"/>
          </a:p>
        </p:txBody>
      </p:sp>
      <p:pic>
        <p:nvPicPr>
          <p:cNvPr id="9" name="Graphic 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0863" y="290513"/>
            <a:ext cx="1618171" cy="288000"/>
          </a:xfrm>
          <a:prstGeom prst="rect">
            <a:avLst/>
          </a:prstGeom>
        </p:spPr>
      </p:pic>
      <p:pic>
        <p:nvPicPr>
          <p:cNvPr id="11" name="Picture 10"/>
          <p:cNvPicPr>
            <a:picLocks noChangeAspect="1"/>
          </p:cNvPicPr>
          <p:nvPr/>
        </p:nvPicPr>
        <p:blipFill>
          <a:blip r:embed="rId5"/>
          <a:stretch>
            <a:fillRect/>
          </a:stretch>
        </p:blipFill>
        <p:spPr>
          <a:xfrm>
            <a:off x="9575800" y="3073400"/>
            <a:ext cx="2616200" cy="3784600"/>
          </a:xfrm>
          <a:prstGeom prst="rect">
            <a:avLst/>
          </a:prstGeom>
        </p:spPr>
      </p:pic>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p:cSld name="Title slide &amp; Picture">
    <p:spTree>
      <p:nvGrpSpPr>
        <p:cNvPr id="1" name=""/>
        <p:cNvGrpSpPr/>
        <p:nvPr/>
      </p:nvGrpSpPr>
      <p:grpSpPr>
        <a:xfrm>
          <a:off x="0" y="0"/>
          <a:ext cx="0" cy="0"/>
          <a:chOff x="0" y="0"/>
          <a:chExt cx="0" cy="0"/>
        </a:xfrm>
      </p:grpSpPr>
      <p:pic>
        <p:nvPicPr>
          <p:cNvPr id="16" name="Picture 15"/>
          <p:cNvPicPr>
            <a:picLocks noChangeAspect="1"/>
          </p:cNvPicPr>
          <p:nvPr/>
        </p:nvPicPr>
        <p:blipFill>
          <a:blip r:embed="rId2"/>
          <a:stretch>
            <a:fillRect/>
          </a:stretch>
        </p:blipFill>
        <p:spPr>
          <a:xfrm>
            <a:off x="551384" y="1422493"/>
            <a:ext cx="2736304" cy="789746"/>
          </a:xfrm>
          <a:prstGeom prst="rect">
            <a:avLst/>
          </a:prstGeom>
        </p:spPr>
      </p:pic>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fld id="{8040CA86-E192-E043-BA91-03995469C6BD}" type="datetime2">
              <a:rPr lang="en-ID" smtClean="0"/>
              <a:t>Sunday, 12 May 2024</a:t>
            </a:fld>
            <a:endParaRPr lang="id-ID"/>
          </a:p>
        </p:txBody>
      </p:sp>
      <p:sp>
        <p:nvSpPr>
          <p:cNvPr id="30" name="Title 26"/>
          <p:cNvSpPr>
            <a:spLocks noGrp="1"/>
          </p:cNvSpPr>
          <p:nvPr>
            <p:ph type="title" hasCustomPrompt="1"/>
          </p:nvPr>
        </p:nvSpPr>
        <p:spPr>
          <a:xfrm>
            <a:off x="4707274" y="2965747"/>
            <a:ext cx="6646526" cy="722531"/>
          </a:xfrm>
          <a:prstGeom prst="rect">
            <a:avLst/>
          </a:prstGeom>
        </p:spPr>
        <p:txBody>
          <a:bodyPr tIns="0" bIns="46800" anchor="ctr">
            <a:normAutofit/>
          </a:bodyPr>
          <a:lstStyle>
            <a:lvl1pPr>
              <a:lnSpc>
                <a:spcPct val="100000"/>
              </a:lnSpc>
              <a:defRPr sz="2400" b="0" i="0" baseline="0">
                <a:solidFill>
                  <a:schemeClr val="accent1"/>
                </a:solidFill>
                <a:latin typeface="Gotham Book" charset="0"/>
                <a:ea typeface="Gotham Book" charset="0"/>
                <a:cs typeface="Gotham Book" charset="0"/>
              </a:defRPr>
            </a:lvl1pPr>
          </a:lstStyle>
          <a:p>
            <a:r>
              <a:rPr lang="en-US"/>
              <a:t>Subtitle for the document</a:t>
            </a:r>
            <a:br>
              <a:rPr lang="en-US"/>
            </a:br>
            <a:r>
              <a:rPr lang="en-US"/>
              <a:t>text level two</a:t>
            </a:r>
            <a:endParaRPr lang="id-ID"/>
          </a:p>
        </p:txBody>
      </p:sp>
      <p:sp>
        <p:nvSpPr>
          <p:cNvPr id="44" name="Text Placeholder 43"/>
          <p:cNvSpPr>
            <a:spLocks noGrp="1"/>
          </p:cNvSpPr>
          <p:nvPr>
            <p:ph type="body" sz="quarter" idx="20" hasCustomPrompt="1"/>
          </p:nvPr>
        </p:nvSpPr>
        <p:spPr>
          <a:xfrm>
            <a:off x="4702097" y="1049902"/>
            <a:ext cx="6651704" cy="1772080"/>
          </a:xfrm>
        </p:spPr>
        <p:txBody>
          <a:bodyPr anchor="ctr">
            <a:normAutofit/>
          </a:bodyPr>
          <a:lstStyle>
            <a:lvl1pPr marL="0" indent="0">
              <a:lnSpc>
                <a:spcPct val="100000"/>
              </a:lnSpc>
              <a:buNone/>
              <a:defRPr sz="3600" b="1" i="0" baseline="0">
                <a:solidFill>
                  <a:schemeClr val="accent1"/>
                </a:solidFill>
                <a:latin typeface="Gotham Bold" pitchFamily="2" charset="0"/>
                <a:ea typeface="Gotham Bold" pitchFamily="2" charset="0"/>
                <a:cs typeface="Gotham Bold" pitchFamily="2" charset="0"/>
              </a:defRPr>
            </a:lvl1pPr>
            <a:lvl2pPr>
              <a:defRPr sz="3600"/>
            </a:lvl2pPr>
            <a:lvl3pPr>
              <a:defRPr sz="3600"/>
            </a:lvl3pPr>
            <a:lvl4pPr>
              <a:defRPr sz="3600"/>
            </a:lvl4pPr>
            <a:lvl5pPr>
              <a:defRPr sz="3600"/>
            </a:lvl5pPr>
          </a:lstStyle>
          <a:p>
            <a:pPr lvl="0"/>
            <a:r>
              <a:rPr lang="en-US"/>
              <a:t>Title for the document enough for up to </a:t>
            </a:r>
          </a:p>
          <a:p>
            <a:pPr lvl="0"/>
            <a:r>
              <a:rPr lang="en-US"/>
              <a:t>three lines</a:t>
            </a:r>
            <a:endParaRPr lang="id-ID"/>
          </a:p>
        </p:txBody>
      </p:sp>
      <p:pic>
        <p:nvPicPr>
          <p:cNvPr id="9" name="Graphic 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0863" y="290513"/>
            <a:ext cx="1618171" cy="288000"/>
          </a:xfrm>
          <a:prstGeom prst="rect">
            <a:avLst/>
          </a:prstGeom>
        </p:spPr>
      </p:pic>
      <p:sp>
        <p:nvSpPr>
          <p:cNvPr id="10" name="Picture Placeholder 9"/>
          <p:cNvSpPr>
            <a:spLocks noGrp="1"/>
          </p:cNvSpPr>
          <p:nvPr>
            <p:ph type="pic" sz="quarter" idx="10"/>
          </p:nvPr>
        </p:nvSpPr>
        <p:spPr>
          <a:xfrm>
            <a:off x="0" y="4419600"/>
            <a:ext cx="10883900" cy="2438400"/>
          </a:xfrm>
          <a:custGeom>
            <a:avLst/>
            <a:gdLst>
              <a:gd name="connsiteX0" fmla="*/ 10336530 w 10883900"/>
              <a:gd name="connsiteY0" fmla="*/ 1598295 h 2438400"/>
              <a:gd name="connsiteX1" fmla="*/ 10883900 w 10883900"/>
              <a:gd name="connsiteY1" fmla="*/ 2438400 h 2438400"/>
              <a:gd name="connsiteX2" fmla="*/ 9615043 w 10883900"/>
              <a:gd name="connsiteY2" fmla="*/ 2438400 h 2438400"/>
              <a:gd name="connsiteX3" fmla="*/ 9615043 w 10883900"/>
              <a:gd name="connsiteY3" fmla="*/ 2415159 h 2438400"/>
              <a:gd name="connsiteX4" fmla="*/ 10336530 w 10883900"/>
              <a:gd name="connsiteY4" fmla="*/ 1598295 h 2438400"/>
              <a:gd name="connsiteX5" fmla="*/ 0 w 10883900"/>
              <a:gd name="connsiteY5" fmla="*/ 0 h 2438400"/>
              <a:gd name="connsiteX6" fmla="*/ 10764520 w 10883900"/>
              <a:gd name="connsiteY6" fmla="*/ 0 h 2438400"/>
              <a:gd name="connsiteX7" fmla="*/ 10278745 w 10883900"/>
              <a:gd name="connsiteY7" fmla="*/ 1165352 h 2438400"/>
              <a:gd name="connsiteX8" fmla="*/ 10326624 w 10883900"/>
              <a:gd name="connsiteY8" fmla="*/ 1560449 h 2438400"/>
              <a:gd name="connsiteX9" fmla="*/ 9575800 w 10883900"/>
              <a:gd name="connsiteY9" fmla="*/ 2415159 h 2438400"/>
              <a:gd name="connsiteX10" fmla="*/ 9575800 w 10883900"/>
              <a:gd name="connsiteY10" fmla="*/ 2438400 h 2438400"/>
              <a:gd name="connsiteX11" fmla="*/ 0 w 10883900"/>
              <a:gd name="connsiteY11" fmla="*/ 24384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3900" h="2438400">
                <a:moveTo>
                  <a:pt x="10336530" y="1598295"/>
                </a:moveTo>
                <a:cubicBezTo>
                  <a:pt x="10426843" y="1928591"/>
                  <a:pt x="10618242" y="2222351"/>
                  <a:pt x="10883900" y="2438400"/>
                </a:cubicBezTo>
                <a:lnTo>
                  <a:pt x="9615043" y="2438400"/>
                </a:lnTo>
                <a:cubicBezTo>
                  <a:pt x="9615043" y="2430695"/>
                  <a:pt x="9615043" y="2422948"/>
                  <a:pt x="9615043" y="2415159"/>
                </a:cubicBezTo>
                <a:cubicBezTo>
                  <a:pt x="9615120" y="1999884"/>
                  <a:pt x="9924445" y="1649668"/>
                  <a:pt x="10336530" y="1598295"/>
                </a:cubicBezTo>
                <a:close/>
                <a:moveTo>
                  <a:pt x="0" y="0"/>
                </a:moveTo>
                <a:lnTo>
                  <a:pt x="10764520" y="0"/>
                </a:lnTo>
                <a:cubicBezTo>
                  <a:pt x="10453168" y="307790"/>
                  <a:pt x="10278194" y="727546"/>
                  <a:pt x="10278745" y="1165352"/>
                </a:cubicBezTo>
                <a:cubicBezTo>
                  <a:pt x="10278664" y="1298503"/>
                  <a:pt x="10294741" y="1431172"/>
                  <a:pt x="10326624" y="1560449"/>
                </a:cubicBezTo>
                <a:cubicBezTo>
                  <a:pt x="9897201" y="1616334"/>
                  <a:pt x="9575879" y="1982114"/>
                  <a:pt x="9575800" y="2415159"/>
                </a:cubicBezTo>
                <a:cubicBezTo>
                  <a:pt x="9575800" y="2422906"/>
                  <a:pt x="9575800" y="2430653"/>
                  <a:pt x="9575800" y="2438400"/>
                </a:cubicBezTo>
                <a:lnTo>
                  <a:pt x="0" y="2438400"/>
                </a:lnTo>
                <a:close/>
              </a:path>
            </a:pathLst>
          </a:custGeom>
        </p:spPr>
        <p:txBody>
          <a:bodyPr wrap="square">
            <a:noAutofit/>
          </a:bodyPr>
          <a:lstStyle/>
          <a:p>
            <a:r>
              <a:rPr lang="en-US"/>
              <a:t>Click icon to add picture</a:t>
            </a:r>
          </a:p>
        </p:txBody>
      </p:sp>
      <p:pic>
        <p:nvPicPr>
          <p:cNvPr id="11" name="Picture 10"/>
          <p:cNvPicPr>
            <a:picLocks noChangeAspect="1"/>
          </p:cNvPicPr>
          <p:nvPr/>
        </p:nvPicPr>
        <p:blipFill>
          <a:blip r:embed="rId5"/>
          <a:stretch>
            <a:fillRect/>
          </a:stretch>
        </p:blipFill>
        <p:spPr>
          <a:xfrm>
            <a:off x="9575800" y="3073400"/>
            <a:ext cx="2616200" cy="3784600"/>
          </a:xfrm>
          <a:prstGeom prst="rect">
            <a:avLst/>
          </a:prstGeom>
        </p:spPr>
      </p:pic>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itle slide &amp; Pictures">
    <p:spTree>
      <p:nvGrpSpPr>
        <p:cNvPr id="1" name=""/>
        <p:cNvGrpSpPr/>
        <p:nvPr/>
      </p:nvGrpSpPr>
      <p:grpSpPr>
        <a:xfrm>
          <a:off x="0" y="0"/>
          <a:ext cx="0" cy="0"/>
          <a:chOff x="0" y="0"/>
          <a:chExt cx="0" cy="0"/>
        </a:xfrm>
      </p:grpSpPr>
      <p:sp>
        <p:nvSpPr>
          <p:cNvPr id="12" name="Picture Placeholder 3"/>
          <p:cNvSpPr>
            <a:spLocks noGrp="1"/>
          </p:cNvSpPr>
          <p:nvPr>
            <p:ph type="pic" sz="quarter" idx="13"/>
          </p:nvPr>
        </p:nvSpPr>
        <p:spPr>
          <a:xfrm>
            <a:off x="-39160" y="4422371"/>
            <a:ext cx="4085280" cy="2435630"/>
          </a:xfrm>
          <a:noFill/>
          <a:ln>
            <a:noFill/>
          </a:ln>
        </p:spPr>
        <p:txBody>
          <a:bodyPr anchor="ctr"/>
          <a:lstStyle>
            <a:lvl1pPr marL="457200" indent="-457200" algn="ctr">
              <a:buFont typeface="Arial" panose="020B0604020202090204" pitchFamily="34" charset="0"/>
              <a:buChar char="•"/>
              <a:defRPr sz="1600"/>
            </a:lvl1pPr>
          </a:lstStyle>
          <a:p>
            <a:r>
              <a:rPr lang="en-US"/>
              <a:t>Click icon to add picture</a:t>
            </a:r>
            <a:endParaRPr lang="id-ID"/>
          </a:p>
        </p:txBody>
      </p:sp>
      <p:sp>
        <p:nvSpPr>
          <p:cNvPr id="13" name="Picture Placeholder 3"/>
          <p:cNvSpPr>
            <a:spLocks noGrp="1"/>
          </p:cNvSpPr>
          <p:nvPr>
            <p:ph type="pic" sz="quarter" idx="16"/>
          </p:nvPr>
        </p:nvSpPr>
        <p:spPr>
          <a:xfrm>
            <a:off x="4046120" y="4422371"/>
            <a:ext cx="4085280" cy="2435630"/>
          </a:xfrm>
          <a:noFill/>
          <a:ln>
            <a:noFill/>
          </a:ln>
        </p:spPr>
        <p:txBody>
          <a:bodyPr anchor="ctr"/>
          <a:lstStyle>
            <a:lvl1pPr marL="457200" indent="-457200" algn="ctr">
              <a:buFont typeface="Arial" panose="020B0604020202090204" pitchFamily="34" charset="0"/>
              <a:buChar char="•"/>
              <a:defRPr sz="1600"/>
            </a:lvl1pPr>
          </a:lstStyle>
          <a:p>
            <a:r>
              <a:rPr lang="en-US"/>
              <a:t>Click icon to add picture</a:t>
            </a:r>
            <a:endParaRPr lang="id-ID"/>
          </a:p>
        </p:txBody>
      </p:sp>
      <p:sp>
        <p:nvSpPr>
          <p:cNvPr id="15" name="Picture Placeholder 14"/>
          <p:cNvSpPr>
            <a:spLocks noGrp="1"/>
          </p:cNvSpPr>
          <p:nvPr>
            <p:ph type="pic" sz="quarter" idx="17"/>
          </p:nvPr>
        </p:nvSpPr>
        <p:spPr>
          <a:xfrm>
            <a:off x="8129269" y="4422370"/>
            <a:ext cx="2754630" cy="2435629"/>
          </a:xfrm>
          <a:custGeom>
            <a:avLst/>
            <a:gdLst>
              <a:gd name="connsiteX0" fmla="*/ 2207261 w 2754630"/>
              <a:gd name="connsiteY0" fmla="*/ 1598930 h 2438400"/>
              <a:gd name="connsiteX1" fmla="*/ 2754630 w 2754630"/>
              <a:gd name="connsiteY1" fmla="*/ 2438400 h 2438400"/>
              <a:gd name="connsiteX2" fmla="*/ 1485900 w 2754630"/>
              <a:gd name="connsiteY2" fmla="*/ 2438400 h 2438400"/>
              <a:gd name="connsiteX3" fmla="*/ 1485900 w 2754630"/>
              <a:gd name="connsiteY3" fmla="*/ 2415540 h 2438400"/>
              <a:gd name="connsiteX4" fmla="*/ 2207261 w 2754630"/>
              <a:gd name="connsiteY4" fmla="*/ 1598930 h 2438400"/>
              <a:gd name="connsiteX5" fmla="*/ 0 w 2754630"/>
              <a:gd name="connsiteY5" fmla="*/ 0 h 2438400"/>
              <a:gd name="connsiteX6" fmla="*/ 2635250 w 2754630"/>
              <a:gd name="connsiteY6" fmla="*/ 0 h 2438400"/>
              <a:gd name="connsiteX7" fmla="*/ 2148840 w 2754630"/>
              <a:gd name="connsiteY7" fmla="*/ 1165860 h 2438400"/>
              <a:gd name="connsiteX8" fmla="*/ 2197100 w 2754630"/>
              <a:gd name="connsiteY8" fmla="*/ 1560830 h 2438400"/>
              <a:gd name="connsiteX9" fmla="*/ 1446530 w 2754630"/>
              <a:gd name="connsiteY9" fmla="*/ 2415540 h 2438400"/>
              <a:gd name="connsiteX10" fmla="*/ 1446530 w 2754630"/>
              <a:gd name="connsiteY10" fmla="*/ 2438400 h 2438400"/>
              <a:gd name="connsiteX11" fmla="*/ 0 w 2754630"/>
              <a:gd name="connsiteY11" fmla="*/ 24384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54630" h="2438400">
                <a:moveTo>
                  <a:pt x="2207261" y="1598930"/>
                </a:moveTo>
                <a:cubicBezTo>
                  <a:pt x="2297430" y="1929130"/>
                  <a:pt x="2489200" y="2222500"/>
                  <a:pt x="2754630" y="2438400"/>
                </a:cubicBezTo>
                <a:lnTo>
                  <a:pt x="1485900" y="2438400"/>
                </a:lnTo>
                <a:cubicBezTo>
                  <a:pt x="1485900" y="2430780"/>
                  <a:pt x="1485900" y="2423160"/>
                  <a:pt x="1485900" y="2415540"/>
                </a:cubicBezTo>
                <a:cubicBezTo>
                  <a:pt x="1485900" y="2000250"/>
                  <a:pt x="1795780" y="1649730"/>
                  <a:pt x="2207261" y="1598930"/>
                </a:cubicBezTo>
                <a:close/>
                <a:moveTo>
                  <a:pt x="0" y="0"/>
                </a:moveTo>
                <a:lnTo>
                  <a:pt x="2635250" y="0"/>
                </a:lnTo>
                <a:cubicBezTo>
                  <a:pt x="2324100" y="307340"/>
                  <a:pt x="2148840" y="727710"/>
                  <a:pt x="2148840" y="1165860"/>
                </a:cubicBezTo>
                <a:cubicBezTo>
                  <a:pt x="2148840" y="1299210"/>
                  <a:pt x="2165350" y="1431290"/>
                  <a:pt x="2197100" y="1560830"/>
                </a:cubicBezTo>
                <a:cubicBezTo>
                  <a:pt x="1767840" y="1616710"/>
                  <a:pt x="1446530" y="1982470"/>
                  <a:pt x="1446530" y="2415540"/>
                </a:cubicBezTo>
                <a:cubicBezTo>
                  <a:pt x="1446530" y="2423160"/>
                  <a:pt x="1446530" y="2430780"/>
                  <a:pt x="1446530" y="2438400"/>
                </a:cubicBezTo>
                <a:lnTo>
                  <a:pt x="0" y="2438400"/>
                </a:lnTo>
                <a:close/>
              </a:path>
            </a:pathLst>
          </a:custGeom>
          <a:noFill/>
          <a:ln>
            <a:noFill/>
          </a:ln>
        </p:spPr>
        <p:txBody>
          <a:bodyPr wrap="square" anchor="ctr">
            <a:noAutofit/>
          </a:bodyPr>
          <a:lstStyle>
            <a:lvl1pPr marL="457200" indent="-457200" algn="ctr">
              <a:buFont typeface="Arial" panose="020B0604020202090204" pitchFamily="34" charset="0"/>
              <a:buChar char="•"/>
              <a:defRPr sz="1600"/>
            </a:lvl1pPr>
          </a:lstStyle>
          <a:p>
            <a:r>
              <a:rPr lang="en-US"/>
              <a:t>Click icon to add picture</a:t>
            </a:r>
            <a:endParaRPr lang="id-ID"/>
          </a:p>
        </p:txBody>
      </p:sp>
      <p:pic>
        <p:nvPicPr>
          <p:cNvPr id="16" name="Picture 15"/>
          <p:cNvPicPr>
            <a:picLocks noChangeAspect="1"/>
          </p:cNvPicPr>
          <p:nvPr/>
        </p:nvPicPr>
        <p:blipFill>
          <a:blip r:embed="rId2"/>
          <a:stretch>
            <a:fillRect/>
          </a:stretch>
        </p:blipFill>
        <p:spPr>
          <a:xfrm>
            <a:off x="551384" y="1422493"/>
            <a:ext cx="2736304" cy="789746"/>
          </a:xfrm>
          <a:prstGeom prst="rect">
            <a:avLst/>
          </a:prstGeom>
        </p:spPr>
      </p:pic>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fld id="{8040CA86-E192-E043-BA91-03995469C6BD}" type="datetime2">
              <a:rPr lang="en-ID" smtClean="0"/>
              <a:t>Sunday, 12 May 2024</a:t>
            </a:fld>
            <a:endParaRPr lang="id-ID"/>
          </a:p>
        </p:txBody>
      </p:sp>
      <p:sp>
        <p:nvSpPr>
          <p:cNvPr id="44" name="Text Placeholder 43"/>
          <p:cNvSpPr>
            <a:spLocks noGrp="1"/>
          </p:cNvSpPr>
          <p:nvPr>
            <p:ph type="body" sz="quarter" idx="20" hasCustomPrompt="1"/>
          </p:nvPr>
        </p:nvSpPr>
        <p:spPr>
          <a:xfrm>
            <a:off x="4702097" y="1049902"/>
            <a:ext cx="6651704" cy="1772080"/>
          </a:xfrm>
        </p:spPr>
        <p:txBody>
          <a:bodyPr anchor="ctr">
            <a:normAutofit/>
          </a:bodyPr>
          <a:lstStyle>
            <a:lvl1pPr marL="0" indent="0">
              <a:lnSpc>
                <a:spcPct val="100000"/>
              </a:lnSpc>
              <a:buNone/>
              <a:defRPr sz="3600" b="1" i="0" baseline="0">
                <a:solidFill>
                  <a:schemeClr val="accent1"/>
                </a:solidFill>
                <a:latin typeface="Gotham Bold" pitchFamily="2" charset="0"/>
                <a:ea typeface="Gotham Bold" pitchFamily="2" charset="0"/>
                <a:cs typeface="Gotham Bold" pitchFamily="2" charset="0"/>
              </a:defRPr>
            </a:lvl1pPr>
            <a:lvl2pPr>
              <a:defRPr sz="3600"/>
            </a:lvl2pPr>
            <a:lvl3pPr>
              <a:defRPr sz="3600"/>
            </a:lvl3pPr>
            <a:lvl4pPr>
              <a:defRPr sz="3600"/>
            </a:lvl4pPr>
            <a:lvl5pPr>
              <a:defRPr sz="3600"/>
            </a:lvl5pPr>
          </a:lstStyle>
          <a:p>
            <a:pPr lvl="0"/>
            <a:r>
              <a:rPr lang="en-US"/>
              <a:t>Title for the document enough for up to </a:t>
            </a:r>
          </a:p>
          <a:p>
            <a:pPr lvl="0"/>
            <a:r>
              <a:rPr lang="en-US"/>
              <a:t>three lines</a:t>
            </a:r>
            <a:endParaRPr lang="id-ID"/>
          </a:p>
        </p:txBody>
      </p:sp>
      <p:pic>
        <p:nvPicPr>
          <p:cNvPr id="11" name="Graphic 10"/>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0863" y="290513"/>
            <a:ext cx="1618171" cy="288000"/>
          </a:xfrm>
          <a:prstGeom prst="rect">
            <a:avLst/>
          </a:prstGeom>
        </p:spPr>
      </p:pic>
      <p:pic>
        <p:nvPicPr>
          <p:cNvPr id="18" name="Picture 17"/>
          <p:cNvPicPr>
            <a:picLocks noChangeAspect="1"/>
          </p:cNvPicPr>
          <p:nvPr/>
        </p:nvPicPr>
        <p:blipFill>
          <a:blip r:embed="rId5"/>
          <a:stretch>
            <a:fillRect/>
          </a:stretch>
        </p:blipFill>
        <p:spPr>
          <a:xfrm>
            <a:off x="9575800" y="3073400"/>
            <a:ext cx="2616200" cy="3784600"/>
          </a:xfrm>
          <a:prstGeom prst="rect">
            <a:avLst/>
          </a:prstGeom>
        </p:spPr>
      </p:pic>
      <p:sp>
        <p:nvSpPr>
          <p:cNvPr id="14" name="Title 26"/>
          <p:cNvSpPr>
            <a:spLocks noGrp="1"/>
          </p:cNvSpPr>
          <p:nvPr>
            <p:ph type="title" hasCustomPrompt="1"/>
          </p:nvPr>
        </p:nvSpPr>
        <p:spPr>
          <a:xfrm>
            <a:off x="4707274" y="2965747"/>
            <a:ext cx="6646526" cy="722531"/>
          </a:xfrm>
          <a:prstGeom prst="rect">
            <a:avLst/>
          </a:prstGeom>
        </p:spPr>
        <p:txBody>
          <a:bodyPr tIns="0" bIns="46800" anchor="ctr">
            <a:normAutofit/>
          </a:bodyPr>
          <a:lstStyle>
            <a:lvl1pPr>
              <a:lnSpc>
                <a:spcPct val="100000"/>
              </a:lnSpc>
              <a:defRPr sz="2400" b="0" i="0" baseline="0">
                <a:solidFill>
                  <a:schemeClr val="accent1"/>
                </a:solidFill>
                <a:latin typeface="Gotham Book" charset="0"/>
                <a:ea typeface="Gotham Book" charset="0"/>
                <a:cs typeface="Gotham Book" charset="0"/>
              </a:defRPr>
            </a:lvl1pPr>
          </a:lstStyle>
          <a:p>
            <a:r>
              <a:rPr lang="en-US"/>
              <a:t>Subtitle for the document</a:t>
            </a:r>
            <a:br>
              <a:rPr lang="en-US"/>
            </a:br>
            <a:r>
              <a:rPr lang="en-US"/>
              <a:t>text level two</a:t>
            </a:r>
            <a:endParaRPr lang="id-ID"/>
          </a:p>
        </p:txBody>
      </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Title + Member 2">
    <p:spTree>
      <p:nvGrpSpPr>
        <p:cNvPr id="1" name=""/>
        <p:cNvGrpSpPr/>
        <p:nvPr/>
      </p:nvGrpSpPr>
      <p:grpSpPr>
        <a:xfrm>
          <a:off x="0" y="0"/>
          <a:ext cx="0" cy="0"/>
          <a:chOff x="0" y="0"/>
          <a:chExt cx="0" cy="0"/>
        </a:xfrm>
      </p:grpSpPr>
      <p:pic>
        <p:nvPicPr>
          <p:cNvPr id="16" name="Picture 15"/>
          <p:cNvPicPr>
            <a:picLocks noChangeAspect="1"/>
          </p:cNvPicPr>
          <p:nvPr/>
        </p:nvPicPr>
        <p:blipFill>
          <a:blip r:embed="rId2"/>
          <a:stretch>
            <a:fillRect/>
          </a:stretch>
        </p:blipFill>
        <p:spPr>
          <a:xfrm>
            <a:off x="551384" y="1422493"/>
            <a:ext cx="2736304" cy="789746"/>
          </a:xfrm>
          <a:prstGeom prst="rect">
            <a:avLst/>
          </a:prstGeom>
        </p:spPr>
      </p:pic>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fld id="{C07CB7C1-59CD-E849-A28A-6865C030414E}" type="datetime2">
              <a:rPr lang="en-ID" smtClean="0"/>
              <a:t>Sunday, 12 May 2024</a:t>
            </a:fld>
            <a:endParaRPr lang="id-ID"/>
          </a:p>
        </p:txBody>
      </p:sp>
      <p:sp>
        <p:nvSpPr>
          <p:cNvPr id="30" name="Title 26"/>
          <p:cNvSpPr>
            <a:spLocks noGrp="1"/>
          </p:cNvSpPr>
          <p:nvPr>
            <p:ph type="title" hasCustomPrompt="1"/>
          </p:nvPr>
        </p:nvSpPr>
        <p:spPr>
          <a:xfrm>
            <a:off x="4707274" y="2965747"/>
            <a:ext cx="6646526" cy="722531"/>
          </a:xfrm>
          <a:prstGeom prst="rect">
            <a:avLst/>
          </a:prstGeom>
        </p:spPr>
        <p:txBody>
          <a:bodyPr tIns="0" bIns="46800" anchor="ctr">
            <a:normAutofit/>
          </a:bodyPr>
          <a:lstStyle>
            <a:lvl1pPr>
              <a:lnSpc>
                <a:spcPct val="100000"/>
              </a:lnSpc>
              <a:defRPr sz="2400" b="0" i="0" baseline="0">
                <a:solidFill>
                  <a:schemeClr val="accent1"/>
                </a:solidFill>
                <a:latin typeface="Gotham Book" charset="0"/>
                <a:ea typeface="Gotham Book" charset="0"/>
                <a:cs typeface="Gotham Book" charset="0"/>
              </a:defRPr>
            </a:lvl1pPr>
          </a:lstStyle>
          <a:p>
            <a:r>
              <a:rPr lang="en-US"/>
              <a:t>Subtitle for the document</a:t>
            </a:r>
            <a:br>
              <a:rPr lang="en-US"/>
            </a:br>
            <a:r>
              <a:rPr lang="en-US"/>
              <a:t>text level two</a:t>
            </a:r>
            <a:endParaRPr lang="id-ID"/>
          </a:p>
        </p:txBody>
      </p:sp>
      <p:sp>
        <p:nvSpPr>
          <p:cNvPr id="44" name="Text Placeholder 43"/>
          <p:cNvSpPr>
            <a:spLocks noGrp="1"/>
          </p:cNvSpPr>
          <p:nvPr>
            <p:ph type="body" sz="quarter" idx="20" hasCustomPrompt="1"/>
          </p:nvPr>
        </p:nvSpPr>
        <p:spPr>
          <a:xfrm>
            <a:off x="4702097" y="1049902"/>
            <a:ext cx="6651704" cy="1772080"/>
          </a:xfrm>
        </p:spPr>
        <p:txBody>
          <a:bodyPr anchor="ctr">
            <a:normAutofit/>
          </a:bodyPr>
          <a:lstStyle>
            <a:lvl1pPr marL="0" indent="0">
              <a:lnSpc>
                <a:spcPct val="100000"/>
              </a:lnSpc>
              <a:buNone/>
              <a:defRPr sz="3600" b="1" i="0" baseline="0">
                <a:solidFill>
                  <a:schemeClr val="accent1"/>
                </a:solidFill>
                <a:latin typeface="Gotham Bold" pitchFamily="2" charset="0"/>
                <a:ea typeface="Gotham Bold" pitchFamily="2" charset="0"/>
                <a:cs typeface="Gotham Bold" pitchFamily="2" charset="0"/>
              </a:defRPr>
            </a:lvl1pPr>
            <a:lvl2pPr>
              <a:defRPr sz="3600"/>
            </a:lvl2pPr>
            <a:lvl3pPr>
              <a:defRPr sz="3600"/>
            </a:lvl3pPr>
            <a:lvl4pPr>
              <a:defRPr sz="3600"/>
            </a:lvl4pPr>
            <a:lvl5pPr>
              <a:defRPr sz="3600"/>
            </a:lvl5pPr>
          </a:lstStyle>
          <a:p>
            <a:pPr lvl="0"/>
            <a:r>
              <a:rPr lang="en-US"/>
              <a:t>Title for the document enough for up to </a:t>
            </a:r>
          </a:p>
          <a:p>
            <a:pPr lvl="0"/>
            <a:r>
              <a:rPr lang="en-US"/>
              <a:t>three lines</a:t>
            </a:r>
            <a:endParaRPr lang="id-ID"/>
          </a:p>
        </p:txBody>
      </p:sp>
      <p:pic>
        <p:nvPicPr>
          <p:cNvPr id="9" name="Graphic 8"/>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0863" y="290513"/>
            <a:ext cx="1618171" cy="288000"/>
          </a:xfrm>
          <a:prstGeom prst="rect">
            <a:avLst/>
          </a:prstGeom>
        </p:spPr>
      </p:pic>
      <p:pic>
        <p:nvPicPr>
          <p:cNvPr id="10" name="Picture 9"/>
          <p:cNvPicPr>
            <a:picLocks noChangeAspect="1"/>
          </p:cNvPicPr>
          <p:nvPr/>
        </p:nvPicPr>
        <p:blipFill>
          <a:blip r:embed="rId5"/>
          <a:stretch>
            <a:fillRect/>
          </a:stretch>
        </p:blipFill>
        <p:spPr>
          <a:xfrm>
            <a:off x="6286610" y="5854700"/>
            <a:ext cx="1026613" cy="447310"/>
          </a:xfrm>
          <a:prstGeom prst="rect">
            <a:avLst/>
          </a:prstGeom>
        </p:spPr>
      </p:pic>
      <p:pic>
        <p:nvPicPr>
          <p:cNvPr id="12" name="Picture 11"/>
          <p:cNvPicPr>
            <a:picLocks noChangeAspect="1"/>
          </p:cNvPicPr>
          <p:nvPr/>
        </p:nvPicPr>
        <p:blipFill rotWithShape="1">
          <a:blip r:embed="rId6" cstate="print">
            <a:extLst>
              <a:ext uri="{28A0092B-C50C-407E-A947-70E740481C1C}">
                <a14:useLocalDpi xmlns:a14="http://schemas.microsoft.com/office/drawing/2010/main" val="0"/>
              </a:ext>
            </a:extLst>
          </a:blip>
          <a:srcRect l="16339" t="31587" r="17411" b="33016"/>
          <a:stretch>
            <a:fillRect/>
          </a:stretch>
        </p:blipFill>
        <p:spPr>
          <a:xfrm>
            <a:off x="4618542" y="5961051"/>
            <a:ext cx="1125140" cy="338150"/>
          </a:xfrm>
          <a:prstGeom prst="rect">
            <a:avLst/>
          </a:prstGeom>
        </p:spPr>
      </p:pic>
      <p:pic>
        <p:nvPicPr>
          <p:cNvPr id="14" name="Picture 2" descr="PT Indonesia Asahan Aluminium (Persero) | Hom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66207" y="5268339"/>
            <a:ext cx="1296127" cy="32662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Bukit Asam"/>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86204" y="5254193"/>
            <a:ext cx="1800199" cy="48483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PT TIMAH TBK | Pengumuman Perubahan Logo Baru Pt Timah Tbk"/>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9890" b="89560" l="2888" r="89892">
                        <a14:foregroundMark x1="2888" y1="50549" x2="2888" y2="50549"/>
                        <a14:foregroundMark x1="31047" y1="48352" x2="31047" y2="48352"/>
                        <a14:foregroundMark x1="40072" y1="59341" x2="40072" y2="59341"/>
                        <a14:foregroundMark x1="39350" y1="48352" x2="39350" y2="48352"/>
                        <a14:foregroundMark x1="43321" y1="54396" x2="43321" y2="54396"/>
                        <a14:foregroundMark x1="59206" y1="54396" x2="59206" y2="54396"/>
                        <a14:foregroundMark x1="67148" y1="52198" x2="67148" y2="52198"/>
                        <a14:foregroundMark x1="80866" y1="43956" x2="80866" y2="43956"/>
                        <a14:foregroundMark x1="87365" y1="41758" x2="87365" y2="41758"/>
                        <a14:foregroundMark x1="89170" y1="42308" x2="89170" y2="42308"/>
                        <a14:foregroundMark x1="88448" y1="38462" x2="88448" y2="38462"/>
                      </a14:backgroundRemoval>
                    </a14:imgEffect>
                  </a14:imgLayer>
                </a14:imgProps>
              </a:ext>
              <a:ext uri="{28A0092B-C50C-407E-A947-70E740481C1C}">
                <a14:useLocalDpi xmlns:a14="http://schemas.microsoft.com/office/drawing/2010/main" val="0"/>
              </a:ext>
            </a:extLst>
          </a:blip>
          <a:srcRect/>
          <a:stretch>
            <a:fillRect/>
          </a:stretch>
        </p:blipFill>
        <p:spPr bwMode="auto">
          <a:xfrm>
            <a:off x="7106375" y="4995475"/>
            <a:ext cx="1254449" cy="82422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PT ANTAM Tbk | Corporate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0864" y="5174372"/>
            <a:ext cx="1514197" cy="51306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ome - MIND ID"/>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47936" y="5830003"/>
            <a:ext cx="3694891" cy="60889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13"/>
          <a:stretch>
            <a:fillRect/>
          </a:stretch>
        </p:blipFill>
        <p:spPr>
          <a:xfrm>
            <a:off x="7975600" y="2235200"/>
            <a:ext cx="4216400" cy="4622800"/>
          </a:xfrm>
          <a:prstGeom prst="rect">
            <a:avLst/>
          </a:prstGeom>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B6E0E24-B4F7-E843-AFC0-C1F83B7A48CA}" type="datetime2">
              <a:rPr lang="en-ID" smtClean="0"/>
              <a:t>Sunday, 12 May 2024</a:t>
            </a:fld>
            <a:endParaRPr lang="id-ID"/>
          </a:p>
        </p:txBody>
      </p:sp>
      <p:sp>
        <p:nvSpPr>
          <p:cNvPr id="8" name="Slide Number Placeholder 7"/>
          <p:cNvSpPr>
            <a:spLocks noGrp="1"/>
          </p:cNvSpPr>
          <p:nvPr>
            <p:ph type="sldNum" sz="quarter" idx="12"/>
          </p:nvPr>
        </p:nvSpPr>
        <p:spPr/>
        <p:txBody>
          <a:bodyPr/>
          <a:lstStyle/>
          <a:p>
            <a:r>
              <a:rPr lang="id-ID"/>
              <a:t>|         </a:t>
            </a:r>
            <a:fld id="{7904F5B5-DD6E-6442-8C14-4BFE420CE974}" type="slidenum">
              <a:rPr lang="id-ID" smtClean="0"/>
              <a:t>‹#›</a:t>
            </a:fld>
            <a:endParaRPr lang="id-ID"/>
          </a:p>
        </p:txBody>
      </p:sp>
      <p:sp>
        <p:nvSpPr>
          <p:cNvPr id="6" name="Rectangle 5"/>
          <p:cNvSpPr/>
          <p:nvPr/>
        </p:nvSpPr>
        <p:spPr>
          <a:xfrm>
            <a:off x="351069" y="1695010"/>
            <a:ext cx="11273153" cy="3991083"/>
          </a:xfrm>
          <a:prstGeom prst="rect">
            <a:avLst/>
          </a:prstGeom>
        </p:spPr>
        <p:txBody>
          <a:bodyPr wrap="square" lIns="0" numCol="2" spcCol="540000">
            <a:noAutofit/>
          </a:body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By attending/reading this presentation, you are agreeing to be bound by the restrictions set out below. Any failure to comply with these restrictions may constitute a violation of applicable laws.</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The information and opinions contained in this presentation are intended solely for your personal reference and are strictly confidential. The information and opinions contained in this presentation have not been independently verified, and no representation or warranty, expressed or implied, is made as to, and no reliance should be placed on the fairness, accuracy, completeness or correctness of, the information or opinions contained herein. It is not the intention to provide, and you may not rely on this presentation as providing, a complete or comprehensive analysis of the condition (financial or other), earnings, business affairs, business prospects, properties or results of operations of PT Indonesia Asahan Aluminium (Persero) (the “Company”) or its subsidiaries. The information and opinions contained in this presentation are provided as at the date of this presentation and are subject to change without notice. Neither the Company (including any of its affiliates, advisors and representatives) shall have any responsibility or liability whatsoever (in negligence or otherwise) for the accuracy or completeness of, or any errors or omissions , any information or opinions contained here in nor for any loss howsoever arising from any use of this presentation.</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In addition, the information contained in this presentation may contain projections and forward-looking statements that reflect the Company’s current views with respect to future events and financial performance. These views are based on a number of estimates and current assumptions which are subject to business, economic and competitive uncertainties and contingencies as well as various risks and these may change overtime and in many cases are outside the control of the company and its representatives. No assurance can be given that future events will occur, that projections will be achieved, or that the Company’s assumptions are correct. Actual results may differ materially from those forecast and projected.</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This presentation is not and does not constitute or form part of any offer, invitation or recommendation to purchase or subscribe for any securities and no part of it shall form the basis of or be relied upon in connection with any contract, commitment or investment decision in relation thereto. This presentation may not be used or relied upon by any other party, or for any other purpose, and may not be reproduced, disseminated or quoted without the prior written consent of the company.</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Relaying copies of this presentation to other persons in your company or elsewhere is prohibited.</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9" name="Title 1"/>
          <p:cNvSpPr txBox="1"/>
          <p:nvPr/>
        </p:nvSpPr>
        <p:spPr>
          <a:xfrm>
            <a:off x="330098" y="858983"/>
            <a:ext cx="2736701" cy="312924"/>
          </a:xfrm>
          <a:prstGeom prst="rect">
            <a:avLst/>
          </a:prstGeom>
        </p:spPr>
        <p:txBody>
          <a:bodyPr vert="horz" lIns="0" tIns="0" rIns="91440" bIns="45720" rtlCol="0" anchor="t">
            <a:noAutofit/>
          </a:bodyPr>
          <a:lstStyle>
            <a:lvl1pPr algn="l" defTabSz="914400" rtl="0" eaLnBrk="1" latinLnBrk="0" hangingPunct="1">
              <a:lnSpc>
                <a:spcPts val="2000"/>
              </a:lnSpc>
              <a:spcBef>
                <a:spcPct val="0"/>
              </a:spcBef>
              <a:buNone/>
              <a:defRPr sz="1600" b="0" i="0" kern="1200" baseline="0">
                <a:solidFill>
                  <a:schemeClr val="accent1"/>
                </a:solidFill>
                <a:latin typeface="Gotham Medium" charset="0"/>
                <a:ea typeface="Gotham Medium" charset="0"/>
                <a:cs typeface="Gotham Medium" charset="0"/>
              </a:defRPr>
            </a:lvl1pPr>
          </a:lstStyle>
          <a:p>
            <a:r>
              <a:rPr lang="en-US"/>
              <a:t>Disclaimer</a:t>
            </a:r>
            <a:endParaRPr lang="id-ID"/>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51156" t="55496" b="200"/>
          <a:stretch>
            <a:fillRect/>
          </a:stretch>
        </p:blipFill>
        <p:spPr>
          <a:xfrm>
            <a:off x="6239282" y="3802895"/>
            <a:ext cx="5952718" cy="3055105"/>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anchor="b">
            <a:normAutofit/>
          </a:bodyPr>
          <a:lstStyle>
            <a:lvl1pPr>
              <a:lnSpc>
                <a:spcPct val="100000"/>
              </a:lnSpc>
              <a:defRPr sz="2400" b="1" i="0" baseline="0">
                <a:solidFill>
                  <a:schemeClr val="accent1"/>
                </a:solidFill>
                <a:latin typeface="Gotham Book" charset="0"/>
                <a:ea typeface="Gotham Book" charset="0"/>
                <a:cs typeface="Gotham Book" charset="0"/>
              </a:defRPr>
            </a:lvl1pPr>
          </a:lstStyle>
          <a:p>
            <a:r>
              <a:rPr lang="en-US"/>
              <a:t>Section 01</a:t>
            </a:r>
            <a:endParaRPr lang="id-ID"/>
          </a:p>
        </p:txBody>
      </p:sp>
      <p:sp>
        <p:nvSpPr>
          <p:cNvPr id="5" name="Text Placeholder 4"/>
          <p:cNvSpPr>
            <a:spLocks noGrp="1"/>
          </p:cNvSpPr>
          <p:nvPr>
            <p:ph type="body" sz="quarter" idx="19" hasCustomPrompt="1"/>
          </p:nvPr>
        </p:nvSpPr>
        <p:spPr>
          <a:xfrm>
            <a:off x="682625" y="2479675"/>
            <a:ext cx="6963517" cy="3036888"/>
          </a:xfrm>
        </p:spPr>
        <p:txBody>
          <a:bodyPr>
            <a:normAutofit/>
          </a:bodyPr>
          <a:lstStyle>
            <a:lvl1pPr marL="0" indent="0">
              <a:lnSpc>
                <a:spcPct val="100000"/>
              </a:lnSpc>
              <a:spcBef>
                <a:spcPts val="0"/>
              </a:spcBef>
              <a:buNone/>
              <a:defRPr sz="5400" b="1">
                <a:solidFill>
                  <a:schemeClr val="accent1"/>
                </a:solidFill>
              </a:defRPr>
            </a:lvl1pPr>
          </a:lstStyle>
          <a:p>
            <a:pPr lvl="0"/>
            <a:r>
              <a:rPr lang="en-US"/>
              <a:t>Headline text goes here</a:t>
            </a:r>
            <a:endParaRPr lang="id-ID"/>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43" y="0"/>
            <a:ext cx="12220686" cy="6858000"/>
          </a:xfrm>
          <a:prstGeom prst="rect">
            <a:avLst/>
          </a:prstGeom>
        </p:spPr>
      </p:pic>
      <p:pic>
        <p:nvPicPr>
          <p:cNvPr id="7" name="Picture 6"/>
          <p:cNvPicPr>
            <a:picLocks noChangeAspect="1"/>
          </p:cNvPicPr>
          <p:nvPr/>
        </p:nvPicPr>
        <p:blipFill>
          <a:blip r:embed="rId3"/>
          <a:stretch>
            <a:fillRect/>
          </a:stretch>
        </p:blipFill>
        <p:spPr>
          <a:xfrm>
            <a:off x="10452448" y="304417"/>
            <a:ext cx="1357200" cy="392400"/>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anchor="b">
            <a:normAutofit/>
          </a:bodyPr>
          <a:lstStyle>
            <a:lvl1pPr>
              <a:lnSpc>
                <a:spcPct val="100000"/>
              </a:lnSpc>
              <a:defRPr sz="2400" b="1" i="0" baseline="0">
                <a:solidFill>
                  <a:schemeClr val="bg1"/>
                </a:solidFill>
                <a:latin typeface="Gotham Book" charset="0"/>
                <a:ea typeface="Gotham Book" charset="0"/>
                <a:cs typeface="Gotham Book" charset="0"/>
              </a:defRPr>
            </a:lvl1pPr>
          </a:lstStyle>
          <a:p>
            <a:r>
              <a:rPr lang="en-US"/>
              <a:t>Section 01</a:t>
            </a:r>
            <a:endParaRPr lang="id-ID"/>
          </a:p>
        </p:txBody>
      </p:sp>
      <p:sp>
        <p:nvSpPr>
          <p:cNvPr id="5" name="Text Placeholder 4"/>
          <p:cNvSpPr>
            <a:spLocks noGrp="1"/>
          </p:cNvSpPr>
          <p:nvPr>
            <p:ph type="body" sz="quarter" idx="19" hasCustomPrompt="1"/>
          </p:nvPr>
        </p:nvSpPr>
        <p:spPr>
          <a:xfrm>
            <a:off x="682625" y="2479675"/>
            <a:ext cx="6963517" cy="3036888"/>
          </a:xfrm>
        </p:spPr>
        <p:txBody>
          <a:bodyPr>
            <a:normAutofit/>
          </a:bodyPr>
          <a:lstStyle>
            <a:lvl1pPr marL="0" indent="0">
              <a:lnSpc>
                <a:spcPct val="100000"/>
              </a:lnSpc>
              <a:spcBef>
                <a:spcPts val="0"/>
              </a:spcBef>
              <a:buNone/>
              <a:defRPr sz="5400" b="1">
                <a:solidFill>
                  <a:schemeClr val="bg1"/>
                </a:solidFill>
              </a:defRPr>
            </a:lvl1pPr>
          </a:lstStyle>
          <a:p>
            <a:pPr lvl="0"/>
            <a:r>
              <a:rPr lang="en-US"/>
              <a:t>Headline text goes here</a:t>
            </a:r>
            <a:endParaRPr lang="id-ID"/>
          </a:p>
        </p:txBody>
      </p:sp>
      <p:pic>
        <p:nvPicPr>
          <p:cNvPr id="8" name="Graphic 7"/>
          <p:cNvPicPr>
            <a:picLocks noChangeAspect="1"/>
          </p:cNvPicPr>
          <p:nvPr/>
        </p:nvPicPr>
        <p:blipFill>
          <a:blip r:embed="rId4">
            <a:lum bright="100000"/>
            <a:extLst>
              <a:ext uri="{96DAC541-7B7A-43D3-8B79-37D633B846F1}">
                <asvg:svgBlip xmlns:asvg="http://schemas.microsoft.com/office/drawing/2016/SVG/main" r:embed="rId5"/>
              </a:ext>
            </a:extLst>
          </a:blip>
          <a:stretch>
            <a:fillRect/>
          </a:stretch>
        </p:blipFill>
        <p:spPr>
          <a:xfrm>
            <a:off x="334963" y="296922"/>
            <a:ext cx="1274400" cy="226816"/>
          </a:xfrm>
          <a:prstGeom prst="rect">
            <a:avLst/>
          </a:prstGeom>
        </p:spPr>
      </p:pic>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p:cSld name="Divider 3">
    <p:spTree>
      <p:nvGrpSpPr>
        <p:cNvPr id="1" name=""/>
        <p:cNvGrpSpPr/>
        <p:nvPr/>
      </p:nvGrpSpPr>
      <p:grpSpPr>
        <a:xfrm>
          <a:off x="0" y="0"/>
          <a:ext cx="0" cy="0"/>
          <a:chOff x="0" y="0"/>
          <a:chExt cx="0" cy="0"/>
        </a:xfrm>
      </p:grpSpPr>
      <p:pic>
        <p:nvPicPr>
          <p:cNvPr id="16" name="Picture 2"/>
          <p:cNvPicPr>
            <a:picLocks noChangeAspect="1" noChangeArrowheads="1"/>
          </p:cNvPicPr>
          <p:nvPr/>
        </p:nvPicPr>
        <p:blipFill>
          <a:blip r:embed="rId2"/>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26"/>
          <p:cNvSpPr>
            <a:spLocks noGrp="1"/>
          </p:cNvSpPr>
          <p:nvPr>
            <p:ph type="title" hasCustomPrompt="1"/>
          </p:nvPr>
        </p:nvSpPr>
        <p:spPr>
          <a:xfrm>
            <a:off x="682013" y="1916183"/>
            <a:ext cx="6964129" cy="716405"/>
          </a:xfrm>
          <a:prstGeom prst="rect">
            <a:avLst/>
          </a:prstGeom>
        </p:spPr>
        <p:txBody>
          <a:bodyPr anchor="b">
            <a:normAutofit/>
          </a:bodyPr>
          <a:lstStyle>
            <a:lvl1pPr>
              <a:lnSpc>
                <a:spcPct val="100000"/>
              </a:lnSpc>
              <a:defRPr sz="2400" b="1" i="0" baseline="0">
                <a:solidFill>
                  <a:schemeClr val="bg1"/>
                </a:solidFill>
                <a:latin typeface="Gotham Book" charset="0"/>
                <a:ea typeface="Gotham Book" charset="0"/>
                <a:cs typeface="Gotham Book" charset="0"/>
              </a:defRPr>
            </a:lvl1pPr>
          </a:lstStyle>
          <a:p>
            <a:r>
              <a:rPr lang="en-US"/>
              <a:t>Section 01</a:t>
            </a:r>
            <a:endParaRPr lang="id-ID"/>
          </a:p>
        </p:txBody>
      </p:sp>
      <p:sp>
        <p:nvSpPr>
          <p:cNvPr id="5" name="Text Placeholder 4"/>
          <p:cNvSpPr>
            <a:spLocks noGrp="1"/>
          </p:cNvSpPr>
          <p:nvPr>
            <p:ph type="body" sz="quarter" idx="19" hasCustomPrompt="1"/>
          </p:nvPr>
        </p:nvSpPr>
        <p:spPr>
          <a:xfrm>
            <a:off x="682626" y="2767059"/>
            <a:ext cx="6963516" cy="3036888"/>
          </a:xfrm>
        </p:spPr>
        <p:txBody>
          <a:bodyPr>
            <a:normAutofit/>
          </a:bodyPr>
          <a:lstStyle>
            <a:lvl1pPr marL="0" indent="0">
              <a:lnSpc>
                <a:spcPct val="100000"/>
              </a:lnSpc>
              <a:spcBef>
                <a:spcPts val="0"/>
              </a:spcBef>
              <a:buNone/>
              <a:defRPr sz="5400" b="1">
                <a:solidFill>
                  <a:schemeClr val="bg1"/>
                </a:solidFill>
              </a:defRPr>
            </a:lvl1pPr>
          </a:lstStyle>
          <a:p>
            <a:pPr lvl="0"/>
            <a:r>
              <a:rPr lang="en-US"/>
              <a:t>Headline text</a:t>
            </a:r>
          </a:p>
          <a:p>
            <a:pPr lvl="0"/>
            <a:r>
              <a:rPr lang="en-US"/>
              <a:t>goes here</a:t>
            </a:r>
            <a:endParaRPr lang="id-ID"/>
          </a:p>
        </p:txBody>
      </p:sp>
      <p:pic>
        <p:nvPicPr>
          <p:cNvPr id="12" name="Graphic 11"/>
          <p:cNvPicPr>
            <a:picLocks noChangeAspect="1"/>
          </p:cNvPicPr>
          <p:nvPr/>
        </p:nvPicPr>
        <p:blipFill>
          <a:blip r:embed="rId3">
            <a:lum bright="100000"/>
            <a:extLst>
              <a:ext uri="{96DAC541-7B7A-43D3-8B79-37D633B846F1}">
                <asvg:svgBlip xmlns:asvg="http://schemas.microsoft.com/office/drawing/2016/SVG/main" r:embed="rId4"/>
              </a:ext>
            </a:extLst>
          </a:blip>
          <a:stretch>
            <a:fillRect/>
          </a:stretch>
        </p:blipFill>
        <p:spPr>
          <a:xfrm>
            <a:off x="334963" y="296922"/>
            <a:ext cx="1274400" cy="226816"/>
          </a:xfrm>
          <a:prstGeom prst="rect">
            <a:avLst/>
          </a:prstGeom>
        </p:spPr>
      </p:pic>
      <p:sp>
        <p:nvSpPr>
          <p:cNvPr id="2" name="TextBox 1"/>
          <p:cNvSpPr txBox="1"/>
          <p:nvPr/>
        </p:nvSpPr>
        <p:spPr>
          <a:xfrm>
            <a:off x="4088674" y="-953589"/>
            <a:ext cx="0" cy="0"/>
          </a:xfrm>
          <a:prstGeom prst="rect">
            <a:avLst/>
          </a:prstGeom>
        </p:spPr>
        <p:txBody>
          <a:bodyPr vert="horz" wrap="none" lIns="0" tIns="45720" rIns="91440" bIns="45720" rtlCol="0" anchor="ctr">
            <a:noAutofit/>
          </a:bodyPr>
          <a:lstStyle/>
          <a:p>
            <a:endParaRPr lang="en-US" sz="1600" b="0" i="0">
              <a:solidFill>
                <a:schemeClr val="accent1"/>
              </a:solidFill>
              <a:latin typeface="Gotham Medium" charset="0"/>
              <a:ea typeface="Gotham Medium" charset="0"/>
              <a:cs typeface="Gotham Medium" charset="0"/>
            </a:endParaRPr>
          </a:p>
        </p:txBody>
      </p:sp>
      <p:pic>
        <p:nvPicPr>
          <p:cNvPr id="14" name="Picture 13"/>
          <p:cNvPicPr>
            <a:picLocks noChangeAspect="1"/>
          </p:cNvPicPr>
          <p:nvPr/>
        </p:nvPicPr>
        <p:blipFill>
          <a:blip r:embed="rId5"/>
          <a:stretch>
            <a:fillRect/>
          </a:stretch>
        </p:blipFill>
        <p:spPr>
          <a:xfrm>
            <a:off x="10452448" y="304417"/>
            <a:ext cx="1357200" cy="392400"/>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96712" y="713232"/>
            <a:ext cx="6495288" cy="6144768"/>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51156" t="55496" b="200"/>
          <a:stretch>
            <a:fillRect/>
          </a:stretch>
        </p:blipFill>
        <p:spPr>
          <a:xfrm>
            <a:off x="6239282" y="3802895"/>
            <a:ext cx="5952718" cy="3055105"/>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vert="horz" anchor="b">
            <a:normAutofit/>
          </a:bodyPr>
          <a:lstStyle>
            <a:lvl1pPr>
              <a:defRPr sz="2400" b="1" i="0" baseline="0">
                <a:solidFill>
                  <a:schemeClr val="tx2"/>
                </a:solidFill>
                <a:latin typeface="+mj-lt"/>
                <a:ea typeface="+mj-ea"/>
                <a:cs typeface="+mj-cs"/>
              </a:defRPr>
            </a:lvl1pPr>
          </a:lstStyle>
          <a:p>
            <a:r>
              <a:rPr lang="en-US"/>
              <a:t>Section 01</a:t>
            </a:r>
            <a:endParaRPr lang="id-ID"/>
          </a:p>
        </p:txBody>
      </p:sp>
      <p:sp>
        <p:nvSpPr>
          <p:cNvPr id="5" name="Text Placeholder 4"/>
          <p:cNvSpPr>
            <a:spLocks noGrp="1"/>
          </p:cNvSpPr>
          <p:nvPr>
            <p:ph type="body" sz="quarter" idx="19" hasCustomPrompt="1"/>
          </p:nvPr>
        </p:nvSpPr>
        <p:spPr>
          <a:xfrm>
            <a:off x="682625" y="2479675"/>
            <a:ext cx="6963517" cy="3036888"/>
          </a:xfrm>
        </p:spPr>
        <p:txBody>
          <a:bodyPr/>
          <a:lstStyle>
            <a:lvl1pPr marL="0" indent="0">
              <a:lnSpc>
                <a:spcPts val="5800"/>
              </a:lnSpc>
              <a:spcBef>
                <a:spcPts val="0"/>
              </a:spcBef>
              <a:buNone/>
              <a:defRPr sz="5400" b="1" i="0">
                <a:solidFill>
                  <a:schemeClr val="tx2"/>
                </a:solidFill>
                <a:latin typeface="+mj-lt"/>
                <a:ea typeface="+mn-ea"/>
                <a:cs typeface="+mn-cs"/>
              </a:defRPr>
            </a:lvl1pPr>
          </a:lstStyle>
          <a:p>
            <a:pPr lvl="0"/>
            <a:r>
              <a:rPr lang="en-US"/>
              <a:t>Headline text goes here</a:t>
            </a:r>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Divider 4">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376843" cy="6964680"/>
          </a:xfrm>
          <a:prstGeom prst="rect">
            <a:avLst/>
          </a:prstGeom>
        </p:spPr>
      </p:pic>
      <p:sp>
        <p:nvSpPr>
          <p:cNvPr id="30" name="Title 26"/>
          <p:cNvSpPr>
            <a:spLocks noGrp="1"/>
          </p:cNvSpPr>
          <p:nvPr>
            <p:ph type="title" hasCustomPrompt="1"/>
          </p:nvPr>
        </p:nvSpPr>
        <p:spPr>
          <a:xfrm>
            <a:off x="682013" y="1916183"/>
            <a:ext cx="6964129" cy="716405"/>
          </a:xfrm>
          <a:prstGeom prst="rect">
            <a:avLst/>
          </a:prstGeom>
        </p:spPr>
        <p:txBody>
          <a:bodyPr anchor="b">
            <a:normAutofit/>
          </a:bodyPr>
          <a:lstStyle>
            <a:lvl1pPr>
              <a:lnSpc>
                <a:spcPct val="100000"/>
              </a:lnSpc>
              <a:defRPr sz="2400" b="1" i="0" baseline="0">
                <a:solidFill>
                  <a:schemeClr val="bg1"/>
                </a:solidFill>
                <a:latin typeface="Gotham Book" charset="0"/>
                <a:ea typeface="Gotham Book" charset="0"/>
                <a:cs typeface="Gotham Book" charset="0"/>
              </a:defRPr>
            </a:lvl1pPr>
          </a:lstStyle>
          <a:p>
            <a:r>
              <a:rPr lang="en-US"/>
              <a:t>Section 01</a:t>
            </a:r>
            <a:endParaRPr lang="id-ID"/>
          </a:p>
        </p:txBody>
      </p:sp>
      <p:sp>
        <p:nvSpPr>
          <p:cNvPr id="5" name="Text Placeholder 4"/>
          <p:cNvSpPr>
            <a:spLocks noGrp="1"/>
          </p:cNvSpPr>
          <p:nvPr>
            <p:ph type="body" sz="quarter" idx="19" hasCustomPrompt="1"/>
          </p:nvPr>
        </p:nvSpPr>
        <p:spPr>
          <a:xfrm>
            <a:off x="682626" y="2767059"/>
            <a:ext cx="6963516" cy="3036888"/>
          </a:xfrm>
        </p:spPr>
        <p:txBody>
          <a:bodyPr>
            <a:normAutofit/>
          </a:bodyPr>
          <a:lstStyle>
            <a:lvl1pPr marL="0" indent="0">
              <a:lnSpc>
                <a:spcPct val="100000"/>
              </a:lnSpc>
              <a:spcBef>
                <a:spcPts val="0"/>
              </a:spcBef>
              <a:buNone/>
              <a:defRPr sz="5400" b="1">
                <a:solidFill>
                  <a:schemeClr val="bg1"/>
                </a:solidFill>
              </a:defRPr>
            </a:lvl1pPr>
          </a:lstStyle>
          <a:p>
            <a:pPr lvl="0"/>
            <a:r>
              <a:rPr lang="en-US"/>
              <a:t>Headline text</a:t>
            </a:r>
          </a:p>
          <a:p>
            <a:pPr lvl="0"/>
            <a:r>
              <a:rPr lang="en-US"/>
              <a:t>goes here</a:t>
            </a:r>
            <a:endParaRPr lang="id-ID"/>
          </a:p>
        </p:txBody>
      </p:sp>
      <p:pic>
        <p:nvPicPr>
          <p:cNvPr id="10" name="Picture 9"/>
          <p:cNvPicPr>
            <a:picLocks noChangeAspect="1"/>
          </p:cNvPicPr>
          <p:nvPr/>
        </p:nvPicPr>
        <p:blipFill>
          <a:blip r:embed="rId3"/>
          <a:stretch>
            <a:fillRect/>
          </a:stretch>
        </p:blipFill>
        <p:spPr>
          <a:xfrm>
            <a:off x="10452448" y="304417"/>
            <a:ext cx="1357200" cy="392400"/>
          </a:xfrm>
          <a:prstGeom prst="rect">
            <a:avLst/>
          </a:prstGeom>
        </p:spPr>
      </p:pic>
      <p:pic>
        <p:nvPicPr>
          <p:cNvPr id="12" name="Graphic 11"/>
          <p:cNvPicPr>
            <a:picLocks noChangeAspect="1"/>
          </p:cNvPicPr>
          <p:nvPr/>
        </p:nvPicPr>
        <p:blipFill>
          <a:blip r:embed="rId4">
            <a:lum bright="100000"/>
            <a:extLst>
              <a:ext uri="{96DAC541-7B7A-43D3-8B79-37D633B846F1}">
                <asvg:svgBlip xmlns:asvg="http://schemas.microsoft.com/office/drawing/2016/SVG/main" r:embed="rId5"/>
              </a:ext>
            </a:extLst>
          </a:blip>
          <a:stretch>
            <a:fillRect/>
          </a:stretch>
        </p:blipFill>
        <p:spPr>
          <a:xfrm>
            <a:off x="334963" y="296922"/>
            <a:ext cx="1274400" cy="226816"/>
          </a:xfrm>
          <a:prstGeom prst="rect">
            <a:avLst/>
          </a:prstGeom>
        </p:spPr>
      </p:pic>
      <p:sp>
        <p:nvSpPr>
          <p:cNvPr id="2" name="TextBox 1"/>
          <p:cNvSpPr txBox="1"/>
          <p:nvPr/>
        </p:nvSpPr>
        <p:spPr>
          <a:xfrm>
            <a:off x="4088674" y="-953589"/>
            <a:ext cx="0" cy="0"/>
          </a:xfrm>
          <a:prstGeom prst="rect">
            <a:avLst/>
          </a:prstGeom>
        </p:spPr>
        <p:txBody>
          <a:bodyPr vert="horz" wrap="none" lIns="0" tIns="45720" rIns="91440" bIns="45720" rtlCol="0" anchor="ctr">
            <a:noAutofit/>
          </a:bodyPr>
          <a:lstStyle/>
          <a:p>
            <a:endParaRPr lang="en-US" sz="1600" b="0" i="0">
              <a:solidFill>
                <a:schemeClr val="accent1"/>
              </a:solidFill>
              <a:latin typeface="Gotham Medium" charset="0"/>
              <a:ea typeface="Gotham Medium" charset="0"/>
              <a:cs typeface="Gotham Medium" charset="0"/>
            </a:endParaRP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Content &amp; Pictur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2690488"/>
            <a:ext cx="5817155" cy="3705838"/>
          </a:xfrm>
          <a:prstGeom prst="rect">
            <a:avLst/>
          </a:prstGeom>
          <a:noFill/>
          <a:ln>
            <a:noFill/>
          </a:ln>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140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nibh euismod tincidunt ut laoreet dolore magna aliquam hendrerit in vulputate velit esse molestie consequat, vel illum dolore eu feugiat nulla facilisis at vero eros et accumsan et iusto odio dignissim qui blandit praesent luptatum zzril delenit augue duis dolore te feugait nulla facilisi..</a:t>
            </a:r>
          </a:p>
          <a:p>
            <a:endParaRPr lang="id-ID"/>
          </a:p>
        </p:txBody>
      </p:sp>
      <p:sp>
        <p:nvSpPr>
          <p:cNvPr id="4" name="Picture Placeholder 3"/>
          <p:cNvSpPr>
            <a:spLocks noGrp="1"/>
          </p:cNvSpPr>
          <p:nvPr>
            <p:ph type="pic" sz="quarter" idx="13" hasCustomPrompt="1"/>
          </p:nvPr>
        </p:nvSpPr>
        <p:spPr>
          <a:xfrm>
            <a:off x="6672064" y="1560512"/>
            <a:ext cx="5519936" cy="4433639"/>
          </a:xfrm>
          <a:ln>
            <a:noFill/>
          </a:ln>
        </p:spPr>
        <p:txBody>
          <a:bodyPr anchor="ctr"/>
          <a:lstStyle>
            <a:lvl1pPr marL="457200" indent="-457200" algn="ctr">
              <a:buFont typeface="Arial" panose="020B0604020202090204" pitchFamily="34" charset="0"/>
              <a:buChar char="•"/>
              <a:defRPr sz="2000"/>
            </a:lvl1pPr>
          </a:lstStyle>
          <a:p>
            <a:r>
              <a:rPr lang="id-ID"/>
              <a:t>Picture </a:t>
            </a:r>
            <a:r>
              <a:rPr lang="en-US"/>
              <a:t>ratio </a:t>
            </a:r>
            <a:r>
              <a:rPr lang="id-ID"/>
              <a:t>4:3</a:t>
            </a:r>
          </a:p>
        </p:txBody>
      </p:sp>
      <p:sp>
        <p:nvSpPr>
          <p:cNvPr id="5" name="Text Placeholder 4"/>
          <p:cNvSpPr>
            <a:spLocks noGrp="1"/>
          </p:cNvSpPr>
          <p:nvPr>
            <p:ph type="body" sz="quarter" idx="17" hasCustomPrompt="1"/>
          </p:nvPr>
        </p:nvSpPr>
        <p:spPr>
          <a:xfrm>
            <a:off x="334963" y="1397170"/>
            <a:ext cx="5833261" cy="1131717"/>
          </a:xfrm>
        </p:spPr>
        <p:txBody>
          <a:bodyPr anchor="b">
            <a:normAutofit/>
          </a:bodyPr>
          <a:lstStyle>
            <a:lvl1pPr marL="0" indent="0">
              <a:lnSpc>
                <a:spcPct val="100000"/>
              </a:lnSpc>
              <a:buNone/>
              <a:defRPr sz="3200" b="0" i="0">
                <a:solidFill>
                  <a:schemeClr val="accent1"/>
                </a:solidFill>
                <a:latin typeface="Gotham Medium" charset="0"/>
                <a:cs typeface="Gotham Medium"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Title text, maximum is two lines.</a:t>
            </a:r>
            <a:endParaRPr lang="id-ID"/>
          </a:p>
        </p:txBody>
      </p:sp>
      <p:sp>
        <p:nvSpPr>
          <p:cNvPr id="2" name="Date Placeholder 1"/>
          <p:cNvSpPr>
            <a:spLocks noGrp="1"/>
          </p:cNvSpPr>
          <p:nvPr>
            <p:ph type="dt" sz="half" idx="18"/>
          </p:nvPr>
        </p:nvSpPr>
        <p:spPr/>
        <p:txBody>
          <a:bodyPr/>
          <a:lstStyle/>
          <a:p>
            <a:fld id="{CB6E0E24-B4F7-E843-AFC0-C1F83B7A48CA}" type="datetime2">
              <a:rPr lang="en-ID" smtClean="0"/>
              <a:t>Sunday, 12 May 2024</a:t>
            </a:fld>
            <a:endParaRPr lang="id-ID"/>
          </a:p>
        </p:txBody>
      </p:sp>
      <p:sp>
        <p:nvSpPr>
          <p:cNvPr id="6" name="Slide Number Placeholder 5"/>
          <p:cNvSpPr>
            <a:spLocks noGrp="1"/>
          </p:cNvSpPr>
          <p:nvPr>
            <p:ph type="sldNum" sz="quarter" idx="19"/>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Content &amp; Picture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38444" y="1268413"/>
            <a:ext cx="5682081" cy="2160587"/>
          </a:xfrm>
          <a:prstGeom prst="rect">
            <a:avLst/>
          </a:prstGeom>
          <a:noFill/>
          <a:ln>
            <a:noFill/>
          </a:ln>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14pt/spc-exctly22pt</a:t>
            </a:r>
            <a:endParaRPr lang="id-ID"/>
          </a:p>
        </p:txBody>
      </p:sp>
      <p:sp>
        <p:nvSpPr>
          <p:cNvPr id="7" name="Text Placeholder 6"/>
          <p:cNvSpPr>
            <a:spLocks noGrp="1"/>
          </p:cNvSpPr>
          <p:nvPr>
            <p:ph type="body" sz="quarter" idx="15" hasCustomPrompt="1"/>
          </p:nvPr>
        </p:nvSpPr>
        <p:spPr>
          <a:xfrm>
            <a:off x="352424" y="1274618"/>
            <a:ext cx="5417200" cy="1454727"/>
          </a:xfrm>
        </p:spPr>
        <p:txBody>
          <a:bodyPr anchor="t">
            <a:normAutofit/>
          </a:bodyPr>
          <a:lstStyle>
            <a:lvl1pPr marL="0" indent="0">
              <a:lnSpc>
                <a:spcPct val="100000"/>
              </a:lnSpc>
              <a:spcBef>
                <a:spcPts val="1000"/>
              </a:spcBef>
              <a:buNone/>
              <a:defRPr b="0" i="0">
                <a:solidFill>
                  <a:schemeClr val="accent1"/>
                </a:solidFill>
                <a:latin typeface="Gotham Medium" charset="0"/>
                <a:ea typeface="Gotham Medium" charset="0"/>
                <a:cs typeface="Gotham Medium" charset="0"/>
              </a:defRPr>
            </a:lvl1pPr>
          </a:lstStyle>
          <a:p>
            <a:pPr lvl="0"/>
            <a:r>
              <a:rPr lang="en-US"/>
              <a:t>Click to edit Title text with. some pictures, maximum is three lines.</a:t>
            </a:r>
          </a:p>
        </p:txBody>
      </p:sp>
      <p:sp>
        <p:nvSpPr>
          <p:cNvPr id="4" name="Picture Placeholder 3"/>
          <p:cNvSpPr>
            <a:spLocks noGrp="1"/>
          </p:cNvSpPr>
          <p:nvPr>
            <p:ph type="pic" sz="quarter" idx="13" hasCustomPrompt="1"/>
          </p:nvPr>
        </p:nvSpPr>
        <p:spPr>
          <a:xfrm>
            <a:off x="-3916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19" name="Picture Placeholder 3"/>
          <p:cNvSpPr>
            <a:spLocks noGrp="1"/>
          </p:cNvSpPr>
          <p:nvPr>
            <p:ph type="pic" sz="quarter" idx="16" hasCustomPrompt="1"/>
          </p:nvPr>
        </p:nvSpPr>
        <p:spPr>
          <a:xfrm>
            <a:off x="404612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20" name="Picture Placeholder 3"/>
          <p:cNvSpPr>
            <a:spLocks noGrp="1"/>
          </p:cNvSpPr>
          <p:nvPr>
            <p:ph type="pic" sz="quarter" idx="17" hasCustomPrompt="1"/>
          </p:nvPr>
        </p:nvSpPr>
        <p:spPr>
          <a:xfrm>
            <a:off x="813140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a:t>
            </a:r>
            <a:r>
              <a:rPr lang="id-ID"/>
              <a:t> 4:3</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ntent &amp; Mix Preview">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67881" y="2528876"/>
            <a:ext cx="5584104" cy="1764220"/>
          </a:xfrm>
          <a:prstGeom prst="rect">
            <a:avLst/>
          </a:prstGeom>
          <a:noFill/>
          <a:ln>
            <a:noFill/>
          </a:ln>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14pt/spc-exctly22pt</a:t>
            </a:r>
            <a:endParaRPr lang="id-ID"/>
          </a:p>
        </p:txBody>
      </p:sp>
      <p:sp>
        <p:nvSpPr>
          <p:cNvPr id="5" name="Chart Placeholder 4"/>
          <p:cNvSpPr>
            <a:spLocks noGrp="1"/>
          </p:cNvSpPr>
          <p:nvPr>
            <p:ph type="chart" sz="quarter" idx="16" hasCustomPrompt="1"/>
          </p:nvPr>
        </p:nvSpPr>
        <p:spPr>
          <a:xfrm>
            <a:off x="379358" y="4469517"/>
            <a:ext cx="3536610" cy="1810691"/>
          </a:xfrm>
        </p:spPr>
        <p:txBody>
          <a:bodyPr anchor="ctr"/>
          <a:lstStyle>
            <a:lvl1pPr algn="ctr">
              <a:defRPr sz="2400"/>
            </a:lvl1pPr>
          </a:lstStyle>
          <a:p>
            <a:r>
              <a:rPr lang="en-US"/>
              <a:t>Click icon to add chart</a:t>
            </a:r>
            <a:endParaRPr lang="id-ID"/>
          </a:p>
        </p:txBody>
      </p:sp>
      <p:sp>
        <p:nvSpPr>
          <p:cNvPr id="8" name="Picture Placeholder 7"/>
          <p:cNvSpPr>
            <a:spLocks noGrp="1"/>
          </p:cNvSpPr>
          <p:nvPr>
            <p:ph type="pic" sz="quarter" idx="17" hasCustomPrompt="1"/>
          </p:nvPr>
        </p:nvSpPr>
        <p:spPr>
          <a:xfrm>
            <a:off x="6664803" y="1047314"/>
            <a:ext cx="5133982" cy="3837077"/>
          </a:xfrm>
        </p:spPr>
        <p:txBody>
          <a:bodyPr anchor="ctr"/>
          <a:lstStyle>
            <a:lvl1pPr algn="ctr">
              <a:defRPr sz="1600" baseline="0"/>
            </a:lvl1pPr>
          </a:lstStyle>
          <a:p>
            <a:r>
              <a:rPr lang="id-ID"/>
              <a:t>Picture ratio 4:3</a:t>
            </a:r>
          </a:p>
        </p:txBody>
      </p:sp>
      <p:sp>
        <p:nvSpPr>
          <p:cNvPr id="18" name="Picture Placeholder 7"/>
          <p:cNvSpPr>
            <a:spLocks noGrp="1"/>
          </p:cNvSpPr>
          <p:nvPr>
            <p:ph type="pic" sz="quarter" idx="18" hasCustomPrompt="1"/>
          </p:nvPr>
        </p:nvSpPr>
        <p:spPr>
          <a:xfrm>
            <a:off x="6664803" y="4973901"/>
            <a:ext cx="2536725" cy="1884099"/>
          </a:xfrm>
        </p:spPr>
        <p:txBody>
          <a:bodyPr anchor="ctr"/>
          <a:lstStyle>
            <a:lvl1pPr algn="ctr">
              <a:defRPr sz="1600"/>
            </a:lvl1pPr>
          </a:lstStyle>
          <a:p>
            <a:r>
              <a:rPr lang="id-ID"/>
              <a:t>Picture ratio 4:3</a:t>
            </a:r>
          </a:p>
        </p:txBody>
      </p:sp>
      <p:sp>
        <p:nvSpPr>
          <p:cNvPr id="21" name="Picture Placeholder 7"/>
          <p:cNvSpPr>
            <a:spLocks noGrp="1"/>
          </p:cNvSpPr>
          <p:nvPr>
            <p:ph type="pic" sz="quarter" idx="19" hasCustomPrompt="1"/>
          </p:nvPr>
        </p:nvSpPr>
        <p:spPr>
          <a:xfrm>
            <a:off x="9263444" y="4973901"/>
            <a:ext cx="2536725" cy="1884099"/>
          </a:xfr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90204"/>
              <a:buChar char="•"/>
              <a:defRPr sz="1600"/>
            </a:lvl1pPr>
          </a:lstStyle>
          <a:p>
            <a:r>
              <a:rPr lang="id-ID"/>
              <a:t>Picture ratio 4:3</a:t>
            </a:r>
          </a:p>
        </p:txBody>
      </p:sp>
      <p:sp>
        <p:nvSpPr>
          <p:cNvPr id="9" name="Text Placeholder 6"/>
          <p:cNvSpPr>
            <a:spLocks noGrp="1"/>
          </p:cNvSpPr>
          <p:nvPr>
            <p:ph type="body" sz="quarter" idx="20" hasCustomPrompt="1"/>
          </p:nvPr>
        </p:nvSpPr>
        <p:spPr>
          <a:xfrm>
            <a:off x="367881" y="1171587"/>
            <a:ext cx="5584104" cy="1002254"/>
          </a:xfrm>
        </p:spPr>
        <p:txBody>
          <a:bodyPr anchor="b">
            <a:normAutofit/>
          </a:bodyPr>
          <a:lstStyle>
            <a:lvl1pPr marL="0" indent="0">
              <a:lnSpc>
                <a:spcPct val="100000"/>
              </a:lnSpc>
              <a:spcBef>
                <a:spcPts val="1000"/>
              </a:spcBef>
              <a:buNone/>
              <a:defRPr sz="2800" b="0" i="0">
                <a:solidFill>
                  <a:schemeClr val="accent1"/>
                </a:solidFill>
                <a:latin typeface="Gotham Medium" charset="0"/>
                <a:ea typeface="Gotham Medium" charset="0"/>
                <a:cs typeface="Gotham Medium" charset="0"/>
              </a:defRPr>
            </a:lvl1pPr>
          </a:lstStyle>
          <a:p>
            <a:pPr lvl="0"/>
            <a:r>
              <a:rPr lang="en-US"/>
              <a:t>Click to edit Title text, maximum is two lines.</a:t>
            </a:r>
            <a:endParaRPr lang="id-ID"/>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5" name="Text Placeholder 4"/>
          <p:cNvSpPr>
            <a:spLocks noGrp="1"/>
          </p:cNvSpPr>
          <p:nvPr>
            <p:ph type="body" sz="quarter" idx="3" hasCustomPrompt="1"/>
          </p:nvPr>
        </p:nvSpPr>
        <p:spPr>
          <a:xfrm>
            <a:off x="6172199" y="1681163"/>
            <a:ext cx="5648325" cy="576039"/>
          </a:xfrm>
          <a:prstGeom prst="rect">
            <a:avLst/>
          </a:prstGeom>
        </p:spPr>
        <p:txBody>
          <a:bodyPr anchor="ctr" anchorCtr="0">
            <a:normAutofit/>
          </a:bodyPr>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6" name="Content Placeholder 5"/>
          <p:cNvSpPr>
            <a:spLocks noGrp="1"/>
          </p:cNvSpPr>
          <p:nvPr>
            <p:ph sz="quarter" idx="4" hasCustomPrompt="1"/>
          </p:nvPr>
        </p:nvSpPr>
        <p:spPr>
          <a:xfrm>
            <a:off x="6172199" y="2505074"/>
            <a:ext cx="5648325" cy="3588221"/>
          </a:xfrm>
          <a:prstGeom prst="rect">
            <a:avLst/>
          </a:prstGeom>
        </p:spPr>
        <p:txBody>
          <a:bodyPr anchor="t">
            <a:normAutofit/>
          </a:bodyPr>
          <a:lstStyle>
            <a:lvl1pPr marL="179705" indent="-179705">
              <a:lnSpc>
                <a:spcPct val="100000"/>
              </a:lnSpc>
              <a:spcBef>
                <a:spcPts val="600"/>
              </a:spcBef>
              <a:defRPr sz="2000" b="0" i="0">
                <a:latin typeface="Gotham Book" pitchFamily="2" charset="77"/>
              </a:defRPr>
            </a:lvl1pPr>
            <a:lvl2pPr marL="179705" indent="-179705">
              <a:lnSpc>
                <a:spcPct val="100000"/>
              </a:lnSpc>
              <a:spcBef>
                <a:spcPts val="600"/>
              </a:spcBef>
              <a:defRPr sz="1800" b="0" i="0">
                <a:latin typeface="Gotham Book" pitchFamily="2" charset="77"/>
              </a:defRPr>
            </a:lvl2pPr>
            <a:lvl3pPr marL="179705" indent="-179705">
              <a:lnSpc>
                <a:spcPct val="100000"/>
              </a:lnSpc>
              <a:spcBef>
                <a:spcPts val="600"/>
              </a:spcBef>
              <a:defRPr sz="1600" b="0" i="0">
                <a:latin typeface="Gotham Book" pitchFamily="2" charset="77"/>
              </a:defRPr>
            </a:lvl3pPr>
            <a:lvl4pPr marL="179705" indent="-179705">
              <a:lnSpc>
                <a:spcPct val="100000"/>
              </a:lnSpc>
              <a:spcBef>
                <a:spcPts val="600"/>
              </a:spcBef>
              <a:defRPr sz="1400" b="0" i="0">
                <a:latin typeface="Gotham Book" pitchFamily="2" charset="77"/>
              </a:defRPr>
            </a:lvl4pPr>
            <a:lvl5pPr marL="179705" indent="-179705">
              <a:lnSpc>
                <a:spcPct val="100000"/>
              </a:lnSpc>
              <a:spcBef>
                <a:spcPts val="600"/>
              </a:spcBef>
              <a:defRPr sz="1400" b="0" i="0">
                <a:latin typeface="Gotham Book" pitchFamily="2" charset="77"/>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9" name="Text Placeholder 4"/>
          <p:cNvSpPr>
            <a:spLocks noGrp="1"/>
          </p:cNvSpPr>
          <p:nvPr>
            <p:ph type="body" sz="quarter" idx="13" hasCustomPrompt="1"/>
          </p:nvPr>
        </p:nvSpPr>
        <p:spPr>
          <a:xfrm>
            <a:off x="353291" y="1681163"/>
            <a:ext cx="5636450" cy="576039"/>
          </a:xfrm>
          <a:prstGeom prst="rect">
            <a:avLst/>
          </a:prstGeom>
        </p:spPr>
        <p:txBody>
          <a:bodyPr anchor="ctr" anchorCtr="0">
            <a:normAutofit/>
          </a:bodyPr>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21" name="Content Placeholder 5"/>
          <p:cNvSpPr>
            <a:spLocks noGrp="1"/>
          </p:cNvSpPr>
          <p:nvPr>
            <p:ph sz="quarter" idx="14" hasCustomPrompt="1"/>
          </p:nvPr>
        </p:nvSpPr>
        <p:spPr>
          <a:xfrm>
            <a:off x="341415" y="2505074"/>
            <a:ext cx="5648325" cy="3588221"/>
          </a:xfrm>
          <a:prstGeom prst="rect">
            <a:avLst/>
          </a:prstGeom>
        </p:spPr>
        <p:txBody>
          <a:bodyPr anchor="t">
            <a:normAutofit/>
          </a:bodyPr>
          <a:lstStyle>
            <a:lvl1pPr marL="179705" indent="-179705">
              <a:lnSpc>
                <a:spcPct val="100000"/>
              </a:lnSpc>
              <a:spcBef>
                <a:spcPts val="600"/>
              </a:spcBef>
              <a:defRPr sz="2000" b="0" i="0">
                <a:latin typeface="Gotham Book" pitchFamily="2" charset="77"/>
              </a:defRPr>
            </a:lvl1pPr>
            <a:lvl2pPr marL="179705" indent="-179705">
              <a:lnSpc>
                <a:spcPct val="100000"/>
              </a:lnSpc>
              <a:spcBef>
                <a:spcPts val="600"/>
              </a:spcBef>
              <a:defRPr sz="1800" b="0" i="0">
                <a:latin typeface="Gotham Book" pitchFamily="2" charset="77"/>
              </a:defRPr>
            </a:lvl2pPr>
            <a:lvl3pPr marL="179705" indent="-179705">
              <a:lnSpc>
                <a:spcPct val="100000"/>
              </a:lnSpc>
              <a:spcBef>
                <a:spcPts val="600"/>
              </a:spcBef>
              <a:defRPr sz="1600" b="0" i="0">
                <a:latin typeface="Gotham Book" pitchFamily="2" charset="77"/>
              </a:defRPr>
            </a:lvl3pPr>
            <a:lvl4pPr marL="179705" indent="-179705">
              <a:lnSpc>
                <a:spcPct val="100000"/>
              </a:lnSpc>
              <a:spcBef>
                <a:spcPts val="600"/>
              </a:spcBef>
              <a:defRPr sz="1400" b="0" i="0">
                <a:latin typeface="Gotham Book" pitchFamily="2" charset="77"/>
              </a:defRPr>
            </a:lvl4pPr>
            <a:lvl5pPr marL="179705" indent="-179705">
              <a:lnSpc>
                <a:spcPct val="100000"/>
              </a:lnSpc>
              <a:spcBef>
                <a:spcPts val="600"/>
              </a:spcBef>
              <a:defRPr sz="1400" b="0" i="0">
                <a:latin typeface="Gotham Book" pitchFamily="2" charset="77"/>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 name="Date Placeholder 2"/>
          <p:cNvSpPr>
            <a:spLocks noGrp="1"/>
          </p:cNvSpPr>
          <p:nvPr>
            <p:ph type="dt" sz="half" idx="15"/>
          </p:nvPr>
        </p:nvSpPr>
        <p:spPr/>
        <p:txBody>
          <a:bodyPr/>
          <a:lstStyle/>
          <a:p>
            <a:fld id="{CB6E0E24-B4F7-E843-AFC0-C1F83B7A48CA}" type="datetime2">
              <a:rPr lang="en-ID" smtClean="0"/>
              <a:t>Sunday, 12 May 2024</a:t>
            </a:fld>
            <a:endParaRPr lang="id-ID"/>
          </a:p>
        </p:txBody>
      </p:sp>
      <p:sp>
        <p:nvSpPr>
          <p:cNvPr id="7" name="Slide Number Placeholder 6"/>
          <p:cNvSpPr>
            <a:spLocks noGrp="1"/>
          </p:cNvSpPr>
          <p:nvPr>
            <p:ph type="sldNum" sz="quarter" idx="17"/>
          </p:nvPr>
        </p:nvSpPr>
        <p:spPr/>
        <p:txBody>
          <a:bodyPr/>
          <a:lstStyle/>
          <a:p>
            <a:r>
              <a:rPr lang="id-ID"/>
              <a:t>|         </a:t>
            </a:r>
            <a:fld id="{7904F5B5-DD6E-6442-8C14-4BFE420CE974}" type="slidenum">
              <a:rPr lang="id-ID" smtClean="0"/>
              <a:t>‹#›</a:t>
            </a:fld>
            <a:endParaRPr lang="id-ID"/>
          </a:p>
        </p:txBody>
      </p:sp>
      <p:sp>
        <p:nvSpPr>
          <p:cNvPr id="4" name="Title 3"/>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34963" y="1704977"/>
            <a:ext cx="5684837" cy="3884264"/>
          </a:xfrm>
          <a:prstGeom prst="rect">
            <a:avLst/>
          </a:prstGeom>
        </p:spPr>
        <p:txBody>
          <a:bodyPr>
            <a:normAutofit/>
          </a:bodyPr>
          <a:lstStyle>
            <a:lvl1pPr marL="179705" indent="-179705">
              <a:lnSpc>
                <a:spcPct val="100000"/>
              </a:lnSpc>
              <a:spcBef>
                <a:spcPts val="600"/>
              </a:spcBef>
              <a:defRPr sz="2000"/>
            </a:lvl1pPr>
            <a:lvl2pPr marL="179705" indent="-179705">
              <a:lnSpc>
                <a:spcPct val="100000"/>
              </a:lnSpc>
              <a:spcBef>
                <a:spcPts val="600"/>
              </a:spcBef>
              <a:defRPr sz="1800"/>
            </a:lvl2pPr>
            <a:lvl3pPr marL="179705" indent="-179705">
              <a:lnSpc>
                <a:spcPct val="100000"/>
              </a:lnSpc>
              <a:spcBef>
                <a:spcPts val="600"/>
              </a:spcBef>
              <a:defRPr sz="1600"/>
            </a:lvl3pPr>
            <a:lvl4pPr marL="179705" indent="-179705">
              <a:lnSpc>
                <a:spcPct val="100000"/>
              </a:lnSpc>
              <a:spcBef>
                <a:spcPts val="600"/>
              </a:spcBef>
              <a:defRPr sz="1400"/>
            </a:lvl4pPr>
            <a:lvl5pPr marL="179705" indent="-179705">
              <a:lnSpc>
                <a:spcPct val="100000"/>
              </a:lnSpc>
              <a:spcBef>
                <a:spcPts val="600"/>
              </a:spcBef>
              <a:defRPr sz="1400"/>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hasCustomPrompt="1"/>
          </p:nvPr>
        </p:nvSpPr>
        <p:spPr>
          <a:xfrm>
            <a:off x="6172200" y="1704977"/>
            <a:ext cx="5648324" cy="3884264"/>
          </a:xfrm>
          <a:prstGeom prst="rect">
            <a:avLst/>
          </a:prstGeom>
        </p:spPr>
        <p:txBody>
          <a:bodyPr>
            <a:normAutofit/>
          </a:bodyPr>
          <a:lstStyle>
            <a:lvl1pPr marL="179705" indent="-179705">
              <a:lnSpc>
                <a:spcPct val="100000"/>
              </a:lnSpc>
              <a:spcBef>
                <a:spcPts val="600"/>
              </a:spcBef>
              <a:defRPr sz="2000"/>
            </a:lvl1pPr>
            <a:lvl2pPr marL="179705" indent="-179705">
              <a:lnSpc>
                <a:spcPct val="100000"/>
              </a:lnSpc>
              <a:spcBef>
                <a:spcPts val="600"/>
              </a:spcBef>
              <a:defRPr sz="1800"/>
            </a:lvl2pPr>
            <a:lvl3pPr marL="179705" indent="-179705">
              <a:lnSpc>
                <a:spcPct val="100000"/>
              </a:lnSpc>
              <a:spcBef>
                <a:spcPts val="600"/>
              </a:spcBef>
              <a:defRPr sz="1600"/>
            </a:lvl3pPr>
            <a:lvl4pPr marL="179705" indent="-179705">
              <a:lnSpc>
                <a:spcPct val="100000"/>
              </a:lnSpc>
              <a:spcBef>
                <a:spcPts val="600"/>
              </a:spcBef>
              <a:defRPr sz="1400"/>
            </a:lvl4pPr>
            <a:lvl5pPr marL="179705" indent="-179705">
              <a:lnSpc>
                <a:spcPct val="100000"/>
              </a:lnSpc>
              <a:spcBef>
                <a:spcPts val="600"/>
              </a:spcBef>
              <a:defRPr sz="1400"/>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CB6E0E24-B4F7-E843-AFC0-C1F83B7A48CA}" type="datetime2">
              <a:rPr lang="en-ID" smtClean="0"/>
              <a:t>Sunday, 12 May 2024</a:t>
            </a:fld>
            <a:endParaRPr lang="id-ID"/>
          </a:p>
        </p:txBody>
      </p:sp>
      <p:sp>
        <p:nvSpPr>
          <p:cNvPr id="7" name="Slide Number Placeholder 6"/>
          <p:cNvSpPr>
            <a:spLocks noGrp="1"/>
          </p:cNvSpPr>
          <p:nvPr>
            <p:ph type="sldNum" sz="quarter" idx="12"/>
          </p:nvPr>
        </p:nvSpPr>
        <p:spPr/>
        <p:txBody>
          <a:bodyPr/>
          <a:lstStyle/>
          <a:p>
            <a:r>
              <a:rPr lang="id-ID"/>
              <a:t>|         </a:t>
            </a:r>
            <a:fld id="{7904F5B5-DD6E-6442-8C14-4BFE420CE974}" type="slidenum">
              <a:rPr lang="id-ID" smtClean="0"/>
              <a:t>‹#›</a:t>
            </a:fld>
            <a:endParaRPr lang="id-ID"/>
          </a:p>
        </p:txBody>
      </p:sp>
      <p:sp>
        <p:nvSpPr>
          <p:cNvPr id="2" name="Title 1"/>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Blank With 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B6E0E24-B4F7-E843-AFC0-C1F83B7A48CA}" type="datetime2">
              <a:rPr lang="en-ID" smtClean="0"/>
              <a:t>Sunday, 12 May 2024</a:t>
            </a:fld>
            <a:endParaRPr lang="id-ID"/>
          </a:p>
        </p:txBody>
      </p:sp>
      <p:sp>
        <p:nvSpPr>
          <p:cNvPr id="5" name="Slide Number Placeholder 4"/>
          <p:cNvSpPr>
            <a:spLocks noGrp="1"/>
          </p:cNvSpPr>
          <p:nvPr>
            <p:ph type="sldNum" sz="quarter" idx="12"/>
          </p:nvPr>
        </p:nvSpPr>
        <p:spPr/>
        <p:txBody>
          <a:bodyPr/>
          <a:lstStyle/>
          <a:p>
            <a:r>
              <a:rPr lang="id-ID"/>
              <a:t>|         </a:t>
            </a:r>
            <a:fld id="{7904F5B5-DD6E-6442-8C14-4BFE420CE974}" type="slidenum">
              <a:rPr lang="id-ID" smtClean="0"/>
              <a:t>‹#›</a:t>
            </a:fld>
            <a:endParaRPr lang="id-ID"/>
          </a:p>
        </p:txBody>
      </p:sp>
      <p:sp>
        <p:nvSpPr>
          <p:cNvPr id="2" name="Title 1"/>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6E0E24-B4F7-E843-AFC0-C1F83B7A48CA}" type="datetime2">
              <a:rPr lang="en-ID" smtClean="0"/>
              <a:t>Sunday, 12 May 2024</a:t>
            </a:fld>
            <a:endParaRPr lang="id-ID"/>
          </a:p>
        </p:txBody>
      </p:sp>
      <p:sp>
        <p:nvSpPr>
          <p:cNvPr id="4" name="Slide Number Placeholder 3"/>
          <p:cNvSpPr>
            <a:spLocks noGrp="1"/>
          </p:cNvSpPr>
          <p:nvPr>
            <p:ph type="sldNum" sz="quarter" idx="12"/>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5 Coloums + Titles">
    <p:spTree>
      <p:nvGrpSpPr>
        <p:cNvPr id="1" name=""/>
        <p:cNvGrpSpPr/>
        <p:nvPr/>
      </p:nvGrpSpPr>
      <p:grpSpPr>
        <a:xfrm>
          <a:off x="0" y="0"/>
          <a:ext cx="0" cy="0"/>
          <a:chOff x="0" y="0"/>
          <a:chExt cx="0" cy="0"/>
        </a:xfrm>
      </p:grpSpPr>
      <p:sp>
        <p:nvSpPr>
          <p:cNvPr id="6" name="Date Placeholder 5"/>
          <p:cNvSpPr>
            <a:spLocks noGrp="1"/>
          </p:cNvSpPr>
          <p:nvPr>
            <p:ph type="dt" sz="half" idx="65"/>
          </p:nvPr>
        </p:nvSpPr>
        <p:spPr/>
        <p:txBody>
          <a:bodyPr/>
          <a:lstStyle/>
          <a:p>
            <a:fld id="{CB6E0E24-B4F7-E843-AFC0-C1F83B7A48CA}" type="datetime2">
              <a:rPr lang="en-ID" smtClean="0"/>
              <a:t>Sunday, 12 May 2024</a:t>
            </a:fld>
            <a:endParaRPr lang="id-ID"/>
          </a:p>
        </p:txBody>
      </p:sp>
      <p:sp>
        <p:nvSpPr>
          <p:cNvPr id="8" name="Slide Number Placeholder 7"/>
          <p:cNvSpPr>
            <a:spLocks noGrp="1"/>
          </p:cNvSpPr>
          <p:nvPr>
            <p:ph type="sldNum" sz="quarter" idx="67"/>
          </p:nvPr>
        </p:nvSpPr>
        <p:spPr/>
        <p:txBody>
          <a:bodyPr/>
          <a:lstStyle/>
          <a:p>
            <a:r>
              <a:rPr lang="id-ID"/>
              <a:t>|         </a:t>
            </a:r>
            <a:fld id="{7904F5B5-DD6E-6442-8C14-4BFE420CE974}" type="slidenum">
              <a:rPr lang="id-ID" smtClean="0"/>
              <a:t>‹#›</a:t>
            </a:fld>
            <a:endParaRPr lang="id-ID"/>
          </a:p>
        </p:txBody>
      </p:sp>
      <p:sp>
        <p:nvSpPr>
          <p:cNvPr id="3" name="Title 2"/>
          <p:cNvSpPr>
            <a:spLocks noGrp="1"/>
          </p:cNvSpPr>
          <p:nvPr>
            <p:ph type="title"/>
          </p:nvPr>
        </p:nvSpPr>
        <p:spPr/>
        <p:txBody>
          <a:bodyPr/>
          <a:lstStyle/>
          <a:p>
            <a:r>
              <a:rPr lang="en-US"/>
              <a:t>Click to edit Master title style</a:t>
            </a:r>
            <a:endParaRPr lang="id-ID"/>
          </a:p>
        </p:txBody>
      </p:sp>
      <p:sp>
        <p:nvSpPr>
          <p:cNvPr id="120" name="Picture Placeholder 4"/>
          <p:cNvSpPr>
            <a:spLocks noGrp="1"/>
          </p:cNvSpPr>
          <p:nvPr>
            <p:ph type="pic" sz="quarter" idx="85"/>
          </p:nvPr>
        </p:nvSpPr>
        <p:spPr>
          <a:xfrm>
            <a:off x="345824" y="2596095"/>
            <a:ext cx="2000897" cy="1504435"/>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21" name="Text Placeholder 4"/>
          <p:cNvSpPr>
            <a:spLocks noGrp="1"/>
          </p:cNvSpPr>
          <p:nvPr>
            <p:ph type="body" sz="quarter" idx="86" hasCustomPrompt="1"/>
          </p:nvPr>
        </p:nvSpPr>
        <p:spPr>
          <a:xfrm>
            <a:off x="345824" y="4149080"/>
            <a:ext cx="2000897" cy="2232247"/>
          </a:xfrm>
        </p:spPr>
        <p:txBody>
          <a:bodyPr anchor="t" anchorCtr="0">
            <a:normAutofit/>
          </a:bodyPr>
          <a:lstStyle>
            <a:lvl1pPr algn="l">
              <a:lnSpc>
                <a:spcPct val="100000"/>
              </a:lnSpc>
              <a:spcBef>
                <a:spcPts val="0"/>
              </a:spcBef>
              <a:defRPr sz="105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122" name="Text Placeholder 11"/>
          <p:cNvSpPr>
            <a:spLocks noGrp="1"/>
          </p:cNvSpPr>
          <p:nvPr>
            <p:ph type="body" sz="quarter" idx="87" hasCustomPrompt="1"/>
          </p:nvPr>
        </p:nvSpPr>
        <p:spPr>
          <a:xfrm>
            <a:off x="345824" y="1437598"/>
            <a:ext cx="2000898"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Title text here</a:t>
            </a:r>
          </a:p>
        </p:txBody>
      </p:sp>
      <p:sp>
        <p:nvSpPr>
          <p:cNvPr id="132" name="Picture Placeholder 4"/>
          <p:cNvSpPr>
            <a:spLocks noGrp="1"/>
          </p:cNvSpPr>
          <p:nvPr>
            <p:ph type="pic" sz="quarter" idx="88"/>
          </p:nvPr>
        </p:nvSpPr>
        <p:spPr>
          <a:xfrm>
            <a:off x="9825489" y="2596095"/>
            <a:ext cx="2000897" cy="1504435"/>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33" name="Text Placeholder 4"/>
          <p:cNvSpPr>
            <a:spLocks noGrp="1"/>
          </p:cNvSpPr>
          <p:nvPr>
            <p:ph type="body" sz="quarter" idx="89" hasCustomPrompt="1"/>
          </p:nvPr>
        </p:nvSpPr>
        <p:spPr>
          <a:xfrm>
            <a:off x="9825489" y="4149080"/>
            <a:ext cx="2000897" cy="2232247"/>
          </a:xfrm>
        </p:spPr>
        <p:txBody>
          <a:bodyPr anchor="t" anchorCtr="0">
            <a:normAutofit/>
          </a:bodyPr>
          <a:lstStyle>
            <a:lvl1pPr algn="l">
              <a:lnSpc>
                <a:spcPct val="100000"/>
              </a:lnSpc>
              <a:spcBef>
                <a:spcPts val="0"/>
              </a:spcBef>
              <a:defRPr sz="105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134" name="Text Placeholder 11"/>
          <p:cNvSpPr>
            <a:spLocks noGrp="1"/>
          </p:cNvSpPr>
          <p:nvPr>
            <p:ph type="body" sz="quarter" idx="90" hasCustomPrompt="1"/>
          </p:nvPr>
        </p:nvSpPr>
        <p:spPr>
          <a:xfrm>
            <a:off x="9825489" y="1437598"/>
            <a:ext cx="2000898"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Title text here</a:t>
            </a:r>
          </a:p>
        </p:txBody>
      </p:sp>
      <p:sp>
        <p:nvSpPr>
          <p:cNvPr id="135" name="Picture Placeholder 4"/>
          <p:cNvSpPr>
            <a:spLocks noGrp="1"/>
          </p:cNvSpPr>
          <p:nvPr>
            <p:ph type="pic" sz="quarter" idx="91"/>
          </p:nvPr>
        </p:nvSpPr>
        <p:spPr>
          <a:xfrm>
            <a:off x="7455572" y="2596095"/>
            <a:ext cx="2000897" cy="1504435"/>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36" name="Text Placeholder 4"/>
          <p:cNvSpPr>
            <a:spLocks noGrp="1"/>
          </p:cNvSpPr>
          <p:nvPr>
            <p:ph type="body" sz="quarter" idx="92" hasCustomPrompt="1"/>
          </p:nvPr>
        </p:nvSpPr>
        <p:spPr>
          <a:xfrm>
            <a:off x="7455572" y="4149080"/>
            <a:ext cx="2000897" cy="2232247"/>
          </a:xfrm>
        </p:spPr>
        <p:txBody>
          <a:bodyPr anchor="t" anchorCtr="0">
            <a:normAutofit/>
          </a:bodyPr>
          <a:lstStyle>
            <a:lvl1pPr algn="l">
              <a:lnSpc>
                <a:spcPct val="100000"/>
              </a:lnSpc>
              <a:spcBef>
                <a:spcPts val="0"/>
              </a:spcBef>
              <a:defRPr sz="105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137" name="Text Placeholder 11"/>
          <p:cNvSpPr>
            <a:spLocks noGrp="1"/>
          </p:cNvSpPr>
          <p:nvPr>
            <p:ph type="body" sz="quarter" idx="93" hasCustomPrompt="1"/>
          </p:nvPr>
        </p:nvSpPr>
        <p:spPr>
          <a:xfrm>
            <a:off x="7455572" y="1437598"/>
            <a:ext cx="2000898"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Title text here</a:t>
            </a:r>
          </a:p>
        </p:txBody>
      </p:sp>
      <p:sp>
        <p:nvSpPr>
          <p:cNvPr id="138" name="Picture Placeholder 4"/>
          <p:cNvSpPr>
            <a:spLocks noGrp="1"/>
          </p:cNvSpPr>
          <p:nvPr>
            <p:ph type="pic" sz="quarter" idx="94"/>
          </p:nvPr>
        </p:nvSpPr>
        <p:spPr>
          <a:xfrm>
            <a:off x="5085656" y="2596095"/>
            <a:ext cx="2000897" cy="1504435"/>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39" name="Text Placeholder 4"/>
          <p:cNvSpPr>
            <a:spLocks noGrp="1"/>
          </p:cNvSpPr>
          <p:nvPr>
            <p:ph type="body" sz="quarter" idx="95" hasCustomPrompt="1"/>
          </p:nvPr>
        </p:nvSpPr>
        <p:spPr>
          <a:xfrm>
            <a:off x="5085656" y="4149080"/>
            <a:ext cx="2000897" cy="2232247"/>
          </a:xfrm>
        </p:spPr>
        <p:txBody>
          <a:bodyPr anchor="t" anchorCtr="0">
            <a:normAutofit/>
          </a:bodyPr>
          <a:lstStyle>
            <a:lvl1pPr algn="l">
              <a:lnSpc>
                <a:spcPct val="100000"/>
              </a:lnSpc>
              <a:spcBef>
                <a:spcPts val="0"/>
              </a:spcBef>
              <a:defRPr sz="105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140" name="Text Placeholder 11"/>
          <p:cNvSpPr>
            <a:spLocks noGrp="1"/>
          </p:cNvSpPr>
          <p:nvPr>
            <p:ph type="body" sz="quarter" idx="96" hasCustomPrompt="1"/>
          </p:nvPr>
        </p:nvSpPr>
        <p:spPr>
          <a:xfrm>
            <a:off x="5085656" y="1437598"/>
            <a:ext cx="2000898"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Title text here</a:t>
            </a:r>
          </a:p>
        </p:txBody>
      </p:sp>
      <p:sp>
        <p:nvSpPr>
          <p:cNvPr id="141" name="Picture Placeholder 4"/>
          <p:cNvSpPr>
            <a:spLocks noGrp="1"/>
          </p:cNvSpPr>
          <p:nvPr>
            <p:ph type="pic" sz="quarter" idx="97"/>
          </p:nvPr>
        </p:nvSpPr>
        <p:spPr>
          <a:xfrm>
            <a:off x="2715740" y="2596095"/>
            <a:ext cx="2000897" cy="1504435"/>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42" name="Text Placeholder 4"/>
          <p:cNvSpPr>
            <a:spLocks noGrp="1"/>
          </p:cNvSpPr>
          <p:nvPr>
            <p:ph type="body" sz="quarter" idx="98" hasCustomPrompt="1"/>
          </p:nvPr>
        </p:nvSpPr>
        <p:spPr>
          <a:xfrm>
            <a:off x="2715740" y="4149080"/>
            <a:ext cx="2000897" cy="2232247"/>
          </a:xfrm>
        </p:spPr>
        <p:txBody>
          <a:bodyPr anchor="t" anchorCtr="0">
            <a:normAutofit/>
          </a:bodyPr>
          <a:lstStyle>
            <a:lvl1pPr algn="l">
              <a:lnSpc>
                <a:spcPct val="100000"/>
              </a:lnSpc>
              <a:spcBef>
                <a:spcPts val="0"/>
              </a:spcBef>
              <a:defRPr sz="105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143" name="Text Placeholder 11"/>
          <p:cNvSpPr>
            <a:spLocks noGrp="1"/>
          </p:cNvSpPr>
          <p:nvPr>
            <p:ph type="body" sz="quarter" idx="99" hasCustomPrompt="1"/>
          </p:nvPr>
        </p:nvSpPr>
        <p:spPr>
          <a:xfrm>
            <a:off x="2715740" y="1437598"/>
            <a:ext cx="2000898"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Title text here</a:t>
            </a: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 Coloums + Titles">
    <p:spTree>
      <p:nvGrpSpPr>
        <p:cNvPr id="1" name=""/>
        <p:cNvGrpSpPr/>
        <p:nvPr/>
      </p:nvGrpSpPr>
      <p:grpSpPr>
        <a:xfrm>
          <a:off x="0" y="0"/>
          <a:ext cx="0" cy="0"/>
          <a:chOff x="0" y="0"/>
          <a:chExt cx="0" cy="0"/>
        </a:xfrm>
      </p:grpSpPr>
      <p:sp>
        <p:nvSpPr>
          <p:cNvPr id="17" name="Picture Placeholder 4"/>
          <p:cNvSpPr>
            <a:spLocks noGrp="1"/>
          </p:cNvSpPr>
          <p:nvPr>
            <p:ph type="pic" sz="quarter" idx="35"/>
          </p:nvPr>
        </p:nvSpPr>
        <p:spPr>
          <a:xfrm>
            <a:off x="2408029" y="1439079"/>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6" name="Date Placeholder 5"/>
          <p:cNvSpPr>
            <a:spLocks noGrp="1"/>
          </p:cNvSpPr>
          <p:nvPr>
            <p:ph type="dt" sz="half" idx="65"/>
          </p:nvPr>
        </p:nvSpPr>
        <p:spPr/>
        <p:txBody>
          <a:bodyPr/>
          <a:lstStyle/>
          <a:p>
            <a:fld id="{CB6E0E24-B4F7-E843-AFC0-C1F83B7A48CA}" type="datetime2">
              <a:rPr lang="en-ID" smtClean="0"/>
              <a:t>Sunday, 12 May 2024</a:t>
            </a:fld>
            <a:endParaRPr lang="id-ID"/>
          </a:p>
        </p:txBody>
      </p:sp>
      <p:sp>
        <p:nvSpPr>
          <p:cNvPr id="8" name="Slide Number Placeholder 7"/>
          <p:cNvSpPr>
            <a:spLocks noGrp="1"/>
          </p:cNvSpPr>
          <p:nvPr>
            <p:ph type="sldNum" sz="quarter" idx="67"/>
          </p:nvPr>
        </p:nvSpPr>
        <p:spPr/>
        <p:txBody>
          <a:bodyPr/>
          <a:lstStyle/>
          <a:p>
            <a:r>
              <a:rPr lang="id-ID"/>
              <a:t>|         </a:t>
            </a:r>
            <a:fld id="{7904F5B5-DD6E-6442-8C14-4BFE420CE974}" type="slidenum">
              <a:rPr lang="id-ID" smtClean="0"/>
              <a:t>‹#›</a:t>
            </a:fld>
            <a:endParaRPr lang="id-ID"/>
          </a:p>
        </p:txBody>
      </p:sp>
      <p:sp>
        <p:nvSpPr>
          <p:cNvPr id="3" name="Title 2"/>
          <p:cNvSpPr>
            <a:spLocks noGrp="1"/>
          </p:cNvSpPr>
          <p:nvPr>
            <p:ph type="title"/>
          </p:nvPr>
        </p:nvSpPr>
        <p:spPr/>
        <p:txBody>
          <a:bodyPr/>
          <a:lstStyle/>
          <a:p>
            <a:r>
              <a:rPr lang="en-US"/>
              <a:t>Click to edit Master title style</a:t>
            </a:r>
            <a:endParaRPr lang="id-ID"/>
          </a:p>
        </p:txBody>
      </p:sp>
      <p:sp>
        <p:nvSpPr>
          <p:cNvPr id="5" name="Text Placeholder 4"/>
          <p:cNvSpPr>
            <a:spLocks noGrp="1"/>
          </p:cNvSpPr>
          <p:nvPr>
            <p:ph type="body" sz="quarter" idx="72" hasCustomPrompt="1"/>
          </p:nvPr>
        </p:nvSpPr>
        <p:spPr>
          <a:xfrm>
            <a:off x="3951288" y="1436339"/>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80" name="Text Placeholder 11"/>
          <p:cNvSpPr>
            <a:spLocks noGrp="1"/>
          </p:cNvSpPr>
          <p:nvPr>
            <p:ph type="body" sz="quarter" idx="36" hasCustomPrompt="1"/>
          </p:nvPr>
        </p:nvSpPr>
        <p:spPr>
          <a:xfrm>
            <a:off x="334963" y="1436339"/>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
        <p:nvSpPr>
          <p:cNvPr id="84" name="Picture Placeholder 4"/>
          <p:cNvSpPr>
            <a:spLocks noGrp="1"/>
          </p:cNvSpPr>
          <p:nvPr>
            <p:ph type="pic" sz="quarter" idx="73"/>
          </p:nvPr>
        </p:nvSpPr>
        <p:spPr>
          <a:xfrm>
            <a:off x="2408029" y="5054148"/>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85" name="Text Placeholder 4"/>
          <p:cNvSpPr>
            <a:spLocks noGrp="1"/>
          </p:cNvSpPr>
          <p:nvPr>
            <p:ph type="body" sz="quarter" idx="74" hasCustomPrompt="1"/>
          </p:nvPr>
        </p:nvSpPr>
        <p:spPr>
          <a:xfrm>
            <a:off x="3951288" y="5051408"/>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86" name="Text Placeholder 11"/>
          <p:cNvSpPr>
            <a:spLocks noGrp="1"/>
          </p:cNvSpPr>
          <p:nvPr>
            <p:ph type="body" sz="quarter" idx="75" hasCustomPrompt="1"/>
          </p:nvPr>
        </p:nvSpPr>
        <p:spPr>
          <a:xfrm>
            <a:off x="334963" y="5051408"/>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
        <p:nvSpPr>
          <p:cNvPr id="87" name="Picture Placeholder 4"/>
          <p:cNvSpPr>
            <a:spLocks noGrp="1"/>
          </p:cNvSpPr>
          <p:nvPr>
            <p:ph type="pic" sz="quarter" idx="76"/>
          </p:nvPr>
        </p:nvSpPr>
        <p:spPr>
          <a:xfrm>
            <a:off x="2408029" y="3849125"/>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88" name="Text Placeholder 4"/>
          <p:cNvSpPr>
            <a:spLocks noGrp="1"/>
          </p:cNvSpPr>
          <p:nvPr>
            <p:ph type="body" sz="quarter" idx="77" hasCustomPrompt="1"/>
          </p:nvPr>
        </p:nvSpPr>
        <p:spPr>
          <a:xfrm>
            <a:off x="3951288" y="3846385"/>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89" name="Text Placeholder 11"/>
          <p:cNvSpPr>
            <a:spLocks noGrp="1"/>
          </p:cNvSpPr>
          <p:nvPr>
            <p:ph type="body" sz="quarter" idx="78" hasCustomPrompt="1"/>
          </p:nvPr>
        </p:nvSpPr>
        <p:spPr>
          <a:xfrm>
            <a:off x="334963" y="3846385"/>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
        <p:nvSpPr>
          <p:cNvPr id="90" name="Picture Placeholder 4"/>
          <p:cNvSpPr>
            <a:spLocks noGrp="1"/>
          </p:cNvSpPr>
          <p:nvPr>
            <p:ph type="pic" sz="quarter" idx="79"/>
          </p:nvPr>
        </p:nvSpPr>
        <p:spPr>
          <a:xfrm>
            <a:off x="2408029" y="2644102"/>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91" name="Text Placeholder 4"/>
          <p:cNvSpPr>
            <a:spLocks noGrp="1"/>
          </p:cNvSpPr>
          <p:nvPr>
            <p:ph type="body" sz="quarter" idx="80" hasCustomPrompt="1"/>
          </p:nvPr>
        </p:nvSpPr>
        <p:spPr>
          <a:xfrm>
            <a:off x="3951288" y="2641362"/>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92" name="Text Placeholder 11"/>
          <p:cNvSpPr>
            <a:spLocks noGrp="1"/>
          </p:cNvSpPr>
          <p:nvPr>
            <p:ph type="body" sz="quarter" idx="81" hasCustomPrompt="1"/>
          </p:nvPr>
        </p:nvSpPr>
        <p:spPr>
          <a:xfrm>
            <a:off x="334963" y="2641362"/>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
        <p:nvSpPr>
          <p:cNvPr id="93" name="Picture Placeholder 4"/>
          <p:cNvSpPr>
            <a:spLocks noGrp="1"/>
          </p:cNvSpPr>
          <p:nvPr>
            <p:ph type="pic" sz="quarter" idx="82"/>
          </p:nvPr>
        </p:nvSpPr>
        <p:spPr>
          <a:xfrm>
            <a:off x="8331662" y="1439079"/>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94" name="Text Placeholder 4"/>
          <p:cNvSpPr>
            <a:spLocks noGrp="1"/>
          </p:cNvSpPr>
          <p:nvPr>
            <p:ph type="body" sz="quarter" idx="83" hasCustomPrompt="1"/>
          </p:nvPr>
        </p:nvSpPr>
        <p:spPr>
          <a:xfrm>
            <a:off x="9874921" y="1436339"/>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95" name="Text Placeholder 11"/>
          <p:cNvSpPr>
            <a:spLocks noGrp="1"/>
          </p:cNvSpPr>
          <p:nvPr>
            <p:ph type="body" sz="quarter" idx="84" hasCustomPrompt="1"/>
          </p:nvPr>
        </p:nvSpPr>
        <p:spPr>
          <a:xfrm>
            <a:off x="6258596" y="1436339"/>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
        <p:nvSpPr>
          <p:cNvPr id="96" name="Picture Placeholder 4"/>
          <p:cNvSpPr>
            <a:spLocks noGrp="1"/>
          </p:cNvSpPr>
          <p:nvPr>
            <p:ph type="pic" sz="quarter" idx="85"/>
          </p:nvPr>
        </p:nvSpPr>
        <p:spPr>
          <a:xfrm>
            <a:off x="8331662" y="5054148"/>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97" name="Text Placeholder 4"/>
          <p:cNvSpPr>
            <a:spLocks noGrp="1"/>
          </p:cNvSpPr>
          <p:nvPr>
            <p:ph type="body" sz="quarter" idx="86" hasCustomPrompt="1"/>
          </p:nvPr>
        </p:nvSpPr>
        <p:spPr>
          <a:xfrm>
            <a:off x="9874921" y="5051408"/>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98" name="Text Placeholder 11"/>
          <p:cNvSpPr>
            <a:spLocks noGrp="1"/>
          </p:cNvSpPr>
          <p:nvPr>
            <p:ph type="body" sz="quarter" idx="87" hasCustomPrompt="1"/>
          </p:nvPr>
        </p:nvSpPr>
        <p:spPr>
          <a:xfrm>
            <a:off x="6258596" y="5051408"/>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
        <p:nvSpPr>
          <p:cNvPr id="99" name="Picture Placeholder 4"/>
          <p:cNvSpPr>
            <a:spLocks noGrp="1"/>
          </p:cNvSpPr>
          <p:nvPr>
            <p:ph type="pic" sz="quarter" idx="88"/>
          </p:nvPr>
        </p:nvSpPr>
        <p:spPr>
          <a:xfrm>
            <a:off x="8331662" y="3849125"/>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00" name="Text Placeholder 4"/>
          <p:cNvSpPr>
            <a:spLocks noGrp="1"/>
          </p:cNvSpPr>
          <p:nvPr>
            <p:ph type="body" sz="quarter" idx="89" hasCustomPrompt="1"/>
          </p:nvPr>
        </p:nvSpPr>
        <p:spPr>
          <a:xfrm>
            <a:off x="9874921" y="3846385"/>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101" name="Text Placeholder 11"/>
          <p:cNvSpPr>
            <a:spLocks noGrp="1"/>
          </p:cNvSpPr>
          <p:nvPr>
            <p:ph type="body" sz="quarter" idx="90" hasCustomPrompt="1"/>
          </p:nvPr>
        </p:nvSpPr>
        <p:spPr>
          <a:xfrm>
            <a:off x="6258596" y="3846385"/>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
        <p:nvSpPr>
          <p:cNvPr id="102" name="Picture Placeholder 4"/>
          <p:cNvSpPr>
            <a:spLocks noGrp="1"/>
          </p:cNvSpPr>
          <p:nvPr>
            <p:ph type="pic" sz="quarter" idx="91"/>
          </p:nvPr>
        </p:nvSpPr>
        <p:spPr>
          <a:xfrm>
            <a:off x="8331662" y="2644102"/>
            <a:ext cx="1399561" cy="1055297"/>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03" name="Text Placeholder 4"/>
          <p:cNvSpPr>
            <a:spLocks noGrp="1"/>
          </p:cNvSpPr>
          <p:nvPr>
            <p:ph type="body" sz="quarter" idx="92" hasCustomPrompt="1"/>
          </p:nvPr>
        </p:nvSpPr>
        <p:spPr>
          <a:xfrm>
            <a:off x="9874921" y="2641362"/>
            <a:ext cx="1943817" cy="1056036"/>
          </a:xfrm>
        </p:spPr>
        <p:txBody>
          <a:bodyPr anchor="ctr" anchorCtr="0">
            <a:normAutofit/>
          </a:bodyPr>
          <a:lstStyle>
            <a:lvl1pPr algn="l">
              <a:lnSpc>
                <a:spcPct val="100000"/>
              </a:lnSpc>
              <a:spcBef>
                <a:spcPts val="0"/>
              </a:spcBef>
              <a:defRPr sz="900">
                <a:solidFill>
                  <a:schemeClr val="tx1">
                    <a:lumMod val="65000"/>
                    <a:lumOff val="35000"/>
                  </a:schemeClr>
                </a:solidFill>
              </a:defRPr>
            </a:lvl1pPr>
            <a:lvl2pPr algn="l">
              <a:defRPr sz="900"/>
            </a:lvl2pPr>
            <a:lvl3pPr algn="l">
              <a:defRPr sz="900"/>
            </a:lvl3pPr>
            <a:lvl4pPr algn="l">
              <a:defRPr sz="900"/>
            </a:lvl4pPr>
            <a:lvl5pPr algn="l">
              <a:defRPr sz="900"/>
            </a:lvl5pPr>
          </a:lstStyle>
          <a:p>
            <a:pPr lvl="0"/>
            <a:r>
              <a:rPr lang="en-US"/>
              <a:t>Click to edit Master text style Second level</a:t>
            </a:r>
          </a:p>
          <a:p>
            <a:pPr lvl="0"/>
            <a:r>
              <a:rPr lang="en-US"/>
              <a:t>Third level</a:t>
            </a:r>
          </a:p>
          <a:p>
            <a:pPr lvl="0"/>
            <a:r>
              <a:rPr lang="en-US"/>
              <a:t>Fourth level</a:t>
            </a:r>
          </a:p>
          <a:p>
            <a:pPr lvl="0"/>
            <a:r>
              <a:rPr lang="en-US"/>
              <a:t>Fifth level</a:t>
            </a:r>
          </a:p>
        </p:txBody>
      </p:sp>
      <p:sp>
        <p:nvSpPr>
          <p:cNvPr id="104" name="Text Placeholder 11"/>
          <p:cNvSpPr>
            <a:spLocks noGrp="1"/>
          </p:cNvSpPr>
          <p:nvPr>
            <p:ph type="body" sz="quarter" idx="93" hasCustomPrompt="1"/>
          </p:nvPr>
        </p:nvSpPr>
        <p:spPr>
          <a:xfrm>
            <a:off x="6258596" y="2641362"/>
            <a:ext cx="1932203" cy="1055297"/>
          </a:xfrm>
          <a:prstGeom prst="roundRect">
            <a:avLst>
              <a:gd name="adj" fmla="val 17087"/>
            </a:avLst>
          </a:prstGeom>
          <a:solidFill>
            <a:schemeClr val="accent2"/>
          </a:solidFill>
        </p:spPr>
        <p:txBody>
          <a:bodyPr rIns="0" bIns="0" anchor="ctr" anchorCtr="0">
            <a:normAutofit/>
          </a:bodyPr>
          <a:lstStyle>
            <a:lvl1pPr marL="0" indent="0" algn="ctr">
              <a:lnSpc>
                <a:spcPct val="100000"/>
              </a:lnSpc>
              <a:buNone/>
              <a:defRPr sz="1400" b="0" i="0">
                <a:solidFill>
                  <a:schemeClr val="bg1"/>
                </a:solidFill>
                <a:latin typeface="Gotham Medium" charset="0"/>
                <a:ea typeface="Gotham Medium" charset="0"/>
                <a:cs typeface="Gotham Medium" charset="0"/>
              </a:defRPr>
            </a:lvl1pPr>
          </a:lstStyle>
          <a:p>
            <a:pPr lvl="0"/>
            <a:r>
              <a:rPr lang="en-US"/>
              <a:t>Title text her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mp; a Pictur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351069" y="2690488"/>
            <a:ext cx="5817155" cy="3705838"/>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nibh euismod tincidunt ut laoreet dolore magna aliquam hendrerit in vulputate velit esse molestie consequat, vel illum dolore eu feugiat nulla facilisis at vero eros et accumsan et iusto odio dignissim qui blandit praesent luptatum zzril delenit augue duis dolore te feugait nulla facilisi..</a:t>
            </a:r>
          </a:p>
          <a:p>
            <a:endParaRPr lang="id-ID"/>
          </a:p>
        </p:txBody>
      </p:sp>
      <p:sp>
        <p:nvSpPr>
          <p:cNvPr id="18" name="Title 1"/>
          <p:cNvSpPr>
            <a:spLocks noGrp="1"/>
          </p:cNvSpPr>
          <p:nvPr>
            <p:ph type="title" hasCustomPrompt="1"/>
          </p:nvPr>
        </p:nvSpPr>
        <p:spPr>
          <a:xfrm>
            <a:off x="351069" y="1397531"/>
            <a:ext cx="5817155" cy="1131717"/>
          </a:xfrm>
          <a:prstGeom prst="rect">
            <a:avLst/>
          </a:prstGeom>
        </p:spPr>
        <p:txBody>
          <a:bodyPr vert="horz" lIns="0">
            <a:normAutofit/>
          </a:bodyPr>
          <a:lstStyle>
            <a:lvl1pPr>
              <a:lnSpc>
                <a:spcPts val="4000"/>
              </a:lnSpc>
              <a:defRPr sz="2400" b="0" i="0">
                <a:solidFill>
                  <a:schemeClr val="accent2"/>
                </a:solidFill>
                <a:latin typeface="+mj-lt"/>
                <a:ea typeface="+mj-ea"/>
                <a:cs typeface="+mj-cs"/>
              </a:defRPr>
            </a:lvl1pPr>
          </a:lstStyle>
          <a:p>
            <a:pPr lvl="0">
              <a:defRPr/>
            </a:pPr>
            <a:r>
              <a:rPr lang="id-ID" sz="3200" err="1">
                <a:solidFill>
                  <a:srgbClr val="005DA0"/>
                </a:solidFill>
                <a:latin typeface="Gotham Medium" charset="0"/>
                <a:ea typeface="Gotham Medium" charset="0"/>
                <a:cs typeface="Gotham Medium" charset="0"/>
              </a:rPr>
              <a:t>Click</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o</a:t>
            </a:r>
            <a:r>
              <a:rPr lang="id-ID" sz="3200">
                <a:solidFill>
                  <a:srgbClr val="005DA0"/>
                </a:solidFill>
                <a:latin typeface="Gotham Medium" charset="0"/>
                <a:ea typeface="Gotham Medium" charset="0"/>
                <a:cs typeface="Gotham Medium" charset="0"/>
              </a:rPr>
              <a:t> edit </a:t>
            </a:r>
            <a:r>
              <a:rPr lang="id-ID" sz="3200" err="1">
                <a:solidFill>
                  <a:srgbClr val="005DA0"/>
                </a:solidFill>
                <a:latin typeface="Gotham Medium" charset="0"/>
                <a:ea typeface="Gotham Medium" charset="0"/>
                <a:cs typeface="Gotham Medium" charset="0"/>
              </a:rPr>
              <a:t>Title</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ext</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maximum</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is</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two</a:t>
            </a:r>
            <a:r>
              <a:rPr lang="id-ID" sz="3200">
                <a:solidFill>
                  <a:srgbClr val="005DA0"/>
                </a:solidFill>
                <a:latin typeface="Gotham Medium" charset="0"/>
                <a:ea typeface="Gotham Medium" charset="0"/>
                <a:cs typeface="Gotham Medium" charset="0"/>
              </a:rPr>
              <a:t> </a:t>
            </a:r>
            <a:r>
              <a:rPr lang="id-ID" sz="3200" err="1">
                <a:solidFill>
                  <a:srgbClr val="005DA0"/>
                </a:solidFill>
                <a:latin typeface="Gotham Medium" charset="0"/>
                <a:ea typeface="Gotham Medium" charset="0"/>
                <a:cs typeface="Gotham Medium" charset="0"/>
              </a:rPr>
              <a:t>lines</a:t>
            </a:r>
            <a:r>
              <a:rPr lang="id-ID" sz="3200">
                <a:solidFill>
                  <a:srgbClr val="005DA0"/>
                </a:solidFill>
                <a:latin typeface="Gotham Medium" charset="0"/>
                <a:ea typeface="Gotham Medium" charset="0"/>
                <a:cs typeface="Gotham Medium" charset="0"/>
              </a:rPr>
              <a:t>.</a:t>
            </a:r>
            <a:endParaRPr lang="en-US" sz="3200" noProof="1">
              <a:solidFill>
                <a:srgbClr val="005DA0"/>
              </a:solidFill>
              <a:latin typeface="Gotham Medium" charset="0"/>
              <a:ea typeface="Gotham Medium" charset="0"/>
              <a:cs typeface="Gotham Medium" charset="0"/>
            </a:endParaRPr>
          </a:p>
        </p:txBody>
      </p:sp>
      <p:sp>
        <p:nvSpPr>
          <p:cNvPr id="4" name="Picture Placeholder 3"/>
          <p:cNvSpPr>
            <a:spLocks noGrp="1"/>
          </p:cNvSpPr>
          <p:nvPr>
            <p:ph type="pic" sz="quarter" idx="13" hasCustomPrompt="1"/>
          </p:nvPr>
        </p:nvSpPr>
        <p:spPr>
          <a:xfrm>
            <a:off x="6672064" y="1560512"/>
            <a:ext cx="5519936" cy="4433639"/>
          </a:xfrm>
          <a:ln>
            <a:noFill/>
          </a:ln>
        </p:spPr>
        <p:txBody>
          <a:bodyPr anchor="ctr"/>
          <a:lstStyle>
            <a:lvl1pPr marL="457200" indent="-457200" algn="ctr">
              <a:buFont typeface="Arial" panose="020B0604020202090204" pitchFamily="34" charset="0"/>
              <a:buChar char="•"/>
              <a:defRPr sz="2000">
                <a:latin typeface="+mn-lt"/>
                <a:ea typeface="+mn-ea"/>
                <a:cs typeface="+mn-cs"/>
              </a:defRPr>
            </a:lvl1pPr>
          </a:lstStyle>
          <a:p>
            <a:r>
              <a:rPr lang="id-ID"/>
              <a:t>Picture </a:t>
            </a:r>
            <a:r>
              <a:rPr lang="en-US"/>
              <a:t>ratio </a:t>
            </a:r>
            <a:r>
              <a:rPr lang="id-ID"/>
              <a:t>4:3</a:t>
            </a:r>
          </a:p>
        </p:txBody>
      </p:sp>
      <p:sp>
        <p:nvSpPr>
          <p:cNvPr id="5" name="Footer Placeholder 4"/>
          <p:cNvSpPr>
            <a:spLocks noGrp="1"/>
          </p:cNvSpPr>
          <p:nvPr>
            <p:ph type="ftr" sz="quarter" idx="15"/>
          </p:nvPr>
        </p:nvSpPr>
        <p:spPr/>
        <p:txBody>
          <a:bodyPr/>
          <a:lstStyle/>
          <a:p>
            <a:pPr algn="l"/>
            <a:endParaRPr lang="en-US">
              <a:solidFill>
                <a:schemeClr val="bg1">
                  <a:lumMod val="50000"/>
                </a:schemeClr>
              </a:solidFill>
            </a:endParaRP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ontent &amp; Coloums 1">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a:xfrm>
            <a:off x="334962" y="1604590"/>
            <a:ext cx="11485563" cy="720081"/>
          </a:xfrm>
        </p:spPr>
        <p:txBody>
          <a:bodyPr anchor="ctr">
            <a:normAutofit/>
          </a:bodyPr>
          <a:lstStyle>
            <a:lvl1pPr marL="0" indent="0" algn="ctr">
              <a:lnSpc>
                <a:spcPct val="100000"/>
              </a:lnSpc>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p:txBody>
      </p:sp>
      <p:sp>
        <p:nvSpPr>
          <p:cNvPr id="12" name="Text Placeholder 11"/>
          <p:cNvSpPr>
            <a:spLocks noGrp="1"/>
          </p:cNvSpPr>
          <p:nvPr>
            <p:ph type="body" sz="quarter" idx="15" hasCustomPrompt="1"/>
          </p:nvPr>
        </p:nvSpPr>
        <p:spPr>
          <a:xfrm>
            <a:off x="334963" y="2777924"/>
            <a:ext cx="3384277" cy="795167"/>
          </a:xfrm>
        </p:spPr>
        <p:txBody>
          <a:bodyPr rIns="0" bIns="0" anchor="ctr" anchorCtr="0">
            <a:normAutofit/>
          </a:bodyPr>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3" name="Text Placeholder 11"/>
          <p:cNvSpPr>
            <a:spLocks noGrp="1"/>
          </p:cNvSpPr>
          <p:nvPr>
            <p:ph type="body" sz="quarter" idx="16" hasCustomPrompt="1"/>
          </p:nvPr>
        </p:nvSpPr>
        <p:spPr>
          <a:xfrm>
            <a:off x="4223792" y="2777924"/>
            <a:ext cx="3744416" cy="795167"/>
          </a:xfrm>
        </p:spPr>
        <p:txBody>
          <a:bodyPr rIns="0" bIns="0" anchor="ctr" anchorCtr="0">
            <a:normAutofit/>
          </a:bodyPr>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4" name="Text Placeholder 11"/>
          <p:cNvSpPr>
            <a:spLocks noGrp="1"/>
          </p:cNvSpPr>
          <p:nvPr>
            <p:ph type="body" sz="quarter" idx="17" hasCustomPrompt="1"/>
          </p:nvPr>
        </p:nvSpPr>
        <p:spPr>
          <a:xfrm>
            <a:off x="8399736" y="2777924"/>
            <a:ext cx="3420789" cy="795167"/>
          </a:xfrm>
        </p:spPr>
        <p:txBody>
          <a:bodyPr rIns="0" bIns="0" anchor="ctr" anchorCtr="0">
            <a:normAutofit/>
          </a:bodyPr>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a:t>CLICK TO EDIT MASTER TEXT STYLES</a:t>
            </a:r>
            <a:endParaRPr lang="id-ID"/>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2.</a:t>
            </a:r>
            <a:endParaRPr lang="id-ID"/>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3.</a:t>
            </a:r>
            <a:endParaRPr lang="id-ID"/>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4.</a:t>
            </a:r>
            <a:endParaRPr lang="id-ID"/>
          </a:p>
        </p:txBody>
      </p:sp>
      <p:sp>
        <p:nvSpPr>
          <p:cNvPr id="20" name="Text Placeholder 11"/>
          <p:cNvSpPr>
            <a:spLocks noGrp="1"/>
          </p:cNvSpPr>
          <p:nvPr>
            <p:ph type="body" sz="quarter" idx="22" hasCustomPrompt="1"/>
          </p:nvPr>
        </p:nvSpPr>
        <p:spPr>
          <a:xfrm>
            <a:off x="7438813" y="3691633"/>
            <a:ext cx="673409"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5.</a:t>
            </a:r>
            <a:endParaRPr lang="id-ID"/>
          </a:p>
        </p:txBody>
      </p:sp>
      <p:sp>
        <p:nvSpPr>
          <p:cNvPr id="22" name="Text Placeholder 21"/>
          <p:cNvSpPr>
            <a:spLocks noGrp="1"/>
          </p:cNvSpPr>
          <p:nvPr>
            <p:ph type="body" sz="quarter" idx="23" hasCustomPrompt="1"/>
          </p:nvPr>
        </p:nvSpPr>
        <p:spPr>
          <a:xfrm>
            <a:off x="2110926" y="4336606"/>
            <a:ext cx="1577032" cy="2059718"/>
          </a:xfrm>
        </p:spPr>
        <p:txBody>
          <a:bodyPr lIns="0" rIns="0" bIns="0" anchor="t">
            <a:normAutofit/>
          </a:bodyPr>
          <a:lstStyle>
            <a:lvl1pPr marL="0" indent="0" algn="l">
              <a:lnSpc>
                <a:spcPct val="10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Second level </a:t>
            </a:r>
          </a:p>
          <a:p>
            <a:pPr lvl="0"/>
            <a:r>
              <a:rPr lang="en-US"/>
              <a:t>Third level</a:t>
            </a:r>
          </a:p>
          <a:p>
            <a:pPr lvl="0"/>
            <a:r>
              <a:rPr lang="en-US"/>
              <a:t>Fourth level</a:t>
            </a:r>
          </a:p>
          <a:p>
            <a:pPr lvl="0"/>
            <a:r>
              <a:rPr lang="en-US"/>
              <a:t>Fifth level</a:t>
            </a:r>
            <a:endParaRPr lang="id-ID"/>
          </a:p>
        </p:txBody>
      </p:sp>
      <p:sp>
        <p:nvSpPr>
          <p:cNvPr id="23" name="Text Placeholder 21"/>
          <p:cNvSpPr>
            <a:spLocks noGrp="1"/>
          </p:cNvSpPr>
          <p:nvPr>
            <p:ph type="body" sz="quarter" idx="24" hasCustomPrompt="1"/>
          </p:nvPr>
        </p:nvSpPr>
        <p:spPr>
          <a:xfrm>
            <a:off x="334963" y="4336606"/>
            <a:ext cx="1577032" cy="2059718"/>
          </a:xfrm>
        </p:spPr>
        <p:txBody>
          <a:bodyPr lIns="0" rIns="0" bIns="0" anchor="t">
            <a:normAutofit/>
          </a:bodyPr>
          <a:lstStyle>
            <a:lvl1pPr marL="0" indent="0" algn="l">
              <a:lnSpc>
                <a:spcPct val="10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Second level </a:t>
            </a:r>
          </a:p>
          <a:p>
            <a:pPr lvl="0"/>
            <a:r>
              <a:rPr lang="en-US"/>
              <a:t>Third level</a:t>
            </a:r>
          </a:p>
          <a:p>
            <a:pPr lvl="0"/>
            <a:r>
              <a:rPr lang="en-US"/>
              <a:t>Fourth level</a:t>
            </a:r>
          </a:p>
          <a:p>
            <a:pPr lvl="0"/>
            <a:r>
              <a:rPr lang="en-US"/>
              <a:t>Fifth level</a:t>
            </a:r>
            <a:endParaRPr lang="id-ID"/>
          </a:p>
        </p:txBody>
      </p:sp>
      <p:sp>
        <p:nvSpPr>
          <p:cNvPr id="24" name="Text Placeholder 21"/>
          <p:cNvSpPr>
            <a:spLocks noGrp="1"/>
          </p:cNvSpPr>
          <p:nvPr>
            <p:ph type="body" sz="quarter" idx="25" hasCustomPrompt="1"/>
          </p:nvPr>
        </p:nvSpPr>
        <p:spPr>
          <a:xfrm>
            <a:off x="3886889" y="4336606"/>
            <a:ext cx="1577032" cy="2059718"/>
          </a:xfrm>
        </p:spPr>
        <p:txBody>
          <a:bodyPr lIns="0" rIns="0" bIns="0" anchor="t">
            <a:normAutofit/>
          </a:bodyPr>
          <a:lstStyle>
            <a:lvl1pPr marL="0" indent="0" algn="l">
              <a:lnSpc>
                <a:spcPct val="10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Second level </a:t>
            </a:r>
          </a:p>
          <a:p>
            <a:pPr lvl="0"/>
            <a:r>
              <a:rPr lang="en-US"/>
              <a:t>Third level</a:t>
            </a:r>
          </a:p>
          <a:p>
            <a:pPr lvl="0"/>
            <a:r>
              <a:rPr lang="en-US"/>
              <a:t>Fourth level</a:t>
            </a:r>
          </a:p>
          <a:p>
            <a:pPr lvl="0"/>
            <a:r>
              <a:rPr lang="en-US"/>
              <a:t>Fifth level</a:t>
            </a:r>
            <a:endParaRPr lang="id-ID"/>
          </a:p>
        </p:txBody>
      </p:sp>
      <p:sp>
        <p:nvSpPr>
          <p:cNvPr id="25" name="Text Placeholder 21"/>
          <p:cNvSpPr>
            <a:spLocks noGrp="1"/>
          </p:cNvSpPr>
          <p:nvPr>
            <p:ph type="body" sz="quarter" idx="26" hasCustomPrompt="1"/>
          </p:nvPr>
        </p:nvSpPr>
        <p:spPr>
          <a:xfrm>
            <a:off x="5662852" y="4336606"/>
            <a:ext cx="1577032" cy="2059718"/>
          </a:xfrm>
        </p:spPr>
        <p:txBody>
          <a:bodyPr lIns="0" rIns="0" bIns="0" anchor="t">
            <a:normAutofit/>
          </a:bodyPr>
          <a:lstStyle>
            <a:lvl1pPr marL="0" indent="0" algn="l">
              <a:lnSpc>
                <a:spcPct val="10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Second level </a:t>
            </a:r>
          </a:p>
          <a:p>
            <a:pPr lvl="0"/>
            <a:r>
              <a:rPr lang="en-US"/>
              <a:t>Third level</a:t>
            </a:r>
          </a:p>
          <a:p>
            <a:pPr lvl="0"/>
            <a:r>
              <a:rPr lang="en-US"/>
              <a:t>Fourth level</a:t>
            </a:r>
          </a:p>
          <a:p>
            <a:pPr lvl="0"/>
            <a:r>
              <a:rPr lang="en-US"/>
              <a:t>Fifth level</a:t>
            </a:r>
            <a:endParaRPr lang="id-ID"/>
          </a:p>
        </p:txBody>
      </p:sp>
      <p:sp>
        <p:nvSpPr>
          <p:cNvPr id="26" name="Text Placeholder 21"/>
          <p:cNvSpPr>
            <a:spLocks noGrp="1"/>
          </p:cNvSpPr>
          <p:nvPr>
            <p:ph type="body" sz="quarter" idx="27" hasCustomPrompt="1"/>
          </p:nvPr>
        </p:nvSpPr>
        <p:spPr>
          <a:xfrm>
            <a:off x="7438814" y="4336606"/>
            <a:ext cx="1465498" cy="2059718"/>
          </a:xfrm>
        </p:spPr>
        <p:txBody>
          <a:bodyPr lIns="0" rIns="0" bIns="0" anchor="t">
            <a:normAutofit/>
          </a:bodyPr>
          <a:lstStyle>
            <a:lvl1pPr marL="0" indent="0" algn="l">
              <a:lnSpc>
                <a:spcPct val="10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Second level </a:t>
            </a:r>
          </a:p>
          <a:p>
            <a:pPr lvl="0"/>
            <a:r>
              <a:rPr lang="en-US"/>
              <a:t>Third level</a:t>
            </a:r>
          </a:p>
          <a:p>
            <a:pPr lvl="0"/>
            <a:r>
              <a:rPr lang="en-US"/>
              <a:t>Fourth level</a:t>
            </a:r>
          </a:p>
          <a:p>
            <a:pPr lvl="0"/>
            <a:r>
              <a:rPr lang="en-US"/>
              <a:t>Fifth level</a:t>
            </a:r>
            <a:endParaRPr lang="id-ID"/>
          </a:p>
        </p:txBody>
      </p:sp>
      <p:sp>
        <p:nvSpPr>
          <p:cNvPr id="27" name="Text Placeholder 21"/>
          <p:cNvSpPr>
            <a:spLocks noGrp="1"/>
          </p:cNvSpPr>
          <p:nvPr>
            <p:ph type="body" sz="quarter" idx="28"/>
          </p:nvPr>
        </p:nvSpPr>
        <p:spPr>
          <a:xfrm>
            <a:off x="9056012" y="3778275"/>
            <a:ext cx="2539088" cy="2618049"/>
          </a:xfrm>
        </p:spPr>
        <p:txBody>
          <a:bodyPr lIns="0" rIns="0" bIns="0" anchor="t">
            <a:normAutofit/>
          </a:bodyPr>
          <a:lstStyle>
            <a:lvl1pPr marL="0" indent="0" algn="l">
              <a:lnSpc>
                <a:spcPct val="100000"/>
              </a:lnSpc>
              <a:spcBef>
                <a:spcPts val="400"/>
              </a:spcBef>
              <a:spcAft>
                <a:spcPts val="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8" name="Text Placeholder 11"/>
          <p:cNvSpPr>
            <a:spLocks noGrp="1"/>
          </p:cNvSpPr>
          <p:nvPr>
            <p:ph type="body" sz="quarter" idx="29" hasCustomPrompt="1"/>
          </p:nvPr>
        </p:nvSpPr>
        <p:spPr>
          <a:xfrm>
            <a:off x="334962" y="3691633"/>
            <a:ext cx="78923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a:t>1.</a:t>
            </a:r>
            <a:endParaRPr lang="id-ID"/>
          </a:p>
        </p:txBody>
      </p:sp>
      <p:sp>
        <p:nvSpPr>
          <p:cNvPr id="3" name="Title 2"/>
          <p:cNvSpPr>
            <a:spLocks noGrp="1"/>
          </p:cNvSpPr>
          <p:nvPr>
            <p:ph type="title"/>
          </p:nvPr>
        </p:nvSpPr>
        <p:spPr/>
        <p:txBody>
          <a:bodyPr/>
          <a:lstStyle/>
          <a:p>
            <a:r>
              <a:rPr lang="en-US"/>
              <a:t>Click to edit Master title style</a:t>
            </a:r>
            <a:endParaRPr lang="id-ID"/>
          </a:p>
        </p:txBody>
      </p:sp>
      <p:sp>
        <p:nvSpPr>
          <p:cNvPr id="4" name="Date Placeholder 3"/>
          <p:cNvSpPr>
            <a:spLocks noGrp="1"/>
          </p:cNvSpPr>
          <p:nvPr>
            <p:ph type="dt" sz="half" idx="30"/>
          </p:nvPr>
        </p:nvSpPr>
        <p:spPr/>
        <p:txBody>
          <a:bodyPr/>
          <a:lstStyle/>
          <a:p>
            <a:fld id="{CB6E0E24-B4F7-E843-AFC0-C1F83B7A48CA}" type="datetime2">
              <a:rPr lang="en-ID" smtClean="0"/>
              <a:t>Sunday, 12 May 2024</a:t>
            </a:fld>
            <a:endParaRPr lang="id-ID"/>
          </a:p>
        </p:txBody>
      </p:sp>
      <p:sp>
        <p:nvSpPr>
          <p:cNvPr id="5" name="Slide Number Placeholder 4"/>
          <p:cNvSpPr>
            <a:spLocks noGrp="1"/>
          </p:cNvSpPr>
          <p:nvPr>
            <p:ph type="sldNum" sz="quarter" idx="31"/>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ntent &amp; Coloums Mix 1">
    <p:spTree>
      <p:nvGrpSpPr>
        <p:cNvPr id="1" name=""/>
        <p:cNvGrpSpPr/>
        <p:nvPr/>
      </p:nvGrpSpPr>
      <p:grpSpPr>
        <a:xfrm>
          <a:off x="0" y="0"/>
          <a:ext cx="0" cy="0"/>
          <a:chOff x="0" y="0"/>
          <a:chExt cx="0" cy="0"/>
        </a:xfrm>
      </p:grpSpPr>
      <p:sp>
        <p:nvSpPr>
          <p:cNvPr id="17" name="Picture Placeholder 4"/>
          <p:cNvSpPr>
            <a:spLocks noGrp="1"/>
          </p:cNvSpPr>
          <p:nvPr>
            <p:ph type="pic" sz="quarter" idx="35"/>
          </p:nvPr>
        </p:nvSpPr>
        <p:spPr>
          <a:xfrm>
            <a:off x="334962" y="3218517"/>
            <a:ext cx="1308101" cy="751562"/>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18" name="Text Placeholder 11"/>
          <p:cNvSpPr>
            <a:spLocks noGrp="1"/>
          </p:cNvSpPr>
          <p:nvPr>
            <p:ph type="body" sz="quarter" idx="36" hasCustomPrompt="1"/>
          </p:nvPr>
        </p:nvSpPr>
        <p:spPr>
          <a:xfrm>
            <a:off x="334962" y="1934904"/>
            <a:ext cx="1306800" cy="6300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1" name="Text Placeholder 21"/>
          <p:cNvSpPr>
            <a:spLocks noGrp="1"/>
          </p:cNvSpPr>
          <p:nvPr>
            <p:ph type="body" sz="quarter" idx="37"/>
          </p:nvPr>
        </p:nvSpPr>
        <p:spPr>
          <a:xfrm>
            <a:off x="334962" y="4067595"/>
            <a:ext cx="1308101" cy="1293821"/>
          </a:xfrm>
        </p:spPr>
        <p:txBody>
          <a:bodyPr lIns="46800" tIns="46800" rIns="46800" bIns="46800" anchor="t">
            <a:normAutofit/>
          </a:bodyPr>
          <a:lstStyle>
            <a:lvl1pPr marL="107950" indent="-107950" algn="l">
              <a:lnSpc>
                <a:spcPct val="1000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2" name="Picture Placeholder 4"/>
          <p:cNvSpPr>
            <a:spLocks noGrp="1"/>
          </p:cNvSpPr>
          <p:nvPr>
            <p:ph type="pic" sz="quarter" idx="38"/>
          </p:nvPr>
        </p:nvSpPr>
        <p:spPr>
          <a:xfrm>
            <a:off x="2031206" y="3218517"/>
            <a:ext cx="1308101" cy="751562"/>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24" name="Text Placeholder 11"/>
          <p:cNvSpPr>
            <a:spLocks noGrp="1"/>
          </p:cNvSpPr>
          <p:nvPr>
            <p:ph type="body" sz="quarter" idx="39" hasCustomPrompt="1"/>
          </p:nvPr>
        </p:nvSpPr>
        <p:spPr>
          <a:xfrm>
            <a:off x="2031206" y="1934904"/>
            <a:ext cx="1308101" cy="6300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25" name="Text Placeholder 21"/>
          <p:cNvSpPr>
            <a:spLocks noGrp="1"/>
          </p:cNvSpPr>
          <p:nvPr>
            <p:ph type="body" sz="quarter" idx="40"/>
          </p:nvPr>
        </p:nvSpPr>
        <p:spPr>
          <a:xfrm>
            <a:off x="2031206" y="4067595"/>
            <a:ext cx="1308101" cy="1293821"/>
          </a:xfrm>
        </p:spPr>
        <p:txBody>
          <a:bodyPr lIns="46800" tIns="46800" rIns="46800" bIns="46800" anchor="t">
            <a:normAutofit/>
          </a:bodyPr>
          <a:lstStyle>
            <a:lvl1pPr marL="107950" indent="-107950" algn="l">
              <a:lnSpc>
                <a:spcPct val="1000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26" name="Picture Placeholder 4"/>
          <p:cNvSpPr>
            <a:spLocks noGrp="1"/>
          </p:cNvSpPr>
          <p:nvPr>
            <p:ph type="pic" sz="quarter" idx="41"/>
          </p:nvPr>
        </p:nvSpPr>
        <p:spPr>
          <a:xfrm>
            <a:off x="3727450" y="3218517"/>
            <a:ext cx="1308101" cy="751562"/>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29" name="Text Placeholder 21"/>
          <p:cNvSpPr>
            <a:spLocks noGrp="1"/>
          </p:cNvSpPr>
          <p:nvPr>
            <p:ph type="body" sz="quarter" idx="43"/>
          </p:nvPr>
        </p:nvSpPr>
        <p:spPr>
          <a:xfrm>
            <a:off x="3727450" y="4067595"/>
            <a:ext cx="1308101" cy="1293821"/>
          </a:xfrm>
        </p:spPr>
        <p:txBody>
          <a:bodyPr lIns="46800" tIns="46800" rIns="46800" bIns="46800" anchor="t">
            <a:normAutofit/>
          </a:bodyPr>
          <a:lstStyle>
            <a:lvl1pPr marL="107950" indent="-107950" algn="l">
              <a:lnSpc>
                <a:spcPct val="1000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0" name="Picture Placeholder 4"/>
          <p:cNvSpPr>
            <a:spLocks noGrp="1"/>
          </p:cNvSpPr>
          <p:nvPr>
            <p:ph type="pic" sz="quarter" idx="44"/>
          </p:nvPr>
        </p:nvSpPr>
        <p:spPr>
          <a:xfrm>
            <a:off x="5423694" y="3218517"/>
            <a:ext cx="1308101" cy="751562"/>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31" name="Text Placeholder 11"/>
          <p:cNvSpPr>
            <a:spLocks noGrp="1"/>
          </p:cNvSpPr>
          <p:nvPr>
            <p:ph type="body" sz="quarter" idx="45" hasCustomPrompt="1"/>
          </p:nvPr>
        </p:nvSpPr>
        <p:spPr>
          <a:xfrm>
            <a:off x="5423694" y="1934904"/>
            <a:ext cx="1308101" cy="6300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2" name="Text Placeholder 21"/>
          <p:cNvSpPr>
            <a:spLocks noGrp="1"/>
          </p:cNvSpPr>
          <p:nvPr>
            <p:ph type="body" sz="quarter" idx="46"/>
          </p:nvPr>
        </p:nvSpPr>
        <p:spPr>
          <a:xfrm>
            <a:off x="5423694" y="4067595"/>
            <a:ext cx="1308101" cy="1293821"/>
          </a:xfrm>
        </p:spPr>
        <p:txBody>
          <a:bodyPr lIns="46800" tIns="46800" rIns="46800" bIns="46800" anchor="t">
            <a:normAutofit/>
          </a:bodyPr>
          <a:lstStyle>
            <a:lvl1pPr marL="107950" indent="-107950" algn="l">
              <a:lnSpc>
                <a:spcPct val="1000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3" name="Picture Placeholder 4"/>
          <p:cNvSpPr>
            <a:spLocks noGrp="1"/>
          </p:cNvSpPr>
          <p:nvPr>
            <p:ph type="pic" sz="quarter" idx="47"/>
          </p:nvPr>
        </p:nvSpPr>
        <p:spPr>
          <a:xfrm>
            <a:off x="7119938" y="3218517"/>
            <a:ext cx="1308101" cy="751562"/>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34" name="Text Placeholder 11"/>
          <p:cNvSpPr>
            <a:spLocks noGrp="1"/>
          </p:cNvSpPr>
          <p:nvPr>
            <p:ph type="body" sz="quarter" idx="48" hasCustomPrompt="1"/>
          </p:nvPr>
        </p:nvSpPr>
        <p:spPr>
          <a:xfrm>
            <a:off x="7119938" y="1934904"/>
            <a:ext cx="1308101" cy="6300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5" name="Text Placeholder 21"/>
          <p:cNvSpPr>
            <a:spLocks noGrp="1"/>
          </p:cNvSpPr>
          <p:nvPr>
            <p:ph type="body" sz="quarter" idx="49"/>
          </p:nvPr>
        </p:nvSpPr>
        <p:spPr>
          <a:xfrm>
            <a:off x="7119938" y="4067595"/>
            <a:ext cx="1308101" cy="1293821"/>
          </a:xfrm>
        </p:spPr>
        <p:txBody>
          <a:bodyPr lIns="46800" tIns="46800" rIns="46800" bIns="46800" anchor="t">
            <a:normAutofit/>
          </a:bodyPr>
          <a:lstStyle>
            <a:lvl1pPr marL="107950" indent="-107950" algn="l">
              <a:lnSpc>
                <a:spcPct val="1000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37" name="Picture Placeholder 4"/>
          <p:cNvSpPr>
            <a:spLocks noGrp="1"/>
          </p:cNvSpPr>
          <p:nvPr>
            <p:ph type="pic" sz="quarter" idx="50"/>
          </p:nvPr>
        </p:nvSpPr>
        <p:spPr>
          <a:xfrm>
            <a:off x="8816182" y="3218517"/>
            <a:ext cx="1308101" cy="751562"/>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38" name="Text Placeholder 11"/>
          <p:cNvSpPr>
            <a:spLocks noGrp="1"/>
          </p:cNvSpPr>
          <p:nvPr>
            <p:ph type="body" sz="quarter" idx="51" hasCustomPrompt="1"/>
          </p:nvPr>
        </p:nvSpPr>
        <p:spPr>
          <a:xfrm>
            <a:off x="8816182" y="1934904"/>
            <a:ext cx="1308101" cy="6300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39" name="Text Placeholder 21"/>
          <p:cNvSpPr>
            <a:spLocks noGrp="1"/>
          </p:cNvSpPr>
          <p:nvPr>
            <p:ph type="body" sz="quarter" idx="52"/>
          </p:nvPr>
        </p:nvSpPr>
        <p:spPr>
          <a:xfrm>
            <a:off x="8816182" y="4067595"/>
            <a:ext cx="1308101" cy="1293821"/>
          </a:xfrm>
        </p:spPr>
        <p:txBody>
          <a:bodyPr lIns="46800" tIns="46800" rIns="46800" bIns="46800" anchor="t">
            <a:normAutofit/>
          </a:bodyPr>
          <a:lstStyle>
            <a:lvl1pPr marL="107950" indent="-107950" algn="l">
              <a:lnSpc>
                <a:spcPct val="1000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0" name="Picture Placeholder 4"/>
          <p:cNvSpPr>
            <a:spLocks noGrp="1"/>
          </p:cNvSpPr>
          <p:nvPr>
            <p:ph type="pic" sz="quarter" idx="53"/>
          </p:nvPr>
        </p:nvSpPr>
        <p:spPr>
          <a:xfrm>
            <a:off x="10512424" y="3218517"/>
            <a:ext cx="1308101" cy="751562"/>
          </a:xfrm>
          <a:prstGeom prst="roundRect">
            <a:avLst>
              <a:gd name="adj" fmla="val 0"/>
            </a:avLst>
          </a:prstGeom>
        </p:spPr>
        <p:txBody>
          <a:bodyPr anchor="ctr"/>
          <a:lstStyle>
            <a:lvl1pPr algn="ctr">
              <a:defRPr sz="1400"/>
            </a:lvl1pPr>
          </a:lstStyle>
          <a:p>
            <a:r>
              <a:rPr lang="en-US"/>
              <a:t>Click icon to add picture</a:t>
            </a:r>
            <a:endParaRPr lang="id-ID"/>
          </a:p>
        </p:txBody>
      </p:sp>
      <p:sp>
        <p:nvSpPr>
          <p:cNvPr id="41" name="Text Placeholder 11"/>
          <p:cNvSpPr>
            <a:spLocks noGrp="1"/>
          </p:cNvSpPr>
          <p:nvPr>
            <p:ph type="body" sz="quarter" idx="54" hasCustomPrompt="1"/>
          </p:nvPr>
        </p:nvSpPr>
        <p:spPr>
          <a:xfrm>
            <a:off x="10512424" y="1934904"/>
            <a:ext cx="1308101" cy="6300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42" name="Text Placeholder 21"/>
          <p:cNvSpPr>
            <a:spLocks noGrp="1"/>
          </p:cNvSpPr>
          <p:nvPr>
            <p:ph type="body" sz="quarter" idx="55"/>
          </p:nvPr>
        </p:nvSpPr>
        <p:spPr>
          <a:xfrm>
            <a:off x="10512424" y="4067595"/>
            <a:ext cx="1308101" cy="1293821"/>
          </a:xfrm>
        </p:spPr>
        <p:txBody>
          <a:bodyPr lIns="46800" tIns="46800" rIns="46800" bIns="46800" anchor="t">
            <a:normAutofit/>
          </a:bodyPr>
          <a:lstStyle>
            <a:lvl1pPr marL="107950" indent="-107950" algn="l">
              <a:lnSpc>
                <a:spcPct val="1000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3" name="Text Placeholder 21"/>
          <p:cNvSpPr>
            <a:spLocks noGrp="1"/>
          </p:cNvSpPr>
          <p:nvPr>
            <p:ph type="body" sz="quarter" idx="56" hasCustomPrompt="1"/>
          </p:nvPr>
        </p:nvSpPr>
        <p:spPr>
          <a:xfrm>
            <a:off x="334961" y="5640779"/>
            <a:ext cx="11485564" cy="621798"/>
          </a:xfrm>
        </p:spPr>
        <p:txBody>
          <a:bodyPr lIns="46800" tIns="46800" rIns="46800" bIns="46800" anchor="t">
            <a:normAutofit/>
          </a:bodyPr>
          <a:lstStyle>
            <a:lvl1pPr marL="0" indent="0" algn="l">
              <a:lnSpc>
                <a:spcPct val="100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27" name="Text Placeholder 11"/>
          <p:cNvSpPr>
            <a:spLocks noGrp="1"/>
          </p:cNvSpPr>
          <p:nvPr>
            <p:ph type="body" sz="quarter" idx="42" hasCustomPrompt="1"/>
          </p:nvPr>
        </p:nvSpPr>
        <p:spPr>
          <a:xfrm>
            <a:off x="3727450" y="1934903"/>
            <a:ext cx="1308101" cy="6300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a:t>100%</a:t>
            </a:r>
            <a:endParaRPr lang="id-ID"/>
          </a:p>
        </p:txBody>
      </p:sp>
      <p:sp>
        <p:nvSpPr>
          <p:cNvPr id="6" name="Date Placeholder 5"/>
          <p:cNvSpPr>
            <a:spLocks noGrp="1"/>
          </p:cNvSpPr>
          <p:nvPr>
            <p:ph type="dt" sz="half" idx="65"/>
          </p:nvPr>
        </p:nvSpPr>
        <p:spPr/>
        <p:txBody>
          <a:bodyPr/>
          <a:lstStyle/>
          <a:p>
            <a:fld id="{CB6E0E24-B4F7-E843-AFC0-C1F83B7A48CA}" type="datetime2">
              <a:rPr lang="en-ID" smtClean="0"/>
              <a:t>Sunday, 12 May 2024</a:t>
            </a:fld>
            <a:endParaRPr lang="id-ID"/>
          </a:p>
        </p:txBody>
      </p:sp>
      <p:sp>
        <p:nvSpPr>
          <p:cNvPr id="8" name="Slide Number Placeholder 7"/>
          <p:cNvSpPr>
            <a:spLocks noGrp="1"/>
          </p:cNvSpPr>
          <p:nvPr>
            <p:ph type="sldNum" sz="quarter" idx="67"/>
          </p:nvPr>
        </p:nvSpPr>
        <p:spPr/>
        <p:txBody>
          <a:bodyPr/>
          <a:lstStyle/>
          <a:p>
            <a:r>
              <a:rPr lang="id-ID"/>
              <a:t>|         </a:t>
            </a:r>
            <a:fld id="{7904F5B5-DD6E-6442-8C14-4BFE420CE974}" type="slidenum">
              <a:rPr lang="id-ID" smtClean="0"/>
              <a:t>‹#›</a:t>
            </a:fld>
            <a:endParaRPr lang="id-ID"/>
          </a:p>
        </p:txBody>
      </p:sp>
      <p:sp>
        <p:nvSpPr>
          <p:cNvPr id="4" name="Text Placeholder 3"/>
          <p:cNvSpPr>
            <a:spLocks noGrp="1"/>
          </p:cNvSpPr>
          <p:nvPr>
            <p:ph type="body" sz="quarter" idx="68" hasCustomPrompt="1"/>
          </p:nvPr>
        </p:nvSpPr>
        <p:spPr>
          <a:xfrm>
            <a:off x="2030204" y="2730500"/>
            <a:ext cx="1306801" cy="341313"/>
          </a:xfrm>
        </p:spPr>
        <p:txBody>
          <a:bodyPr anchor="ctr"/>
          <a:lstStyle>
            <a:lvl1pPr marL="0" indent="0" algn="ctr">
              <a:lnSpc>
                <a:spcPct val="100000"/>
              </a:lnSpc>
              <a:buNone/>
              <a:defRPr sz="1200">
                <a:solidFill>
                  <a:schemeClr val="tx1">
                    <a:lumMod val="65000"/>
                    <a:lumOff val="35000"/>
                  </a:schemeClr>
                </a:solidFill>
              </a:defRPr>
            </a:lvl1pPr>
          </a:lstStyle>
          <a:p>
            <a:pPr lvl="0"/>
            <a:r>
              <a:rPr lang="en-US"/>
              <a:t>Title text</a:t>
            </a:r>
            <a:endParaRPr lang="id-ID"/>
          </a:p>
        </p:txBody>
      </p:sp>
      <p:sp>
        <p:nvSpPr>
          <p:cNvPr id="52" name="Text Placeholder 3"/>
          <p:cNvSpPr>
            <a:spLocks noGrp="1"/>
          </p:cNvSpPr>
          <p:nvPr>
            <p:ph type="body" sz="quarter" idx="69" hasCustomPrompt="1"/>
          </p:nvPr>
        </p:nvSpPr>
        <p:spPr>
          <a:xfrm>
            <a:off x="334963" y="2730500"/>
            <a:ext cx="1306801" cy="341313"/>
          </a:xfrm>
        </p:spPr>
        <p:txBody>
          <a:bodyPr anchor="ctr"/>
          <a:lstStyle>
            <a:lvl1pPr marL="0" indent="0" algn="ctr">
              <a:lnSpc>
                <a:spcPct val="100000"/>
              </a:lnSpc>
              <a:buNone/>
              <a:defRPr sz="1200">
                <a:solidFill>
                  <a:schemeClr val="tx1">
                    <a:lumMod val="65000"/>
                    <a:lumOff val="35000"/>
                  </a:schemeClr>
                </a:solidFill>
              </a:defRPr>
            </a:lvl1pPr>
          </a:lstStyle>
          <a:p>
            <a:pPr lvl="0"/>
            <a:r>
              <a:rPr lang="en-US"/>
              <a:t>Title text</a:t>
            </a:r>
            <a:endParaRPr lang="id-ID"/>
          </a:p>
        </p:txBody>
      </p:sp>
      <p:sp>
        <p:nvSpPr>
          <p:cNvPr id="53" name="Text Placeholder 3"/>
          <p:cNvSpPr>
            <a:spLocks noGrp="1"/>
          </p:cNvSpPr>
          <p:nvPr>
            <p:ph type="body" sz="quarter" idx="70" hasCustomPrompt="1"/>
          </p:nvPr>
        </p:nvSpPr>
        <p:spPr>
          <a:xfrm>
            <a:off x="3725445" y="2730500"/>
            <a:ext cx="1306801" cy="341313"/>
          </a:xfrm>
        </p:spPr>
        <p:txBody>
          <a:bodyPr anchor="ctr"/>
          <a:lstStyle>
            <a:lvl1pPr marL="0" indent="0" algn="ctr">
              <a:lnSpc>
                <a:spcPct val="100000"/>
              </a:lnSpc>
              <a:buNone/>
              <a:defRPr sz="1200">
                <a:solidFill>
                  <a:schemeClr val="tx1">
                    <a:lumMod val="65000"/>
                    <a:lumOff val="35000"/>
                  </a:schemeClr>
                </a:solidFill>
              </a:defRPr>
            </a:lvl1pPr>
          </a:lstStyle>
          <a:p>
            <a:pPr lvl="0"/>
            <a:r>
              <a:rPr lang="en-US"/>
              <a:t>Title text</a:t>
            </a:r>
            <a:endParaRPr lang="id-ID"/>
          </a:p>
        </p:txBody>
      </p:sp>
      <p:sp>
        <p:nvSpPr>
          <p:cNvPr id="54" name="Text Placeholder 3"/>
          <p:cNvSpPr>
            <a:spLocks noGrp="1"/>
          </p:cNvSpPr>
          <p:nvPr>
            <p:ph type="body" sz="quarter" idx="71" hasCustomPrompt="1"/>
          </p:nvPr>
        </p:nvSpPr>
        <p:spPr>
          <a:xfrm>
            <a:off x="5420686" y="2730500"/>
            <a:ext cx="1306801" cy="341313"/>
          </a:xfrm>
        </p:spPr>
        <p:txBody>
          <a:bodyPr anchor="ctr"/>
          <a:lstStyle>
            <a:lvl1pPr marL="0" indent="0" algn="ctr">
              <a:lnSpc>
                <a:spcPct val="100000"/>
              </a:lnSpc>
              <a:buNone/>
              <a:defRPr sz="1200">
                <a:solidFill>
                  <a:schemeClr val="tx1">
                    <a:lumMod val="65000"/>
                    <a:lumOff val="35000"/>
                  </a:schemeClr>
                </a:solidFill>
              </a:defRPr>
            </a:lvl1pPr>
          </a:lstStyle>
          <a:p>
            <a:pPr lvl="0"/>
            <a:r>
              <a:rPr lang="en-US"/>
              <a:t>Title text</a:t>
            </a:r>
            <a:endParaRPr lang="id-ID"/>
          </a:p>
        </p:txBody>
      </p:sp>
      <p:sp>
        <p:nvSpPr>
          <p:cNvPr id="55" name="Text Placeholder 3"/>
          <p:cNvSpPr>
            <a:spLocks noGrp="1"/>
          </p:cNvSpPr>
          <p:nvPr>
            <p:ph type="body" sz="quarter" idx="72" hasCustomPrompt="1"/>
          </p:nvPr>
        </p:nvSpPr>
        <p:spPr>
          <a:xfrm>
            <a:off x="7115927" y="2730500"/>
            <a:ext cx="1306801" cy="341313"/>
          </a:xfrm>
        </p:spPr>
        <p:txBody>
          <a:bodyPr anchor="ctr"/>
          <a:lstStyle>
            <a:lvl1pPr marL="0" indent="0" algn="ctr">
              <a:lnSpc>
                <a:spcPct val="100000"/>
              </a:lnSpc>
              <a:buNone/>
              <a:defRPr sz="1200">
                <a:solidFill>
                  <a:schemeClr val="tx1">
                    <a:lumMod val="65000"/>
                    <a:lumOff val="35000"/>
                  </a:schemeClr>
                </a:solidFill>
              </a:defRPr>
            </a:lvl1pPr>
          </a:lstStyle>
          <a:p>
            <a:pPr lvl="0"/>
            <a:r>
              <a:rPr lang="en-US"/>
              <a:t>Title text</a:t>
            </a:r>
            <a:endParaRPr lang="id-ID"/>
          </a:p>
        </p:txBody>
      </p:sp>
      <p:sp>
        <p:nvSpPr>
          <p:cNvPr id="56" name="Text Placeholder 3"/>
          <p:cNvSpPr>
            <a:spLocks noGrp="1"/>
          </p:cNvSpPr>
          <p:nvPr>
            <p:ph type="body" sz="quarter" idx="73" hasCustomPrompt="1"/>
          </p:nvPr>
        </p:nvSpPr>
        <p:spPr>
          <a:xfrm>
            <a:off x="8811168" y="2730500"/>
            <a:ext cx="1306801" cy="341313"/>
          </a:xfrm>
        </p:spPr>
        <p:txBody>
          <a:bodyPr anchor="ctr"/>
          <a:lstStyle>
            <a:lvl1pPr marL="0" indent="0" algn="ctr">
              <a:lnSpc>
                <a:spcPct val="100000"/>
              </a:lnSpc>
              <a:buNone/>
              <a:defRPr sz="1200">
                <a:solidFill>
                  <a:schemeClr val="tx1">
                    <a:lumMod val="65000"/>
                    <a:lumOff val="35000"/>
                  </a:schemeClr>
                </a:solidFill>
              </a:defRPr>
            </a:lvl1pPr>
          </a:lstStyle>
          <a:p>
            <a:pPr lvl="0"/>
            <a:r>
              <a:rPr lang="en-US"/>
              <a:t>Title text</a:t>
            </a:r>
            <a:endParaRPr lang="id-ID"/>
          </a:p>
        </p:txBody>
      </p:sp>
      <p:sp>
        <p:nvSpPr>
          <p:cNvPr id="57" name="Text Placeholder 3"/>
          <p:cNvSpPr>
            <a:spLocks noGrp="1"/>
          </p:cNvSpPr>
          <p:nvPr>
            <p:ph type="body" sz="quarter" idx="74" hasCustomPrompt="1"/>
          </p:nvPr>
        </p:nvSpPr>
        <p:spPr>
          <a:xfrm>
            <a:off x="10506410" y="2730500"/>
            <a:ext cx="1306801" cy="341313"/>
          </a:xfrm>
        </p:spPr>
        <p:txBody>
          <a:bodyPr anchor="ctr"/>
          <a:lstStyle>
            <a:lvl1pPr marL="0" indent="0" algn="ctr">
              <a:lnSpc>
                <a:spcPct val="100000"/>
              </a:lnSpc>
              <a:buNone/>
              <a:defRPr sz="1200">
                <a:solidFill>
                  <a:schemeClr val="tx1">
                    <a:lumMod val="65000"/>
                    <a:lumOff val="35000"/>
                  </a:schemeClr>
                </a:solidFill>
              </a:defRPr>
            </a:lvl1pPr>
          </a:lstStyle>
          <a:p>
            <a:pPr lvl="0"/>
            <a:r>
              <a:rPr lang="en-US"/>
              <a:t>Title text</a:t>
            </a:r>
            <a:endParaRPr lang="id-ID"/>
          </a:p>
        </p:txBody>
      </p:sp>
      <p:sp>
        <p:nvSpPr>
          <p:cNvPr id="3" name="Title 2"/>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ontent &amp; Coloums Mix 2">
    <p:spTree>
      <p:nvGrpSpPr>
        <p:cNvPr id="1" name=""/>
        <p:cNvGrpSpPr/>
        <p:nvPr/>
      </p:nvGrpSpPr>
      <p:grpSpPr>
        <a:xfrm>
          <a:off x="0" y="0"/>
          <a:ext cx="0" cy="0"/>
          <a:chOff x="0" y="0"/>
          <a:chExt cx="0" cy="0"/>
        </a:xfrm>
      </p:grpSpPr>
      <p:sp>
        <p:nvSpPr>
          <p:cNvPr id="9" name="Picture Placeholder 6"/>
          <p:cNvSpPr>
            <a:spLocks noGrp="1"/>
          </p:cNvSpPr>
          <p:nvPr>
            <p:ph type="pic" sz="quarter" idx="59"/>
          </p:nvPr>
        </p:nvSpPr>
        <p:spPr>
          <a:xfrm>
            <a:off x="867648" y="1270000"/>
            <a:ext cx="2348032" cy="483228"/>
          </a:xfrm>
        </p:spPr>
        <p:txBody>
          <a:bodyPr anchor="ctr"/>
          <a:lstStyle>
            <a:lvl1pPr marL="0" indent="0" algn="ctr">
              <a:buNone/>
              <a:defRPr sz="1200"/>
            </a:lvl1pPr>
          </a:lstStyle>
          <a:p>
            <a:r>
              <a:rPr lang="en-US"/>
              <a:t>Click icon to add picture</a:t>
            </a:r>
            <a:endParaRPr lang="id-ID"/>
          </a:p>
        </p:txBody>
      </p:sp>
      <p:sp>
        <p:nvSpPr>
          <p:cNvPr id="14" name="Text Placeholder 21"/>
          <p:cNvSpPr>
            <a:spLocks noGrp="1"/>
          </p:cNvSpPr>
          <p:nvPr>
            <p:ph type="body" sz="quarter" idx="63" hasCustomPrompt="1"/>
          </p:nvPr>
        </p:nvSpPr>
        <p:spPr>
          <a:xfrm>
            <a:off x="867648" y="1847200"/>
            <a:ext cx="2348032" cy="1830720"/>
          </a:xfrm>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lvl1pPr>
            <a:lvl2pPr marL="506095" indent="0" algn="l">
              <a:lnSpc>
                <a:spcPct val="10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15" name="Text Placeholder 21"/>
          <p:cNvSpPr>
            <a:spLocks noGrp="1"/>
          </p:cNvSpPr>
          <p:nvPr>
            <p:ph type="body" sz="quarter" idx="64" hasCustomPrompt="1"/>
          </p:nvPr>
        </p:nvSpPr>
        <p:spPr>
          <a:xfrm>
            <a:off x="867648" y="3696320"/>
            <a:ext cx="2348032" cy="668784"/>
          </a:xfrm>
          <a:solidFill>
            <a:schemeClr val="accent2"/>
          </a:solidFill>
        </p:spPr>
        <p:txBody>
          <a:bodyPr lIns="46800" tIns="46800" rIns="46800" bIns="46800" anchor="ctr">
            <a:normAutofit/>
          </a:bodyPr>
          <a:lstStyle>
            <a:lvl1pPr marL="0" indent="0" algn="ctr">
              <a:lnSpc>
                <a:spcPct val="1000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18" name="Text Placeholder 21"/>
          <p:cNvSpPr>
            <a:spLocks noGrp="1"/>
          </p:cNvSpPr>
          <p:nvPr>
            <p:ph type="body" sz="quarter" idx="65" hasCustomPrompt="1"/>
          </p:nvPr>
        </p:nvSpPr>
        <p:spPr>
          <a:xfrm>
            <a:off x="867648" y="4365104"/>
            <a:ext cx="2348032" cy="1830080"/>
          </a:xfrm>
          <a:solidFill>
            <a:schemeClr val="accent1"/>
          </a:solidFill>
          <a:ln>
            <a:noFill/>
          </a:ln>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ct val="1000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en-US"/>
          </a:p>
        </p:txBody>
      </p:sp>
      <p:sp>
        <p:nvSpPr>
          <p:cNvPr id="19" name="Picture Placeholder 6"/>
          <p:cNvSpPr>
            <a:spLocks noGrp="1"/>
          </p:cNvSpPr>
          <p:nvPr>
            <p:ph type="pic" sz="quarter" idx="66"/>
          </p:nvPr>
        </p:nvSpPr>
        <p:spPr>
          <a:xfrm>
            <a:off x="3641328" y="1270000"/>
            <a:ext cx="2348032" cy="483228"/>
          </a:xfrm>
        </p:spPr>
        <p:txBody>
          <a:bodyPr anchor="ctr"/>
          <a:lstStyle>
            <a:lvl1pPr marL="0" indent="0" algn="ctr">
              <a:buNone/>
              <a:defRPr sz="1200"/>
            </a:lvl1pPr>
          </a:lstStyle>
          <a:p>
            <a:r>
              <a:rPr lang="en-US"/>
              <a:t>Click icon to add picture</a:t>
            </a:r>
            <a:endParaRPr lang="id-ID"/>
          </a:p>
        </p:txBody>
      </p:sp>
      <p:sp>
        <p:nvSpPr>
          <p:cNvPr id="20" name="Text Placeholder 21"/>
          <p:cNvSpPr>
            <a:spLocks noGrp="1"/>
          </p:cNvSpPr>
          <p:nvPr>
            <p:ph type="body" sz="quarter" idx="67" hasCustomPrompt="1"/>
          </p:nvPr>
        </p:nvSpPr>
        <p:spPr>
          <a:xfrm>
            <a:off x="3641328" y="1847200"/>
            <a:ext cx="2348032" cy="1830720"/>
          </a:xfrm>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lvl1pPr>
            <a:lvl2pPr marL="506095" indent="0" algn="l">
              <a:lnSpc>
                <a:spcPct val="10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1" name="Text Placeholder 21"/>
          <p:cNvSpPr>
            <a:spLocks noGrp="1"/>
          </p:cNvSpPr>
          <p:nvPr>
            <p:ph type="body" sz="quarter" idx="68" hasCustomPrompt="1"/>
          </p:nvPr>
        </p:nvSpPr>
        <p:spPr>
          <a:xfrm>
            <a:off x="3641328" y="3696320"/>
            <a:ext cx="2348032" cy="668784"/>
          </a:xfrm>
          <a:solidFill>
            <a:schemeClr val="accent2"/>
          </a:solidFill>
        </p:spPr>
        <p:txBody>
          <a:bodyPr lIns="46800" tIns="46800" rIns="46800" bIns="46800" anchor="ctr">
            <a:normAutofit/>
          </a:bodyPr>
          <a:lstStyle>
            <a:lvl1pPr marL="0" indent="0" algn="ctr">
              <a:lnSpc>
                <a:spcPct val="1000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22" name="Text Placeholder 21"/>
          <p:cNvSpPr>
            <a:spLocks noGrp="1"/>
          </p:cNvSpPr>
          <p:nvPr>
            <p:ph type="body" sz="quarter" idx="69" hasCustomPrompt="1"/>
          </p:nvPr>
        </p:nvSpPr>
        <p:spPr>
          <a:xfrm>
            <a:off x="3641328" y="4365104"/>
            <a:ext cx="2348032" cy="1830080"/>
          </a:xfrm>
          <a:solidFill>
            <a:schemeClr val="accent1"/>
          </a:solidFill>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ct val="1000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27" name="Picture Placeholder 6"/>
          <p:cNvSpPr>
            <a:spLocks noGrp="1"/>
          </p:cNvSpPr>
          <p:nvPr>
            <p:ph type="pic" sz="quarter" idx="70"/>
          </p:nvPr>
        </p:nvSpPr>
        <p:spPr>
          <a:xfrm>
            <a:off x="6465808" y="1270000"/>
            <a:ext cx="2348032" cy="483228"/>
          </a:xfrm>
        </p:spPr>
        <p:txBody>
          <a:bodyPr anchor="ctr"/>
          <a:lstStyle>
            <a:lvl1pPr marL="0" indent="0" algn="ctr">
              <a:buNone/>
              <a:defRPr sz="1200"/>
            </a:lvl1pPr>
          </a:lstStyle>
          <a:p>
            <a:r>
              <a:rPr lang="en-US"/>
              <a:t>Click icon to add picture</a:t>
            </a:r>
            <a:endParaRPr lang="id-ID"/>
          </a:p>
        </p:txBody>
      </p:sp>
      <p:sp>
        <p:nvSpPr>
          <p:cNvPr id="28" name="Text Placeholder 21"/>
          <p:cNvSpPr>
            <a:spLocks noGrp="1"/>
          </p:cNvSpPr>
          <p:nvPr>
            <p:ph type="body" sz="quarter" idx="71" hasCustomPrompt="1"/>
          </p:nvPr>
        </p:nvSpPr>
        <p:spPr>
          <a:xfrm>
            <a:off x="6465808" y="1847200"/>
            <a:ext cx="2348032" cy="1830720"/>
          </a:xfrm>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lvl1pPr>
            <a:lvl2pPr marL="506095" indent="0" algn="l">
              <a:lnSpc>
                <a:spcPct val="10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9" name="Text Placeholder 21"/>
          <p:cNvSpPr>
            <a:spLocks noGrp="1"/>
          </p:cNvSpPr>
          <p:nvPr>
            <p:ph type="body" sz="quarter" idx="72" hasCustomPrompt="1"/>
          </p:nvPr>
        </p:nvSpPr>
        <p:spPr>
          <a:xfrm>
            <a:off x="6465808" y="3696320"/>
            <a:ext cx="2348032" cy="668784"/>
          </a:xfrm>
          <a:solidFill>
            <a:schemeClr val="accent2"/>
          </a:solidFill>
        </p:spPr>
        <p:txBody>
          <a:bodyPr lIns="46800" tIns="46800" rIns="46800" bIns="46800" anchor="ctr">
            <a:normAutofit/>
          </a:bodyPr>
          <a:lstStyle>
            <a:lvl1pPr marL="0" indent="0" algn="ctr">
              <a:lnSpc>
                <a:spcPct val="1000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0" name="Text Placeholder 21"/>
          <p:cNvSpPr>
            <a:spLocks noGrp="1"/>
          </p:cNvSpPr>
          <p:nvPr>
            <p:ph type="body" sz="quarter" idx="73" hasCustomPrompt="1"/>
          </p:nvPr>
        </p:nvSpPr>
        <p:spPr>
          <a:xfrm>
            <a:off x="6465808" y="4365104"/>
            <a:ext cx="2348032" cy="1830080"/>
          </a:xfrm>
          <a:solidFill>
            <a:schemeClr val="accent1"/>
          </a:solidFill>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ct val="1000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1" name="Picture Placeholder 6"/>
          <p:cNvSpPr>
            <a:spLocks noGrp="1"/>
          </p:cNvSpPr>
          <p:nvPr>
            <p:ph type="pic" sz="quarter" idx="74"/>
          </p:nvPr>
        </p:nvSpPr>
        <p:spPr>
          <a:xfrm>
            <a:off x="9330928" y="1270000"/>
            <a:ext cx="2348032" cy="483228"/>
          </a:xfrm>
        </p:spPr>
        <p:txBody>
          <a:bodyPr anchor="ctr"/>
          <a:lstStyle>
            <a:lvl1pPr marL="0" indent="0" algn="ctr">
              <a:buNone/>
              <a:defRPr sz="1200"/>
            </a:lvl1pPr>
          </a:lstStyle>
          <a:p>
            <a:r>
              <a:rPr lang="en-US"/>
              <a:t>Click icon to add picture</a:t>
            </a:r>
            <a:endParaRPr lang="id-ID"/>
          </a:p>
        </p:txBody>
      </p:sp>
      <p:sp>
        <p:nvSpPr>
          <p:cNvPr id="32" name="Text Placeholder 21"/>
          <p:cNvSpPr>
            <a:spLocks noGrp="1"/>
          </p:cNvSpPr>
          <p:nvPr>
            <p:ph type="body" sz="quarter" idx="75" hasCustomPrompt="1"/>
          </p:nvPr>
        </p:nvSpPr>
        <p:spPr>
          <a:xfrm>
            <a:off x="9330928" y="1847200"/>
            <a:ext cx="2348032" cy="1830720"/>
          </a:xfrm>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lvl1pPr>
            <a:lvl2pPr marL="506095" indent="0" algn="l">
              <a:lnSpc>
                <a:spcPct val="10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33" name="Text Placeholder 21"/>
          <p:cNvSpPr>
            <a:spLocks noGrp="1"/>
          </p:cNvSpPr>
          <p:nvPr>
            <p:ph type="body" sz="quarter" idx="76" hasCustomPrompt="1"/>
          </p:nvPr>
        </p:nvSpPr>
        <p:spPr>
          <a:xfrm>
            <a:off x="9330928" y="3696320"/>
            <a:ext cx="2348032" cy="668784"/>
          </a:xfrm>
          <a:solidFill>
            <a:schemeClr val="accent2"/>
          </a:solidFill>
        </p:spPr>
        <p:txBody>
          <a:bodyPr lIns="46800" tIns="46800" rIns="46800" bIns="46800" anchor="ctr">
            <a:normAutofit/>
          </a:bodyPr>
          <a:lstStyle>
            <a:lvl1pPr marL="0" indent="0" algn="ctr">
              <a:lnSpc>
                <a:spcPct val="1000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4" name="Text Placeholder 21"/>
          <p:cNvSpPr>
            <a:spLocks noGrp="1"/>
          </p:cNvSpPr>
          <p:nvPr>
            <p:ph type="body" sz="quarter" idx="77" hasCustomPrompt="1"/>
          </p:nvPr>
        </p:nvSpPr>
        <p:spPr>
          <a:xfrm>
            <a:off x="9330928" y="4365104"/>
            <a:ext cx="2348032" cy="1830080"/>
          </a:xfrm>
          <a:solidFill>
            <a:schemeClr val="accent1"/>
          </a:solidFill>
        </p:spPr>
        <p:txBody>
          <a:bodyPr lIns="46800" tIns="46800" rIns="46800" bIns="46800" anchor="t">
            <a:normAutofit/>
          </a:bodyPr>
          <a:lstStyle>
            <a:lvl1pPr marL="90170" indent="-90170" algn="l">
              <a:lnSpc>
                <a:spcPct val="1000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ct val="1000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6" name="Text Placeholder 21"/>
          <p:cNvSpPr>
            <a:spLocks noGrp="1"/>
          </p:cNvSpPr>
          <p:nvPr>
            <p:ph type="body" sz="quarter" idx="78" hasCustomPrompt="1"/>
          </p:nvPr>
        </p:nvSpPr>
        <p:spPr>
          <a:xfrm>
            <a:off x="336520" y="1828800"/>
            <a:ext cx="430888" cy="1471183"/>
          </a:xfrm>
        </p:spPr>
        <p:txBody>
          <a:bodyPr vert="vert270" lIns="46800" tIns="46800" rIns="46800" bIns="46800">
            <a:normAutofit/>
          </a:bodyPr>
          <a:lstStyle>
            <a:lvl1pPr marL="0" indent="0" algn="l">
              <a:lnSpc>
                <a:spcPct val="100000"/>
              </a:lnSpc>
              <a:spcBef>
                <a:spcPts val="0"/>
              </a:spcBef>
              <a:spcAft>
                <a:spcPts val="300"/>
              </a:spcAft>
              <a:buSzPct val="120000"/>
              <a:buFont typeface="Arial" panose="020B0604020202090204" pitchFamily="34" charset="0"/>
              <a:buNone/>
              <a:defRPr sz="1100" b="1" i="0">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
        <p:nvSpPr>
          <p:cNvPr id="39" name="Text Placeholder 21"/>
          <p:cNvSpPr>
            <a:spLocks noGrp="1"/>
          </p:cNvSpPr>
          <p:nvPr>
            <p:ph type="body" sz="quarter" idx="79" hasCustomPrompt="1"/>
          </p:nvPr>
        </p:nvSpPr>
        <p:spPr>
          <a:xfrm>
            <a:off x="336520" y="4582160"/>
            <a:ext cx="430888" cy="1471183"/>
          </a:xfrm>
        </p:spPr>
        <p:txBody>
          <a:bodyPr vert="vert270" lIns="46800" tIns="46800" rIns="46800" bIns="46800">
            <a:normAutofit/>
          </a:bodyPr>
          <a:lstStyle>
            <a:lvl1pPr marL="0" indent="0" algn="l">
              <a:lnSpc>
                <a:spcPct val="100000"/>
              </a:lnSpc>
              <a:spcBef>
                <a:spcPts val="0"/>
              </a:spcBef>
              <a:spcAft>
                <a:spcPts val="300"/>
              </a:spcAft>
              <a:buSzPct val="120000"/>
              <a:buFont typeface="Arial" panose="020B0604020202090204" pitchFamily="34" charset="0"/>
              <a:buNone/>
              <a:defRPr sz="1100" b="1" i="0">
                <a:solidFill>
                  <a:schemeClr val="accent1"/>
                </a:solidFill>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
        <p:nvSpPr>
          <p:cNvPr id="4" name="Date Placeholder 3"/>
          <p:cNvSpPr>
            <a:spLocks noGrp="1"/>
          </p:cNvSpPr>
          <p:nvPr>
            <p:ph type="dt" sz="half" idx="80"/>
          </p:nvPr>
        </p:nvSpPr>
        <p:spPr/>
        <p:txBody>
          <a:bodyPr/>
          <a:lstStyle/>
          <a:p>
            <a:fld id="{CB6E0E24-B4F7-E843-AFC0-C1F83B7A48CA}" type="datetime2">
              <a:rPr lang="en-ID" smtClean="0"/>
              <a:t>Sunday, 12 May 2024</a:t>
            </a:fld>
            <a:endParaRPr lang="id-ID"/>
          </a:p>
        </p:txBody>
      </p:sp>
      <p:sp>
        <p:nvSpPr>
          <p:cNvPr id="11" name="Slide Number Placeholder 10"/>
          <p:cNvSpPr>
            <a:spLocks noGrp="1"/>
          </p:cNvSpPr>
          <p:nvPr>
            <p:ph type="sldNum" sz="quarter" idx="82"/>
          </p:nvPr>
        </p:nvSpPr>
        <p:spPr/>
        <p:txBody>
          <a:bodyPr/>
          <a:lstStyle/>
          <a:p>
            <a:r>
              <a:rPr lang="id-ID"/>
              <a:t>|         </a:t>
            </a:r>
            <a:fld id="{7904F5B5-DD6E-6442-8C14-4BFE420CE974}" type="slidenum">
              <a:rPr lang="id-ID" smtClean="0"/>
              <a:t>‹#›</a:t>
            </a:fld>
            <a:endParaRPr lang="id-ID"/>
          </a:p>
        </p:txBody>
      </p:sp>
      <p:sp>
        <p:nvSpPr>
          <p:cNvPr id="2" name="Title 1"/>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ntent &amp; Map">
    <p:spTree>
      <p:nvGrpSpPr>
        <p:cNvPr id="1" name=""/>
        <p:cNvGrpSpPr/>
        <p:nvPr/>
      </p:nvGrpSpPr>
      <p:grpSpPr>
        <a:xfrm>
          <a:off x="0" y="0"/>
          <a:ext cx="0" cy="0"/>
          <a:chOff x="0" y="0"/>
          <a:chExt cx="0" cy="0"/>
        </a:xfrm>
      </p:grpSpPr>
      <p:sp>
        <p:nvSpPr>
          <p:cNvPr id="10" name="Text Placeholder 8"/>
          <p:cNvSpPr>
            <a:spLocks noGrp="1"/>
          </p:cNvSpPr>
          <p:nvPr>
            <p:ph type="body" sz="quarter" idx="14" hasCustomPrompt="1"/>
          </p:nvPr>
        </p:nvSpPr>
        <p:spPr>
          <a:xfrm>
            <a:off x="334963" y="1354666"/>
            <a:ext cx="11485561" cy="438257"/>
          </a:xfrm>
        </p:spPr>
        <p:txBody>
          <a:bodyPr anchor="t">
            <a:normAutofit/>
          </a:bodyPr>
          <a:lstStyle>
            <a:lvl1pPr marL="0" indent="0">
              <a:lnSpc>
                <a:spcPct val="100000"/>
              </a:lnSpc>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9" name="Text Placeholder 8"/>
          <p:cNvSpPr>
            <a:spLocks noGrp="1"/>
          </p:cNvSpPr>
          <p:nvPr>
            <p:ph type="body" sz="quarter" idx="18" hasCustomPrompt="1"/>
          </p:nvPr>
        </p:nvSpPr>
        <p:spPr>
          <a:xfrm>
            <a:off x="3624734"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0" name="Text Placeholder 8"/>
          <p:cNvSpPr>
            <a:spLocks noGrp="1"/>
          </p:cNvSpPr>
          <p:nvPr>
            <p:ph type="body" sz="quarter" idx="19" hasCustomPrompt="1"/>
          </p:nvPr>
        </p:nvSpPr>
        <p:spPr>
          <a:xfrm>
            <a:off x="6914505"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2" name="Text Placeholder 8"/>
          <p:cNvSpPr>
            <a:spLocks noGrp="1"/>
          </p:cNvSpPr>
          <p:nvPr>
            <p:ph type="body" sz="quarter" idx="21" hasCustomPrompt="1"/>
          </p:nvPr>
        </p:nvSpPr>
        <p:spPr>
          <a:xfrm>
            <a:off x="10235952" y="1923924"/>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3" name="Text Placeholder 8"/>
          <p:cNvSpPr>
            <a:spLocks noGrp="1"/>
          </p:cNvSpPr>
          <p:nvPr>
            <p:ph type="body" sz="quarter" idx="22" hasCustomPrompt="1"/>
          </p:nvPr>
        </p:nvSpPr>
        <p:spPr>
          <a:xfrm>
            <a:off x="334963"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4" name="Text Placeholder 8"/>
          <p:cNvSpPr>
            <a:spLocks noGrp="1"/>
          </p:cNvSpPr>
          <p:nvPr>
            <p:ph type="body" sz="quarter" idx="23" hasCustomPrompt="1"/>
          </p:nvPr>
        </p:nvSpPr>
        <p:spPr>
          <a:xfrm>
            <a:off x="3624734"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5" name="Text Placeholder 8"/>
          <p:cNvSpPr>
            <a:spLocks noGrp="1"/>
          </p:cNvSpPr>
          <p:nvPr>
            <p:ph type="body" sz="quarter" idx="24" hasCustomPrompt="1"/>
          </p:nvPr>
        </p:nvSpPr>
        <p:spPr>
          <a:xfrm>
            <a:off x="6914505"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6" name="Text Placeholder 8"/>
          <p:cNvSpPr>
            <a:spLocks noGrp="1"/>
          </p:cNvSpPr>
          <p:nvPr>
            <p:ph type="body" sz="quarter" idx="25" hasCustomPrompt="1"/>
          </p:nvPr>
        </p:nvSpPr>
        <p:spPr>
          <a:xfrm>
            <a:off x="10235952" y="4509961"/>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7" name="Text Placeholder 8"/>
          <p:cNvSpPr>
            <a:spLocks noGrp="1"/>
          </p:cNvSpPr>
          <p:nvPr>
            <p:ph type="body" sz="quarter" idx="26" hasCustomPrompt="1"/>
          </p:nvPr>
        </p:nvSpPr>
        <p:spPr>
          <a:xfrm>
            <a:off x="334963" y="5013176"/>
            <a:ext cx="6481117" cy="374119"/>
          </a:xfrm>
        </p:spPr>
        <p:txBody>
          <a:bodyPr>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a:t>
            </a:r>
          </a:p>
          <a:p>
            <a:pPr lvl="0"/>
            <a:endParaRPr lang="en-US"/>
          </a:p>
          <a:p>
            <a:pPr lvl="0"/>
            <a:endParaRPr lang="en-US"/>
          </a:p>
        </p:txBody>
      </p:sp>
      <p:sp>
        <p:nvSpPr>
          <p:cNvPr id="28" name="Text Placeholder 8"/>
          <p:cNvSpPr>
            <a:spLocks noGrp="1"/>
          </p:cNvSpPr>
          <p:nvPr>
            <p:ph type="body" sz="quarter" idx="27" hasCustomPrompt="1"/>
          </p:nvPr>
        </p:nvSpPr>
        <p:spPr>
          <a:xfrm>
            <a:off x="334963" y="5663201"/>
            <a:ext cx="11485562" cy="166099"/>
          </a:xfrm>
        </p:spPr>
        <p:txBody>
          <a:bodyPr rIns="0" bIns="0"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6" name="Date Placeholder 5"/>
          <p:cNvSpPr>
            <a:spLocks noGrp="1"/>
          </p:cNvSpPr>
          <p:nvPr>
            <p:ph type="dt" sz="half" idx="30"/>
          </p:nvPr>
        </p:nvSpPr>
        <p:spPr/>
        <p:txBody>
          <a:bodyPr/>
          <a:lstStyle/>
          <a:p>
            <a:fld id="{CB6E0E24-B4F7-E843-AFC0-C1F83B7A48CA}" type="datetime2">
              <a:rPr lang="en-ID" smtClean="0"/>
              <a:t>Sunday, 12 May 2024</a:t>
            </a:fld>
            <a:endParaRPr lang="id-ID"/>
          </a:p>
        </p:txBody>
      </p:sp>
      <p:sp>
        <p:nvSpPr>
          <p:cNvPr id="8" name="Slide Number Placeholder 7"/>
          <p:cNvSpPr>
            <a:spLocks noGrp="1"/>
          </p:cNvSpPr>
          <p:nvPr>
            <p:ph type="sldNum" sz="quarter" idx="32"/>
          </p:nvPr>
        </p:nvSpPr>
        <p:spPr/>
        <p:txBody>
          <a:bodyPr/>
          <a:lstStyle/>
          <a:p>
            <a:r>
              <a:rPr lang="id-ID"/>
              <a:t>|         </a:t>
            </a:r>
            <a:fld id="{7904F5B5-DD6E-6442-8C14-4BFE420CE974}" type="slidenum">
              <a:rPr lang="id-ID" smtClean="0"/>
              <a:t>‹#›</a:t>
            </a:fld>
            <a:endParaRPr lang="id-ID"/>
          </a:p>
        </p:txBody>
      </p:sp>
      <p:sp>
        <p:nvSpPr>
          <p:cNvPr id="4" name="Text Placeholder 3"/>
          <p:cNvSpPr>
            <a:spLocks noGrp="1"/>
          </p:cNvSpPr>
          <p:nvPr>
            <p:ph type="body" sz="quarter" idx="33" hasCustomPrompt="1"/>
          </p:nvPr>
        </p:nvSpPr>
        <p:spPr>
          <a:xfrm>
            <a:off x="334961" y="5885645"/>
            <a:ext cx="11485564" cy="496105"/>
          </a:xfrm>
        </p:spPr>
        <p:txBody>
          <a:bodyPr anchor="t">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90204"/>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90204"/>
              <a:buNone/>
              <a:defRPr/>
            </a:pPr>
            <a:r>
              <a:rPr lang="en-US"/>
              <a:t>Click to edit Master text styles Click to edit Master text styles</a:t>
            </a:r>
            <a:endParaRPr lang="id-ID"/>
          </a:p>
        </p:txBody>
      </p:sp>
      <p:grpSp>
        <p:nvGrpSpPr>
          <p:cNvPr id="30" name="Group 29"/>
          <p:cNvGrpSpPr/>
          <p:nvPr/>
        </p:nvGrpSpPr>
        <p:grpSpPr>
          <a:xfrm>
            <a:off x="2062560" y="1864164"/>
            <a:ext cx="8066881" cy="3077004"/>
            <a:chOff x="882484" y="1865010"/>
            <a:chExt cx="10045779" cy="3697619"/>
          </a:xfrm>
          <a:solidFill>
            <a:schemeClr val="bg1">
              <a:lumMod val="85000"/>
            </a:schemeClr>
          </a:solidFill>
        </p:grpSpPr>
        <p:sp>
          <p:nvSpPr>
            <p:cNvPr id="32" name="Freeform 49"/>
            <p:cNvSpPr>
              <a:spLocks noEditPoints="1"/>
            </p:cNvSpPr>
            <p:nvPr/>
          </p:nvSpPr>
          <p:spPr bwMode="gray">
            <a:xfrm>
              <a:off x="882484" y="1865010"/>
              <a:ext cx="713255" cy="853718"/>
            </a:xfrm>
            <a:custGeom>
              <a:avLst/>
              <a:gdLst>
                <a:gd name="T0" fmla="*/ 196 w 391"/>
                <a:gd name="T1" fmla="*/ 452 h 468"/>
                <a:gd name="T2" fmla="*/ 191 w 391"/>
                <a:gd name="T3" fmla="*/ 447 h 468"/>
                <a:gd name="T4" fmla="*/ 273 w 391"/>
                <a:gd name="T5" fmla="*/ 445 h 468"/>
                <a:gd name="T6" fmla="*/ 278 w 391"/>
                <a:gd name="T7" fmla="*/ 461 h 468"/>
                <a:gd name="T8" fmla="*/ 251 w 391"/>
                <a:gd name="T9" fmla="*/ 442 h 468"/>
                <a:gd name="T10" fmla="*/ 287 w 391"/>
                <a:gd name="T11" fmla="*/ 433 h 468"/>
                <a:gd name="T12" fmla="*/ 275 w 391"/>
                <a:gd name="T13" fmla="*/ 433 h 468"/>
                <a:gd name="T14" fmla="*/ 283 w 391"/>
                <a:gd name="T15" fmla="*/ 427 h 468"/>
                <a:gd name="T16" fmla="*/ 178 w 391"/>
                <a:gd name="T17" fmla="*/ 418 h 468"/>
                <a:gd name="T18" fmla="*/ 160 w 391"/>
                <a:gd name="T19" fmla="*/ 389 h 468"/>
                <a:gd name="T20" fmla="*/ 99 w 391"/>
                <a:gd name="T21" fmla="*/ 362 h 468"/>
                <a:gd name="T22" fmla="*/ 104 w 391"/>
                <a:gd name="T23" fmla="*/ 369 h 468"/>
                <a:gd name="T24" fmla="*/ 128 w 391"/>
                <a:gd name="T25" fmla="*/ 379 h 468"/>
                <a:gd name="T26" fmla="*/ 130 w 391"/>
                <a:gd name="T27" fmla="*/ 391 h 468"/>
                <a:gd name="T28" fmla="*/ 137 w 391"/>
                <a:gd name="T29" fmla="*/ 387 h 468"/>
                <a:gd name="T30" fmla="*/ 162 w 391"/>
                <a:gd name="T31" fmla="*/ 410 h 468"/>
                <a:gd name="T32" fmla="*/ 176 w 391"/>
                <a:gd name="T33" fmla="*/ 420 h 468"/>
                <a:gd name="T34" fmla="*/ 145 w 391"/>
                <a:gd name="T35" fmla="*/ 415 h 468"/>
                <a:gd name="T36" fmla="*/ 114 w 391"/>
                <a:gd name="T37" fmla="*/ 398 h 468"/>
                <a:gd name="T38" fmla="*/ 92 w 391"/>
                <a:gd name="T39" fmla="*/ 386 h 468"/>
                <a:gd name="T40" fmla="*/ 92 w 391"/>
                <a:gd name="T41" fmla="*/ 369 h 468"/>
                <a:gd name="T42" fmla="*/ 44 w 391"/>
                <a:gd name="T43" fmla="*/ 350 h 468"/>
                <a:gd name="T44" fmla="*/ 15 w 391"/>
                <a:gd name="T45" fmla="*/ 41 h 468"/>
                <a:gd name="T46" fmla="*/ 386 w 391"/>
                <a:gd name="T47" fmla="*/ 194 h 468"/>
                <a:gd name="T48" fmla="*/ 365 w 391"/>
                <a:gd name="T49" fmla="*/ 211 h 468"/>
                <a:gd name="T50" fmla="*/ 347 w 391"/>
                <a:gd name="T51" fmla="*/ 249 h 468"/>
                <a:gd name="T52" fmla="*/ 348 w 391"/>
                <a:gd name="T53" fmla="*/ 297 h 468"/>
                <a:gd name="T54" fmla="*/ 341 w 391"/>
                <a:gd name="T55" fmla="*/ 317 h 468"/>
                <a:gd name="T56" fmla="*/ 350 w 391"/>
                <a:gd name="T57" fmla="*/ 360 h 468"/>
                <a:gd name="T58" fmla="*/ 367 w 391"/>
                <a:gd name="T59" fmla="*/ 406 h 468"/>
                <a:gd name="T60" fmla="*/ 359 w 391"/>
                <a:gd name="T61" fmla="*/ 439 h 468"/>
                <a:gd name="T62" fmla="*/ 318 w 391"/>
                <a:gd name="T63" fmla="*/ 420 h 468"/>
                <a:gd name="T64" fmla="*/ 309 w 391"/>
                <a:gd name="T65" fmla="*/ 363 h 468"/>
                <a:gd name="T66" fmla="*/ 271 w 391"/>
                <a:gd name="T67" fmla="*/ 326 h 468"/>
                <a:gd name="T68" fmla="*/ 239 w 391"/>
                <a:gd name="T69" fmla="*/ 288 h 468"/>
                <a:gd name="T70" fmla="*/ 198 w 391"/>
                <a:gd name="T71" fmla="*/ 259 h 468"/>
                <a:gd name="T72" fmla="*/ 152 w 391"/>
                <a:gd name="T73" fmla="*/ 228 h 468"/>
                <a:gd name="T74" fmla="*/ 121 w 391"/>
                <a:gd name="T75" fmla="*/ 205 h 468"/>
                <a:gd name="T76" fmla="*/ 79 w 391"/>
                <a:gd name="T77" fmla="*/ 160 h 468"/>
                <a:gd name="T78" fmla="*/ 56 w 391"/>
                <a:gd name="T79" fmla="*/ 138 h 468"/>
                <a:gd name="T80" fmla="*/ 43 w 391"/>
                <a:gd name="T81" fmla="*/ 104 h 468"/>
                <a:gd name="T82" fmla="*/ 27 w 391"/>
                <a:gd name="T83" fmla="*/ 75 h 468"/>
                <a:gd name="T84" fmla="*/ 27 w 391"/>
                <a:gd name="T85" fmla="*/ 54 h 468"/>
                <a:gd name="T86" fmla="*/ 50 w 391"/>
                <a:gd name="T87" fmla="*/ 30 h 468"/>
                <a:gd name="T88" fmla="*/ 102 w 391"/>
                <a:gd name="T89" fmla="*/ 47 h 468"/>
                <a:gd name="T90" fmla="*/ 140 w 391"/>
                <a:gd name="T91" fmla="*/ 76 h 468"/>
                <a:gd name="T92" fmla="*/ 205 w 391"/>
                <a:gd name="T93" fmla="*/ 78 h 468"/>
                <a:gd name="T94" fmla="*/ 256 w 391"/>
                <a:gd name="T95" fmla="*/ 85 h 468"/>
                <a:gd name="T96" fmla="*/ 297 w 391"/>
                <a:gd name="T97" fmla="*/ 78 h 468"/>
                <a:gd name="T98" fmla="*/ 326 w 391"/>
                <a:gd name="T99" fmla="*/ 109 h 468"/>
                <a:gd name="T100" fmla="*/ 353 w 391"/>
                <a:gd name="T101" fmla="*/ 148 h 468"/>
                <a:gd name="T102" fmla="*/ 357 w 391"/>
                <a:gd name="T103" fmla="*/ 165 h 468"/>
                <a:gd name="T104" fmla="*/ 379 w 391"/>
                <a:gd name="T105" fmla="*/ 170 h 468"/>
                <a:gd name="T106" fmla="*/ 391 w 391"/>
                <a:gd name="T107" fmla="*/ 189 h 468"/>
                <a:gd name="T108" fmla="*/ 14 w 391"/>
                <a:gd name="T109" fmla="*/ 37 h 468"/>
                <a:gd name="T110" fmla="*/ 15 w 391"/>
                <a:gd name="T111" fmla="*/ 29 h 468"/>
                <a:gd name="T112" fmla="*/ 0 w 391"/>
                <a:gd name="T113" fmla="*/ 22 h 468"/>
                <a:gd name="T114" fmla="*/ 38 w 391"/>
                <a:gd name="T115" fmla="*/ 3 h 468"/>
                <a:gd name="T116" fmla="*/ 24 w 391"/>
                <a:gd name="T117" fmla="*/ 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1" h="468">
                  <a:moveTo>
                    <a:pt x="253" y="454"/>
                  </a:moveTo>
                  <a:lnTo>
                    <a:pt x="256" y="459"/>
                  </a:lnTo>
                  <a:lnTo>
                    <a:pt x="251" y="462"/>
                  </a:lnTo>
                  <a:lnTo>
                    <a:pt x="253" y="466"/>
                  </a:lnTo>
                  <a:lnTo>
                    <a:pt x="251" y="468"/>
                  </a:lnTo>
                  <a:lnTo>
                    <a:pt x="246" y="459"/>
                  </a:lnTo>
                  <a:lnTo>
                    <a:pt x="249" y="457"/>
                  </a:lnTo>
                  <a:lnTo>
                    <a:pt x="249" y="454"/>
                  </a:lnTo>
                  <a:lnTo>
                    <a:pt x="253" y="454"/>
                  </a:lnTo>
                  <a:close/>
                  <a:moveTo>
                    <a:pt x="196" y="452"/>
                  </a:moveTo>
                  <a:lnTo>
                    <a:pt x="200" y="457"/>
                  </a:lnTo>
                  <a:lnTo>
                    <a:pt x="195" y="461"/>
                  </a:lnTo>
                  <a:lnTo>
                    <a:pt x="191" y="459"/>
                  </a:lnTo>
                  <a:lnTo>
                    <a:pt x="191" y="456"/>
                  </a:lnTo>
                  <a:lnTo>
                    <a:pt x="193" y="454"/>
                  </a:lnTo>
                  <a:lnTo>
                    <a:pt x="196" y="452"/>
                  </a:lnTo>
                  <a:close/>
                  <a:moveTo>
                    <a:pt x="193" y="445"/>
                  </a:moveTo>
                  <a:lnTo>
                    <a:pt x="196" y="447"/>
                  </a:lnTo>
                  <a:lnTo>
                    <a:pt x="195" y="451"/>
                  </a:lnTo>
                  <a:lnTo>
                    <a:pt x="191" y="447"/>
                  </a:lnTo>
                  <a:lnTo>
                    <a:pt x="193" y="445"/>
                  </a:lnTo>
                  <a:close/>
                  <a:moveTo>
                    <a:pt x="290" y="449"/>
                  </a:moveTo>
                  <a:lnTo>
                    <a:pt x="289" y="447"/>
                  </a:lnTo>
                  <a:lnTo>
                    <a:pt x="290" y="445"/>
                  </a:lnTo>
                  <a:lnTo>
                    <a:pt x="290" y="449"/>
                  </a:lnTo>
                  <a:close/>
                  <a:moveTo>
                    <a:pt x="266" y="440"/>
                  </a:moveTo>
                  <a:lnTo>
                    <a:pt x="273" y="440"/>
                  </a:lnTo>
                  <a:lnTo>
                    <a:pt x="273" y="444"/>
                  </a:lnTo>
                  <a:lnTo>
                    <a:pt x="275" y="445"/>
                  </a:lnTo>
                  <a:lnTo>
                    <a:pt x="273" y="445"/>
                  </a:lnTo>
                  <a:lnTo>
                    <a:pt x="277" y="447"/>
                  </a:lnTo>
                  <a:lnTo>
                    <a:pt x="277" y="449"/>
                  </a:lnTo>
                  <a:lnTo>
                    <a:pt x="278" y="449"/>
                  </a:lnTo>
                  <a:lnTo>
                    <a:pt x="278" y="452"/>
                  </a:lnTo>
                  <a:lnTo>
                    <a:pt x="277" y="454"/>
                  </a:lnTo>
                  <a:lnTo>
                    <a:pt x="280" y="457"/>
                  </a:lnTo>
                  <a:lnTo>
                    <a:pt x="278" y="457"/>
                  </a:lnTo>
                  <a:lnTo>
                    <a:pt x="278" y="464"/>
                  </a:lnTo>
                  <a:lnTo>
                    <a:pt x="277" y="462"/>
                  </a:lnTo>
                  <a:lnTo>
                    <a:pt x="278" y="461"/>
                  </a:lnTo>
                  <a:lnTo>
                    <a:pt x="275" y="461"/>
                  </a:lnTo>
                  <a:lnTo>
                    <a:pt x="271" y="456"/>
                  </a:lnTo>
                  <a:lnTo>
                    <a:pt x="270" y="456"/>
                  </a:lnTo>
                  <a:lnTo>
                    <a:pt x="268" y="452"/>
                  </a:lnTo>
                  <a:lnTo>
                    <a:pt x="265" y="451"/>
                  </a:lnTo>
                  <a:lnTo>
                    <a:pt x="265" y="447"/>
                  </a:lnTo>
                  <a:lnTo>
                    <a:pt x="263" y="449"/>
                  </a:lnTo>
                  <a:lnTo>
                    <a:pt x="263" y="445"/>
                  </a:lnTo>
                  <a:lnTo>
                    <a:pt x="258" y="447"/>
                  </a:lnTo>
                  <a:lnTo>
                    <a:pt x="251" y="442"/>
                  </a:lnTo>
                  <a:lnTo>
                    <a:pt x="251" y="440"/>
                  </a:lnTo>
                  <a:lnTo>
                    <a:pt x="256" y="440"/>
                  </a:lnTo>
                  <a:lnTo>
                    <a:pt x="258" y="440"/>
                  </a:lnTo>
                  <a:lnTo>
                    <a:pt x="258" y="442"/>
                  </a:lnTo>
                  <a:lnTo>
                    <a:pt x="259" y="440"/>
                  </a:lnTo>
                  <a:lnTo>
                    <a:pt x="261" y="444"/>
                  </a:lnTo>
                  <a:lnTo>
                    <a:pt x="263" y="444"/>
                  </a:lnTo>
                  <a:lnTo>
                    <a:pt x="266" y="440"/>
                  </a:lnTo>
                  <a:close/>
                  <a:moveTo>
                    <a:pt x="285" y="433"/>
                  </a:moveTo>
                  <a:lnTo>
                    <a:pt x="287" y="433"/>
                  </a:lnTo>
                  <a:lnTo>
                    <a:pt x="287" y="437"/>
                  </a:lnTo>
                  <a:lnTo>
                    <a:pt x="285" y="437"/>
                  </a:lnTo>
                  <a:lnTo>
                    <a:pt x="285" y="433"/>
                  </a:lnTo>
                  <a:close/>
                  <a:moveTo>
                    <a:pt x="268" y="433"/>
                  </a:moveTo>
                  <a:lnTo>
                    <a:pt x="271" y="435"/>
                  </a:lnTo>
                  <a:lnTo>
                    <a:pt x="266" y="433"/>
                  </a:lnTo>
                  <a:lnTo>
                    <a:pt x="268" y="433"/>
                  </a:lnTo>
                  <a:close/>
                  <a:moveTo>
                    <a:pt x="273" y="430"/>
                  </a:moveTo>
                  <a:lnTo>
                    <a:pt x="275" y="430"/>
                  </a:lnTo>
                  <a:lnTo>
                    <a:pt x="275" y="433"/>
                  </a:lnTo>
                  <a:lnTo>
                    <a:pt x="273" y="433"/>
                  </a:lnTo>
                  <a:lnTo>
                    <a:pt x="273" y="430"/>
                  </a:lnTo>
                  <a:close/>
                  <a:moveTo>
                    <a:pt x="285" y="430"/>
                  </a:moveTo>
                  <a:lnTo>
                    <a:pt x="287" y="430"/>
                  </a:lnTo>
                  <a:lnTo>
                    <a:pt x="287" y="432"/>
                  </a:lnTo>
                  <a:lnTo>
                    <a:pt x="285" y="432"/>
                  </a:lnTo>
                  <a:lnTo>
                    <a:pt x="285" y="430"/>
                  </a:lnTo>
                  <a:close/>
                  <a:moveTo>
                    <a:pt x="287" y="427"/>
                  </a:moveTo>
                  <a:lnTo>
                    <a:pt x="287" y="432"/>
                  </a:lnTo>
                  <a:lnTo>
                    <a:pt x="283" y="427"/>
                  </a:lnTo>
                  <a:lnTo>
                    <a:pt x="283" y="425"/>
                  </a:lnTo>
                  <a:lnTo>
                    <a:pt x="287" y="427"/>
                  </a:lnTo>
                  <a:close/>
                  <a:moveTo>
                    <a:pt x="149" y="425"/>
                  </a:moveTo>
                  <a:lnTo>
                    <a:pt x="145" y="427"/>
                  </a:lnTo>
                  <a:lnTo>
                    <a:pt x="143" y="425"/>
                  </a:lnTo>
                  <a:lnTo>
                    <a:pt x="149" y="423"/>
                  </a:lnTo>
                  <a:lnTo>
                    <a:pt x="149" y="425"/>
                  </a:lnTo>
                  <a:close/>
                  <a:moveTo>
                    <a:pt x="176" y="415"/>
                  </a:moveTo>
                  <a:lnTo>
                    <a:pt x="179" y="416"/>
                  </a:lnTo>
                  <a:lnTo>
                    <a:pt x="178" y="418"/>
                  </a:lnTo>
                  <a:lnTo>
                    <a:pt x="176" y="416"/>
                  </a:lnTo>
                  <a:lnTo>
                    <a:pt x="176" y="415"/>
                  </a:lnTo>
                  <a:close/>
                  <a:moveTo>
                    <a:pt x="109" y="403"/>
                  </a:moveTo>
                  <a:lnTo>
                    <a:pt x="113" y="404"/>
                  </a:lnTo>
                  <a:lnTo>
                    <a:pt x="108" y="404"/>
                  </a:lnTo>
                  <a:lnTo>
                    <a:pt x="109" y="403"/>
                  </a:lnTo>
                  <a:close/>
                  <a:moveTo>
                    <a:pt x="162" y="389"/>
                  </a:moveTo>
                  <a:lnTo>
                    <a:pt x="166" y="391"/>
                  </a:lnTo>
                  <a:lnTo>
                    <a:pt x="164" y="391"/>
                  </a:lnTo>
                  <a:lnTo>
                    <a:pt x="160" y="389"/>
                  </a:lnTo>
                  <a:lnTo>
                    <a:pt x="162" y="389"/>
                  </a:lnTo>
                  <a:close/>
                  <a:moveTo>
                    <a:pt x="84" y="382"/>
                  </a:moveTo>
                  <a:lnTo>
                    <a:pt x="87" y="382"/>
                  </a:lnTo>
                  <a:lnTo>
                    <a:pt x="87" y="384"/>
                  </a:lnTo>
                  <a:lnTo>
                    <a:pt x="84" y="384"/>
                  </a:lnTo>
                  <a:lnTo>
                    <a:pt x="84" y="382"/>
                  </a:lnTo>
                  <a:close/>
                  <a:moveTo>
                    <a:pt x="94" y="357"/>
                  </a:moveTo>
                  <a:lnTo>
                    <a:pt x="94" y="358"/>
                  </a:lnTo>
                  <a:lnTo>
                    <a:pt x="97" y="358"/>
                  </a:lnTo>
                  <a:lnTo>
                    <a:pt x="99" y="362"/>
                  </a:lnTo>
                  <a:lnTo>
                    <a:pt x="97" y="358"/>
                  </a:lnTo>
                  <a:lnTo>
                    <a:pt x="106" y="360"/>
                  </a:lnTo>
                  <a:lnTo>
                    <a:pt x="108" y="363"/>
                  </a:lnTo>
                  <a:lnTo>
                    <a:pt x="108" y="367"/>
                  </a:lnTo>
                  <a:lnTo>
                    <a:pt x="104" y="363"/>
                  </a:lnTo>
                  <a:lnTo>
                    <a:pt x="102" y="363"/>
                  </a:lnTo>
                  <a:lnTo>
                    <a:pt x="104" y="365"/>
                  </a:lnTo>
                  <a:lnTo>
                    <a:pt x="101" y="365"/>
                  </a:lnTo>
                  <a:lnTo>
                    <a:pt x="104" y="367"/>
                  </a:lnTo>
                  <a:lnTo>
                    <a:pt x="104" y="369"/>
                  </a:lnTo>
                  <a:lnTo>
                    <a:pt x="108" y="369"/>
                  </a:lnTo>
                  <a:lnTo>
                    <a:pt x="108" y="367"/>
                  </a:lnTo>
                  <a:lnTo>
                    <a:pt x="109" y="369"/>
                  </a:lnTo>
                  <a:lnTo>
                    <a:pt x="114" y="370"/>
                  </a:lnTo>
                  <a:lnTo>
                    <a:pt x="114" y="374"/>
                  </a:lnTo>
                  <a:lnTo>
                    <a:pt x="121" y="377"/>
                  </a:lnTo>
                  <a:lnTo>
                    <a:pt x="130" y="377"/>
                  </a:lnTo>
                  <a:lnTo>
                    <a:pt x="128" y="377"/>
                  </a:lnTo>
                  <a:lnTo>
                    <a:pt x="128" y="380"/>
                  </a:lnTo>
                  <a:lnTo>
                    <a:pt x="128" y="379"/>
                  </a:lnTo>
                  <a:lnTo>
                    <a:pt x="133" y="380"/>
                  </a:lnTo>
                  <a:lnTo>
                    <a:pt x="133" y="382"/>
                  </a:lnTo>
                  <a:lnTo>
                    <a:pt x="131" y="380"/>
                  </a:lnTo>
                  <a:lnTo>
                    <a:pt x="131" y="382"/>
                  </a:lnTo>
                  <a:lnTo>
                    <a:pt x="133" y="384"/>
                  </a:lnTo>
                  <a:lnTo>
                    <a:pt x="135" y="382"/>
                  </a:lnTo>
                  <a:lnTo>
                    <a:pt x="135" y="386"/>
                  </a:lnTo>
                  <a:lnTo>
                    <a:pt x="131" y="386"/>
                  </a:lnTo>
                  <a:lnTo>
                    <a:pt x="128" y="387"/>
                  </a:lnTo>
                  <a:lnTo>
                    <a:pt x="130" y="391"/>
                  </a:lnTo>
                  <a:lnTo>
                    <a:pt x="131" y="392"/>
                  </a:lnTo>
                  <a:lnTo>
                    <a:pt x="131" y="391"/>
                  </a:lnTo>
                  <a:lnTo>
                    <a:pt x="133" y="391"/>
                  </a:lnTo>
                  <a:lnTo>
                    <a:pt x="135" y="389"/>
                  </a:lnTo>
                  <a:lnTo>
                    <a:pt x="135" y="391"/>
                  </a:lnTo>
                  <a:lnTo>
                    <a:pt x="137" y="391"/>
                  </a:lnTo>
                  <a:lnTo>
                    <a:pt x="138" y="394"/>
                  </a:lnTo>
                  <a:lnTo>
                    <a:pt x="140" y="394"/>
                  </a:lnTo>
                  <a:lnTo>
                    <a:pt x="138" y="389"/>
                  </a:lnTo>
                  <a:lnTo>
                    <a:pt x="137" y="387"/>
                  </a:lnTo>
                  <a:lnTo>
                    <a:pt x="138" y="387"/>
                  </a:lnTo>
                  <a:lnTo>
                    <a:pt x="143" y="394"/>
                  </a:lnTo>
                  <a:lnTo>
                    <a:pt x="147" y="394"/>
                  </a:lnTo>
                  <a:lnTo>
                    <a:pt x="149" y="398"/>
                  </a:lnTo>
                  <a:lnTo>
                    <a:pt x="152" y="401"/>
                  </a:lnTo>
                  <a:lnTo>
                    <a:pt x="159" y="403"/>
                  </a:lnTo>
                  <a:lnTo>
                    <a:pt x="159" y="404"/>
                  </a:lnTo>
                  <a:lnTo>
                    <a:pt x="162" y="406"/>
                  </a:lnTo>
                  <a:lnTo>
                    <a:pt x="160" y="408"/>
                  </a:lnTo>
                  <a:lnTo>
                    <a:pt x="162" y="410"/>
                  </a:lnTo>
                  <a:lnTo>
                    <a:pt x="164" y="411"/>
                  </a:lnTo>
                  <a:lnTo>
                    <a:pt x="164" y="413"/>
                  </a:lnTo>
                  <a:lnTo>
                    <a:pt x="166" y="413"/>
                  </a:lnTo>
                  <a:lnTo>
                    <a:pt x="166" y="406"/>
                  </a:lnTo>
                  <a:lnTo>
                    <a:pt x="169" y="411"/>
                  </a:lnTo>
                  <a:lnTo>
                    <a:pt x="169" y="410"/>
                  </a:lnTo>
                  <a:lnTo>
                    <a:pt x="172" y="411"/>
                  </a:lnTo>
                  <a:lnTo>
                    <a:pt x="174" y="413"/>
                  </a:lnTo>
                  <a:lnTo>
                    <a:pt x="174" y="416"/>
                  </a:lnTo>
                  <a:lnTo>
                    <a:pt x="176" y="420"/>
                  </a:lnTo>
                  <a:lnTo>
                    <a:pt x="174" y="420"/>
                  </a:lnTo>
                  <a:lnTo>
                    <a:pt x="178" y="425"/>
                  </a:lnTo>
                  <a:lnTo>
                    <a:pt x="171" y="428"/>
                  </a:lnTo>
                  <a:lnTo>
                    <a:pt x="164" y="427"/>
                  </a:lnTo>
                  <a:lnTo>
                    <a:pt x="159" y="427"/>
                  </a:lnTo>
                  <a:lnTo>
                    <a:pt x="155" y="425"/>
                  </a:lnTo>
                  <a:lnTo>
                    <a:pt x="157" y="421"/>
                  </a:lnTo>
                  <a:lnTo>
                    <a:pt x="155" y="421"/>
                  </a:lnTo>
                  <a:lnTo>
                    <a:pt x="155" y="418"/>
                  </a:lnTo>
                  <a:lnTo>
                    <a:pt x="145" y="415"/>
                  </a:lnTo>
                  <a:lnTo>
                    <a:pt x="143" y="413"/>
                  </a:lnTo>
                  <a:lnTo>
                    <a:pt x="138" y="410"/>
                  </a:lnTo>
                  <a:lnTo>
                    <a:pt x="137" y="406"/>
                  </a:lnTo>
                  <a:lnTo>
                    <a:pt x="133" y="406"/>
                  </a:lnTo>
                  <a:lnTo>
                    <a:pt x="131" y="403"/>
                  </a:lnTo>
                  <a:lnTo>
                    <a:pt x="126" y="399"/>
                  </a:lnTo>
                  <a:lnTo>
                    <a:pt x="125" y="401"/>
                  </a:lnTo>
                  <a:lnTo>
                    <a:pt x="120" y="398"/>
                  </a:lnTo>
                  <a:lnTo>
                    <a:pt x="118" y="399"/>
                  </a:lnTo>
                  <a:lnTo>
                    <a:pt x="114" y="398"/>
                  </a:lnTo>
                  <a:lnTo>
                    <a:pt x="111" y="399"/>
                  </a:lnTo>
                  <a:lnTo>
                    <a:pt x="108" y="396"/>
                  </a:lnTo>
                  <a:lnTo>
                    <a:pt x="104" y="396"/>
                  </a:lnTo>
                  <a:lnTo>
                    <a:pt x="104" y="394"/>
                  </a:lnTo>
                  <a:lnTo>
                    <a:pt x="101" y="391"/>
                  </a:lnTo>
                  <a:lnTo>
                    <a:pt x="99" y="392"/>
                  </a:lnTo>
                  <a:lnTo>
                    <a:pt x="99" y="394"/>
                  </a:lnTo>
                  <a:lnTo>
                    <a:pt x="96" y="391"/>
                  </a:lnTo>
                  <a:lnTo>
                    <a:pt x="94" y="392"/>
                  </a:lnTo>
                  <a:lnTo>
                    <a:pt x="92" y="386"/>
                  </a:lnTo>
                  <a:lnTo>
                    <a:pt x="89" y="384"/>
                  </a:lnTo>
                  <a:lnTo>
                    <a:pt x="89" y="382"/>
                  </a:lnTo>
                  <a:lnTo>
                    <a:pt x="84" y="379"/>
                  </a:lnTo>
                  <a:lnTo>
                    <a:pt x="85" y="377"/>
                  </a:lnTo>
                  <a:lnTo>
                    <a:pt x="82" y="379"/>
                  </a:lnTo>
                  <a:lnTo>
                    <a:pt x="80" y="375"/>
                  </a:lnTo>
                  <a:lnTo>
                    <a:pt x="84" y="369"/>
                  </a:lnTo>
                  <a:lnTo>
                    <a:pt x="85" y="369"/>
                  </a:lnTo>
                  <a:lnTo>
                    <a:pt x="89" y="369"/>
                  </a:lnTo>
                  <a:lnTo>
                    <a:pt x="92" y="369"/>
                  </a:lnTo>
                  <a:lnTo>
                    <a:pt x="92" y="367"/>
                  </a:lnTo>
                  <a:lnTo>
                    <a:pt x="89" y="367"/>
                  </a:lnTo>
                  <a:lnTo>
                    <a:pt x="89" y="362"/>
                  </a:lnTo>
                  <a:lnTo>
                    <a:pt x="92" y="357"/>
                  </a:lnTo>
                  <a:lnTo>
                    <a:pt x="94" y="357"/>
                  </a:lnTo>
                  <a:close/>
                  <a:moveTo>
                    <a:pt x="44" y="350"/>
                  </a:moveTo>
                  <a:lnTo>
                    <a:pt x="46" y="350"/>
                  </a:lnTo>
                  <a:lnTo>
                    <a:pt x="46" y="353"/>
                  </a:lnTo>
                  <a:lnTo>
                    <a:pt x="44" y="353"/>
                  </a:lnTo>
                  <a:lnTo>
                    <a:pt x="44" y="350"/>
                  </a:lnTo>
                  <a:close/>
                  <a:moveTo>
                    <a:pt x="43" y="123"/>
                  </a:moveTo>
                  <a:lnTo>
                    <a:pt x="44" y="123"/>
                  </a:lnTo>
                  <a:lnTo>
                    <a:pt x="44" y="126"/>
                  </a:lnTo>
                  <a:lnTo>
                    <a:pt x="43" y="126"/>
                  </a:lnTo>
                  <a:lnTo>
                    <a:pt x="43" y="123"/>
                  </a:lnTo>
                  <a:close/>
                  <a:moveTo>
                    <a:pt x="15" y="41"/>
                  </a:moveTo>
                  <a:lnTo>
                    <a:pt x="19" y="41"/>
                  </a:lnTo>
                  <a:lnTo>
                    <a:pt x="19" y="42"/>
                  </a:lnTo>
                  <a:lnTo>
                    <a:pt x="15" y="42"/>
                  </a:lnTo>
                  <a:lnTo>
                    <a:pt x="15" y="41"/>
                  </a:lnTo>
                  <a:close/>
                  <a:moveTo>
                    <a:pt x="22" y="39"/>
                  </a:moveTo>
                  <a:lnTo>
                    <a:pt x="24" y="39"/>
                  </a:lnTo>
                  <a:lnTo>
                    <a:pt x="21" y="39"/>
                  </a:lnTo>
                  <a:lnTo>
                    <a:pt x="22" y="39"/>
                  </a:lnTo>
                  <a:close/>
                  <a:moveTo>
                    <a:pt x="9" y="30"/>
                  </a:moveTo>
                  <a:lnTo>
                    <a:pt x="9" y="32"/>
                  </a:lnTo>
                  <a:lnTo>
                    <a:pt x="3" y="34"/>
                  </a:lnTo>
                  <a:lnTo>
                    <a:pt x="9" y="30"/>
                  </a:lnTo>
                  <a:close/>
                  <a:moveTo>
                    <a:pt x="386" y="193"/>
                  </a:moveTo>
                  <a:lnTo>
                    <a:pt x="386" y="194"/>
                  </a:lnTo>
                  <a:lnTo>
                    <a:pt x="382" y="194"/>
                  </a:lnTo>
                  <a:lnTo>
                    <a:pt x="381" y="193"/>
                  </a:lnTo>
                  <a:lnTo>
                    <a:pt x="379" y="194"/>
                  </a:lnTo>
                  <a:lnTo>
                    <a:pt x="376" y="194"/>
                  </a:lnTo>
                  <a:lnTo>
                    <a:pt x="374" y="198"/>
                  </a:lnTo>
                  <a:lnTo>
                    <a:pt x="367" y="198"/>
                  </a:lnTo>
                  <a:lnTo>
                    <a:pt x="365" y="199"/>
                  </a:lnTo>
                  <a:lnTo>
                    <a:pt x="369" y="203"/>
                  </a:lnTo>
                  <a:lnTo>
                    <a:pt x="364" y="206"/>
                  </a:lnTo>
                  <a:lnTo>
                    <a:pt x="365" y="211"/>
                  </a:lnTo>
                  <a:lnTo>
                    <a:pt x="364" y="213"/>
                  </a:lnTo>
                  <a:lnTo>
                    <a:pt x="362" y="222"/>
                  </a:lnTo>
                  <a:lnTo>
                    <a:pt x="362" y="225"/>
                  </a:lnTo>
                  <a:lnTo>
                    <a:pt x="360" y="227"/>
                  </a:lnTo>
                  <a:lnTo>
                    <a:pt x="360" y="232"/>
                  </a:lnTo>
                  <a:lnTo>
                    <a:pt x="352" y="237"/>
                  </a:lnTo>
                  <a:lnTo>
                    <a:pt x="352" y="242"/>
                  </a:lnTo>
                  <a:lnTo>
                    <a:pt x="347" y="242"/>
                  </a:lnTo>
                  <a:lnTo>
                    <a:pt x="348" y="247"/>
                  </a:lnTo>
                  <a:lnTo>
                    <a:pt x="347" y="249"/>
                  </a:lnTo>
                  <a:lnTo>
                    <a:pt x="338" y="256"/>
                  </a:lnTo>
                  <a:lnTo>
                    <a:pt x="333" y="261"/>
                  </a:lnTo>
                  <a:lnTo>
                    <a:pt x="338" y="269"/>
                  </a:lnTo>
                  <a:lnTo>
                    <a:pt x="340" y="273"/>
                  </a:lnTo>
                  <a:lnTo>
                    <a:pt x="341" y="275"/>
                  </a:lnTo>
                  <a:lnTo>
                    <a:pt x="341" y="280"/>
                  </a:lnTo>
                  <a:lnTo>
                    <a:pt x="347" y="281"/>
                  </a:lnTo>
                  <a:lnTo>
                    <a:pt x="348" y="288"/>
                  </a:lnTo>
                  <a:lnTo>
                    <a:pt x="352" y="290"/>
                  </a:lnTo>
                  <a:lnTo>
                    <a:pt x="348" y="297"/>
                  </a:lnTo>
                  <a:lnTo>
                    <a:pt x="345" y="299"/>
                  </a:lnTo>
                  <a:lnTo>
                    <a:pt x="347" y="302"/>
                  </a:lnTo>
                  <a:lnTo>
                    <a:pt x="350" y="300"/>
                  </a:lnTo>
                  <a:lnTo>
                    <a:pt x="357" y="304"/>
                  </a:lnTo>
                  <a:lnTo>
                    <a:pt x="360" y="309"/>
                  </a:lnTo>
                  <a:lnTo>
                    <a:pt x="360" y="312"/>
                  </a:lnTo>
                  <a:lnTo>
                    <a:pt x="357" y="314"/>
                  </a:lnTo>
                  <a:lnTo>
                    <a:pt x="352" y="314"/>
                  </a:lnTo>
                  <a:lnTo>
                    <a:pt x="350" y="316"/>
                  </a:lnTo>
                  <a:lnTo>
                    <a:pt x="341" y="317"/>
                  </a:lnTo>
                  <a:lnTo>
                    <a:pt x="348" y="321"/>
                  </a:lnTo>
                  <a:lnTo>
                    <a:pt x="350" y="328"/>
                  </a:lnTo>
                  <a:lnTo>
                    <a:pt x="355" y="334"/>
                  </a:lnTo>
                  <a:lnTo>
                    <a:pt x="353" y="340"/>
                  </a:lnTo>
                  <a:lnTo>
                    <a:pt x="350" y="340"/>
                  </a:lnTo>
                  <a:lnTo>
                    <a:pt x="348" y="341"/>
                  </a:lnTo>
                  <a:lnTo>
                    <a:pt x="350" y="346"/>
                  </a:lnTo>
                  <a:lnTo>
                    <a:pt x="350" y="350"/>
                  </a:lnTo>
                  <a:lnTo>
                    <a:pt x="352" y="350"/>
                  </a:lnTo>
                  <a:lnTo>
                    <a:pt x="350" y="360"/>
                  </a:lnTo>
                  <a:lnTo>
                    <a:pt x="359" y="363"/>
                  </a:lnTo>
                  <a:lnTo>
                    <a:pt x="364" y="370"/>
                  </a:lnTo>
                  <a:lnTo>
                    <a:pt x="369" y="369"/>
                  </a:lnTo>
                  <a:lnTo>
                    <a:pt x="370" y="374"/>
                  </a:lnTo>
                  <a:lnTo>
                    <a:pt x="365" y="377"/>
                  </a:lnTo>
                  <a:lnTo>
                    <a:pt x="365" y="380"/>
                  </a:lnTo>
                  <a:lnTo>
                    <a:pt x="369" y="386"/>
                  </a:lnTo>
                  <a:lnTo>
                    <a:pt x="370" y="394"/>
                  </a:lnTo>
                  <a:lnTo>
                    <a:pt x="367" y="396"/>
                  </a:lnTo>
                  <a:lnTo>
                    <a:pt x="367" y="406"/>
                  </a:lnTo>
                  <a:lnTo>
                    <a:pt x="369" y="410"/>
                  </a:lnTo>
                  <a:lnTo>
                    <a:pt x="374" y="416"/>
                  </a:lnTo>
                  <a:lnTo>
                    <a:pt x="377" y="421"/>
                  </a:lnTo>
                  <a:lnTo>
                    <a:pt x="379" y="428"/>
                  </a:lnTo>
                  <a:lnTo>
                    <a:pt x="381" y="430"/>
                  </a:lnTo>
                  <a:lnTo>
                    <a:pt x="379" y="439"/>
                  </a:lnTo>
                  <a:lnTo>
                    <a:pt x="372" y="449"/>
                  </a:lnTo>
                  <a:lnTo>
                    <a:pt x="369" y="444"/>
                  </a:lnTo>
                  <a:lnTo>
                    <a:pt x="360" y="440"/>
                  </a:lnTo>
                  <a:lnTo>
                    <a:pt x="359" y="439"/>
                  </a:lnTo>
                  <a:lnTo>
                    <a:pt x="355" y="437"/>
                  </a:lnTo>
                  <a:lnTo>
                    <a:pt x="352" y="435"/>
                  </a:lnTo>
                  <a:lnTo>
                    <a:pt x="347" y="435"/>
                  </a:lnTo>
                  <a:lnTo>
                    <a:pt x="343" y="439"/>
                  </a:lnTo>
                  <a:lnTo>
                    <a:pt x="333" y="435"/>
                  </a:lnTo>
                  <a:lnTo>
                    <a:pt x="331" y="440"/>
                  </a:lnTo>
                  <a:lnTo>
                    <a:pt x="331" y="439"/>
                  </a:lnTo>
                  <a:lnTo>
                    <a:pt x="326" y="430"/>
                  </a:lnTo>
                  <a:lnTo>
                    <a:pt x="321" y="423"/>
                  </a:lnTo>
                  <a:lnTo>
                    <a:pt x="318" y="420"/>
                  </a:lnTo>
                  <a:lnTo>
                    <a:pt x="316" y="420"/>
                  </a:lnTo>
                  <a:lnTo>
                    <a:pt x="316" y="413"/>
                  </a:lnTo>
                  <a:lnTo>
                    <a:pt x="316" y="403"/>
                  </a:lnTo>
                  <a:lnTo>
                    <a:pt x="316" y="398"/>
                  </a:lnTo>
                  <a:lnTo>
                    <a:pt x="316" y="389"/>
                  </a:lnTo>
                  <a:lnTo>
                    <a:pt x="314" y="382"/>
                  </a:lnTo>
                  <a:lnTo>
                    <a:pt x="312" y="377"/>
                  </a:lnTo>
                  <a:lnTo>
                    <a:pt x="311" y="370"/>
                  </a:lnTo>
                  <a:lnTo>
                    <a:pt x="311" y="367"/>
                  </a:lnTo>
                  <a:lnTo>
                    <a:pt x="309" y="363"/>
                  </a:lnTo>
                  <a:lnTo>
                    <a:pt x="307" y="362"/>
                  </a:lnTo>
                  <a:lnTo>
                    <a:pt x="302" y="362"/>
                  </a:lnTo>
                  <a:lnTo>
                    <a:pt x="295" y="358"/>
                  </a:lnTo>
                  <a:lnTo>
                    <a:pt x="290" y="357"/>
                  </a:lnTo>
                  <a:lnTo>
                    <a:pt x="283" y="351"/>
                  </a:lnTo>
                  <a:lnTo>
                    <a:pt x="282" y="348"/>
                  </a:lnTo>
                  <a:lnTo>
                    <a:pt x="275" y="341"/>
                  </a:lnTo>
                  <a:lnTo>
                    <a:pt x="273" y="336"/>
                  </a:lnTo>
                  <a:lnTo>
                    <a:pt x="271" y="331"/>
                  </a:lnTo>
                  <a:lnTo>
                    <a:pt x="271" y="326"/>
                  </a:lnTo>
                  <a:lnTo>
                    <a:pt x="268" y="322"/>
                  </a:lnTo>
                  <a:lnTo>
                    <a:pt x="261" y="317"/>
                  </a:lnTo>
                  <a:lnTo>
                    <a:pt x="258" y="317"/>
                  </a:lnTo>
                  <a:lnTo>
                    <a:pt x="253" y="310"/>
                  </a:lnTo>
                  <a:lnTo>
                    <a:pt x="253" y="305"/>
                  </a:lnTo>
                  <a:lnTo>
                    <a:pt x="246" y="299"/>
                  </a:lnTo>
                  <a:lnTo>
                    <a:pt x="244" y="293"/>
                  </a:lnTo>
                  <a:lnTo>
                    <a:pt x="242" y="293"/>
                  </a:lnTo>
                  <a:lnTo>
                    <a:pt x="242" y="292"/>
                  </a:lnTo>
                  <a:lnTo>
                    <a:pt x="239" y="288"/>
                  </a:lnTo>
                  <a:lnTo>
                    <a:pt x="237" y="283"/>
                  </a:lnTo>
                  <a:lnTo>
                    <a:pt x="230" y="280"/>
                  </a:lnTo>
                  <a:lnTo>
                    <a:pt x="225" y="276"/>
                  </a:lnTo>
                  <a:lnTo>
                    <a:pt x="224" y="269"/>
                  </a:lnTo>
                  <a:lnTo>
                    <a:pt x="222" y="266"/>
                  </a:lnTo>
                  <a:lnTo>
                    <a:pt x="220" y="264"/>
                  </a:lnTo>
                  <a:lnTo>
                    <a:pt x="212" y="261"/>
                  </a:lnTo>
                  <a:lnTo>
                    <a:pt x="210" y="259"/>
                  </a:lnTo>
                  <a:lnTo>
                    <a:pt x="205" y="259"/>
                  </a:lnTo>
                  <a:lnTo>
                    <a:pt x="198" y="259"/>
                  </a:lnTo>
                  <a:lnTo>
                    <a:pt x="191" y="259"/>
                  </a:lnTo>
                  <a:lnTo>
                    <a:pt x="183" y="261"/>
                  </a:lnTo>
                  <a:lnTo>
                    <a:pt x="178" y="259"/>
                  </a:lnTo>
                  <a:lnTo>
                    <a:pt x="171" y="252"/>
                  </a:lnTo>
                  <a:lnTo>
                    <a:pt x="164" y="246"/>
                  </a:lnTo>
                  <a:lnTo>
                    <a:pt x="162" y="244"/>
                  </a:lnTo>
                  <a:lnTo>
                    <a:pt x="160" y="242"/>
                  </a:lnTo>
                  <a:lnTo>
                    <a:pt x="157" y="237"/>
                  </a:lnTo>
                  <a:lnTo>
                    <a:pt x="154" y="232"/>
                  </a:lnTo>
                  <a:lnTo>
                    <a:pt x="152" y="228"/>
                  </a:lnTo>
                  <a:lnTo>
                    <a:pt x="147" y="223"/>
                  </a:lnTo>
                  <a:lnTo>
                    <a:pt x="143" y="218"/>
                  </a:lnTo>
                  <a:lnTo>
                    <a:pt x="140" y="215"/>
                  </a:lnTo>
                  <a:lnTo>
                    <a:pt x="135" y="211"/>
                  </a:lnTo>
                  <a:lnTo>
                    <a:pt x="133" y="211"/>
                  </a:lnTo>
                  <a:lnTo>
                    <a:pt x="133" y="213"/>
                  </a:lnTo>
                  <a:lnTo>
                    <a:pt x="133" y="211"/>
                  </a:lnTo>
                  <a:lnTo>
                    <a:pt x="126" y="205"/>
                  </a:lnTo>
                  <a:lnTo>
                    <a:pt x="125" y="203"/>
                  </a:lnTo>
                  <a:lnTo>
                    <a:pt x="121" y="205"/>
                  </a:lnTo>
                  <a:lnTo>
                    <a:pt x="120" y="203"/>
                  </a:lnTo>
                  <a:lnTo>
                    <a:pt x="113" y="196"/>
                  </a:lnTo>
                  <a:lnTo>
                    <a:pt x="108" y="189"/>
                  </a:lnTo>
                  <a:lnTo>
                    <a:pt x="106" y="187"/>
                  </a:lnTo>
                  <a:lnTo>
                    <a:pt x="102" y="184"/>
                  </a:lnTo>
                  <a:lnTo>
                    <a:pt x="97" y="179"/>
                  </a:lnTo>
                  <a:lnTo>
                    <a:pt x="94" y="176"/>
                  </a:lnTo>
                  <a:lnTo>
                    <a:pt x="89" y="170"/>
                  </a:lnTo>
                  <a:lnTo>
                    <a:pt x="85" y="167"/>
                  </a:lnTo>
                  <a:lnTo>
                    <a:pt x="79" y="160"/>
                  </a:lnTo>
                  <a:lnTo>
                    <a:pt x="75" y="158"/>
                  </a:lnTo>
                  <a:lnTo>
                    <a:pt x="70" y="153"/>
                  </a:lnTo>
                  <a:lnTo>
                    <a:pt x="67" y="153"/>
                  </a:lnTo>
                  <a:lnTo>
                    <a:pt x="68" y="150"/>
                  </a:lnTo>
                  <a:lnTo>
                    <a:pt x="65" y="148"/>
                  </a:lnTo>
                  <a:lnTo>
                    <a:pt x="63" y="150"/>
                  </a:lnTo>
                  <a:lnTo>
                    <a:pt x="63" y="148"/>
                  </a:lnTo>
                  <a:lnTo>
                    <a:pt x="58" y="143"/>
                  </a:lnTo>
                  <a:lnTo>
                    <a:pt x="60" y="141"/>
                  </a:lnTo>
                  <a:lnTo>
                    <a:pt x="56" y="138"/>
                  </a:lnTo>
                  <a:lnTo>
                    <a:pt x="53" y="135"/>
                  </a:lnTo>
                  <a:lnTo>
                    <a:pt x="51" y="131"/>
                  </a:lnTo>
                  <a:lnTo>
                    <a:pt x="48" y="129"/>
                  </a:lnTo>
                  <a:lnTo>
                    <a:pt x="50" y="128"/>
                  </a:lnTo>
                  <a:lnTo>
                    <a:pt x="46" y="124"/>
                  </a:lnTo>
                  <a:lnTo>
                    <a:pt x="46" y="121"/>
                  </a:lnTo>
                  <a:lnTo>
                    <a:pt x="43" y="114"/>
                  </a:lnTo>
                  <a:lnTo>
                    <a:pt x="44" y="112"/>
                  </a:lnTo>
                  <a:lnTo>
                    <a:pt x="41" y="107"/>
                  </a:lnTo>
                  <a:lnTo>
                    <a:pt x="43" y="104"/>
                  </a:lnTo>
                  <a:lnTo>
                    <a:pt x="34" y="99"/>
                  </a:lnTo>
                  <a:lnTo>
                    <a:pt x="36" y="97"/>
                  </a:lnTo>
                  <a:lnTo>
                    <a:pt x="34" y="95"/>
                  </a:lnTo>
                  <a:lnTo>
                    <a:pt x="36" y="88"/>
                  </a:lnTo>
                  <a:lnTo>
                    <a:pt x="32" y="85"/>
                  </a:lnTo>
                  <a:lnTo>
                    <a:pt x="27" y="82"/>
                  </a:lnTo>
                  <a:lnTo>
                    <a:pt x="29" y="80"/>
                  </a:lnTo>
                  <a:lnTo>
                    <a:pt x="26" y="78"/>
                  </a:lnTo>
                  <a:lnTo>
                    <a:pt x="27" y="76"/>
                  </a:lnTo>
                  <a:lnTo>
                    <a:pt x="27" y="75"/>
                  </a:lnTo>
                  <a:lnTo>
                    <a:pt x="24" y="75"/>
                  </a:lnTo>
                  <a:lnTo>
                    <a:pt x="24" y="70"/>
                  </a:lnTo>
                  <a:lnTo>
                    <a:pt x="26" y="71"/>
                  </a:lnTo>
                  <a:lnTo>
                    <a:pt x="27" y="70"/>
                  </a:lnTo>
                  <a:lnTo>
                    <a:pt x="24" y="66"/>
                  </a:lnTo>
                  <a:lnTo>
                    <a:pt x="26" y="65"/>
                  </a:lnTo>
                  <a:lnTo>
                    <a:pt x="27" y="68"/>
                  </a:lnTo>
                  <a:lnTo>
                    <a:pt x="29" y="61"/>
                  </a:lnTo>
                  <a:lnTo>
                    <a:pt x="26" y="56"/>
                  </a:lnTo>
                  <a:lnTo>
                    <a:pt x="27" y="54"/>
                  </a:lnTo>
                  <a:lnTo>
                    <a:pt x="26" y="49"/>
                  </a:lnTo>
                  <a:lnTo>
                    <a:pt x="21" y="46"/>
                  </a:lnTo>
                  <a:lnTo>
                    <a:pt x="26" y="39"/>
                  </a:lnTo>
                  <a:lnTo>
                    <a:pt x="27" y="41"/>
                  </a:lnTo>
                  <a:lnTo>
                    <a:pt x="27" y="42"/>
                  </a:lnTo>
                  <a:lnTo>
                    <a:pt x="32" y="42"/>
                  </a:lnTo>
                  <a:lnTo>
                    <a:pt x="32" y="41"/>
                  </a:lnTo>
                  <a:lnTo>
                    <a:pt x="36" y="39"/>
                  </a:lnTo>
                  <a:lnTo>
                    <a:pt x="43" y="35"/>
                  </a:lnTo>
                  <a:lnTo>
                    <a:pt x="50" y="30"/>
                  </a:lnTo>
                  <a:lnTo>
                    <a:pt x="53" y="30"/>
                  </a:lnTo>
                  <a:lnTo>
                    <a:pt x="60" y="37"/>
                  </a:lnTo>
                  <a:lnTo>
                    <a:pt x="61" y="35"/>
                  </a:lnTo>
                  <a:lnTo>
                    <a:pt x="72" y="34"/>
                  </a:lnTo>
                  <a:lnTo>
                    <a:pt x="79" y="37"/>
                  </a:lnTo>
                  <a:lnTo>
                    <a:pt x="87" y="39"/>
                  </a:lnTo>
                  <a:lnTo>
                    <a:pt x="92" y="44"/>
                  </a:lnTo>
                  <a:lnTo>
                    <a:pt x="97" y="44"/>
                  </a:lnTo>
                  <a:lnTo>
                    <a:pt x="99" y="46"/>
                  </a:lnTo>
                  <a:lnTo>
                    <a:pt x="102" y="47"/>
                  </a:lnTo>
                  <a:lnTo>
                    <a:pt x="104" y="47"/>
                  </a:lnTo>
                  <a:lnTo>
                    <a:pt x="104" y="53"/>
                  </a:lnTo>
                  <a:lnTo>
                    <a:pt x="109" y="59"/>
                  </a:lnTo>
                  <a:lnTo>
                    <a:pt x="111" y="59"/>
                  </a:lnTo>
                  <a:lnTo>
                    <a:pt x="114" y="63"/>
                  </a:lnTo>
                  <a:lnTo>
                    <a:pt x="118" y="66"/>
                  </a:lnTo>
                  <a:lnTo>
                    <a:pt x="123" y="70"/>
                  </a:lnTo>
                  <a:lnTo>
                    <a:pt x="126" y="73"/>
                  </a:lnTo>
                  <a:lnTo>
                    <a:pt x="135" y="75"/>
                  </a:lnTo>
                  <a:lnTo>
                    <a:pt x="140" y="76"/>
                  </a:lnTo>
                  <a:lnTo>
                    <a:pt x="149" y="76"/>
                  </a:lnTo>
                  <a:lnTo>
                    <a:pt x="155" y="80"/>
                  </a:lnTo>
                  <a:lnTo>
                    <a:pt x="166" y="83"/>
                  </a:lnTo>
                  <a:lnTo>
                    <a:pt x="174" y="80"/>
                  </a:lnTo>
                  <a:lnTo>
                    <a:pt x="176" y="83"/>
                  </a:lnTo>
                  <a:lnTo>
                    <a:pt x="179" y="85"/>
                  </a:lnTo>
                  <a:lnTo>
                    <a:pt x="188" y="83"/>
                  </a:lnTo>
                  <a:lnTo>
                    <a:pt x="193" y="83"/>
                  </a:lnTo>
                  <a:lnTo>
                    <a:pt x="196" y="82"/>
                  </a:lnTo>
                  <a:lnTo>
                    <a:pt x="205" y="78"/>
                  </a:lnTo>
                  <a:lnTo>
                    <a:pt x="215" y="75"/>
                  </a:lnTo>
                  <a:lnTo>
                    <a:pt x="220" y="75"/>
                  </a:lnTo>
                  <a:lnTo>
                    <a:pt x="224" y="78"/>
                  </a:lnTo>
                  <a:lnTo>
                    <a:pt x="232" y="76"/>
                  </a:lnTo>
                  <a:lnTo>
                    <a:pt x="236" y="76"/>
                  </a:lnTo>
                  <a:lnTo>
                    <a:pt x="241" y="78"/>
                  </a:lnTo>
                  <a:lnTo>
                    <a:pt x="242" y="80"/>
                  </a:lnTo>
                  <a:lnTo>
                    <a:pt x="249" y="82"/>
                  </a:lnTo>
                  <a:lnTo>
                    <a:pt x="249" y="83"/>
                  </a:lnTo>
                  <a:lnTo>
                    <a:pt x="256" y="85"/>
                  </a:lnTo>
                  <a:lnTo>
                    <a:pt x="254" y="88"/>
                  </a:lnTo>
                  <a:lnTo>
                    <a:pt x="253" y="87"/>
                  </a:lnTo>
                  <a:lnTo>
                    <a:pt x="254" y="90"/>
                  </a:lnTo>
                  <a:lnTo>
                    <a:pt x="261" y="92"/>
                  </a:lnTo>
                  <a:lnTo>
                    <a:pt x="271" y="88"/>
                  </a:lnTo>
                  <a:lnTo>
                    <a:pt x="275" y="85"/>
                  </a:lnTo>
                  <a:lnTo>
                    <a:pt x="280" y="85"/>
                  </a:lnTo>
                  <a:lnTo>
                    <a:pt x="285" y="83"/>
                  </a:lnTo>
                  <a:lnTo>
                    <a:pt x="295" y="80"/>
                  </a:lnTo>
                  <a:lnTo>
                    <a:pt x="297" y="78"/>
                  </a:lnTo>
                  <a:lnTo>
                    <a:pt x="304" y="83"/>
                  </a:lnTo>
                  <a:lnTo>
                    <a:pt x="302" y="83"/>
                  </a:lnTo>
                  <a:lnTo>
                    <a:pt x="309" y="92"/>
                  </a:lnTo>
                  <a:lnTo>
                    <a:pt x="316" y="94"/>
                  </a:lnTo>
                  <a:lnTo>
                    <a:pt x="316" y="99"/>
                  </a:lnTo>
                  <a:lnTo>
                    <a:pt x="314" y="97"/>
                  </a:lnTo>
                  <a:lnTo>
                    <a:pt x="314" y="99"/>
                  </a:lnTo>
                  <a:lnTo>
                    <a:pt x="318" y="102"/>
                  </a:lnTo>
                  <a:lnTo>
                    <a:pt x="321" y="106"/>
                  </a:lnTo>
                  <a:lnTo>
                    <a:pt x="326" y="109"/>
                  </a:lnTo>
                  <a:lnTo>
                    <a:pt x="331" y="112"/>
                  </a:lnTo>
                  <a:lnTo>
                    <a:pt x="333" y="114"/>
                  </a:lnTo>
                  <a:lnTo>
                    <a:pt x="338" y="119"/>
                  </a:lnTo>
                  <a:lnTo>
                    <a:pt x="345" y="123"/>
                  </a:lnTo>
                  <a:lnTo>
                    <a:pt x="347" y="128"/>
                  </a:lnTo>
                  <a:lnTo>
                    <a:pt x="350" y="135"/>
                  </a:lnTo>
                  <a:lnTo>
                    <a:pt x="352" y="138"/>
                  </a:lnTo>
                  <a:lnTo>
                    <a:pt x="355" y="148"/>
                  </a:lnTo>
                  <a:lnTo>
                    <a:pt x="353" y="147"/>
                  </a:lnTo>
                  <a:lnTo>
                    <a:pt x="353" y="148"/>
                  </a:lnTo>
                  <a:lnTo>
                    <a:pt x="357" y="152"/>
                  </a:lnTo>
                  <a:lnTo>
                    <a:pt x="357" y="155"/>
                  </a:lnTo>
                  <a:lnTo>
                    <a:pt x="355" y="157"/>
                  </a:lnTo>
                  <a:lnTo>
                    <a:pt x="357" y="155"/>
                  </a:lnTo>
                  <a:lnTo>
                    <a:pt x="357" y="153"/>
                  </a:lnTo>
                  <a:lnTo>
                    <a:pt x="359" y="155"/>
                  </a:lnTo>
                  <a:lnTo>
                    <a:pt x="353" y="160"/>
                  </a:lnTo>
                  <a:lnTo>
                    <a:pt x="355" y="165"/>
                  </a:lnTo>
                  <a:lnTo>
                    <a:pt x="357" y="164"/>
                  </a:lnTo>
                  <a:lnTo>
                    <a:pt x="357" y="165"/>
                  </a:lnTo>
                  <a:lnTo>
                    <a:pt x="362" y="162"/>
                  </a:lnTo>
                  <a:lnTo>
                    <a:pt x="359" y="165"/>
                  </a:lnTo>
                  <a:lnTo>
                    <a:pt x="364" y="164"/>
                  </a:lnTo>
                  <a:lnTo>
                    <a:pt x="365" y="162"/>
                  </a:lnTo>
                  <a:lnTo>
                    <a:pt x="367" y="164"/>
                  </a:lnTo>
                  <a:lnTo>
                    <a:pt x="365" y="167"/>
                  </a:lnTo>
                  <a:lnTo>
                    <a:pt x="367" y="169"/>
                  </a:lnTo>
                  <a:lnTo>
                    <a:pt x="367" y="165"/>
                  </a:lnTo>
                  <a:lnTo>
                    <a:pt x="376" y="167"/>
                  </a:lnTo>
                  <a:lnTo>
                    <a:pt x="379" y="170"/>
                  </a:lnTo>
                  <a:lnTo>
                    <a:pt x="386" y="174"/>
                  </a:lnTo>
                  <a:lnTo>
                    <a:pt x="386" y="176"/>
                  </a:lnTo>
                  <a:lnTo>
                    <a:pt x="388" y="177"/>
                  </a:lnTo>
                  <a:lnTo>
                    <a:pt x="388" y="174"/>
                  </a:lnTo>
                  <a:lnTo>
                    <a:pt x="391" y="177"/>
                  </a:lnTo>
                  <a:lnTo>
                    <a:pt x="389" y="179"/>
                  </a:lnTo>
                  <a:lnTo>
                    <a:pt x="391" y="177"/>
                  </a:lnTo>
                  <a:lnTo>
                    <a:pt x="389" y="182"/>
                  </a:lnTo>
                  <a:lnTo>
                    <a:pt x="391" y="182"/>
                  </a:lnTo>
                  <a:lnTo>
                    <a:pt x="391" y="189"/>
                  </a:lnTo>
                  <a:lnTo>
                    <a:pt x="389" y="191"/>
                  </a:lnTo>
                  <a:lnTo>
                    <a:pt x="388" y="189"/>
                  </a:lnTo>
                  <a:lnTo>
                    <a:pt x="389" y="191"/>
                  </a:lnTo>
                  <a:lnTo>
                    <a:pt x="388" y="193"/>
                  </a:lnTo>
                  <a:lnTo>
                    <a:pt x="386" y="193"/>
                  </a:lnTo>
                  <a:close/>
                  <a:moveTo>
                    <a:pt x="17" y="29"/>
                  </a:moveTo>
                  <a:lnTo>
                    <a:pt x="21" y="35"/>
                  </a:lnTo>
                  <a:lnTo>
                    <a:pt x="15" y="37"/>
                  </a:lnTo>
                  <a:lnTo>
                    <a:pt x="15" y="35"/>
                  </a:lnTo>
                  <a:lnTo>
                    <a:pt x="14" y="37"/>
                  </a:lnTo>
                  <a:lnTo>
                    <a:pt x="12" y="34"/>
                  </a:lnTo>
                  <a:lnTo>
                    <a:pt x="15" y="32"/>
                  </a:lnTo>
                  <a:lnTo>
                    <a:pt x="15" y="30"/>
                  </a:lnTo>
                  <a:lnTo>
                    <a:pt x="17" y="29"/>
                  </a:lnTo>
                  <a:close/>
                  <a:moveTo>
                    <a:pt x="5" y="18"/>
                  </a:moveTo>
                  <a:lnTo>
                    <a:pt x="7" y="22"/>
                  </a:lnTo>
                  <a:lnTo>
                    <a:pt x="9" y="22"/>
                  </a:lnTo>
                  <a:lnTo>
                    <a:pt x="10" y="25"/>
                  </a:lnTo>
                  <a:lnTo>
                    <a:pt x="14" y="25"/>
                  </a:lnTo>
                  <a:lnTo>
                    <a:pt x="15" y="29"/>
                  </a:lnTo>
                  <a:lnTo>
                    <a:pt x="7" y="29"/>
                  </a:lnTo>
                  <a:lnTo>
                    <a:pt x="7" y="30"/>
                  </a:lnTo>
                  <a:lnTo>
                    <a:pt x="5" y="30"/>
                  </a:lnTo>
                  <a:lnTo>
                    <a:pt x="7" y="29"/>
                  </a:lnTo>
                  <a:lnTo>
                    <a:pt x="3" y="29"/>
                  </a:lnTo>
                  <a:lnTo>
                    <a:pt x="5" y="27"/>
                  </a:lnTo>
                  <a:lnTo>
                    <a:pt x="3" y="24"/>
                  </a:lnTo>
                  <a:lnTo>
                    <a:pt x="5" y="22"/>
                  </a:lnTo>
                  <a:lnTo>
                    <a:pt x="3" y="20"/>
                  </a:lnTo>
                  <a:lnTo>
                    <a:pt x="0" y="22"/>
                  </a:lnTo>
                  <a:lnTo>
                    <a:pt x="2" y="18"/>
                  </a:lnTo>
                  <a:lnTo>
                    <a:pt x="5" y="18"/>
                  </a:lnTo>
                  <a:close/>
                  <a:moveTo>
                    <a:pt x="26" y="0"/>
                  </a:moveTo>
                  <a:lnTo>
                    <a:pt x="27" y="3"/>
                  </a:lnTo>
                  <a:lnTo>
                    <a:pt x="31" y="5"/>
                  </a:lnTo>
                  <a:lnTo>
                    <a:pt x="32" y="8"/>
                  </a:lnTo>
                  <a:lnTo>
                    <a:pt x="34" y="8"/>
                  </a:lnTo>
                  <a:lnTo>
                    <a:pt x="34" y="3"/>
                  </a:lnTo>
                  <a:lnTo>
                    <a:pt x="36" y="5"/>
                  </a:lnTo>
                  <a:lnTo>
                    <a:pt x="38" y="3"/>
                  </a:lnTo>
                  <a:lnTo>
                    <a:pt x="36" y="1"/>
                  </a:lnTo>
                  <a:lnTo>
                    <a:pt x="39" y="1"/>
                  </a:lnTo>
                  <a:lnTo>
                    <a:pt x="43" y="6"/>
                  </a:lnTo>
                  <a:lnTo>
                    <a:pt x="43" y="12"/>
                  </a:lnTo>
                  <a:lnTo>
                    <a:pt x="39" y="10"/>
                  </a:lnTo>
                  <a:lnTo>
                    <a:pt x="39" y="13"/>
                  </a:lnTo>
                  <a:lnTo>
                    <a:pt x="38" y="15"/>
                  </a:lnTo>
                  <a:lnTo>
                    <a:pt x="32" y="15"/>
                  </a:lnTo>
                  <a:lnTo>
                    <a:pt x="29" y="6"/>
                  </a:lnTo>
                  <a:lnTo>
                    <a:pt x="24" y="3"/>
                  </a:lnTo>
                  <a:lnTo>
                    <a:pt x="26"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33" name="Freeform 50"/>
            <p:cNvSpPr>
              <a:spLocks noEditPoints="1"/>
            </p:cNvSpPr>
            <p:nvPr/>
          </p:nvSpPr>
          <p:spPr bwMode="gray">
            <a:xfrm>
              <a:off x="1327585" y="2217078"/>
              <a:ext cx="735145" cy="1078093"/>
            </a:xfrm>
            <a:custGeom>
              <a:avLst/>
              <a:gdLst>
                <a:gd name="T0" fmla="*/ 159 w 403"/>
                <a:gd name="T1" fmla="*/ 546 h 591"/>
                <a:gd name="T2" fmla="*/ 174 w 403"/>
                <a:gd name="T3" fmla="*/ 565 h 591"/>
                <a:gd name="T4" fmla="*/ 164 w 403"/>
                <a:gd name="T5" fmla="*/ 585 h 591"/>
                <a:gd name="T6" fmla="*/ 157 w 403"/>
                <a:gd name="T7" fmla="*/ 560 h 591"/>
                <a:gd name="T8" fmla="*/ 169 w 403"/>
                <a:gd name="T9" fmla="*/ 526 h 591"/>
                <a:gd name="T10" fmla="*/ 154 w 403"/>
                <a:gd name="T11" fmla="*/ 533 h 591"/>
                <a:gd name="T12" fmla="*/ 152 w 403"/>
                <a:gd name="T13" fmla="*/ 522 h 591"/>
                <a:gd name="T14" fmla="*/ 178 w 403"/>
                <a:gd name="T15" fmla="*/ 522 h 591"/>
                <a:gd name="T16" fmla="*/ 169 w 403"/>
                <a:gd name="T17" fmla="*/ 527 h 591"/>
                <a:gd name="T18" fmla="*/ 173 w 403"/>
                <a:gd name="T19" fmla="*/ 551 h 591"/>
                <a:gd name="T20" fmla="*/ 149 w 403"/>
                <a:gd name="T21" fmla="*/ 517 h 591"/>
                <a:gd name="T22" fmla="*/ 145 w 403"/>
                <a:gd name="T23" fmla="*/ 515 h 591"/>
                <a:gd name="T24" fmla="*/ 208 w 403"/>
                <a:gd name="T25" fmla="*/ 493 h 591"/>
                <a:gd name="T26" fmla="*/ 176 w 403"/>
                <a:gd name="T27" fmla="*/ 497 h 591"/>
                <a:gd name="T28" fmla="*/ 33 w 403"/>
                <a:gd name="T29" fmla="*/ 415 h 591"/>
                <a:gd name="T30" fmla="*/ 33 w 403"/>
                <a:gd name="T31" fmla="*/ 411 h 591"/>
                <a:gd name="T32" fmla="*/ 21 w 403"/>
                <a:gd name="T33" fmla="*/ 340 h 591"/>
                <a:gd name="T34" fmla="*/ 51 w 403"/>
                <a:gd name="T35" fmla="*/ 338 h 591"/>
                <a:gd name="T36" fmla="*/ 85 w 403"/>
                <a:gd name="T37" fmla="*/ 377 h 591"/>
                <a:gd name="T38" fmla="*/ 103 w 403"/>
                <a:gd name="T39" fmla="*/ 418 h 591"/>
                <a:gd name="T40" fmla="*/ 87 w 403"/>
                <a:gd name="T41" fmla="*/ 445 h 591"/>
                <a:gd name="T42" fmla="*/ 68 w 403"/>
                <a:gd name="T43" fmla="*/ 418 h 591"/>
                <a:gd name="T44" fmla="*/ 41 w 403"/>
                <a:gd name="T45" fmla="*/ 398 h 591"/>
                <a:gd name="T46" fmla="*/ 22 w 403"/>
                <a:gd name="T47" fmla="*/ 365 h 591"/>
                <a:gd name="T48" fmla="*/ 14 w 403"/>
                <a:gd name="T49" fmla="*/ 348 h 591"/>
                <a:gd name="T50" fmla="*/ 184 w 403"/>
                <a:gd name="T51" fmla="*/ 326 h 591"/>
                <a:gd name="T52" fmla="*/ 181 w 403"/>
                <a:gd name="T53" fmla="*/ 324 h 591"/>
                <a:gd name="T54" fmla="*/ 183 w 403"/>
                <a:gd name="T55" fmla="*/ 316 h 591"/>
                <a:gd name="T56" fmla="*/ 367 w 403"/>
                <a:gd name="T57" fmla="*/ 210 h 591"/>
                <a:gd name="T58" fmla="*/ 145 w 403"/>
                <a:gd name="T59" fmla="*/ 18 h 591"/>
                <a:gd name="T60" fmla="*/ 135 w 403"/>
                <a:gd name="T61" fmla="*/ 15 h 591"/>
                <a:gd name="T62" fmla="*/ 144 w 403"/>
                <a:gd name="T63" fmla="*/ 20 h 591"/>
                <a:gd name="T64" fmla="*/ 173 w 403"/>
                <a:gd name="T65" fmla="*/ 32 h 591"/>
                <a:gd name="T66" fmla="*/ 193 w 403"/>
                <a:gd name="T67" fmla="*/ 47 h 591"/>
                <a:gd name="T68" fmla="*/ 203 w 403"/>
                <a:gd name="T69" fmla="*/ 63 h 591"/>
                <a:gd name="T70" fmla="*/ 258 w 403"/>
                <a:gd name="T71" fmla="*/ 92 h 591"/>
                <a:gd name="T72" fmla="*/ 290 w 403"/>
                <a:gd name="T73" fmla="*/ 117 h 591"/>
                <a:gd name="T74" fmla="*/ 336 w 403"/>
                <a:gd name="T75" fmla="*/ 150 h 591"/>
                <a:gd name="T76" fmla="*/ 352 w 403"/>
                <a:gd name="T77" fmla="*/ 177 h 591"/>
                <a:gd name="T78" fmla="*/ 369 w 403"/>
                <a:gd name="T79" fmla="*/ 210 h 591"/>
                <a:gd name="T80" fmla="*/ 388 w 403"/>
                <a:gd name="T81" fmla="*/ 223 h 591"/>
                <a:gd name="T82" fmla="*/ 386 w 403"/>
                <a:gd name="T83" fmla="*/ 297 h 591"/>
                <a:gd name="T84" fmla="*/ 403 w 403"/>
                <a:gd name="T85" fmla="*/ 336 h 591"/>
                <a:gd name="T86" fmla="*/ 377 w 403"/>
                <a:gd name="T87" fmla="*/ 346 h 591"/>
                <a:gd name="T88" fmla="*/ 374 w 403"/>
                <a:gd name="T89" fmla="*/ 380 h 591"/>
                <a:gd name="T90" fmla="*/ 367 w 403"/>
                <a:gd name="T91" fmla="*/ 415 h 591"/>
                <a:gd name="T92" fmla="*/ 333 w 403"/>
                <a:gd name="T93" fmla="*/ 416 h 591"/>
                <a:gd name="T94" fmla="*/ 324 w 403"/>
                <a:gd name="T95" fmla="*/ 457 h 591"/>
                <a:gd name="T96" fmla="*/ 280 w 403"/>
                <a:gd name="T97" fmla="*/ 459 h 591"/>
                <a:gd name="T98" fmla="*/ 251 w 403"/>
                <a:gd name="T99" fmla="*/ 476 h 591"/>
                <a:gd name="T100" fmla="*/ 241 w 403"/>
                <a:gd name="T101" fmla="*/ 439 h 591"/>
                <a:gd name="T102" fmla="*/ 229 w 403"/>
                <a:gd name="T103" fmla="*/ 413 h 591"/>
                <a:gd name="T104" fmla="*/ 212 w 403"/>
                <a:gd name="T105" fmla="*/ 350 h 591"/>
                <a:gd name="T106" fmla="*/ 212 w 403"/>
                <a:gd name="T107" fmla="*/ 322 h 591"/>
                <a:gd name="T108" fmla="*/ 196 w 403"/>
                <a:gd name="T109" fmla="*/ 302 h 591"/>
                <a:gd name="T110" fmla="*/ 167 w 403"/>
                <a:gd name="T111" fmla="*/ 276 h 591"/>
                <a:gd name="T112" fmla="*/ 135 w 403"/>
                <a:gd name="T113" fmla="*/ 261 h 591"/>
                <a:gd name="T114" fmla="*/ 126 w 403"/>
                <a:gd name="T115" fmla="*/ 201 h 591"/>
                <a:gd name="T116" fmla="*/ 106 w 403"/>
                <a:gd name="T117" fmla="*/ 157 h 591"/>
                <a:gd name="T118" fmla="*/ 108 w 403"/>
                <a:gd name="T119" fmla="*/ 121 h 591"/>
                <a:gd name="T120" fmla="*/ 104 w 403"/>
                <a:gd name="T121" fmla="*/ 95 h 591"/>
                <a:gd name="T122" fmla="*/ 103 w 403"/>
                <a:gd name="T123" fmla="*/ 49 h 591"/>
                <a:gd name="T124" fmla="*/ 125 w 403"/>
                <a:gd name="T125" fmla="*/ 1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91">
                  <a:moveTo>
                    <a:pt x="176" y="591"/>
                  </a:moveTo>
                  <a:lnTo>
                    <a:pt x="173" y="589"/>
                  </a:lnTo>
                  <a:lnTo>
                    <a:pt x="173" y="585"/>
                  </a:lnTo>
                  <a:lnTo>
                    <a:pt x="176" y="591"/>
                  </a:lnTo>
                  <a:close/>
                  <a:moveTo>
                    <a:pt x="174" y="555"/>
                  </a:moveTo>
                  <a:lnTo>
                    <a:pt x="173" y="551"/>
                  </a:lnTo>
                  <a:lnTo>
                    <a:pt x="174" y="555"/>
                  </a:lnTo>
                  <a:close/>
                  <a:moveTo>
                    <a:pt x="159" y="546"/>
                  </a:moveTo>
                  <a:lnTo>
                    <a:pt x="159" y="548"/>
                  </a:lnTo>
                  <a:lnTo>
                    <a:pt x="159" y="546"/>
                  </a:lnTo>
                  <a:close/>
                  <a:moveTo>
                    <a:pt x="164" y="544"/>
                  </a:moveTo>
                  <a:lnTo>
                    <a:pt x="166" y="544"/>
                  </a:lnTo>
                  <a:lnTo>
                    <a:pt x="166" y="546"/>
                  </a:lnTo>
                  <a:lnTo>
                    <a:pt x="171" y="551"/>
                  </a:lnTo>
                  <a:lnTo>
                    <a:pt x="173" y="555"/>
                  </a:lnTo>
                  <a:lnTo>
                    <a:pt x="176" y="558"/>
                  </a:lnTo>
                  <a:lnTo>
                    <a:pt x="174" y="560"/>
                  </a:lnTo>
                  <a:lnTo>
                    <a:pt x="176" y="560"/>
                  </a:lnTo>
                  <a:lnTo>
                    <a:pt x="173" y="562"/>
                  </a:lnTo>
                  <a:lnTo>
                    <a:pt x="174" y="565"/>
                  </a:lnTo>
                  <a:lnTo>
                    <a:pt x="174" y="573"/>
                  </a:lnTo>
                  <a:lnTo>
                    <a:pt x="171" y="577"/>
                  </a:lnTo>
                  <a:lnTo>
                    <a:pt x="174" y="580"/>
                  </a:lnTo>
                  <a:lnTo>
                    <a:pt x="173" y="584"/>
                  </a:lnTo>
                  <a:lnTo>
                    <a:pt x="171" y="580"/>
                  </a:lnTo>
                  <a:lnTo>
                    <a:pt x="169" y="584"/>
                  </a:lnTo>
                  <a:lnTo>
                    <a:pt x="169" y="579"/>
                  </a:lnTo>
                  <a:lnTo>
                    <a:pt x="164" y="579"/>
                  </a:lnTo>
                  <a:lnTo>
                    <a:pt x="162" y="582"/>
                  </a:lnTo>
                  <a:lnTo>
                    <a:pt x="164" y="585"/>
                  </a:lnTo>
                  <a:lnTo>
                    <a:pt x="162" y="585"/>
                  </a:lnTo>
                  <a:lnTo>
                    <a:pt x="161" y="582"/>
                  </a:lnTo>
                  <a:lnTo>
                    <a:pt x="152" y="579"/>
                  </a:lnTo>
                  <a:lnTo>
                    <a:pt x="147" y="577"/>
                  </a:lnTo>
                  <a:lnTo>
                    <a:pt x="152" y="575"/>
                  </a:lnTo>
                  <a:lnTo>
                    <a:pt x="152" y="577"/>
                  </a:lnTo>
                  <a:lnTo>
                    <a:pt x="154" y="577"/>
                  </a:lnTo>
                  <a:lnTo>
                    <a:pt x="155" y="570"/>
                  </a:lnTo>
                  <a:lnTo>
                    <a:pt x="157" y="568"/>
                  </a:lnTo>
                  <a:lnTo>
                    <a:pt x="157" y="560"/>
                  </a:lnTo>
                  <a:lnTo>
                    <a:pt x="159" y="556"/>
                  </a:lnTo>
                  <a:lnTo>
                    <a:pt x="166" y="550"/>
                  </a:lnTo>
                  <a:lnTo>
                    <a:pt x="162" y="544"/>
                  </a:lnTo>
                  <a:lnTo>
                    <a:pt x="164" y="544"/>
                  </a:lnTo>
                  <a:close/>
                  <a:moveTo>
                    <a:pt x="135" y="533"/>
                  </a:moveTo>
                  <a:lnTo>
                    <a:pt x="135" y="529"/>
                  </a:lnTo>
                  <a:lnTo>
                    <a:pt x="137" y="527"/>
                  </a:lnTo>
                  <a:lnTo>
                    <a:pt x="138" y="529"/>
                  </a:lnTo>
                  <a:lnTo>
                    <a:pt x="135" y="533"/>
                  </a:lnTo>
                  <a:close/>
                  <a:moveTo>
                    <a:pt x="169" y="526"/>
                  </a:moveTo>
                  <a:lnTo>
                    <a:pt x="171" y="526"/>
                  </a:lnTo>
                  <a:lnTo>
                    <a:pt x="171" y="529"/>
                  </a:lnTo>
                  <a:lnTo>
                    <a:pt x="169" y="529"/>
                  </a:lnTo>
                  <a:lnTo>
                    <a:pt x="169" y="526"/>
                  </a:lnTo>
                  <a:close/>
                  <a:moveTo>
                    <a:pt x="149" y="526"/>
                  </a:moveTo>
                  <a:lnTo>
                    <a:pt x="152" y="526"/>
                  </a:lnTo>
                  <a:lnTo>
                    <a:pt x="152" y="529"/>
                  </a:lnTo>
                  <a:lnTo>
                    <a:pt x="149" y="529"/>
                  </a:lnTo>
                  <a:lnTo>
                    <a:pt x="149" y="526"/>
                  </a:lnTo>
                  <a:close/>
                  <a:moveTo>
                    <a:pt x="154" y="533"/>
                  </a:moveTo>
                  <a:lnTo>
                    <a:pt x="152" y="529"/>
                  </a:lnTo>
                  <a:lnTo>
                    <a:pt x="152" y="526"/>
                  </a:lnTo>
                  <a:lnTo>
                    <a:pt x="154" y="526"/>
                  </a:lnTo>
                  <a:lnTo>
                    <a:pt x="154" y="533"/>
                  </a:lnTo>
                  <a:close/>
                  <a:moveTo>
                    <a:pt x="150" y="521"/>
                  </a:moveTo>
                  <a:lnTo>
                    <a:pt x="155" y="526"/>
                  </a:lnTo>
                  <a:lnTo>
                    <a:pt x="154" y="526"/>
                  </a:lnTo>
                  <a:lnTo>
                    <a:pt x="149" y="524"/>
                  </a:lnTo>
                  <a:lnTo>
                    <a:pt x="149" y="522"/>
                  </a:lnTo>
                  <a:lnTo>
                    <a:pt x="152" y="522"/>
                  </a:lnTo>
                  <a:lnTo>
                    <a:pt x="150" y="521"/>
                  </a:lnTo>
                  <a:close/>
                  <a:moveTo>
                    <a:pt x="147" y="526"/>
                  </a:moveTo>
                  <a:lnTo>
                    <a:pt x="145" y="522"/>
                  </a:lnTo>
                  <a:lnTo>
                    <a:pt x="145" y="519"/>
                  </a:lnTo>
                  <a:lnTo>
                    <a:pt x="147" y="524"/>
                  </a:lnTo>
                  <a:lnTo>
                    <a:pt x="147" y="526"/>
                  </a:lnTo>
                  <a:close/>
                  <a:moveTo>
                    <a:pt x="178" y="522"/>
                  </a:moveTo>
                  <a:lnTo>
                    <a:pt x="176" y="521"/>
                  </a:lnTo>
                  <a:lnTo>
                    <a:pt x="176" y="519"/>
                  </a:lnTo>
                  <a:lnTo>
                    <a:pt x="178" y="522"/>
                  </a:lnTo>
                  <a:close/>
                  <a:moveTo>
                    <a:pt x="174" y="521"/>
                  </a:moveTo>
                  <a:lnTo>
                    <a:pt x="173" y="522"/>
                  </a:lnTo>
                  <a:lnTo>
                    <a:pt x="173" y="517"/>
                  </a:lnTo>
                  <a:lnTo>
                    <a:pt x="174" y="521"/>
                  </a:lnTo>
                  <a:close/>
                  <a:moveTo>
                    <a:pt x="159" y="514"/>
                  </a:moveTo>
                  <a:lnTo>
                    <a:pt x="161" y="515"/>
                  </a:lnTo>
                  <a:lnTo>
                    <a:pt x="162" y="514"/>
                  </a:lnTo>
                  <a:lnTo>
                    <a:pt x="162" y="519"/>
                  </a:lnTo>
                  <a:lnTo>
                    <a:pt x="169" y="526"/>
                  </a:lnTo>
                  <a:lnTo>
                    <a:pt x="169" y="527"/>
                  </a:lnTo>
                  <a:lnTo>
                    <a:pt x="171" y="531"/>
                  </a:lnTo>
                  <a:lnTo>
                    <a:pt x="171" y="533"/>
                  </a:lnTo>
                  <a:lnTo>
                    <a:pt x="173" y="539"/>
                  </a:lnTo>
                  <a:lnTo>
                    <a:pt x="179" y="544"/>
                  </a:lnTo>
                  <a:lnTo>
                    <a:pt x="181" y="548"/>
                  </a:lnTo>
                  <a:lnTo>
                    <a:pt x="181" y="555"/>
                  </a:lnTo>
                  <a:lnTo>
                    <a:pt x="178" y="555"/>
                  </a:lnTo>
                  <a:lnTo>
                    <a:pt x="179" y="562"/>
                  </a:lnTo>
                  <a:lnTo>
                    <a:pt x="176" y="553"/>
                  </a:lnTo>
                  <a:lnTo>
                    <a:pt x="173" y="551"/>
                  </a:lnTo>
                  <a:lnTo>
                    <a:pt x="174" y="550"/>
                  </a:lnTo>
                  <a:lnTo>
                    <a:pt x="171" y="546"/>
                  </a:lnTo>
                  <a:lnTo>
                    <a:pt x="164" y="539"/>
                  </a:lnTo>
                  <a:lnTo>
                    <a:pt x="164" y="538"/>
                  </a:lnTo>
                  <a:lnTo>
                    <a:pt x="164" y="536"/>
                  </a:lnTo>
                  <a:lnTo>
                    <a:pt x="164" y="534"/>
                  </a:lnTo>
                  <a:lnTo>
                    <a:pt x="157" y="527"/>
                  </a:lnTo>
                  <a:lnTo>
                    <a:pt x="159" y="527"/>
                  </a:lnTo>
                  <a:lnTo>
                    <a:pt x="155" y="519"/>
                  </a:lnTo>
                  <a:lnTo>
                    <a:pt x="149" y="517"/>
                  </a:lnTo>
                  <a:lnTo>
                    <a:pt x="154" y="514"/>
                  </a:lnTo>
                  <a:lnTo>
                    <a:pt x="159" y="514"/>
                  </a:lnTo>
                  <a:close/>
                  <a:moveTo>
                    <a:pt x="138" y="514"/>
                  </a:moveTo>
                  <a:lnTo>
                    <a:pt x="142" y="514"/>
                  </a:lnTo>
                  <a:lnTo>
                    <a:pt x="142" y="515"/>
                  </a:lnTo>
                  <a:lnTo>
                    <a:pt x="138" y="515"/>
                  </a:lnTo>
                  <a:lnTo>
                    <a:pt x="138" y="514"/>
                  </a:lnTo>
                  <a:close/>
                  <a:moveTo>
                    <a:pt x="142" y="514"/>
                  </a:moveTo>
                  <a:lnTo>
                    <a:pt x="145" y="514"/>
                  </a:lnTo>
                  <a:lnTo>
                    <a:pt x="145" y="515"/>
                  </a:lnTo>
                  <a:lnTo>
                    <a:pt x="142" y="515"/>
                  </a:lnTo>
                  <a:lnTo>
                    <a:pt x="142" y="514"/>
                  </a:lnTo>
                  <a:close/>
                  <a:moveTo>
                    <a:pt x="186" y="493"/>
                  </a:moveTo>
                  <a:lnTo>
                    <a:pt x="195" y="495"/>
                  </a:lnTo>
                  <a:lnTo>
                    <a:pt x="198" y="493"/>
                  </a:lnTo>
                  <a:lnTo>
                    <a:pt x="200" y="495"/>
                  </a:lnTo>
                  <a:lnTo>
                    <a:pt x="203" y="495"/>
                  </a:lnTo>
                  <a:lnTo>
                    <a:pt x="205" y="493"/>
                  </a:lnTo>
                  <a:lnTo>
                    <a:pt x="207" y="495"/>
                  </a:lnTo>
                  <a:lnTo>
                    <a:pt x="208" y="493"/>
                  </a:lnTo>
                  <a:lnTo>
                    <a:pt x="215" y="500"/>
                  </a:lnTo>
                  <a:lnTo>
                    <a:pt x="215" y="505"/>
                  </a:lnTo>
                  <a:lnTo>
                    <a:pt x="207" y="503"/>
                  </a:lnTo>
                  <a:lnTo>
                    <a:pt x="203" y="505"/>
                  </a:lnTo>
                  <a:lnTo>
                    <a:pt x="193" y="505"/>
                  </a:lnTo>
                  <a:lnTo>
                    <a:pt x="191" y="505"/>
                  </a:lnTo>
                  <a:lnTo>
                    <a:pt x="184" y="503"/>
                  </a:lnTo>
                  <a:lnTo>
                    <a:pt x="179" y="503"/>
                  </a:lnTo>
                  <a:lnTo>
                    <a:pt x="176" y="502"/>
                  </a:lnTo>
                  <a:lnTo>
                    <a:pt x="176" y="497"/>
                  </a:lnTo>
                  <a:lnTo>
                    <a:pt x="181" y="493"/>
                  </a:lnTo>
                  <a:lnTo>
                    <a:pt x="186" y="493"/>
                  </a:lnTo>
                  <a:close/>
                  <a:moveTo>
                    <a:pt x="244" y="469"/>
                  </a:moveTo>
                  <a:lnTo>
                    <a:pt x="246" y="469"/>
                  </a:lnTo>
                  <a:lnTo>
                    <a:pt x="246" y="471"/>
                  </a:lnTo>
                  <a:lnTo>
                    <a:pt x="244" y="471"/>
                  </a:lnTo>
                  <a:lnTo>
                    <a:pt x="244" y="469"/>
                  </a:lnTo>
                  <a:close/>
                  <a:moveTo>
                    <a:pt x="34" y="413"/>
                  </a:moveTo>
                  <a:lnTo>
                    <a:pt x="36" y="418"/>
                  </a:lnTo>
                  <a:lnTo>
                    <a:pt x="33" y="415"/>
                  </a:lnTo>
                  <a:lnTo>
                    <a:pt x="34" y="413"/>
                  </a:lnTo>
                  <a:close/>
                  <a:moveTo>
                    <a:pt x="36" y="411"/>
                  </a:moveTo>
                  <a:lnTo>
                    <a:pt x="39" y="411"/>
                  </a:lnTo>
                  <a:lnTo>
                    <a:pt x="39" y="413"/>
                  </a:lnTo>
                  <a:lnTo>
                    <a:pt x="36" y="413"/>
                  </a:lnTo>
                  <a:lnTo>
                    <a:pt x="36" y="411"/>
                  </a:lnTo>
                  <a:close/>
                  <a:moveTo>
                    <a:pt x="33" y="410"/>
                  </a:moveTo>
                  <a:lnTo>
                    <a:pt x="36" y="410"/>
                  </a:lnTo>
                  <a:lnTo>
                    <a:pt x="36" y="411"/>
                  </a:lnTo>
                  <a:lnTo>
                    <a:pt x="33" y="411"/>
                  </a:lnTo>
                  <a:lnTo>
                    <a:pt x="33" y="410"/>
                  </a:lnTo>
                  <a:close/>
                  <a:moveTo>
                    <a:pt x="26" y="404"/>
                  </a:moveTo>
                  <a:lnTo>
                    <a:pt x="27" y="404"/>
                  </a:lnTo>
                  <a:lnTo>
                    <a:pt x="27" y="408"/>
                  </a:lnTo>
                  <a:lnTo>
                    <a:pt x="26" y="408"/>
                  </a:lnTo>
                  <a:lnTo>
                    <a:pt x="26" y="404"/>
                  </a:lnTo>
                  <a:close/>
                  <a:moveTo>
                    <a:pt x="4" y="367"/>
                  </a:moveTo>
                  <a:lnTo>
                    <a:pt x="4" y="369"/>
                  </a:lnTo>
                  <a:lnTo>
                    <a:pt x="4" y="367"/>
                  </a:lnTo>
                  <a:close/>
                  <a:moveTo>
                    <a:pt x="21" y="340"/>
                  </a:moveTo>
                  <a:lnTo>
                    <a:pt x="24" y="340"/>
                  </a:lnTo>
                  <a:lnTo>
                    <a:pt x="24" y="341"/>
                  </a:lnTo>
                  <a:lnTo>
                    <a:pt x="21" y="341"/>
                  </a:lnTo>
                  <a:lnTo>
                    <a:pt x="21" y="340"/>
                  </a:lnTo>
                  <a:close/>
                  <a:moveTo>
                    <a:pt x="38" y="333"/>
                  </a:moveTo>
                  <a:lnTo>
                    <a:pt x="41" y="334"/>
                  </a:lnTo>
                  <a:lnTo>
                    <a:pt x="43" y="333"/>
                  </a:lnTo>
                  <a:lnTo>
                    <a:pt x="45" y="333"/>
                  </a:lnTo>
                  <a:lnTo>
                    <a:pt x="46" y="338"/>
                  </a:lnTo>
                  <a:lnTo>
                    <a:pt x="51" y="338"/>
                  </a:lnTo>
                  <a:lnTo>
                    <a:pt x="55" y="343"/>
                  </a:lnTo>
                  <a:lnTo>
                    <a:pt x="58" y="345"/>
                  </a:lnTo>
                  <a:lnTo>
                    <a:pt x="58" y="348"/>
                  </a:lnTo>
                  <a:lnTo>
                    <a:pt x="65" y="355"/>
                  </a:lnTo>
                  <a:lnTo>
                    <a:pt x="67" y="360"/>
                  </a:lnTo>
                  <a:lnTo>
                    <a:pt x="72" y="367"/>
                  </a:lnTo>
                  <a:lnTo>
                    <a:pt x="74" y="369"/>
                  </a:lnTo>
                  <a:lnTo>
                    <a:pt x="75" y="374"/>
                  </a:lnTo>
                  <a:lnTo>
                    <a:pt x="84" y="374"/>
                  </a:lnTo>
                  <a:lnTo>
                    <a:pt x="85" y="377"/>
                  </a:lnTo>
                  <a:lnTo>
                    <a:pt x="89" y="377"/>
                  </a:lnTo>
                  <a:lnTo>
                    <a:pt x="94" y="384"/>
                  </a:lnTo>
                  <a:lnTo>
                    <a:pt x="94" y="386"/>
                  </a:lnTo>
                  <a:lnTo>
                    <a:pt x="97" y="389"/>
                  </a:lnTo>
                  <a:lnTo>
                    <a:pt x="101" y="389"/>
                  </a:lnTo>
                  <a:lnTo>
                    <a:pt x="104" y="392"/>
                  </a:lnTo>
                  <a:lnTo>
                    <a:pt x="106" y="399"/>
                  </a:lnTo>
                  <a:lnTo>
                    <a:pt x="101" y="408"/>
                  </a:lnTo>
                  <a:lnTo>
                    <a:pt x="101" y="411"/>
                  </a:lnTo>
                  <a:lnTo>
                    <a:pt x="103" y="418"/>
                  </a:lnTo>
                  <a:lnTo>
                    <a:pt x="99" y="425"/>
                  </a:lnTo>
                  <a:lnTo>
                    <a:pt x="101" y="428"/>
                  </a:lnTo>
                  <a:lnTo>
                    <a:pt x="101" y="440"/>
                  </a:lnTo>
                  <a:lnTo>
                    <a:pt x="96" y="444"/>
                  </a:lnTo>
                  <a:lnTo>
                    <a:pt x="94" y="447"/>
                  </a:lnTo>
                  <a:lnTo>
                    <a:pt x="91" y="447"/>
                  </a:lnTo>
                  <a:lnTo>
                    <a:pt x="92" y="449"/>
                  </a:lnTo>
                  <a:lnTo>
                    <a:pt x="89" y="447"/>
                  </a:lnTo>
                  <a:lnTo>
                    <a:pt x="87" y="449"/>
                  </a:lnTo>
                  <a:lnTo>
                    <a:pt x="87" y="445"/>
                  </a:lnTo>
                  <a:lnTo>
                    <a:pt x="85" y="447"/>
                  </a:lnTo>
                  <a:lnTo>
                    <a:pt x="82" y="449"/>
                  </a:lnTo>
                  <a:lnTo>
                    <a:pt x="82" y="445"/>
                  </a:lnTo>
                  <a:lnTo>
                    <a:pt x="79" y="447"/>
                  </a:lnTo>
                  <a:lnTo>
                    <a:pt x="75" y="445"/>
                  </a:lnTo>
                  <a:lnTo>
                    <a:pt x="77" y="440"/>
                  </a:lnTo>
                  <a:lnTo>
                    <a:pt x="72" y="433"/>
                  </a:lnTo>
                  <a:lnTo>
                    <a:pt x="72" y="425"/>
                  </a:lnTo>
                  <a:lnTo>
                    <a:pt x="70" y="423"/>
                  </a:lnTo>
                  <a:lnTo>
                    <a:pt x="68" y="418"/>
                  </a:lnTo>
                  <a:lnTo>
                    <a:pt x="65" y="416"/>
                  </a:lnTo>
                  <a:lnTo>
                    <a:pt x="65" y="413"/>
                  </a:lnTo>
                  <a:lnTo>
                    <a:pt x="60" y="411"/>
                  </a:lnTo>
                  <a:lnTo>
                    <a:pt x="60" y="408"/>
                  </a:lnTo>
                  <a:lnTo>
                    <a:pt x="55" y="406"/>
                  </a:lnTo>
                  <a:lnTo>
                    <a:pt x="55" y="404"/>
                  </a:lnTo>
                  <a:lnTo>
                    <a:pt x="51" y="403"/>
                  </a:lnTo>
                  <a:lnTo>
                    <a:pt x="43" y="401"/>
                  </a:lnTo>
                  <a:lnTo>
                    <a:pt x="41" y="403"/>
                  </a:lnTo>
                  <a:lnTo>
                    <a:pt x="41" y="398"/>
                  </a:lnTo>
                  <a:lnTo>
                    <a:pt x="39" y="391"/>
                  </a:lnTo>
                  <a:lnTo>
                    <a:pt x="38" y="386"/>
                  </a:lnTo>
                  <a:lnTo>
                    <a:pt x="34" y="380"/>
                  </a:lnTo>
                  <a:lnTo>
                    <a:pt x="31" y="375"/>
                  </a:lnTo>
                  <a:lnTo>
                    <a:pt x="29" y="374"/>
                  </a:lnTo>
                  <a:lnTo>
                    <a:pt x="27" y="370"/>
                  </a:lnTo>
                  <a:lnTo>
                    <a:pt x="24" y="369"/>
                  </a:lnTo>
                  <a:lnTo>
                    <a:pt x="24" y="365"/>
                  </a:lnTo>
                  <a:lnTo>
                    <a:pt x="22" y="363"/>
                  </a:lnTo>
                  <a:lnTo>
                    <a:pt x="22" y="365"/>
                  </a:lnTo>
                  <a:lnTo>
                    <a:pt x="19" y="362"/>
                  </a:lnTo>
                  <a:lnTo>
                    <a:pt x="17" y="363"/>
                  </a:lnTo>
                  <a:lnTo>
                    <a:pt x="15" y="357"/>
                  </a:lnTo>
                  <a:lnTo>
                    <a:pt x="10" y="350"/>
                  </a:lnTo>
                  <a:lnTo>
                    <a:pt x="5" y="346"/>
                  </a:lnTo>
                  <a:lnTo>
                    <a:pt x="2" y="348"/>
                  </a:lnTo>
                  <a:lnTo>
                    <a:pt x="0" y="346"/>
                  </a:lnTo>
                  <a:lnTo>
                    <a:pt x="9" y="343"/>
                  </a:lnTo>
                  <a:lnTo>
                    <a:pt x="14" y="346"/>
                  </a:lnTo>
                  <a:lnTo>
                    <a:pt x="14" y="348"/>
                  </a:lnTo>
                  <a:lnTo>
                    <a:pt x="15" y="345"/>
                  </a:lnTo>
                  <a:lnTo>
                    <a:pt x="17" y="346"/>
                  </a:lnTo>
                  <a:lnTo>
                    <a:pt x="26" y="345"/>
                  </a:lnTo>
                  <a:lnTo>
                    <a:pt x="27" y="341"/>
                  </a:lnTo>
                  <a:lnTo>
                    <a:pt x="34" y="336"/>
                  </a:lnTo>
                  <a:lnTo>
                    <a:pt x="34" y="331"/>
                  </a:lnTo>
                  <a:lnTo>
                    <a:pt x="36" y="329"/>
                  </a:lnTo>
                  <a:lnTo>
                    <a:pt x="38" y="333"/>
                  </a:lnTo>
                  <a:close/>
                  <a:moveTo>
                    <a:pt x="183" y="326"/>
                  </a:moveTo>
                  <a:lnTo>
                    <a:pt x="184" y="326"/>
                  </a:lnTo>
                  <a:lnTo>
                    <a:pt x="184" y="328"/>
                  </a:lnTo>
                  <a:lnTo>
                    <a:pt x="183" y="328"/>
                  </a:lnTo>
                  <a:lnTo>
                    <a:pt x="183" y="326"/>
                  </a:lnTo>
                  <a:close/>
                  <a:moveTo>
                    <a:pt x="176" y="326"/>
                  </a:moveTo>
                  <a:lnTo>
                    <a:pt x="178" y="326"/>
                  </a:lnTo>
                  <a:lnTo>
                    <a:pt x="176" y="326"/>
                  </a:lnTo>
                  <a:close/>
                  <a:moveTo>
                    <a:pt x="181" y="321"/>
                  </a:moveTo>
                  <a:lnTo>
                    <a:pt x="183" y="321"/>
                  </a:lnTo>
                  <a:lnTo>
                    <a:pt x="183" y="324"/>
                  </a:lnTo>
                  <a:lnTo>
                    <a:pt x="181" y="324"/>
                  </a:lnTo>
                  <a:lnTo>
                    <a:pt x="181" y="321"/>
                  </a:lnTo>
                  <a:close/>
                  <a:moveTo>
                    <a:pt x="169" y="310"/>
                  </a:moveTo>
                  <a:lnTo>
                    <a:pt x="174" y="314"/>
                  </a:lnTo>
                  <a:lnTo>
                    <a:pt x="173" y="316"/>
                  </a:lnTo>
                  <a:lnTo>
                    <a:pt x="174" y="317"/>
                  </a:lnTo>
                  <a:lnTo>
                    <a:pt x="178" y="317"/>
                  </a:lnTo>
                  <a:lnTo>
                    <a:pt x="179" y="314"/>
                  </a:lnTo>
                  <a:lnTo>
                    <a:pt x="181" y="314"/>
                  </a:lnTo>
                  <a:lnTo>
                    <a:pt x="181" y="317"/>
                  </a:lnTo>
                  <a:lnTo>
                    <a:pt x="183" y="316"/>
                  </a:lnTo>
                  <a:lnTo>
                    <a:pt x="186" y="321"/>
                  </a:lnTo>
                  <a:lnTo>
                    <a:pt x="184" y="321"/>
                  </a:lnTo>
                  <a:lnTo>
                    <a:pt x="179" y="321"/>
                  </a:lnTo>
                  <a:lnTo>
                    <a:pt x="178" y="319"/>
                  </a:lnTo>
                  <a:lnTo>
                    <a:pt x="173" y="321"/>
                  </a:lnTo>
                  <a:lnTo>
                    <a:pt x="167" y="317"/>
                  </a:lnTo>
                  <a:lnTo>
                    <a:pt x="166" y="314"/>
                  </a:lnTo>
                  <a:lnTo>
                    <a:pt x="167" y="310"/>
                  </a:lnTo>
                  <a:lnTo>
                    <a:pt x="169" y="310"/>
                  </a:lnTo>
                  <a:close/>
                  <a:moveTo>
                    <a:pt x="367" y="210"/>
                  </a:moveTo>
                  <a:lnTo>
                    <a:pt x="365" y="208"/>
                  </a:lnTo>
                  <a:lnTo>
                    <a:pt x="365" y="199"/>
                  </a:lnTo>
                  <a:lnTo>
                    <a:pt x="367" y="210"/>
                  </a:lnTo>
                  <a:close/>
                  <a:moveTo>
                    <a:pt x="135" y="18"/>
                  </a:moveTo>
                  <a:lnTo>
                    <a:pt x="137" y="18"/>
                  </a:lnTo>
                  <a:lnTo>
                    <a:pt x="137" y="22"/>
                  </a:lnTo>
                  <a:lnTo>
                    <a:pt x="135" y="22"/>
                  </a:lnTo>
                  <a:lnTo>
                    <a:pt x="135" y="18"/>
                  </a:lnTo>
                  <a:close/>
                  <a:moveTo>
                    <a:pt x="145" y="15"/>
                  </a:moveTo>
                  <a:lnTo>
                    <a:pt x="145" y="18"/>
                  </a:lnTo>
                  <a:lnTo>
                    <a:pt x="144" y="18"/>
                  </a:lnTo>
                  <a:lnTo>
                    <a:pt x="142" y="18"/>
                  </a:lnTo>
                  <a:lnTo>
                    <a:pt x="142" y="13"/>
                  </a:lnTo>
                  <a:lnTo>
                    <a:pt x="145" y="15"/>
                  </a:lnTo>
                  <a:close/>
                  <a:moveTo>
                    <a:pt x="142" y="0"/>
                  </a:moveTo>
                  <a:lnTo>
                    <a:pt x="144" y="1"/>
                  </a:lnTo>
                  <a:lnTo>
                    <a:pt x="140" y="3"/>
                  </a:lnTo>
                  <a:lnTo>
                    <a:pt x="144" y="5"/>
                  </a:lnTo>
                  <a:lnTo>
                    <a:pt x="142" y="13"/>
                  </a:lnTo>
                  <a:lnTo>
                    <a:pt x="135" y="15"/>
                  </a:lnTo>
                  <a:lnTo>
                    <a:pt x="132" y="17"/>
                  </a:lnTo>
                  <a:lnTo>
                    <a:pt x="130" y="12"/>
                  </a:lnTo>
                  <a:lnTo>
                    <a:pt x="132" y="17"/>
                  </a:lnTo>
                  <a:lnTo>
                    <a:pt x="135" y="18"/>
                  </a:lnTo>
                  <a:lnTo>
                    <a:pt x="132" y="25"/>
                  </a:lnTo>
                  <a:lnTo>
                    <a:pt x="133" y="25"/>
                  </a:lnTo>
                  <a:lnTo>
                    <a:pt x="135" y="22"/>
                  </a:lnTo>
                  <a:lnTo>
                    <a:pt x="137" y="22"/>
                  </a:lnTo>
                  <a:lnTo>
                    <a:pt x="138" y="20"/>
                  </a:lnTo>
                  <a:lnTo>
                    <a:pt x="144" y="20"/>
                  </a:lnTo>
                  <a:lnTo>
                    <a:pt x="149" y="22"/>
                  </a:lnTo>
                  <a:lnTo>
                    <a:pt x="150" y="30"/>
                  </a:lnTo>
                  <a:lnTo>
                    <a:pt x="150" y="27"/>
                  </a:lnTo>
                  <a:lnTo>
                    <a:pt x="159" y="25"/>
                  </a:lnTo>
                  <a:lnTo>
                    <a:pt x="164" y="30"/>
                  </a:lnTo>
                  <a:lnTo>
                    <a:pt x="164" y="32"/>
                  </a:lnTo>
                  <a:lnTo>
                    <a:pt x="166" y="30"/>
                  </a:lnTo>
                  <a:lnTo>
                    <a:pt x="167" y="32"/>
                  </a:lnTo>
                  <a:lnTo>
                    <a:pt x="167" y="30"/>
                  </a:lnTo>
                  <a:lnTo>
                    <a:pt x="173" y="32"/>
                  </a:lnTo>
                  <a:lnTo>
                    <a:pt x="171" y="34"/>
                  </a:lnTo>
                  <a:lnTo>
                    <a:pt x="174" y="32"/>
                  </a:lnTo>
                  <a:lnTo>
                    <a:pt x="178" y="34"/>
                  </a:lnTo>
                  <a:lnTo>
                    <a:pt x="178" y="39"/>
                  </a:lnTo>
                  <a:lnTo>
                    <a:pt x="179" y="37"/>
                  </a:lnTo>
                  <a:lnTo>
                    <a:pt x="179" y="39"/>
                  </a:lnTo>
                  <a:lnTo>
                    <a:pt x="178" y="42"/>
                  </a:lnTo>
                  <a:lnTo>
                    <a:pt x="181" y="41"/>
                  </a:lnTo>
                  <a:lnTo>
                    <a:pt x="183" y="44"/>
                  </a:lnTo>
                  <a:lnTo>
                    <a:pt x="193" y="47"/>
                  </a:lnTo>
                  <a:lnTo>
                    <a:pt x="193" y="46"/>
                  </a:lnTo>
                  <a:lnTo>
                    <a:pt x="196" y="49"/>
                  </a:lnTo>
                  <a:lnTo>
                    <a:pt x="198" y="59"/>
                  </a:lnTo>
                  <a:lnTo>
                    <a:pt x="195" y="61"/>
                  </a:lnTo>
                  <a:lnTo>
                    <a:pt x="193" y="63"/>
                  </a:lnTo>
                  <a:lnTo>
                    <a:pt x="195" y="61"/>
                  </a:lnTo>
                  <a:lnTo>
                    <a:pt x="196" y="61"/>
                  </a:lnTo>
                  <a:lnTo>
                    <a:pt x="200" y="59"/>
                  </a:lnTo>
                  <a:lnTo>
                    <a:pt x="198" y="63"/>
                  </a:lnTo>
                  <a:lnTo>
                    <a:pt x="203" y="63"/>
                  </a:lnTo>
                  <a:lnTo>
                    <a:pt x="207" y="68"/>
                  </a:lnTo>
                  <a:lnTo>
                    <a:pt x="208" y="68"/>
                  </a:lnTo>
                  <a:lnTo>
                    <a:pt x="219" y="73"/>
                  </a:lnTo>
                  <a:lnTo>
                    <a:pt x="227" y="75"/>
                  </a:lnTo>
                  <a:lnTo>
                    <a:pt x="229" y="76"/>
                  </a:lnTo>
                  <a:lnTo>
                    <a:pt x="236" y="80"/>
                  </a:lnTo>
                  <a:lnTo>
                    <a:pt x="241" y="82"/>
                  </a:lnTo>
                  <a:lnTo>
                    <a:pt x="248" y="87"/>
                  </a:lnTo>
                  <a:lnTo>
                    <a:pt x="253" y="88"/>
                  </a:lnTo>
                  <a:lnTo>
                    <a:pt x="258" y="92"/>
                  </a:lnTo>
                  <a:lnTo>
                    <a:pt x="266" y="97"/>
                  </a:lnTo>
                  <a:lnTo>
                    <a:pt x="265" y="99"/>
                  </a:lnTo>
                  <a:lnTo>
                    <a:pt x="268" y="97"/>
                  </a:lnTo>
                  <a:lnTo>
                    <a:pt x="272" y="104"/>
                  </a:lnTo>
                  <a:lnTo>
                    <a:pt x="272" y="106"/>
                  </a:lnTo>
                  <a:lnTo>
                    <a:pt x="273" y="104"/>
                  </a:lnTo>
                  <a:lnTo>
                    <a:pt x="277" y="107"/>
                  </a:lnTo>
                  <a:lnTo>
                    <a:pt x="284" y="109"/>
                  </a:lnTo>
                  <a:lnTo>
                    <a:pt x="290" y="114"/>
                  </a:lnTo>
                  <a:lnTo>
                    <a:pt x="290" y="117"/>
                  </a:lnTo>
                  <a:lnTo>
                    <a:pt x="292" y="117"/>
                  </a:lnTo>
                  <a:lnTo>
                    <a:pt x="299" y="126"/>
                  </a:lnTo>
                  <a:lnTo>
                    <a:pt x="302" y="128"/>
                  </a:lnTo>
                  <a:lnTo>
                    <a:pt x="304" y="128"/>
                  </a:lnTo>
                  <a:lnTo>
                    <a:pt x="307" y="128"/>
                  </a:lnTo>
                  <a:lnTo>
                    <a:pt x="314" y="129"/>
                  </a:lnTo>
                  <a:lnTo>
                    <a:pt x="323" y="135"/>
                  </a:lnTo>
                  <a:lnTo>
                    <a:pt x="324" y="138"/>
                  </a:lnTo>
                  <a:lnTo>
                    <a:pt x="331" y="147"/>
                  </a:lnTo>
                  <a:lnTo>
                    <a:pt x="336" y="150"/>
                  </a:lnTo>
                  <a:lnTo>
                    <a:pt x="336" y="157"/>
                  </a:lnTo>
                  <a:lnTo>
                    <a:pt x="336" y="152"/>
                  </a:lnTo>
                  <a:lnTo>
                    <a:pt x="340" y="150"/>
                  </a:lnTo>
                  <a:lnTo>
                    <a:pt x="345" y="158"/>
                  </a:lnTo>
                  <a:lnTo>
                    <a:pt x="350" y="162"/>
                  </a:lnTo>
                  <a:lnTo>
                    <a:pt x="350" y="160"/>
                  </a:lnTo>
                  <a:lnTo>
                    <a:pt x="352" y="160"/>
                  </a:lnTo>
                  <a:lnTo>
                    <a:pt x="352" y="162"/>
                  </a:lnTo>
                  <a:lnTo>
                    <a:pt x="350" y="172"/>
                  </a:lnTo>
                  <a:lnTo>
                    <a:pt x="352" y="177"/>
                  </a:lnTo>
                  <a:lnTo>
                    <a:pt x="350" y="184"/>
                  </a:lnTo>
                  <a:lnTo>
                    <a:pt x="347" y="189"/>
                  </a:lnTo>
                  <a:lnTo>
                    <a:pt x="348" y="191"/>
                  </a:lnTo>
                  <a:lnTo>
                    <a:pt x="357" y="186"/>
                  </a:lnTo>
                  <a:lnTo>
                    <a:pt x="362" y="189"/>
                  </a:lnTo>
                  <a:lnTo>
                    <a:pt x="364" y="194"/>
                  </a:lnTo>
                  <a:lnTo>
                    <a:pt x="364" y="201"/>
                  </a:lnTo>
                  <a:lnTo>
                    <a:pt x="365" y="208"/>
                  </a:lnTo>
                  <a:lnTo>
                    <a:pt x="369" y="211"/>
                  </a:lnTo>
                  <a:lnTo>
                    <a:pt x="369" y="210"/>
                  </a:lnTo>
                  <a:lnTo>
                    <a:pt x="367" y="201"/>
                  </a:lnTo>
                  <a:lnTo>
                    <a:pt x="367" y="196"/>
                  </a:lnTo>
                  <a:lnTo>
                    <a:pt x="372" y="191"/>
                  </a:lnTo>
                  <a:lnTo>
                    <a:pt x="379" y="191"/>
                  </a:lnTo>
                  <a:lnTo>
                    <a:pt x="381" y="198"/>
                  </a:lnTo>
                  <a:lnTo>
                    <a:pt x="384" y="201"/>
                  </a:lnTo>
                  <a:lnTo>
                    <a:pt x="386" y="205"/>
                  </a:lnTo>
                  <a:lnTo>
                    <a:pt x="391" y="211"/>
                  </a:lnTo>
                  <a:lnTo>
                    <a:pt x="388" y="220"/>
                  </a:lnTo>
                  <a:lnTo>
                    <a:pt x="388" y="223"/>
                  </a:lnTo>
                  <a:lnTo>
                    <a:pt x="388" y="232"/>
                  </a:lnTo>
                  <a:lnTo>
                    <a:pt x="391" y="240"/>
                  </a:lnTo>
                  <a:lnTo>
                    <a:pt x="396" y="249"/>
                  </a:lnTo>
                  <a:lnTo>
                    <a:pt x="396" y="254"/>
                  </a:lnTo>
                  <a:lnTo>
                    <a:pt x="393" y="261"/>
                  </a:lnTo>
                  <a:lnTo>
                    <a:pt x="391" y="268"/>
                  </a:lnTo>
                  <a:lnTo>
                    <a:pt x="389" y="278"/>
                  </a:lnTo>
                  <a:lnTo>
                    <a:pt x="391" y="287"/>
                  </a:lnTo>
                  <a:lnTo>
                    <a:pt x="388" y="290"/>
                  </a:lnTo>
                  <a:lnTo>
                    <a:pt x="386" y="297"/>
                  </a:lnTo>
                  <a:lnTo>
                    <a:pt x="388" y="300"/>
                  </a:lnTo>
                  <a:lnTo>
                    <a:pt x="394" y="300"/>
                  </a:lnTo>
                  <a:lnTo>
                    <a:pt x="394" y="307"/>
                  </a:lnTo>
                  <a:lnTo>
                    <a:pt x="391" y="314"/>
                  </a:lnTo>
                  <a:lnTo>
                    <a:pt x="396" y="316"/>
                  </a:lnTo>
                  <a:lnTo>
                    <a:pt x="401" y="314"/>
                  </a:lnTo>
                  <a:lnTo>
                    <a:pt x="401" y="316"/>
                  </a:lnTo>
                  <a:lnTo>
                    <a:pt x="401" y="324"/>
                  </a:lnTo>
                  <a:lnTo>
                    <a:pt x="403" y="328"/>
                  </a:lnTo>
                  <a:lnTo>
                    <a:pt x="403" y="336"/>
                  </a:lnTo>
                  <a:lnTo>
                    <a:pt x="401" y="340"/>
                  </a:lnTo>
                  <a:lnTo>
                    <a:pt x="400" y="340"/>
                  </a:lnTo>
                  <a:lnTo>
                    <a:pt x="391" y="340"/>
                  </a:lnTo>
                  <a:lnTo>
                    <a:pt x="391" y="338"/>
                  </a:lnTo>
                  <a:lnTo>
                    <a:pt x="386" y="338"/>
                  </a:lnTo>
                  <a:lnTo>
                    <a:pt x="388" y="340"/>
                  </a:lnTo>
                  <a:lnTo>
                    <a:pt x="394" y="343"/>
                  </a:lnTo>
                  <a:lnTo>
                    <a:pt x="389" y="345"/>
                  </a:lnTo>
                  <a:lnTo>
                    <a:pt x="386" y="343"/>
                  </a:lnTo>
                  <a:lnTo>
                    <a:pt x="377" y="346"/>
                  </a:lnTo>
                  <a:lnTo>
                    <a:pt x="369" y="346"/>
                  </a:lnTo>
                  <a:lnTo>
                    <a:pt x="359" y="348"/>
                  </a:lnTo>
                  <a:lnTo>
                    <a:pt x="357" y="350"/>
                  </a:lnTo>
                  <a:lnTo>
                    <a:pt x="355" y="351"/>
                  </a:lnTo>
                  <a:lnTo>
                    <a:pt x="357" y="355"/>
                  </a:lnTo>
                  <a:lnTo>
                    <a:pt x="362" y="362"/>
                  </a:lnTo>
                  <a:lnTo>
                    <a:pt x="367" y="365"/>
                  </a:lnTo>
                  <a:lnTo>
                    <a:pt x="367" y="369"/>
                  </a:lnTo>
                  <a:lnTo>
                    <a:pt x="369" y="374"/>
                  </a:lnTo>
                  <a:lnTo>
                    <a:pt x="374" y="380"/>
                  </a:lnTo>
                  <a:lnTo>
                    <a:pt x="369" y="380"/>
                  </a:lnTo>
                  <a:lnTo>
                    <a:pt x="367" y="386"/>
                  </a:lnTo>
                  <a:lnTo>
                    <a:pt x="372" y="394"/>
                  </a:lnTo>
                  <a:lnTo>
                    <a:pt x="369" y="396"/>
                  </a:lnTo>
                  <a:lnTo>
                    <a:pt x="371" y="399"/>
                  </a:lnTo>
                  <a:lnTo>
                    <a:pt x="367" y="403"/>
                  </a:lnTo>
                  <a:lnTo>
                    <a:pt x="369" y="408"/>
                  </a:lnTo>
                  <a:lnTo>
                    <a:pt x="369" y="413"/>
                  </a:lnTo>
                  <a:lnTo>
                    <a:pt x="367" y="413"/>
                  </a:lnTo>
                  <a:lnTo>
                    <a:pt x="367" y="415"/>
                  </a:lnTo>
                  <a:lnTo>
                    <a:pt x="374" y="423"/>
                  </a:lnTo>
                  <a:lnTo>
                    <a:pt x="372" y="423"/>
                  </a:lnTo>
                  <a:lnTo>
                    <a:pt x="362" y="418"/>
                  </a:lnTo>
                  <a:lnTo>
                    <a:pt x="360" y="418"/>
                  </a:lnTo>
                  <a:lnTo>
                    <a:pt x="352" y="413"/>
                  </a:lnTo>
                  <a:lnTo>
                    <a:pt x="348" y="413"/>
                  </a:lnTo>
                  <a:lnTo>
                    <a:pt x="347" y="410"/>
                  </a:lnTo>
                  <a:lnTo>
                    <a:pt x="336" y="406"/>
                  </a:lnTo>
                  <a:lnTo>
                    <a:pt x="333" y="408"/>
                  </a:lnTo>
                  <a:lnTo>
                    <a:pt x="333" y="416"/>
                  </a:lnTo>
                  <a:lnTo>
                    <a:pt x="335" y="418"/>
                  </a:lnTo>
                  <a:lnTo>
                    <a:pt x="331" y="427"/>
                  </a:lnTo>
                  <a:lnTo>
                    <a:pt x="333" y="430"/>
                  </a:lnTo>
                  <a:lnTo>
                    <a:pt x="342" y="433"/>
                  </a:lnTo>
                  <a:lnTo>
                    <a:pt x="342" y="439"/>
                  </a:lnTo>
                  <a:lnTo>
                    <a:pt x="348" y="449"/>
                  </a:lnTo>
                  <a:lnTo>
                    <a:pt x="347" y="454"/>
                  </a:lnTo>
                  <a:lnTo>
                    <a:pt x="342" y="459"/>
                  </a:lnTo>
                  <a:lnTo>
                    <a:pt x="331" y="459"/>
                  </a:lnTo>
                  <a:lnTo>
                    <a:pt x="324" y="457"/>
                  </a:lnTo>
                  <a:lnTo>
                    <a:pt x="319" y="461"/>
                  </a:lnTo>
                  <a:lnTo>
                    <a:pt x="314" y="457"/>
                  </a:lnTo>
                  <a:lnTo>
                    <a:pt x="311" y="449"/>
                  </a:lnTo>
                  <a:lnTo>
                    <a:pt x="302" y="454"/>
                  </a:lnTo>
                  <a:lnTo>
                    <a:pt x="297" y="452"/>
                  </a:lnTo>
                  <a:lnTo>
                    <a:pt x="294" y="449"/>
                  </a:lnTo>
                  <a:lnTo>
                    <a:pt x="290" y="451"/>
                  </a:lnTo>
                  <a:lnTo>
                    <a:pt x="284" y="456"/>
                  </a:lnTo>
                  <a:lnTo>
                    <a:pt x="282" y="456"/>
                  </a:lnTo>
                  <a:lnTo>
                    <a:pt x="280" y="459"/>
                  </a:lnTo>
                  <a:lnTo>
                    <a:pt x="278" y="461"/>
                  </a:lnTo>
                  <a:lnTo>
                    <a:pt x="275" y="468"/>
                  </a:lnTo>
                  <a:lnTo>
                    <a:pt x="272" y="473"/>
                  </a:lnTo>
                  <a:lnTo>
                    <a:pt x="263" y="474"/>
                  </a:lnTo>
                  <a:lnTo>
                    <a:pt x="256" y="480"/>
                  </a:lnTo>
                  <a:lnTo>
                    <a:pt x="256" y="481"/>
                  </a:lnTo>
                  <a:lnTo>
                    <a:pt x="253" y="486"/>
                  </a:lnTo>
                  <a:lnTo>
                    <a:pt x="249" y="485"/>
                  </a:lnTo>
                  <a:lnTo>
                    <a:pt x="251" y="481"/>
                  </a:lnTo>
                  <a:lnTo>
                    <a:pt x="251" y="476"/>
                  </a:lnTo>
                  <a:lnTo>
                    <a:pt x="246" y="473"/>
                  </a:lnTo>
                  <a:lnTo>
                    <a:pt x="249" y="468"/>
                  </a:lnTo>
                  <a:lnTo>
                    <a:pt x="248" y="457"/>
                  </a:lnTo>
                  <a:lnTo>
                    <a:pt x="246" y="454"/>
                  </a:lnTo>
                  <a:lnTo>
                    <a:pt x="244" y="454"/>
                  </a:lnTo>
                  <a:lnTo>
                    <a:pt x="243" y="451"/>
                  </a:lnTo>
                  <a:lnTo>
                    <a:pt x="246" y="451"/>
                  </a:lnTo>
                  <a:lnTo>
                    <a:pt x="246" y="445"/>
                  </a:lnTo>
                  <a:lnTo>
                    <a:pt x="243" y="440"/>
                  </a:lnTo>
                  <a:lnTo>
                    <a:pt x="241" y="439"/>
                  </a:lnTo>
                  <a:lnTo>
                    <a:pt x="239" y="440"/>
                  </a:lnTo>
                  <a:lnTo>
                    <a:pt x="237" y="439"/>
                  </a:lnTo>
                  <a:lnTo>
                    <a:pt x="241" y="435"/>
                  </a:lnTo>
                  <a:lnTo>
                    <a:pt x="237" y="433"/>
                  </a:lnTo>
                  <a:lnTo>
                    <a:pt x="241" y="432"/>
                  </a:lnTo>
                  <a:lnTo>
                    <a:pt x="239" y="425"/>
                  </a:lnTo>
                  <a:lnTo>
                    <a:pt x="237" y="423"/>
                  </a:lnTo>
                  <a:lnTo>
                    <a:pt x="234" y="416"/>
                  </a:lnTo>
                  <a:lnTo>
                    <a:pt x="232" y="416"/>
                  </a:lnTo>
                  <a:lnTo>
                    <a:pt x="229" y="413"/>
                  </a:lnTo>
                  <a:lnTo>
                    <a:pt x="231" y="413"/>
                  </a:lnTo>
                  <a:lnTo>
                    <a:pt x="229" y="404"/>
                  </a:lnTo>
                  <a:lnTo>
                    <a:pt x="227" y="396"/>
                  </a:lnTo>
                  <a:lnTo>
                    <a:pt x="224" y="389"/>
                  </a:lnTo>
                  <a:lnTo>
                    <a:pt x="222" y="379"/>
                  </a:lnTo>
                  <a:lnTo>
                    <a:pt x="220" y="375"/>
                  </a:lnTo>
                  <a:lnTo>
                    <a:pt x="217" y="370"/>
                  </a:lnTo>
                  <a:lnTo>
                    <a:pt x="214" y="362"/>
                  </a:lnTo>
                  <a:lnTo>
                    <a:pt x="215" y="357"/>
                  </a:lnTo>
                  <a:lnTo>
                    <a:pt x="212" y="350"/>
                  </a:lnTo>
                  <a:lnTo>
                    <a:pt x="207" y="343"/>
                  </a:lnTo>
                  <a:lnTo>
                    <a:pt x="208" y="343"/>
                  </a:lnTo>
                  <a:lnTo>
                    <a:pt x="205" y="336"/>
                  </a:lnTo>
                  <a:lnTo>
                    <a:pt x="198" y="328"/>
                  </a:lnTo>
                  <a:lnTo>
                    <a:pt x="200" y="326"/>
                  </a:lnTo>
                  <a:lnTo>
                    <a:pt x="205" y="331"/>
                  </a:lnTo>
                  <a:lnTo>
                    <a:pt x="207" y="326"/>
                  </a:lnTo>
                  <a:lnTo>
                    <a:pt x="210" y="328"/>
                  </a:lnTo>
                  <a:lnTo>
                    <a:pt x="208" y="322"/>
                  </a:lnTo>
                  <a:lnTo>
                    <a:pt x="212" y="322"/>
                  </a:lnTo>
                  <a:lnTo>
                    <a:pt x="214" y="319"/>
                  </a:lnTo>
                  <a:lnTo>
                    <a:pt x="214" y="317"/>
                  </a:lnTo>
                  <a:lnTo>
                    <a:pt x="212" y="316"/>
                  </a:lnTo>
                  <a:lnTo>
                    <a:pt x="212" y="314"/>
                  </a:lnTo>
                  <a:lnTo>
                    <a:pt x="207" y="312"/>
                  </a:lnTo>
                  <a:lnTo>
                    <a:pt x="207" y="309"/>
                  </a:lnTo>
                  <a:lnTo>
                    <a:pt x="208" y="307"/>
                  </a:lnTo>
                  <a:lnTo>
                    <a:pt x="202" y="300"/>
                  </a:lnTo>
                  <a:lnTo>
                    <a:pt x="193" y="302"/>
                  </a:lnTo>
                  <a:lnTo>
                    <a:pt x="196" y="302"/>
                  </a:lnTo>
                  <a:lnTo>
                    <a:pt x="198" y="304"/>
                  </a:lnTo>
                  <a:lnTo>
                    <a:pt x="200" y="302"/>
                  </a:lnTo>
                  <a:lnTo>
                    <a:pt x="202" y="309"/>
                  </a:lnTo>
                  <a:lnTo>
                    <a:pt x="195" y="307"/>
                  </a:lnTo>
                  <a:lnTo>
                    <a:pt x="190" y="300"/>
                  </a:lnTo>
                  <a:lnTo>
                    <a:pt x="186" y="295"/>
                  </a:lnTo>
                  <a:lnTo>
                    <a:pt x="181" y="290"/>
                  </a:lnTo>
                  <a:lnTo>
                    <a:pt x="178" y="287"/>
                  </a:lnTo>
                  <a:lnTo>
                    <a:pt x="173" y="281"/>
                  </a:lnTo>
                  <a:lnTo>
                    <a:pt x="167" y="276"/>
                  </a:lnTo>
                  <a:lnTo>
                    <a:pt x="159" y="273"/>
                  </a:lnTo>
                  <a:lnTo>
                    <a:pt x="155" y="275"/>
                  </a:lnTo>
                  <a:lnTo>
                    <a:pt x="157" y="273"/>
                  </a:lnTo>
                  <a:lnTo>
                    <a:pt x="154" y="269"/>
                  </a:lnTo>
                  <a:lnTo>
                    <a:pt x="150" y="271"/>
                  </a:lnTo>
                  <a:lnTo>
                    <a:pt x="147" y="269"/>
                  </a:lnTo>
                  <a:lnTo>
                    <a:pt x="145" y="271"/>
                  </a:lnTo>
                  <a:lnTo>
                    <a:pt x="145" y="269"/>
                  </a:lnTo>
                  <a:lnTo>
                    <a:pt x="144" y="268"/>
                  </a:lnTo>
                  <a:lnTo>
                    <a:pt x="135" y="261"/>
                  </a:lnTo>
                  <a:lnTo>
                    <a:pt x="128" y="256"/>
                  </a:lnTo>
                  <a:lnTo>
                    <a:pt x="135" y="246"/>
                  </a:lnTo>
                  <a:lnTo>
                    <a:pt x="137" y="237"/>
                  </a:lnTo>
                  <a:lnTo>
                    <a:pt x="135" y="235"/>
                  </a:lnTo>
                  <a:lnTo>
                    <a:pt x="133" y="228"/>
                  </a:lnTo>
                  <a:lnTo>
                    <a:pt x="130" y="223"/>
                  </a:lnTo>
                  <a:lnTo>
                    <a:pt x="125" y="217"/>
                  </a:lnTo>
                  <a:lnTo>
                    <a:pt x="123" y="213"/>
                  </a:lnTo>
                  <a:lnTo>
                    <a:pt x="123" y="203"/>
                  </a:lnTo>
                  <a:lnTo>
                    <a:pt x="126" y="201"/>
                  </a:lnTo>
                  <a:lnTo>
                    <a:pt x="125" y="193"/>
                  </a:lnTo>
                  <a:lnTo>
                    <a:pt x="121" y="187"/>
                  </a:lnTo>
                  <a:lnTo>
                    <a:pt x="121" y="184"/>
                  </a:lnTo>
                  <a:lnTo>
                    <a:pt x="126" y="181"/>
                  </a:lnTo>
                  <a:lnTo>
                    <a:pt x="125" y="176"/>
                  </a:lnTo>
                  <a:lnTo>
                    <a:pt x="120" y="177"/>
                  </a:lnTo>
                  <a:lnTo>
                    <a:pt x="115" y="170"/>
                  </a:lnTo>
                  <a:lnTo>
                    <a:pt x="106" y="167"/>
                  </a:lnTo>
                  <a:lnTo>
                    <a:pt x="108" y="157"/>
                  </a:lnTo>
                  <a:lnTo>
                    <a:pt x="106" y="157"/>
                  </a:lnTo>
                  <a:lnTo>
                    <a:pt x="106" y="153"/>
                  </a:lnTo>
                  <a:lnTo>
                    <a:pt x="104" y="148"/>
                  </a:lnTo>
                  <a:lnTo>
                    <a:pt x="106" y="147"/>
                  </a:lnTo>
                  <a:lnTo>
                    <a:pt x="109" y="147"/>
                  </a:lnTo>
                  <a:lnTo>
                    <a:pt x="111" y="141"/>
                  </a:lnTo>
                  <a:lnTo>
                    <a:pt x="106" y="135"/>
                  </a:lnTo>
                  <a:lnTo>
                    <a:pt x="104" y="128"/>
                  </a:lnTo>
                  <a:lnTo>
                    <a:pt x="97" y="124"/>
                  </a:lnTo>
                  <a:lnTo>
                    <a:pt x="106" y="123"/>
                  </a:lnTo>
                  <a:lnTo>
                    <a:pt x="108" y="121"/>
                  </a:lnTo>
                  <a:lnTo>
                    <a:pt x="113" y="121"/>
                  </a:lnTo>
                  <a:lnTo>
                    <a:pt x="116" y="119"/>
                  </a:lnTo>
                  <a:lnTo>
                    <a:pt x="116" y="116"/>
                  </a:lnTo>
                  <a:lnTo>
                    <a:pt x="113" y="111"/>
                  </a:lnTo>
                  <a:lnTo>
                    <a:pt x="106" y="107"/>
                  </a:lnTo>
                  <a:lnTo>
                    <a:pt x="103" y="109"/>
                  </a:lnTo>
                  <a:lnTo>
                    <a:pt x="101" y="106"/>
                  </a:lnTo>
                  <a:lnTo>
                    <a:pt x="104" y="104"/>
                  </a:lnTo>
                  <a:lnTo>
                    <a:pt x="108" y="97"/>
                  </a:lnTo>
                  <a:lnTo>
                    <a:pt x="104" y="95"/>
                  </a:lnTo>
                  <a:lnTo>
                    <a:pt x="103" y="88"/>
                  </a:lnTo>
                  <a:lnTo>
                    <a:pt x="97" y="87"/>
                  </a:lnTo>
                  <a:lnTo>
                    <a:pt x="97" y="82"/>
                  </a:lnTo>
                  <a:lnTo>
                    <a:pt x="96" y="80"/>
                  </a:lnTo>
                  <a:lnTo>
                    <a:pt x="94" y="76"/>
                  </a:lnTo>
                  <a:lnTo>
                    <a:pt x="89" y="68"/>
                  </a:lnTo>
                  <a:lnTo>
                    <a:pt x="94" y="63"/>
                  </a:lnTo>
                  <a:lnTo>
                    <a:pt x="103" y="56"/>
                  </a:lnTo>
                  <a:lnTo>
                    <a:pt x="104" y="54"/>
                  </a:lnTo>
                  <a:lnTo>
                    <a:pt x="103" y="49"/>
                  </a:lnTo>
                  <a:lnTo>
                    <a:pt x="108" y="49"/>
                  </a:lnTo>
                  <a:lnTo>
                    <a:pt x="108" y="44"/>
                  </a:lnTo>
                  <a:lnTo>
                    <a:pt x="116" y="39"/>
                  </a:lnTo>
                  <a:lnTo>
                    <a:pt x="116" y="34"/>
                  </a:lnTo>
                  <a:lnTo>
                    <a:pt x="118" y="32"/>
                  </a:lnTo>
                  <a:lnTo>
                    <a:pt x="118" y="29"/>
                  </a:lnTo>
                  <a:lnTo>
                    <a:pt x="120" y="20"/>
                  </a:lnTo>
                  <a:lnTo>
                    <a:pt x="121" y="18"/>
                  </a:lnTo>
                  <a:lnTo>
                    <a:pt x="120" y="13"/>
                  </a:lnTo>
                  <a:lnTo>
                    <a:pt x="125" y="10"/>
                  </a:lnTo>
                  <a:lnTo>
                    <a:pt x="121" y="6"/>
                  </a:lnTo>
                  <a:lnTo>
                    <a:pt x="123" y="5"/>
                  </a:lnTo>
                  <a:lnTo>
                    <a:pt x="130" y="5"/>
                  </a:lnTo>
                  <a:lnTo>
                    <a:pt x="132" y="1"/>
                  </a:lnTo>
                  <a:lnTo>
                    <a:pt x="135" y="1"/>
                  </a:lnTo>
                  <a:lnTo>
                    <a:pt x="137" y="0"/>
                  </a:lnTo>
                  <a:lnTo>
                    <a:pt x="138" y="1"/>
                  </a:lnTo>
                  <a:lnTo>
                    <a:pt x="142" y="1"/>
                  </a:lnTo>
                  <a:lnTo>
                    <a:pt x="142"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34" name="Freeform 51"/>
            <p:cNvSpPr>
              <a:spLocks noEditPoints="1"/>
            </p:cNvSpPr>
            <p:nvPr/>
          </p:nvSpPr>
          <p:spPr bwMode="gray">
            <a:xfrm>
              <a:off x="1975170" y="2601980"/>
              <a:ext cx="828179" cy="800817"/>
            </a:xfrm>
            <a:custGeom>
              <a:avLst/>
              <a:gdLst>
                <a:gd name="T0" fmla="*/ 422 w 454"/>
                <a:gd name="T1" fmla="*/ 351 h 439"/>
                <a:gd name="T2" fmla="*/ 413 w 454"/>
                <a:gd name="T3" fmla="*/ 337 h 439"/>
                <a:gd name="T4" fmla="*/ 412 w 454"/>
                <a:gd name="T5" fmla="*/ 328 h 439"/>
                <a:gd name="T6" fmla="*/ 343 w 454"/>
                <a:gd name="T7" fmla="*/ 267 h 439"/>
                <a:gd name="T8" fmla="*/ 377 w 454"/>
                <a:gd name="T9" fmla="*/ 251 h 439"/>
                <a:gd name="T10" fmla="*/ 367 w 454"/>
                <a:gd name="T11" fmla="*/ 233 h 439"/>
                <a:gd name="T12" fmla="*/ 391 w 454"/>
                <a:gd name="T13" fmla="*/ 240 h 439"/>
                <a:gd name="T14" fmla="*/ 345 w 454"/>
                <a:gd name="T15" fmla="*/ 212 h 439"/>
                <a:gd name="T16" fmla="*/ 367 w 454"/>
                <a:gd name="T17" fmla="*/ 209 h 439"/>
                <a:gd name="T18" fmla="*/ 319 w 454"/>
                <a:gd name="T19" fmla="*/ 183 h 439"/>
                <a:gd name="T20" fmla="*/ 364 w 454"/>
                <a:gd name="T21" fmla="*/ 210 h 439"/>
                <a:gd name="T22" fmla="*/ 306 w 454"/>
                <a:gd name="T23" fmla="*/ 212 h 439"/>
                <a:gd name="T24" fmla="*/ 294 w 454"/>
                <a:gd name="T25" fmla="*/ 168 h 439"/>
                <a:gd name="T26" fmla="*/ 376 w 454"/>
                <a:gd name="T27" fmla="*/ 197 h 439"/>
                <a:gd name="T28" fmla="*/ 326 w 454"/>
                <a:gd name="T29" fmla="*/ 180 h 439"/>
                <a:gd name="T30" fmla="*/ 273 w 454"/>
                <a:gd name="T31" fmla="*/ 135 h 439"/>
                <a:gd name="T32" fmla="*/ 292 w 454"/>
                <a:gd name="T33" fmla="*/ 168 h 439"/>
                <a:gd name="T34" fmla="*/ 265 w 454"/>
                <a:gd name="T35" fmla="*/ 171 h 439"/>
                <a:gd name="T36" fmla="*/ 260 w 454"/>
                <a:gd name="T37" fmla="*/ 115 h 439"/>
                <a:gd name="T38" fmla="*/ 297 w 454"/>
                <a:gd name="T39" fmla="*/ 149 h 439"/>
                <a:gd name="T40" fmla="*/ 253 w 454"/>
                <a:gd name="T41" fmla="*/ 129 h 439"/>
                <a:gd name="T42" fmla="*/ 162 w 454"/>
                <a:gd name="T43" fmla="*/ 89 h 439"/>
                <a:gd name="T44" fmla="*/ 99 w 454"/>
                <a:gd name="T45" fmla="*/ 57 h 439"/>
                <a:gd name="T46" fmla="*/ 212 w 454"/>
                <a:gd name="T47" fmla="*/ 72 h 439"/>
                <a:gd name="T48" fmla="*/ 171 w 454"/>
                <a:gd name="T49" fmla="*/ 96 h 439"/>
                <a:gd name="T50" fmla="*/ 186 w 454"/>
                <a:gd name="T51" fmla="*/ 60 h 439"/>
                <a:gd name="T52" fmla="*/ 120 w 454"/>
                <a:gd name="T53" fmla="*/ 28 h 439"/>
                <a:gd name="T54" fmla="*/ 384 w 454"/>
                <a:gd name="T55" fmla="*/ 395 h 439"/>
                <a:gd name="T56" fmla="*/ 331 w 454"/>
                <a:gd name="T57" fmla="*/ 424 h 439"/>
                <a:gd name="T58" fmla="*/ 282 w 454"/>
                <a:gd name="T59" fmla="*/ 427 h 439"/>
                <a:gd name="T60" fmla="*/ 253 w 454"/>
                <a:gd name="T61" fmla="*/ 412 h 439"/>
                <a:gd name="T62" fmla="*/ 217 w 454"/>
                <a:gd name="T63" fmla="*/ 421 h 439"/>
                <a:gd name="T64" fmla="*/ 176 w 454"/>
                <a:gd name="T65" fmla="*/ 397 h 439"/>
                <a:gd name="T66" fmla="*/ 137 w 454"/>
                <a:gd name="T67" fmla="*/ 368 h 439"/>
                <a:gd name="T68" fmla="*/ 98 w 454"/>
                <a:gd name="T69" fmla="*/ 339 h 439"/>
                <a:gd name="T70" fmla="*/ 99 w 454"/>
                <a:gd name="T71" fmla="*/ 298 h 439"/>
                <a:gd name="T72" fmla="*/ 72 w 454"/>
                <a:gd name="T73" fmla="*/ 277 h 439"/>
                <a:gd name="T74" fmla="*/ 36 w 454"/>
                <a:gd name="T75" fmla="*/ 255 h 439"/>
                <a:gd name="T76" fmla="*/ 26 w 454"/>
                <a:gd name="T77" fmla="*/ 216 h 439"/>
                <a:gd name="T78" fmla="*/ 12 w 454"/>
                <a:gd name="T79" fmla="*/ 175 h 439"/>
                <a:gd name="T80" fmla="*/ 14 w 454"/>
                <a:gd name="T81" fmla="*/ 135 h 439"/>
                <a:gd name="T82" fmla="*/ 48 w 454"/>
                <a:gd name="T83" fmla="*/ 125 h 439"/>
                <a:gd name="T84" fmla="*/ 33 w 454"/>
                <a:gd name="T85" fmla="*/ 79 h 439"/>
                <a:gd name="T86" fmla="*/ 36 w 454"/>
                <a:gd name="T87" fmla="*/ 0 h 439"/>
                <a:gd name="T88" fmla="*/ 75 w 454"/>
                <a:gd name="T89" fmla="*/ 48 h 439"/>
                <a:gd name="T90" fmla="*/ 98 w 454"/>
                <a:gd name="T91" fmla="*/ 53 h 439"/>
                <a:gd name="T92" fmla="*/ 115 w 454"/>
                <a:gd name="T93" fmla="*/ 29 h 439"/>
                <a:gd name="T94" fmla="*/ 161 w 454"/>
                <a:gd name="T95" fmla="*/ 84 h 439"/>
                <a:gd name="T96" fmla="*/ 217 w 454"/>
                <a:gd name="T97" fmla="*/ 113 h 439"/>
                <a:gd name="T98" fmla="*/ 258 w 454"/>
                <a:gd name="T99" fmla="*/ 156 h 439"/>
                <a:gd name="T100" fmla="*/ 278 w 454"/>
                <a:gd name="T101" fmla="*/ 199 h 439"/>
                <a:gd name="T102" fmla="*/ 342 w 454"/>
                <a:gd name="T103" fmla="*/ 216 h 439"/>
                <a:gd name="T104" fmla="*/ 345 w 454"/>
                <a:gd name="T105" fmla="*/ 263 h 439"/>
                <a:gd name="T106" fmla="*/ 377 w 454"/>
                <a:gd name="T107" fmla="*/ 253 h 439"/>
                <a:gd name="T108" fmla="*/ 429 w 454"/>
                <a:gd name="T109" fmla="*/ 262 h 439"/>
                <a:gd name="T110" fmla="*/ 449 w 454"/>
                <a:gd name="T111" fmla="*/ 291 h 439"/>
                <a:gd name="T112" fmla="*/ 425 w 454"/>
                <a:gd name="T113" fmla="*/ 308 h 439"/>
                <a:gd name="T114" fmla="*/ 412 w 454"/>
                <a:gd name="T115" fmla="*/ 318 h 439"/>
                <a:gd name="T116" fmla="*/ 395 w 454"/>
                <a:gd name="T117" fmla="*/ 345 h 439"/>
                <a:gd name="T118" fmla="*/ 420 w 454"/>
                <a:gd name="T119" fmla="*/ 364 h 439"/>
                <a:gd name="T120" fmla="*/ 405 w 454"/>
                <a:gd name="T121" fmla="*/ 38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4" h="439">
                  <a:moveTo>
                    <a:pt x="422" y="330"/>
                  </a:moveTo>
                  <a:lnTo>
                    <a:pt x="434" y="330"/>
                  </a:lnTo>
                  <a:lnTo>
                    <a:pt x="437" y="333"/>
                  </a:lnTo>
                  <a:lnTo>
                    <a:pt x="442" y="333"/>
                  </a:lnTo>
                  <a:lnTo>
                    <a:pt x="447" y="340"/>
                  </a:lnTo>
                  <a:lnTo>
                    <a:pt x="451" y="345"/>
                  </a:lnTo>
                  <a:lnTo>
                    <a:pt x="446" y="345"/>
                  </a:lnTo>
                  <a:lnTo>
                    <a:pt x="441" y="345"/>
                  </a:lnTo>
                  <a:lnTo>
                    <a:pt x="437" y="347"/>
                  </a:lnTo>
                  <a:lnTo>
                    <a:pt x="429" y="351"/>
                  </a:lnTo>
                  <a:lnTo>
                    <a:pt x="422" y="351"/>
                  </a:lnTo>
                  <a:lnTo>
                    <a:pt x="418" y="345"/>
                  </a:lnTo>
                  <a:lnTo>
                    <a:pt x="418" y="347"/>
                  </a:lnTo>
                  <a:lnTo>
                    <a:pt x="412" y="349"/>
                  </a:lnTo>
                  <a:lnTo>
                    <a:pt x="412" y="347"/>
                  </a:lnTo>
                  <a:lnTo>
                    <a:pt x="413" y="340"/>
                  </a:lnTo>
                  <a:lnTo>
                    <a:pt x="413" y="339"/>
                  </a:lnTo>
                  <a:lnTo>
                    <a:pt x="420" y="332"/>
                  </a:lnTo>
                  <a:lnTo>
                    <a:pt x="422" y="330"/>
                  </a:lnTo>
                  <a:close/>
                  <a:moveTo>
                    <a:pt x="418" y="328"/>
                  </a:moveTo>
                  <a:lnTo>
                    <a:pt x="418" y="330"/>
                  </a:lnTo>
                  <a:lnTo>
                    <a:pt x="413" y="337"/>
                  </a:lnTo>
                  <a:lnTo>
                    <a:pt x="412" y="340"/>
                  </a:lnTo>
                  <a:lnTo>
                    <a:pt x="412" y="344"/>
                  </a:lnTo>
                  <a:lnTo>
                    <a:pt x="408" y="347"/>
                  </a:lnTo>
                  <a:lnTo>
                    <a:pt x="400" y="345"/>
                  </a:lnTo>
                  <a:lnTo>
                    <a:pt x="391" y="342"/>
                  </a:lnTo>
                  <a:lnTo>
                    <a:pt x="389" y="339"/>
                  </a:lnTo>
                  <a:lnTo>
                    <a:pt x="384" y="337"/>
                  </a:lnTo>
                  <a:lnTo>
                    <a:pt x="389" y="333"/>
                  </a:lnTo>
                  <a:lnTo>
                    <a:pt x="396" y="333"/>
                  </a:lnTo>
                  <a:lnTo>
                    <a:pt x="403" y="333"/>
                  </a:lnTo>
                  <a:lnTo>
                    <a:pt x="412" y="328"/>
                  </a:lnTo>
                  <a:lnTo>
                    <a:pt x="418" y="328"/>
                  </a:lnTo>
                  <a:close/>
                  <a:moveTo>
                    <a:pt x="424" y="325"/>
                  </a:moveTo>
                  <a:lnTo>
                    <a:pt x="425" y="327"/>
                  </a:lnTo>
                  <a:lnTo>
                    <a:pt x="424" y="327"/>
                  </a:lnTo>
                  <a:lnTo>
                    <a:pt x="413" y="328"/>
                  </a:lnTo>
                  <a:lnTo>
                    <a:pt x="424" y="325"/>
                  </a:lnTo>
                  <a:close/>
                  <a:moveTo>
                    <a:pt x="345" y="269"/>
                  </a:moveTo>
                  <a:lnTo>
                    <a:pt x="338" y="272"/>
                  </a:lnTo>
                  <a:lnTo>
                    <a:pt x="335" y="272"/>
                  </a:lnTo>
                  <a:lnTo>
                    <a:pt x="336" y="269"/>
                  </a:lnTo>
                  <a:lnTo>
                    <a:pt x="343" y="267"/>
                  </a:lnTo>
                  <a:lnTo>
                    <a:pt x="348" y="265"/>
                  </a:lnTo>
                  <a:lnTo>
                    <a:pt x="348" y="267"/>
                  </a:lnTo>
                  <a:lnTo>
                    <a:pt x="345" y="269"/>
                  </a:lnTo>
                  <a:close/>
                  <a:moveTo>
                    <a:pt x="354" y="262"/>
                  </a:moveTo>
                  <a:lnTo>
                    <a:pt x="355" y="262"/>
                  </a:lnTo>
                  <a:lnTo>
                    <a:pt x="355" y="263"/>
                  </a:lnTo>
                  <a:lnTo>
                    <a:pt x="350" y="267"/>
                  </a:lnTo>
                  <a:lnTo>
                    <a:pt x="348" y="263"/>
                  </a:lnTo>
                  <a:lnTo>
                    <a:pt x="354" y="262"/>
                  </a:lnTo>
                  <a:close/>
                  <a:moveTo>
                    <a:pt x="374" y="255"/>
                  </a:moveTo>
                  <a:lnTo>
                    <a:pt x="377" y="251"/>
                  </a:lnTo>
                  <a:lnTo>
                    <a:pt x="376" y="255"/>
                  </a:lnTo>
                  <a:lnTo>
                    <a:pt x="374" y="255"/>
                  </a:lnTo>
                  <a:close/>
                  <a:moveTo>
                    <a:pt x="427" y="255"/>
                  </a:moveTo>
                  <a:lnTo>
                    <a:pt x="422" y="250"/>
                  </a:lnTo>
                  <a:lnTo>
                    <a:pt x="425" y="251"/>
                  </a:lnTo>
                  <a:lnTo>
                    <a:pt x="427" y="255"/>
                  </a:lnTo>
                  <a:close/>
                  <a:moveTo>
                    <a:pt x="366" y="236"/>
                  </a:moveTo>
                  <a:lnTo>
                    <a:pt x="360" y="228"/>
                  </a:lnTo>
                  <a:lnTo>
                    <a:pt x="360" y="224"/>
                  </a:lnTo>
                  <a:lnTo>
                    <a:pt x="364" y="226"/>
                  </a:lnTo>
                  <a:lnTo>
                    <a:pt x="367" y="233"/>
                  </a:lnTo>
                  <a:lnTo>
                    <a:pt x="366" y="236"/>
                  </a:lnTo>
                  <a:close/>
                  <a:moveTo>
                    <a:pt x="369" y="228"/>
                  </a:moveTo>
                  <a:lnTo>
                    <a:pt x="367" y="226"/>
                  </a:lnTo>
                  <a:lnTo>
                    <a:pt x="371" y="224"/>
                  </a:lnTo>
                  <a:lnTo>
                    <a:pt x="371" y="226"/>
                  </a:lnTo>
                  <a:lnTo>
                    <a:pt x="369" y="228"/>
                  </a:lnTo>
                  <a:close/>
                  <a:moveTo>
                    <a:pt x="383" y="219"/>
                  </a:moveTo>
                  <a:lnTo>
                    <a:pt x="391" y="226"/>
                  </a:lnTo>
                  <a:lnTo>
                    <a:pt x="393" y="229"/>
                  </a:lnTo>
                  <a:lnTo>
                    <a:pt x="393" y="238"/>
                  </a:lnTo>
                  <a:lnTo>
                    <a:pt x="391" y="240"/>
                  </a:lnTo>
                  <a:lnTo>
                    <a:pt x="381" y="241"/>
                  </a:lnTo>
                  <a:lnTo>
                    <a:pt x="377" y="245"/>
                  </a:lnTo>
                  <a:lnTo>
                    <a:pt x="374" y="238"/>
                  </a:lnTo>
                  <a:lnTo>
                    <a:pt x="374" y="234"/>
                  </a:lnTo>
                  <a:lnTo>
                    <a:pt x="374" y="229"/>
                  </a:lnTo>
                  <a:lnTo>
                    <a:pt x="374" y="224"/>
                  </a:lnTo>
                  <a:lnTo>
                    <a:pt x="377" y="221"/>
                  </a:lnTo>
                  <a:lnTo>
                    <a:pt x="383" y="219"/>
                  </a:lnTo>
                  <a:close/>
                  <a:moveTo>
                    <a:pt x="343" y="210"/>
                  </a:moveTo>
                  <a:lnTo>
                    <a:pt x="345" y="210"/>
                  </a:lnTo>
                  <a:lnTo>
                    <a:pt x="345" y="212"/>
                  </a:lnTo>
                  <a:lnTo>
                    <a:pt x="343" y="212"/>
                  </a:lnTo>
                  <a:lnTo>
                    <a:pt x="343" y="210"/>
                  </a:lnTo>
                  <a:close/>
                  <a:moveTo>
                    <a:pt x="369" y="207"/>
                  </a:moveTo>
                  <a:lnTo>
                    <a:pt x="371" y="216"/>
                  </a:lnTo>
                  <a:lnTo>
                    <a:pt x="367" y="217"/>
                  </a:lnTo>
                  <a:lnTo>
                    <a:pt x="366" y="216"/>
                  </a:lnTo>
                  <a:lnTo>
                    <a:pt x="367" y="210"/>
                  </a:lnTo>
                  <a:lnTo>
                    <a:pt x="369" y="207"/>
                  </a:lnTo>
                  <a:close/>
                  <a:moveTo>
                    <a:pt x="367" y="205"/>
                  </a:moveTo>
                  <a:lnTo>
                    <a:pt x="371" y="207"/>
                  </a:lnTo>
                  <a:lnTo>
                    <a:pt x="367" y="209"/>
                  </a:lnTo>
                  <a:lnTo>
                    <a:pt x="366" y="205"/>
                  </a:lnTo>
                  <a:lnTo>
                    <a:pt x="367" y="205"/>
                  </a:lnTo>
                  <a:close/>
                  <a:moveTo>
                    <a:pt x="297" y="168"/>
                  </a:moveTo>
                  <a:lnTo>
                    <a:pt x="302" y="169"/>
                  </a:lnTo>
                  <a:lnTo>
                    <a:pt x="306" y="173"/>
                  </a:lnTo>
                  <a:lnTo>
                    <a:pt x="311" y="178"/>
                  </a:lnTo>
                  <a:lnTo>
                    <a:pt x="309" y="181"/>
                  </a:lnTo>
                  <a:lnTo>
                    <a:pt x="313" y="187"/>
                  </a:lnTo>
                  <a:lnTo>
                    <a:pt x="313" y="185"/>
                  </a:lnTo>
                  <a:lnTo>
                    <a:pt x="314" y="185"/>
                  </a:lnTo>
                  <a:lnTo>
                    <a:pt x="319" y="183"/>
                  </a:lnTo>
                  <a:lnTo>
                    <a:pt x="325" y="181"/>
                  </a:lnTo>
                  <a:lnTo>
                    <a:pt x="326" y="183"/>
                  </a:lnTo>
                  <a:lnTo>
                    <a:pt x="325" y="187"/>
                  </a:lnTo>
                  <a:lnTo>
                    <a:pt x="328" y="183"/>
                  </a:lnTo>
                  <a:lnTo>
                    <a:pt x="330" y="183"/>
                  </a:lnTo>
                  <a:lnTo>
                    <a:pt x="333" y="187"/>
                  </a:lnTo>
                  <a:lnTo>
                    <a:pt x="342" y="190"/>
                  </a:lnTo>
                  <a:lnTo>
                    <a:pt x="350" y="197"/>
                  </a:lnTo>
                  <a:lnTo>
                    <a:pt x="357" y="202"/>
                  </a:lnTo>
                  <a:lnTo>
                    <a:pt x="362" y="204"/>
                  </a:lnTo>
                  <a:lnTo>
                    <a:pt x="364" y="210"/>
                  </a:lnTo>
                  <a:lnTo>
                    <a:pt x="362" y="217"/>
                  </a:lnTo>
                  <a:lnTo>
                    <a:pt x="360" y="221"/>
                  </a:lnTo>
                  <a:lnTo>
                    <a:pt x="355" y="221"/>
                  </a:lnTo>
                  <a:lnTo>
                    <a:pt x="354" y="217"/>
                  </a:lnTo>
                  <a:lnTo>
                    <a:pt x="348" y="212"/>
                  </a:lnTo>
                  <a:lnTo>
                    <a:pt x="340" y="209"/>
                  </a:lnTo>
                  <a:lnTo>
                    <a:pt x="338" y="209"/>
                  </a:lnTo>
                  <a:lnTo>
                    <a:pt x="330" y="209"/>
                  </a:lnTo>
                  <a:lnTo>
                    <a:pt x="321" y="209"/>
                  </a:lnTo>
                  <a:lnTo>
                    <a:pt x="316" y="209"/>
                  </a:lnTo>
                  <a:lnTo>
                    <a:pt x="306" y="212"/>
                  </a:lnTo>
                  <a:lnTo>
                    <a:pt x="299" y="209"/>
                  </a:lnTo>
                  <a:lnTo>
                    <a:pt x="290" y="205"/>
                  </a:lnTo>
                  <a:lnTo>
                    <a:pt x="289" y="204"/>
                  </a:lnTo>
                  <a:lnTo>
                    <a:pt x="287" y="200"/>
                  </a:lnTo>
                  <a:lnTo>
                    <a:pt x="287" y="197"/>
                  </a:lnTo>
                  <a:lnTo>
                    <a:pt x="290" y="192"/>
                  </a:lnTo>
                  <a:lnTo>
                    <a:pt x="294" y="192"/>
                  </a:lnTo>
                  <a:lnTo>
                    <a:pt x="297" y="190"/>
                  </a:lnTo>
                  <a:lnTo>
                    <a:pt x="296" y="181"/>
                  </a:lnTo>
                  <a:lnTo>
                    <a:pt x="292" y="175"/>
                  </a:lnTo>
                  <a:lnTo>
                    <a:pt x="294" y="168"/>
                  </a:lnTo>
                  <a:lnTo>
                    <a:pt x="297" y="168"/>
                  </a:lnTo>
                  <a:close/>
                  <a:moveTo>
                    <a:pt x="328" y="164"/>
                  </a:moveTo>
                  <a:lnTo>
                    <a:pt x="331" y="164"/>
                  </a:lnTo>
                  <a:lnTo>
                    <a:pt x="342" y="168"/>
                  </a:lnTo>
                  <a:lnTo>
                    <a:pt x="350" y="171"/>
                  </a:lnTo>
                  <a:lnTo>
                    <a:pt x="354" y="171"/>
                  </a:lnTo>
                  <a:lnTo>
                    <a:pt x="357" y="175"/>
                  </a:lnTo>
                  <a:lnTo>
                    <a:pt x="362" y="181"/>
                  </a:lnTo>
                  <a:lnTo>
                    <a:pt x="366" y="183"/>
                  </a:lnTo>
                  <a:lnTo>
                    <a:pt x="369" y="188"/>
                  </a:lnTo>
                  <a:lnTo>
                    <a:pt x="376" y="197"/>
                  </a:lnTo>
                  <a:lnTo>
                    <a:pt x="376" y="202"/>
                  </a:lnTo>
                  <a:lnTo>
                    <a:pt x="371" y="204"/>
                  </a:lnTo>
                  <a:lnTo>
                    <a:pt x="366" y="204"/>
                  </a:lnTo>
                  <a:lnTo>
                    <a:pt x="362" y="200"/>
                  </a:lnTo>
                  <a:lnTo>
                    <a:pt x="355" y="197"/>
                  </a:lnTo>
                  <a:lnTo>
                    <a:pt x="350" y="195"/>
                  </a:lnTo>
                  <a:lnTo>
                    <a:pt x="345" y="188"/>
                  </a:lnTo>
                  <a:lnTo>
                    <a:pt x="342" y="187"/>
                  </a:lnTo>
                  <a:lnTo>
                    <a:pt x="335" y="185"/>
                  </a:lnTo>
                  <a:lnTo>
                    <a:pt x="331" y="181"/>
                  </a:lnTo>
                  <a:lnTo>
                    <a:pt x="326" y="180"/>
                  </a:lnTo>
                  <a:lnTo>
                    <a:pt x="325" y="180"/>
                  </a:lnTo>
                  <a:lnTo>
                    <a:pt x="318" y="181"/>
                  </a:lnTo>
                  <a:lnTo>
                    <a:pt x="314" y="183"/>
                  </a:lnTo>
                  <a:lnTo>
                    <a:pt x="313" y="183"/>
                  </a:lnTo>
                  <a:lnTo>
                    <a:pt x="311" y="181"/>
                  </a:lnTo>
                  <a:lnTo>
                    <a:pt x="316" y="180"/>
                  </a:lnTo>
                  <a:lnTo>
                    <a:pt x="319" y="169"/>
                  </a:lnTo>
                  <a:lnTo>
                    <a:pt x="325" y="166"/>
                  </a:lnTo>
                  <a:lnTo>
                    <a:pt x="328" y="164"/>
                  </a:lnTo>
                  <a:close/>
                  <a:moveTo>
                    <a:pt x="270" y="134"/>
                  </a:moveTo>
                  <a:lnTo>
                    <a:pt x="273" y="135"/>
                  </a:lnTo>
                  <a:lnTo>
                    <a:pt x="280" y="142"/>
                  </a:lnTo>
                  <a:lnTo>
                    <a:pt x="282" y="144"/>
                  </a:lnTo>
                  <a:lnTo>
                    <a:pt x="287" y="149"/>
                  </a:lnTo>
                  <a:lnTo>
                    <a:pt x="296" y="156"/>
                  </a:lnTo>
                  <a:lnTo>
                    <a:pt x="296" y="159"/>
                  </a:lnTo>
                  <a:lnTo>
                    <a:pt x="294" y="158"/>
                  </a:lnTo>
                  <a:lnTo>
                    <a:pt x="292" y="158"/>
                  </a:lnTo>
                  <a:lnTo>
                    <a:pt x="294" y="158"/>
                  </a:lnTo>
                  <a:lnTo>
                    <a:pt x="296" y="161"/>
                  </a:lnTo>
                  <a:lnTo>
                    <a:pt x="292" y="164"/>
                  </a:lnTo>
                  <a:lnTo>
                    <a:pt x="292" y="168"/>
                  </a:lnTo>
                  <a:lnTo>
                    <a:pt x="290" y="175"/>
                  </a:lnTo>
                  <a:lnTo>
                    <a:pt x="294" y="183"/>
                  </a:lnTo>
                  <a:lnTo>
                    <a:pt x="294" y="190"/>
                  </a:lnTo>
                  <a:lnTo>
                    <a:pt x="290" y="190"/>
                  </a:lnTo>
                  <a:lnTo>
                    <a:pt x="287" y="193"/>
                  </a:lnTo>
                  <a:lnTo>
                    <a:pt x="284" y="193"/>
                  </a:lnTo>
                  <a:lnTo>
                    <a:pt x="277" y="188"/>
                  </a:lnTo>
                  <a:lnTo>
                    <a:pt x="272" y="185"/>
                  </a:lnTo>
                  <a:lnTo>
                    <a:pt x="270" y="181"/>
                  </a:lnTo>
                  <a:lnTo>
                    <a:pt x="268" y="180"/>
                  </a:lnTo>
                  <a:lnTo>
                    <a:pt x="265" y="171"/>
                  </a:lnTo>
                  <a:lnTo>
                    <a:pt x="267" y="166"/>
                  </a:lnTo>
                  <a:lnTo>
                    <a:pt x="267" y="161"/>
                  </a:lnTo>
                  <a:lnTo>
                    <a:pt x="265" y="156"/>
                  </a:lnTo>
                  <a:lnTo>
                    <a:pt x="261" y="151"/>
                  </a:lnTo>
                  <a:lnTo>
                    <a:pt x="265" y="142"/>
                  </a:lnTo>
                  <a:lnTo>
                    <a:pt x="261" y="135"/>
                  </a:lnTo>
                  <a:lnTo>
                    <a:pt x="270" y="134"/>
                  </a:lnTo>
                  <a:close/>
                  <a:moveTo>
                    <a:pt x="241" y="111"/>
                  </a:moveTo>
                  <a:lnTo>
                    <a:pt x="248" y="111"/>
                  </a:lnTo>
                  <a:lnTo>
                    <a:pt x="255" y="115"/>
                  </a:lnTo>
                  <a:lnTo>
                    <a:pt x="260" y="115"/>
                  </a:lnTo>
                  <a:lnTo>
                    <a:pt x="268" y="117"/>
                  </a:lnTo>
                  <a:lnTo>
                    <a:pt x="270" y="117"/>
                  </a:lnTo>
                  <a:lnTo>
                    <a:pt x="277" y="118"/>
                  </a:lnTo>
                  <a:lnTo>
                    <a:pt x="285" y="120"/>
                  </a:lnTo>
                  <a:lnTo>
                    <a:pt x="292" y="122"/>
                  </a:lnTo>
                  <a:lnTo>
                    <a:pt x="297" y="127"/>
                  </a:lnTo>
                  <a:lnTo>
                    <a:pt x="296" y="130"/>
                  </a:lnTo>
                  <a:lnTo>
                    <a:pt x="294" y="130"/>
                  </a:lnTo>
                  <a:lnTo>
                    <a:pt x="296" y="132"/>
                  </a:lnTo>
                  <a:lnTo>
                    <a:pt x="296" y="139"/>
                  </a:lnTo>
                  <a:lnTo>
                    <a:pt x="297" y="149"/>
                  </a:lnTo>
                  <a:lnTo>
                    <a:pt x="297" y="152"/>
                  </a:lnTo>
                  <a:lnTo>
                    <a:pt x="296" y="154"/>
                  </a:lnTo>
                  <a:lnTo>
                    <a:pt x="294" y="151"/>
                  </a:lnTo>
                  <a:lnTo>
                    <a:pt x="287" y="147"/>
                  </a:lnTo>
                  <a:lnTo>
                    <a:pt x="285" y="146"/>
                  </a:lnTo>
                  <a:lnTo>
                    <a:pt x="278" y="137"/>
                  </a:lnTo>
                  <a:lnTo>
                    <a:pt x="272" y="132"/>
                  </a:lnTo>
                  <a:lnTo>
                    <a:pt x="270" y="132"/>
                  </a:lnTo>
                  <a:lnTo>
                    <a:pt x="265" y="132"/>
                  </a:lnTo>
                  <a:lnTo>
                    <a:pt x="258" y="132"/>
                  </a:lnTo>
                  <a:lnTo>
                    <a:pt x="253" y="129"/>
                  </a:lnTo>
                  <a:lnTo>
                    <a:pt x="248" y="125"/>
                  </a:lnTo>
                  <a:lnTo>
                    <a:pt x="241" y="120"/>
                  </a:lnTo>
                  <a:lnTo>
                    <a:pt x="237" y="113"/>
                  </a:lnTo>
                  <a:lnTo>
                    <a:pt x="237" y="111"/>
                  </a:lnTo>
                  <a:lnTo>
                    <a:pt x="241" y="111"/>
                  </a:lnTo>
                  <a:close/>
                  <a:moveTo>
                    <a:pt x="167" y="93"/>
                  </a:moveTo>
                  <a:lnTo>
                    <a:pt x="167" y="94"/>
                  </a:lnTo>
                  <a:lnTo>
                    <a:pt x="167" y="93"/>
                  </a:lnTo>
                  <a:close/>
                  <a:moveTo>
                    <a:pt x="162" y="89"/>
                  </a:moveTo>
                  <a:lnTo>
                    <a:pt x="162" y="93"/>
                  </a:lnTo>
                  <a:lnTo>
                    <a:pt x="162" y="89"/>
                  </a:lnTo>
                  <a:close/>
                  <a:moveTo>
                    <a:pt x="166" y="84"/>
                  </a:moveTo>
                  <a:lnTo>
                    <a:pt x="166" y="93"/>
                  </a:lnTo>
                  <a:lnTo>
                    <a:pt x="164" y="89"/>
                  </a:lnTo>
                  <a:lnTo>
                    <a:pt x="166" y="84"/>
                  </a:lnTo>
                  <a:close/>
                  <a:moveTo>
                    <a:pt x="159" y="77"/>
                  </a:moveTo>
                  <a:lnTo>
                    <a:pt x="161" y="77"/>
                  </a:lnTo>
                  <a:lnTo>
                    <a:pt x="161" y="79"/>
                  </a:lnTo>
                  <a:lnTo>
                    <a:pt x="159" y="79"/>
                  </a:lnTo>
                  <a:lnTo>
                    <a:pt x="159" y="77"/>
                  </a:lnTo>
                  <a:close/>
                  <a:moveTo>
                    <a:pt x="94" y="52"/>
                  </a:moveTo>
                  <a:lnTo>
                    <a:pt x="99" y="57"/>
                  </a:lnTo>
                  <a:lnTo>
                    <a:pt x="103" y="60"/>
                  </a:lnTo>
                  <a:lnTo>
                    <a:pt x="103" y="64"/>
                  </a:lnTo>
                  <a:lnTo>
                    <a:pt x="96" y="58"/>
                  </a:lnTo>
                  <a:lnTo>
                    <a:pt x="92" y="53"/>
                  </a:lnTo>
                  <a:lnTo>
                    <a:pt x="94" y="52"/>
                  </a:lnTo>
                  <a:close/>
                  <a:moveTo>
                    <a:pt x="198" y="50"/>
                  </a:moveTo>
                  <a:lnTo>
                    <a:pt x="202" y="53"/>
                  </a:lnTo>
                  <a:lnTo>
                    <a:pt x="203" y="58"/>
                  </a:lnTo>
                  <a:lnTo>
                    <a:pt x="207" y="58"/>
                  </a:lnTo>
                  <a:lnTo>
                    <a:pt x="210" y="67"/>
                  </a:lnTo>
                  <a:lnTo>
                    <a:pt x="212" y="72"/>
                  </a:lnTo>
                  <a:lnTo>
                    <a:pt x="208" y="72"/>
                  </a:lnTo>
                  <a:lnTo>
                    <a:pt x="210" y="72"/>
                  </a:lnTo>
                  <a:lnTo>
                    <a:pt x="207" y="77"/>
                  </a:lnTo>
                  <a:lnTo>
                    <a:pt x="207" y="79"/>
                  </a:lnTo>
                  <a:lnTo>
                    <a:pt x="205" y="89"/>
                  </a:lnTo>
                  <a:lnTo>
                    <a:pt x="205" y="93"/>
                  </a:lnTo>
                  <a:lnTo>
                    <a:pt x="202" y="94"/>
                  </a:lnTo>
                  <a:lnTo>
                    <a:pt x="198" y="96"/>
                  </a:lnTo>
                  <a:lnTo>
                    <a:pt x="191" y="101"/>
                  </a:lnTo>
                  <a:lnTo>
                    <a:pt x="181" y="99"/>
                  </a:lnTo>
                  <a:lnTo>
                    <a:pt x="171" y="96"/>
                  </a:lnTo>
                  <a:lnTo>
                    <a:pt x="169" y="91"/>
                  </a:lnTo>
                  <a:lnTo>
                    <a:pt x="166" y="81"/>
                  </a:lnTo>
                  <a:lnTo>
                    <a:pt x="162" y="74"/>
                  </a:lnTo>
                  <a:lnTo>
                    <a:pt x="164" y="72"/>
                  </a:lnTo>
                  <a:lnTo>
                    <a:pt x="164" y="64"/>
                  </a:lnTo>
                  <a:lnTo>
                    <a:pt x="166" y="62"/>
                  </a:lnTo>
                  <a:lnTo>
                    <a:pt x="174" y="57"/>
                  </a:lnTo>
                  <a:lnTo>
                    <a:pt x="179" y="58"/>
                  </a:lnTo>
                  <a:lnTo>
                    <a:pt x="178" y="60"/>
                  </a:lnTo>
                  <a:lnTo>
                    <a:pt x="183" y="58"/>
                  </a:lnTo>
                  <a:lnTo>
                    <a:pt x="186" y="60"/>
                  </a:lnTo>
                  <a:lnTo>
                    <a:pt x="185" y="58"/>
                  </a:lnTo>
                  <a:lnTo>
                    <a:pt x="188" y="53"/>
                  </a:lnTo>
                  <a:lnTo>
                    <a:pt x="193" y="52"/>
                  </a:lnTo>
                  <a:lnTo>
                    <a:pt x="195" y="48"/>
                  </a:lnTo>
                  <a:lnTo>
                    <a:pt x="198" y="50"/>
                  </a:lnTo>
                  <a:close/>
                  <a:moveTo>
                    <a:pt x="74" y="38"/>
                  </a:moveTo>
                  <a:lnTo>
                    <a:pt x="77" y="40"/>
                  </a:lnTo>
                  <a:lnTo>
                    <a:pt x="79" y="45"/>
                  </a:lnTo>
                  <a:lnTo>
                    <a:pt x="74" y="40"/>
                  </a:lnTo>
                  <a:lnTo>
                    <a:pt x="74" y="38"/>
                  </a:lnTo>
                  <a:close/>
                  <a:moveTo>
                    <a:pt x="120" y="28"/>
                  </a:moveTo>
                  <a:lnTo>
                    <a:pt x="121" y="28"/>
                  </a:lnTo>
                  <a:lnTo>
                    <a:pt x="120" y="28"/>
                  </a:lnTo>
                  <a:lnTo>
                    <a:pt x="116" y="28"/>
                  </a:lnTo>
                  <a:lnTo>
                    <a:pt x="120" y="28"/>
                  </a:lnTo>
                  <a:close/>
                  <a:moveTo>
                    <a:pt x="410" y="395"/>
                  </a:moveTo>
                  <a:lnTo>
                    <a:pt x="406" y="397"/>
                  </a:lnTo>
                  <a:lnTo>
                    <a:pt x="400" y="400"/>
                  </a:lnTo>
                  <a:lnTo>
                    <a:pt x="398" y="398"/>
                  </a:lnTo>
                  <a:lnTo>
                    <a:pt x="393" y="397"/>
                  </a:lnTo>
                  <a:lnTo>
                    <a:pt x="388" y="397"/>
                  </a:lnTo>
                  <a:lnTo>
                    <a:pt x="384" y="395"/>
                  </a:lnTo>
                  <a:lnTo>
                    <a:pt x="376" y="393"/>
                  </a:lnTo>
                  <a:lnTo>
                    <a:pt x="374" y="393"/>
                  </a:lnTo>
                  <a:lnTo>
                    <a:pt x="372" y="393"/>
                  </a:lnTo>
                  <a:lnTo>
                    <a:pt x="371" y="393"/>
                  </a:lnTo>
                  <a:lnTo>
                    <a:pt x="360" y="393"/>
                  </a:lnTo>
                  <a:lnTo>
                    <a:pt x="357" y="397"/>
                  </a:lnTo>
                  <a:lnTo>
                    <a:pt x="354" y="402"/>
                  </a:lnTo>
                  <a:lnTo>
                    <a:pt x="343" y="412"/>
                  </a:lnTo>
                  <a:lnTo>
                    <a:pt x="335" y="417"/>
                  </a:lnTo>
                  <a:lnTo>
                    <a:pt x="333" y="421"/>
                  </a:lnTo>
                  <a:lnTo>
                    <a:pt x="331" y="424"/>
                  </a:lnTo>
                  <a:lnTo>
                    <a:pt x="331" y="427"/>
                  </a:lnTo>
                  <a:lnTo>
                    <a:pt x="328" y="426"/>
                  </a:lnTo>
                  <a:lnTo>
                    <a:pt x="325" y="433"/>
                  </a:lnTo>
                  <a:lnTo>
                    <a:pt x="321" y="433"/>
                  </a:lnTo>
                  <a:lnTo>
                    <a:pt x="314" y="439"/>
                  </a:lnTo>
                  <a:lnTo>
                    <a:pt x="309" y="434"/>
                  </a:lnTo>
                  <a:lnTo>
                    <a:pt x="304" y="434"/>
                  </a:lnTo>
                  <a:lnTo>
                    <a:pt x="302" y="433"/>
                  </a:lnTo>
                  <a:lnTo>
                    <a:pt x="294" y="433"/>
                  </a:lnTo>
                  <a:lnTo>
                    <a:pt x="290" y="426"/>
                  </a:lnTo>
                  <a:lnTo>
                    <a:pt x="282" y="427"/>
                  </a:lnTo>
                  <a:lnTo>
                    <a:pt x="282" y="426"/>
                  </a:lnTo>
                  <a:lnTo>
                    <a:pt x="284" y="422"/>
                  </a:lnTo>
                  <a:lnTo>
                    <a:pt x="277" y="419"/>
                  </a:lnTo>
                  <a:lnTo>
                    <a:pt x="275" y="414"/>
                  </a:lnTo>
                  <a:lnTo>
                    <a:pt x="272" y="414"/>
                  </a:lnTo>
                  <a:lnTo>
                    <a:pt x="268" y="414"/>
                  </a:lnTo>
                  <a:lnTo>
                    <a:pt x="261" y="417"/>
                  </a:lnTo>
                  <a:lnTo>
                    <a:pt x="260" y="417"/>
                  </a:lnTo>
                  <a:lnTo>
                    <a:pt x="260" y="414"/>
                  </a:lnTo>
                  <a:lnTo>
                    <a:pt x="256" y="412"/>
                  </a:lnTo>
                  <a:lnTo>
                    <a:pt x="253" y="412"/>
                  </a:lnTo>
                  <a:lnTo>
                    <a:pt x="251" y="414"/>
                  </a:lnTo>
                  <a:lnTo>
                    <a:pt x="243" y="410"/>
                  </a:lnTo>
                  <a:lnTo>
                    <a:pt x="239" y="409"/>
                  </a:lnTo>
                  <a:lnTo>
                    <a:pt x="234" y="410"/>
                  </a:lnTo>
                  <a:lnTo>
                    <a:pt x="231" y="414"/>
                  </a:lnTo>
                  <a:lnTo>
                    <a:pt x="227" y="414"/>
                  </a:lnTo>
                  <a:lnTo>
                    <a:pt x="227" y="417"/>
                  </a:lnTo>
                  <a:lnTo>
                    <a:pt x="224" y="419"/>
                  </a:lnTo>
                  <a:lnTo>
                    <a:pt x="220" y="419"/>
                  </a:lnTo>
                  <a:lnTo>
                    <a:pt x="220" y="421"/>
                  </a:lnTo>
                  <a:lnTo>
                    <a:pt x="217" y="421"/>
                  </a:lnTo>
                  <a:lnTo>
                    <a:pt x="207" y="419"/>
                  </a:lnTo>
                  <a:lnTo>
                    <a:pt x="205" y="417"/>
                  </a:lnTo>
                  <a:lnTo>
                    <a:pt x="200" y="417"/>
                  </a:lnTo>
                  <a:lnTo>
                    <a:pt x="203" y="412"/>
                  </a:lnTo>
                  <a:lnTo>
                    <a:pt x="203" y="407"/>
                  </a:lnTo>
                  <a:lnTo>
                    <a:pt x="200" y="407"/>
                  </a:lnTo>
                  <a:lnTo>
                    <a:pt x="195" y="403"/>
                  </a:lnTo>
                  <a:lnTo>
                    <a:pt x="191" y="402"/>
                  </a:lnTo>
                  <a:lnTo>
                    <a:pt x="185" y="403"/>
                  </a:lnTo>
                  <a:lnTo>
                    <a:pt x="178" y="400"/>
                  </a:lnTo>
                  <a:lnTo>
                    <a:pt x="176" y="397"/>
                  </a:lnTo>
                  <a:lnTo>
                    <a:pt x="167" y="392"/>
                  </a:lnTo>
                  <a:lnTo>
                    <a:pt x="164" y="392"/>
                  </a:lnTo>
                  <a:lnTo>
                    <a:pt x="166" y="390"/>
                  </a:lnTo>
                  <a:lnTo>
                    <a:pt x="164" y="386"/>
                  </a:lnTo>
                  <a:lnTo>
                    <a:pt x="161" y="386"/>
                  </a:lnTo>
                  <a:lnTo>
                    <a:pt x="161" y="383"/>
                  </a:lnTo>
                  <a:lnTo>
                    <a:pt x="157" y="381"/>
                  </a:lnTo>
                  <a:lnTo>
                    <a:pt x="154" y="378"/>
                  </a:lnTo>
                  <a:lnTo>
                    <a:pt x="149" y="378"/>
                  </a:lnTo>
                  <a:lnTo>
                    <a:pt x="140" y="373"/>
                  </a:lnTo>
                  <a:lnTo>
                    <a:pt x="137" y="368"/>
                  </a:lnTo>
                  <a:lnTo>
                    <a:pt x="130" y="364"/>
                  </a:lnTo>
                  <a:lnTo>
                    <a:pt x="127" y="364"/>
                  </a:lnTo>
                  <a:lnTo>
                    <a:pt x="123" y="359"/>
                  </a:lnTo>
                  <a:lnTo>
                    <a:pt x="120" y="351"/>
                  </a:lnTo>
                  <a:lnTo>
                    <a:pt x="123" y="349"/>
                  </a:lnTo>
                  <a:lnTo>
                    <a:pt x="123" y="347"/>
                  </a:lnTo>
                  <a:lnTo>
                    <a:pt x="118" y="342"/>
                  </a:lnTo>
                  <a:lnTo>
                    <a:pt x="111" y="340"/>
                  </a:lnTo>
                  <a:lnTo>
                    <a:pt x="106" y="344"/>
                  </a:lnTo>
                  <a:lnTo>
                    <a:pt x="99" y="344"/>
                  </a:lnTo>
                  <a:lnTo>
                    <a:pt x="98" y="339"/>
                  </a:lnTo>
                  <a:lnTo>
                    <a:pt x="94" y="337"/>
                  </a:lnTo>
                  <a:lnTo>
                    <a:pt x="94" y="333"/>
                  </a:lnTo>
                  <a:lnTo>
                    <a:pt x="89" y="328"/>
                  </a:lnTo>
                  <a:lnTo>
                    <a:pt x="89" y="322"/>
                  </a:lnTo>
                  <a:lnTo>
                    <a:pt x="87" y="320"/>
                  </a:lnTo>
                  <a:lnTo>
                    <a:pt x="87" y="310"/>
                  </a:lnTo>
                  <a:lnTo>
                    <a:pt x="86" y="310"/>
                  </a:lnTo>
                  <a:lnTo>
                    <a:pt x="91" y="304"/>
                  </a:lnTo>
                  <a:lnTo>
                    <a:pt x="94" y="308"/>
                  </a:lnTo>
                  <a:lnTo>
                    <a:pt x="99" y="303"/>
                  </a:lnTo>
                  <a:lnTo>
                    <a:pt x="99" y="298"/>
                  </a:lnTo>
                  <a:lnTo>
                    <a:pt x="98" y="296"/>
                  </a:lnTo>
                  <a:lnTo>
                    <a:pt x="94" y="298"/>
                  </a:lnTo>
                  <a:lnTo>
                    <a:pt x="91" y="291"/>
                  </a:lnTo>
                  <a:lnTo>
                    <a:pt x="92" y="289"/>
                  </a:lnTo>
                  <a:lnTo>
                    <a:pt x="98" y="286"/>
                  </a:lnTo>
                  <a:lnTo>
                    <a:pt x="98" y="277"/>
                  </a:lnTo>
                  <a:lnTo>
                    <a:pt x="94" y="272"/>
                  </a:lnTo>
                  <a:lnTo>
                    <a:pt x="89" y="275"/>
                  </a:lnTo>
                  <a:lnTo>
                    <a:pt x="82" y="274"/>
                  </a:lnTo>
                  <a:lnTo>
                    <a:pt x="79" y="281"/>
                  </a:lnTo>
                  <a:lnTo>
                    <a:pt x="72" y="277"/>
                  </a:lnTo>
                  <a:lnTo>
                    <a:pt x="70" y="272"/>
                  </a:lnTo>
                  <a:lnTo>
                    <a:pt x="65" y="269"/>
                  </a:lnTo>
                  <a:lnTo>
                    <a:pt x="62" y="267"/>
                  </a:lnTo>
                  <a:lnTo>
                    <a:pt x="62" y="263"/>
                  </a:lnTo>
                  <a:lnTo>
                    <a:pt x="57" y="260"/>
                  </a:lnTo>
                  <a:lnTo>
                    <a:pt x="55" y="255"/>
                  </a:lnTo>
                  <a:lnTo>
                    <a:pt x="53" y="257"/>
                  </a:lnTo>
                  <a:lnTo>
                    <a:pt x="48" y="253"/>
                  </a:lnTo>
                  <a:lnTo>
                    <a:pt x="43" y="257"/>
                  </a:lnTo>
                  <a:lnTo>
                    <a:pt x="39" y="258"/>
                  </a:lnTo>
                  <a:lnTo>
                    <a:pt x="36" y="255"/>
                  </a:lnTo>
                  <a:lnTo>
                    <a:pt x="33" y="255"/>
                  </a:lnTo>
                  <a:lnTo>
                    <a:pt x="29" y="253"/>
                  </a:lnTo>
                  <a:lnTo>
                    <a:pt x="26" y="246"/>
                  </a:lnTo>
                  <a:lnTo>
                    <a:pt x="26" y="245"/>
                  </a:lnTo>
                  <a:lnTo>
                    <a:pt x="24" y="241"/>
                  </a:lnTo>
                  <a:lnTo>
                    <a:pt x="26" y="240"/>
                  </a:lnTo>
                  <a:lnTo>
                    <a:pt x="21" y="236"/>
                  </a:lnTo>
                  <a:lnTo>
                    <a:pt x="17" y="233"/>
                  </a:lnTo>
                  <a:lnTo>
                    <a:pt x="22" y="226"/>
                  </a:lnTo>
                  <a:lnTo>
                    <a:pt x="26" y="221"/>
                  </a:lnTo>
                  <a:lnTo>
                    <a:pt x="26" y="216"/>
                  </a:lnTo>
                  <a:lnTo>
                    <a:pt x="22" y="214"/>
                  </a:lnTo>
                  <a:lnTo>
                    <a:pt x="19" y="212"/>
                  </a:lnTo>
                  <a:lnTo>
                    <a:pt x="12" y="204"/>
                  </a:lnTo>
                  <a:lnTo>
                    <a:pt x="12" y="202"/>
                  </a:lnTo>
                  <a:lnTo>
                    <a:pt x="14" y="202"/>
                  </a:lnTo>
                  <a:lnTo>
                    <a:pt x="14" y="197"/>
                  </a:lnTo>
                  <a:lnTo>
                    <a:pt x="12" y="192"/>
                  </a:lnTo>
                  <a:lnTo>
                    <a:pt x="16" y="188"/>
                  </a:lnTo>
                  <a:lnTo>
                    <a:pt x="14" y="185"/>
                  </a:lnTo>
                  <a:lnTo>
                    <a:pt x="17" y="183"/>
                  </a:lnTo>
                  <a:lnTo>
                    <a:pt x="12" y="175"/>
                  </a:lnTo>
                  <a:lnTo>
                    <a:pt x="14" y="169"/>
                  </a:lnTo>
                  <a:lnTo>
                    <a:pt x="19" y="169"/>
                  </a:lnTo>
                  <a:lnTo>
                    <a:pt x="14" y="163"/>
                  </a:lnTo>
                  <a:lnTo>
                    <a:pt x="12" y="158"/>
                  </a:lnTo>
                  <a:lnTo>
                    <a:pt x="12" y="154"/>
                  </a:lnTo>
                  <a:lnTo>
                    <a:pt x="7" y="151"/>
                  </a:lnTo>
                  <a:lnTo>
                    <a:pt x="2" y="144"/>
                  </a:lnTo>
                  <a:lnTo>
                    <a:pt x="0" y="140"/>
                  </a:lnTo>
                  <a:lnTo>
                    <a:pt x="2" y="139"/>
                  </a:lnTo>
                  <a:lnTo>
                    <a:pt x="4" y="137"/>
                  </a:lnTo>
                  <a:lnTo>
                    <a:pt x="14" y="135"/>
                  </a:lnTo>
                  <a:lnTo>
                    <a:pt x="22" y="135"/>
                  </a:lnTo>
                  <a:lnTo>
                    <a:pt x="31" y="132"/>
                  </a:lnTo>
                  <a:lnTo>
                    <a:pt x="34" y="134"/>
                  </a:lnTo>
                  <a:lnTo>
                    <a:pt x="39" y="132"/>
                  </a:lnTo>
                  <a:lnTo>
                    <a:pt x="33" y="129"/>
                  </a:lnTo>
                  <a:lnTo>
                    <a:pt x="31" y="127"/>
                  </a:lnTo>
                  <a:lnTo>
                    <a:pt x="36" y="127"/>
                  </a:lnTo>
                  <a:lnTo>
                    <a:pt x="36" y="129"/>
                  </a:lnTo>
                  <a:lnTo>
                    <a:pt x="45" y="129"/>
                  </a:lnTo>
                  <a:lnTo>
                    <a:pt x="46" y="129"/>
                  </a:lnTo>
                  <a:lnTo>
                    <a:pt x="48" y="125"/>
                  </a:lnTo>
                  <a:lnTo>
                    <a:pt x="48" y="117"/>
                  </a:lnTo>
                  <a:lnTo>
                    <a:pt x="46" y="113"/>
                  </a:lnTo>
                  <a:lnTo>
                    <a:pt x="46" y="105"/>
                  </a:lnTo>
                  <a:lnTo>
                    <a:pt x="46" y="103"/>
                  </a:lnTo>
                  <a:lnTo>
                    <a:pt x="41" y="105"/>
                  </a:lnTo>
                  <a:lnTo>
                    <a:pt x="36" y="103"/>
                  </a:lnTo>
                  <a:lnTo>
                    <a:pt x="39" y="96"/>
                  </a:lnTo>
                  <a:lnTo>
                    <a:pt x="39" y="89"/>
                  </a:lnTo>
                  <a:lnTo>
                    <a:pt x="33" y="89"/>
                  </a:lnTo>
                  <a:lnTo>
                    <a:pt x="31" y="86"/>
                  </a:lnTo>
                  <a:lnTo>
                    <a:pt x="33" y="79"/>
                  </a:lnTo>
                  <a:lnTo>
                    <a:pt x="36" y="76"/>
                  </a:lnTo>
                  <a:lnTo>
                    <a:pt x="34" y="67"/>
                  </a:lnTo>
                  <a:lnTo>
                    <a:pt x="36" y="57"/>
                  </a:lnTo>
                  <a:lnTo>
                    <a:pt x="38" y="50"/>
                  </a:lnTo>
                  <a:lnTo>
                    <a:pt x="41" y="43"/>
                  </a:lnTo>
                  <a:lnTo>
                    <a:pt x="41" y="38"/>
                  </a:lnTo>
                  <a:lnTo>
                    <a:pt x="36" y="29"/>
                  </a:lnTo>
                  <a:lnTo>
                    <a:pt x="33" y="21"/>
                  </a:lnTo>
                  <a:lnTo>
                    <a:pt x="33" y="12"/>
                  </a:lnTo>
                  <a:lnTo>
                    <a:pt x="33" y="9"/>
                  </a:lnTo>
                  <a:lnTo>
                    <a:pt x="36" y="0"/>
                  </a:lnTo>
                  <a:lnTo>
                    <a:pt x="38" y="0"/>
                  </a:lnTo>
                  <a:lnTo>
                    <a:pt x="38" y="4"/>
                  </a:lnTo>
                  <a:lnTo>
                    <a:pt x="39" y="12"/>
                  </a:lnTo>
                  <a:lnTo>
                    <a:pt x="43" y="19"/>
                  </a:lnTo>
                  <a:lnTo>
                    <a:pt x="45" y="26"/>
                  </a:lnTo>
                  <a:lnTo>
                    <a:pt x="50" y="33"/>
                  </a:lnTo>
                  <a:lnTo>
                    <a:pt x="57" y="38"/>
                  </a:lnTo>
                  <a:lnTo>
                    <a:pt x="60" y="40"/>
                  </a:lnTo>
                  <a:lnTo>
                    <a:pt x="65" y="45"/>
                  </a:lnTo>
                  <a:lnTo>
                    <a:pt x="67" y="45"/>
                  </a:lnTo>
                  <a:lnTo>
                    <a:pt x="75" y="48"/>
                  </a:lnTo>
                  <a:lnTo>
                    <a:pt x="75" y="50"/>
                  </a:lnTo>
                  <a:lnTo>
                    <a:pt x="75" y="48"/>
                  </a:lnTo>
                  <a:lnTo>
                    <a:pt x="79" y="48"/>
                  </a:lnTo>
                  <a:lnTo>
                    <a:pt x="84" y="53"/>
                  </a:lnTo>
                  <a:lnTo>
                    <a:pt x="91" y="55"/>
                  </a:lnTo>
                  <a:lnTo>
                    <a:pt x="92" y="55"/>
                  </a:lnTo>
                  <a:lnTo>
                    <a:pt x="99" y="64"/>
                  </a:lnTo>
                  <a:lnTo>
                    <a:pt x="103" y="67"/>
                  </a:lnTo>
                  <a:lnTo>
                    <a:pt x="104" y="64"/>
                  </a:lnTo>
                  <a:lnTo>
                    <a:pt x="103" y="58"/>
                  </a:lnTo>
                  <a:lnTo>
                    <a:pt x="98" y="53"/>
                  </a:lnTo>
                  <a:lnTo>
                    <a:pt x="91" y="48"/>
                  </a:lnTo>
                  <a:lnTo>
                    <a:pt x="86" y="47"/>
                  </a:lnTo>
                  <a:lnTo>
                    <a:pt x="82" y="40"/>
                  </a:lnTo>
                  <a:lnTo>
                    <a:pt x="84" y="36"/>
                  </a:lnTo>
                  <a:lnTo>
                    <a:pt x="86" y="33"/>
                  </a:lnTo>
                  <a:lnTo>
                    <a:pt x="89" y="33"/>
                  </a:lnTo>
                  <a:lnTo>
                    <a:pt x="91" y="31"/>
                  </a:lnTo>
                  <a:lnTo>
                    <a:pt x="94" y="29"/>
                  </a:lnTo>
                  <a:lnTo>
                    <a:pt x="101" y="28"/>
                  </a:lnTo>
                  <a:lnTo>
                    <a:pt x="108" y="28"/>
                  </a:lnTo>
                  <a:lnTo>
                    <a:pt x="115" y="29"/>
                  </a:lnTo>
                  <a:lnTo>
                    <a:pt x="123" y="29"/>
                  </a:lnTo>
                  <a:lnTo>
                    <a:pt x="127" y="38"/>
                  </a:lnTo>
                  <a:lnTo>
                    <a:pt x="130" y="41"/>
                  </a:lnTo>
                  <a:lnTo>
                    <a:pt x="133" y="45"/>
                  </a:lnTo>
                  <a:lnTo>
                    <a:pt x="138" y="48"/>
                  </a:lnTo>
                  <a:lnTo>
                    <a:pt x="144" y="52"/>
                  </a:lnTo>
                  <a:lnTo>
                    <a:pt x="149" y="53"/>
                  </a:lnTo>
                  <a:lnTo>
                    <a:pt x="154" y="58"/>
                  </a:lnTo>
                  <a:lnTo>
                    <a:pt x="156" y="64"/>
                  </a:lnTo>
                  <a:lnTo>
                    <a:pt x="157" y="74"/>
                  </a:lnTo>
                  <a:lnTo>
                    <a:pt x="161" y="84"/>
                  </a:lnTo>
                  <a:lnTo>
                    <a:pt x="161" y="91"/>
                  </a:lnTo>
                  <a:lnTo>
                    <a:pt x="164" y="98"/>
                  </a:lnTo>
                  <a:lnTo>
                    <a:pt x="166" y="99"/>
                  </a:lnTo>
                  <a:lnTo>
                    <a:pt x="174" y="101"/>
                  </a:lnTo>
                  <a:lnTo>
                    <a:pt x="181" y="106"/>
                  </a:lnTo>
                  <a:lnTo>
                    <a:pt x="185" y="108"/>
                  </a:lnTo>
                  <a:lnTo>
                    <a:pt x="190" y="106"/>
                  </a:lnTo>
                  <a:lnTo>
                    <a:pt x="197" y="105"/>
                  </a:lnTo>
                  <a:lnTo>
                    <a:pt x="207" y="105"/>
                  </a:lnTo>
                  <a:lnTo>
                    <a:pt x="212" y="108"/>
                  </a:lnTo>
                  <a:lnTo>
                    <a:pt x="217" y="113"/>
                  </a:lnTo>
                  <a:lnTo>
                    <a:pt x="220" y="115"/>
                  </a:lnTo>
                  <a:lnTo>
                    <a:pt x="227" y="120"/>
                  </a:lnTo>
                  <a:lnTo>
                    <a:pt x="231" y="123"/>
                  </a:lnTo>
                  <a:lnTo>
                    <a:pt x="237" y="129"/>
                  </a:lnTo>
                  <a:lnTo>
                    <a:pt x="241" y="130"/>
                  </a:lnTo>
                  <a:lnTo>
                    <a:pt x="248" y="135"/>
                  </a:lnTo>
                  <a:lnTo>
                    <a:pt x="255" y="139"/>
                  </a:lnTo>
                  <a:lnTo>
                    <a:pt x="256" y="140"/>
                  </a:lnTo>
                  <a:lnTo>
                    <a:pt x="255" y="151"/>
                  </a:lnTo>
                  <a:lnTo>
                    <a:pt x="256" y="158"/>
                  </a:lnTo>
                  <a:lnTo>
                    <a:pt x="258" y="156"/>
                  </a:lnTo>
                  <a:lnTo>
                    <a:pt x="261" y="161"/>
                  </a:lnTo>
                  <a:lnTo>
                    <a:pt x="261" y="163"/>
                  </a:lnTo>
                  <a:lnTo>
                    <a:pt x="260" y="173"/>
                  </a:lnTo>
                  <a:lnTo>
                    <a:pt x="260" y="175"/>
                  </a:lnTo>
                  <a:lnTo>
                    <a:pt x="265" y="185"/>
                  </a:lnTo>
                  <a:lnTo>
                    <a:pt x="268" y="188"/>
                  </a:lnTo>
                  <a:lnTo>
                    <a:pt x="273" y="192"/>
                  </a:lnTo>
                  <a:lnTo>
                    <a:pt x="278" y="195"/>
                  </a:lnTo>
                  <a:lnTo>
                    <a:pt x="277" y="195"/>
                  </a:lnTo>
                  <a:lnTo>
                    <a:pt x="278" y="197"/>
                  </a:lnTo>
                  <a:lnTo>
                    <a:pt x="278" y="199"/>
                  </a:lnTo>
                  <a:lnTo>
                    <a:pt x="285" y="205"/>
                  </a:lnTo>
                  <a:lnTo>
                    <a:pt x="287" y="207"/>
                  </a:lnTo>
                  <a:lnTo>
                    <a:pt x="294" y="210"/>
                  </a:lnTo>
                  <a:lnTo>
                    <a:pt x="297" y="214"/>
                  </a:lnTo>
                  <a:lnTo>
                    <a:pt x="299" y="214"/>
                  </a:lnTo>
                  <a:lnTo>
                    <a:pt x="307" y="216"/>
                  </a:lnTo>
                  <a:lnTo>
                    <a:pt x="314" y="214"/>
                  </a:lnTo>
                  <a:lnTo>
                    <a:pt x="319" y="212"/>
                  </a:lnTo>
                  <a:lnTo>
                    <a:pt x="330" y="216"/>
                  </a:lnTo>
                  <a:lnTo>
                    <a:pt x="338" y="216"/>
                  </a:lnTo>
                  <a:lnTo>
                    <a:pt x="342" y="216"/>
                  </a:lnTo>
                  <a:lnTo>
                    <a:pt x="347" y="217"/>
                  </a:lnTo>
                  <a:lnTo>
                    <a:pt x="354" y="226"/>
                  </a:lnTo>
                  <a:lnTo>
                    <a:pt x="359" y="233"/>
                  </a:lnTo>
                  <a:lnTo>
                    <a:pt x="360" y="236"/>
                  </a:lnTo>
                  <a:lnTo>
                    <a:pt x="366" y="241"/>
                  </a:lnTo>
                  <a:lnTo>
                    <a:pt x="369" y="245"/>
                  </a:lnTo>
                  <a:lnTo>
                    <a:pt x="369" y="248"/>
                  </a:lnTo>
                  <a:lnTo>
                    <a:pt x="362" y="253"/>
                  </a:lnTo>
                  <a:lnTo>
                    <a:pt x="357" y="255"/>
                  </a:lnTo>
                  <a:lnTo>
                    <a:pt x="350" y="258"/>
                  </a:lnTo>
                  <a:lnTo>
                    <a:pt x="345" y="263"/>
                  </a:lnTo>
                  <a:lnTo>
                    <a:pt x="336" y="265"/>
                  </a:lnTo>
                  <a:lnTo>
                    <a:pt x="328" y="270"/>
                  </a:lnTo>
                  <a:lnTo>
                    <a:pt x="328" y="272"/>
                  </a:lnTo>
                  <a:lnTo>
                    <a:pt x="336" y="274"/>
                  </a:lnTo>
                  <a:lnTo>
                    <a:pt x="340" y="274"/>
                  </a:lnTo>
                  <a:lnTo>
                    <a:pt x="347" y="269"/>
                  </a:lnTo>
                  <a:lnTo>
                    <a:pt x="355" y="265"/>
                  </a:lnTo>
                  <a:lnTo>
                    <a:pt x="360" y="262"/>
                  </a:lnTo>
                  <a:lnTo>
                    <a:pt x="364" y="260"/>
                  </a:lnTo>
                  <a:lnTo>
                    <a:pt x="374" y="257"/>
                  </a:lnTo>
                  <a:lnTo>
                    <a:pt x="377" y="253"/>
                  </a:lnTo>
                  <a:lnTo>
                    <a:pt x="381" y="246"/>
                  </a:lnTo>
                  <a:lnTo>
                    <a:pt x="386" y="243"/>
                  </a:lnTo>
                  <a:lnTo>
                    <a:pt x="393" y="243"/>
                  </a:lnTo>
                  <a:lnTo>
                    <a:pt x="396" y="238"/>
                  </a:lnTo>
                  <a:lnTo>
                    <a:pt x="403" y="240"/>
                  </a:lnTo>
                  <a:lnTo>
                    <a:pt x="406" y="241"/>
                  </a:lnTo>
                  <a:lnTo>
                    <a:pt x="412" y="245"/>
                  </a:lnTo>
                  <a:lnTo>
                    <a:pt x="417" y="250"/>
                  </a:lnTo>
                  <a:lnTo>
                    <a:pt x="420" y="251"/>
                  </a:lnTo>
                  <a:lnTo>
                    <a:pt x="427" y="257"/>
                  </a:lnTo>
                  <a:lnTo>
                    <a:pt x="429" y="262"/>
                  </a:lnTo>
                  <a:lnTo>
                    <a:pt x="429" y="269"/>
                  </a:lnTo>
                  <a:lnTo>
                    <a:pt x="430" y="272"/>
                  </a:lnTo>
                  <a:lnTo>
                    <a:pt x="432" y="272"/>
                  </a:lnTo>
                  <a:lnTo>
                    <a:pt x="429" y="269"/>
                  </a:lnTo>
                  <a:lnTo>
                    <a:pt x="430" y="262"/>
                  </a:lnTo>
                  <a:lnTo>
                    <a:pt x="436" y="263"/>
                  </a:lnTo>
                  <a:lnTo>
                    <a:pt x="442" y="267"/>
                  </a:lnTo>
                  <a:lnTo>
                    <a:pt x="444" y="272"/>
                  </a:lnTo>
                  <a:lnTo>
                    <a:pt x="447" y="277"/>
                  </a:lnTo>
                  <a:lnTo>
                    <a:pt x="449" y="281"/>
                  </a:lnTo>
                  <a:lnTo>
                    <a:pt x="449" y="291"/>
                  </a:lnTo>
                  <a:lnTo>
                    <a:pt x="451" y="298"/>
                  </a:lnTo>
                  <a:lnTo>
                    <a:pt x="454" y="303"/>
                  </a:lnTo>
                  <a:lnTo>
                    <a:pt x="454" y="304"/>
                  </a:lnTo>
                  <a:lnTo>
                    <a:pt x="447" y="304"/>
                  </a:lnTo>
                  <a:lnTo>
                    <a:pt x="439" y="306"/>
                  </a:lnTo>
                  <a:lnTo>
                    <a:pt x="436" y="306"/>
                  </a:lnTo>
                  <a:lnTo>
                    <a:pt x="439" y="308"/>
                  </a:lnTo>
                  <a:lnTo>
                    <a:pt x="437" y="310"/>
                  </a:lnTo>
                  <a:lnTo>
                    <a:pt x="432" y="310"/>
                  </a:lnTo>
                  <a:lnTo>
                    <a:pt x="425" y="304"/>
                  </a:lnTo>
                  <a:lnTo>
                    <a:pt x="425" y="308"/>
                  </a:lnTo>
                  <a:lnTo>
                    <a:pt x="424" y="306"/>
                  </a:lnTo>
                  <a:lnTo>
                    <a:pt x="425" y="308"/>
                  </a:lnTo>
                  <a:lnTo>
                    <a:pt x="427" y="308"/>
                  </a:lnTo>
                  <a:lnTo>
                    <a:pt x="429" y="310"/>
                  </a:lnTo>
                  <a:lnTo>
                    <a:pt x="425" y="311"/>
                  </a:lnTo>
                  <a:lnTo>
                    <a:pt x="424" y="310"/>
                  </a:lnTo>
                  <a:lnTo>
                    <a:pt x="429" y="315"/>
                  </a:lnTo>
                  <a:lnTo>
                    <a:pt x="427" y="316"/>
                  </a:lnTo>
                  <a:lnTo>
                    <a:pt x="420" y="318"/>
                  </a:lnTo>
                  <a:lnTo>
                    <a:pt x="413" y="316"/>
                  </a:lnTo>
                  <a:lnTo>
                    <a:pt x="412" y="318"/>
                  </a:lnTo>
                  <a:lnTo>
                    <a:pt x="417" y="320"/>
                  </a:lnTo>
                  <a:lnTo>
                    <a:pt x="417" y="322"/>
                  </a:lnTo>
                  <a:lnTo>
                    <a:pt x="412" y="323"/>
                  </a:lnTo>
                  <a:lnTo>
                    <a:pt x="405" y="330"/>
                  </a:lnTo>
                  <a:lnTo>
                    <a:pt x="396" y="333"/>
                  </a:lnTo>
                  <a:lnTo>
                    <a:pt x="389" y="332"/>
                  </a:lnTo>
                  <a:lnTo>
                    <a:pt x="386" y="335"/>
                  </a:lnTo>
                  <a:lnTo>
                    <a:pt x="381" y="337"/>
                  </a:lnTo>
                  <a:lnTo>
                    <a:pt x="386" y="339"/>
                  </a:lnTo>
                  <a:lnTo>
                    <a:pt x="389" y="342"/>
                  </a:lnTo>
                  <a:lnTo>
                    <a:pt x="395" y="345"/>
                  </a:lnTo>
                  <a:lnTo>
                    <a:pt x="396" y="347"/>
                  </a:lnTo>
                  <a:lnTo>
                    <a:pt x="405" y="349"/>
                  </a:lnTo>
                  <a:lnTo>
                    <a:pt x="410" y="349"/>
                  </a:lnTo>
                  <a:lnTo>
                    <a:pt x="413" y="349"/>
                  </a:lnTo>
                  <a:lnTo>
                    <a:pt x="418" y="347"/>
                  </a:lnTo>
                  <a:lnTo>
                    <a:pt x="422" y="351"/>
                  </a:lnTo>
                  <a:lnTo>
                    <a:pt x="425" y="351"/>
                  </a:lnTo>
                  <a:lnTo>
                    <a:pt x="429" y="354"/>
                  </a:lnTo>
                  <a:lnTo>
                    <a:pt x="429" y="356"/>
                  </a:lnTo>
                  <a:lnTo>
                    <a:pt x="424" y="362"/>
                  </a:lnTo>
                  <a:lnTo>
                    <a:pt x="420" y="364"/>
                  </a:lnTo>
                  <a:lnTo>
                    <a:pt x="412" y="364"/>
                  </a:lnTo>
                  <a:lnTo>
                    <a:pt x="406" y="366"/>
                  </a:lnTo>
                  <a:lnTo>
                    <a:pt x="410" y="369"/>
                  </a:lnTo>
                  <a:lnTo>
                    <a:pt x="408" y="374"/>
                  </a:lnTo>
                  <a:lnTo>
                    <a:pt x="405" y="376"/>
                  </a:lnTo>
                  <a:lnTo>
                    <a:pt x="408" y="376"/>
                  </a:lnTo>
                  <a:lnTo>
                    <a:pt x="408" y="378"/>
                  </a:lnTo>
                  <a:lnTo>
                    <a:pt x="401" y="381"/>
                  </a:lnTo>
                  <a:lnTo>
                    <a:pt x="405" y="381"/>
                  </a:lnTo>
                  <a:lnTo>
                    <a:pt x="406" y="383"/>
                  </a:lnTo>
                  <a:lnTo>
                    <a:pt x="405" y="386"/>
                  </a:lnTo>
                  <a:lnTo>
                    <a:pt x="400" y="386"/>
                  </a:lnTo>
                  <a:lnTo>
                    <a:pt x="408" y="388"/>
                  </a:lnTo>
                  <a:lnTo>
                    <a:pt x="406" y="392"/>
                  </a:lnTo>
                  <a:lnTo>
                    <a:pt x="400" y="390"/>
                  </a:lnTo>
                  <a:lnTo>
                    <a:pt x="410" y="392"/>
                  </a:lnTo>
                  <a:lnTo>
                    <a:pt x="412" y="392"/>
                  </a:lnTo>
                  <a:lnTo>
                    <a:pt x="410" y="39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35" name="Freeform 52"/>
            <p:cNvSpPr>
              <a:spLocks noEditPoints="1"/>
            </p:cNvSpPr>
            <p:nvPr/>
          </p:nvSpPr>
          <p:spPr bwMode="gray">
            <a:xfrm>
              <a:off x="5151073" y="2191539"/>
              <a:ext cx="747915" cy="735146"/>
            </a:xfrm>
            <a:custGeom>
              <a:avLst/>
              <a:gdLst>
                <a:gd name="T0" fmla="*/ 369 w 410"/>
                <a:gd name="T1" fmla="*/ 191 h 403"/>
                <a:gd name="T2" fmla="*/ 359 w 410"/>
                <a:gd name="T3" fmla="*/ 157 h 403"/>
                <a:gd name="T4" fmla="*/ 328 w 410"/>
                <a:gd name="T5" fmla="*/ 142 h 403"/>
                <a:gd name="T6" fmla="*/ 369 w 410"/>
                <a:gd name="T7" fmla="*/ 140 h 403"/>
                <a:gd name="T8" fmla="*/ 342 w 410"/>
                <a:gd name="T9" fmla="*/ 116 h 403"/>
                <a:gd name="T10" fmla="*/ 369 w 410"/>
                <a:gd name="T11" fmla="*/ 106 h 403"/>
                <a:gd name="T12" fmla="*/ 345 w 410"/>
                <a:gd name="T13" fmla="*/ 106 h 403"/>
                <a:gd name="T14" fmla="*/ 332 w 410"/>
                <a:gd name="T15" fmla="*/ 101 h 403"/>
                <a:gd name="T16" fmla="*/ 354 w 410"/>
                <a:gd name="T17" fmla="*/ 111 h 403"/>
                <a:gd name="T18" fmla="*/ 361 w 410"/>
                <a:gd name="T19" fmla="*/ 99 h 403"/>
                <a:gd name="T20" fmla="*/ 396 w 410"/>
                <a:gd name="T21" fmla="*/ 113 h 403"/>
                <a:gd name="T22" fmla="*/ 347 w 410"/>
                <a:gd name="T23" fmla="*/ 101 h 403"/>
                <a:gd name="T24" fmla="*/ 335 w 410"/>
                <a:gd name="T25" fmla="*/ 96 h 403"/>
                <a:gd name="T26" fmla="*/ 337 w 410"/>
                <a:gd name="T27" fmla="*/ 94 h 403"/>
                <a:gd name="T28" fmla="*/ 362 w 410"/>
                <a:gd name="T29" fmla="*/ 75 h 403"/>
                <a:gd name="T30" fmla="*/ 381 w 410"/>
                <a:gd name="T31" fmla="*/ 84 h 403"/>
                <a:gd name="T32" fmla="*/ 355 w 410"/>
                <a:gd name="T33" fmla="*/ 77 h 403"/>
                <a:gd name="T34" fmla="*/ 376 w 410"/>
                <a:gd name="T35" fmla="*/ 67 h 403"/>
                <a:gd name="T36" fmla="*/ 378 w 410"/>
                <a:gd name="T37" fmla="*/ 38 h 403"/>
                <a:gd name="T38" fmla="*/ 403 w 410"/>
                <a:gd name="T39" fmla="*/ 41 h 403"/>
                <a:gd name="T40" fmla="*/ 398 w 410"/>
                <a:gd name="T41" fmla="*/ 27 h 403"/>
                <a:gd name="T42" fmla="*/ 378 w 410"/>
                <a:gd name="T43" fmla="*/ 241 h 403"/>
                <a:gd name="T44" fmla="*/ 328 w 410"/>
                <a:gd name="T45" fmla="*/ 217 h 403"/>
                <a:gd name="T46" fmla="*/ 268 w 410"/>
                <a:gd name="T47" fmla="*/ 242 h 403"/>
                <a:gd name="T48" fmla="*/ 236 w 410"/>
                <a:gd name="T49" fmla="*/ 236 h 403"/>
                <a:gd name="T50" fmla="*/ 207 w 410"/>
                <a:gd name="T51" fmla="*/ 260 h 403"/>
                <a:gd name="T52" fmla="*/ 195 w 410"/>
                <a:gd name="T53" fmla="*/ 290 h 403"/>
                <a:gd name="T54" fmla="*/ 173 w 410"/>
                <a:gd name="T55" fmla="*/ 347 h 403"/>
                <a:gd name="T56" fmla="*/ 118 w 410"/>
                <a:gd name="T57" fmla="*/ 377 h 403"/>
                <a:gd name="T58" fmla="*/ 76 w 410"/>
                <a:gd name="T59" fmla="*/ 401 h 403"/>
                <a:gd name="T60" fmla="*/ 36 w 410"/>
                <a:gd name="T61" fmla="*/ 391 h 403"/>
                <a:gd name="T62" fmla="*/ 7 w 410"/>
                <a:gd name="T63" fmla="*/ 347 h 403"/>
                <a:gd name="T64" fmla="*/ 23 w 410"/>
                <a:gd name="T65" fmla="*/ 304 h 403"/>
                <a:gd name="T66" fmla="*/ 29 w 410"/>
                <a:gd name="T67" fmla="*/ 282 h 403"/>
                <a:gd name="T68" fmla="*/ 45 w 410"/>
                <a:gd name="T69" fmla="*/ 254 h 403"/>
                <a:gd name="T70" fmla="*/ 77 w 410"/>
                <a:gd name="T71" fmla="*/ 232 h 403"/>
                <a:gd name="T72" fmla="*/ 70 w 410"/>
                <a:gd name="T73" fmla="*/ 200 h 403"/>
                <a:gd name="T74" fmla="*/ 82 w 410"/>
                <a:gd name="T75" fmla="*/ 169 h 403"/>
                <a:gd name="T76" fmla="*/ 117 w 410"/>
                <a:gd name="T77" fmla="*/ 152 h 403"/>
                <a:gd name="T78" fmla="*/ 122 w 410"/>
                <a:gd name="T79" fmla="*/ 120 h 403"/>
                <a:gd name="T80" fmla="*/ 125 w 410"/>
                <a:gd name="T81" fmla="*/ 70 h 403"/>
                <a:gd name="T82" fmla="*/ 151 w 410"/>
                <a:gd name="T83" fmla="*/ 17 h 403"/>
                <a:gd name="T84" fmla="*/ 186 w 410"/>
                <a:gd name="T85" fmla="*/ 8 h 403"/>
                <a:gd name="T86" fmla="*/ 231 w 410"/>
                <a:gd name="T87" fmla="*/ 8 h 403"/>
                <a:gd name="T88" fmla="*/ 260 w 410"/>
                <a:gd name="T89" fmla="*/ 7 h 403"/>
                <a:gd name="T90" fmla="*/ 304 w 410"/>
                <a:gd name="T91" fmla="*/ 10 h 403"/>
                <a:gd name="T92" fmla="*/ 354 w 410"/>
                <a:gd name="T93" fmla="*/ 29 h 403"/>
                <a:gd name="T94" fmla="*/ 340 w 410"/>
                <a:gd name="T95" fmla="*/ 34 h 403"/>
                <a:gd name="T96" fmla="*/ 354 w 410"/>
                <a:gd name="T97" fmla="*/ 44 h 403"/>
                <a:gd name="T98" fmla="*/ 366 w 410"/>
                <a:gd name="T99" fmla="*/ 65 h 403"/>
                <a:gd name="T100" fmla="*/ 371 w 410"/>
                <a:gd name="T101" fmla="*/ 75 h 403"/>
                <a:gd name="T102" fmla="*/ 345 w 410"/>
                <a:gd name="T103" fmla="*/ 89 h 403"/>
                <a:gd name="T104" fmla="*/ 323 w 410"/>
                <a:gd name="T105" fmla="*/ 96 h 403"/>
                <a:gd name="T106" fmla="*/ 337 w 410"/>
                <a:gd name="T107" fmla="*/ 116 h 403"/>
                <a:gd name="T108" fmla="*/ 345 w 410"/>
                <a:gd name="T109" fmla="*/ 128 h 403"/>
                <a:gd name="T110" fmla="*/ 337 w 410"/>
                <a:gd name="T111" fmla="*/ 142 h 403"/>
                <a:gd name="T112" fmla="*/ 313 w 410"/>
                <a:gd name="T113" fmla="*/ 140 h 403"/>
                <a:gd name="T114" fmla="*/ 347 w 410"/>
                <a:gd name="T115" fmla="*/ 154 h 403"/>
                <a:gd name="T116" fmla="*/ 364 w 410"/>
                <a:gd name="T117" fmla="*/ 157 h 403"/>
                <a:gd name="T118" fmla="*/ 366 w 410"/>
                <a:gd name="T119" fmla="*/ 171 h 403"/>
                <a:gd name="T120" fmla="*/ 378 w 410"/>
                <a:gd name="T121" fmla="*/ 183 h 403"/>
                <a:gd name="T122" fmla="*/ 386 w 410"/>
                <a:gd name="T123" fmla="*/ 19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0" h="403">
                  <a:moveTo>
                    <a:pt x="366" y="191"/>
                  </a:moveTo>
                  <a:lnTo>
                    <a:pt x="367" y="191"/>
                  </a:lnTo>
                  <a:lnTo>
                    <a:pt x="367" y="193"/>
                  </a:lnTo>
                  <a:lnTo>
                    <a:pt x="366" y="193"/>
                  </a:lnTo>
                  <a:lnTo>
                    <a:pt x="366" y="191"/>
                  </a:lnTo>
                  <a:close/>
                  <a:moveTo>
                    <a:pt x="374" y="186"/>
                  </a:moveTo>
                  <a:lnTo>
                    <a:pt x="379" y="190"/>
                  </a:lnTo>
                  <a:lnTo>
                    <a:pt x="379" y="191"/>
                  </a:lnTo>
                  <a:lnTo>
                    <a:pt x="371" y="193"/>
                  </a:lnTo>
                  <a:lnTo>
                    <a:pt x="369" y="191"/>
                  </a:lnTo>
                  <a:lnTo>
                    <a:pt x="374" y="186"/>
                  </a:lnTo>
                  <a:close/>
                  <a:moveTo>
                    <a:pt x="366" y="159"/>
                  </a:moveTo>
                  <a:lnTo>
                    <a:pt x="367" y="159"/>
                  </a:lnTo>
                  <a:lnTo>
                    <a:pt x="367" y="161"/>
                  </a:lnTo>
                  <a:lnTo>
                    <a:pt x="366" y="161"/>
                  </a:lnTo>
                  <a:lnTo>
                    <a:pt x="366" y="159"/>
                  </a:lnTo>
                  <a:close/>
                  <a:moveTo>
                    <a:pt x="359" y="155"/>
                  </a:moveTo>
                  <a:lnTo>
                    <a:pt x="362" y="155"/>
                  </a:lnTo>
                  <a:lnTo>
                    <a:pt x="362" y="157"/>
                  </a:lnTo>
                  <a:lnTo>
                    <a:pt x="359" y="157"/>
                  </a:lnTo>
                  <a:lnTo>
                    <a:pt x="359" y="155"/>
                  </a:lnTo>
                  <a:close/>
                  <a:moveTo>
                    <a:pt x="364" y="155"/>
                  </a:moveTo>
                  <a:lnTo>
                    <a:pt x="362" y="154"/>
                  </a:lnTo>
                  <a:lnTo>
                    <a:pt x="366" y="154"/>
                  </a:lnTo>
                  <a:lnTo>
                    <a:pt x="366" y="155"/>
                  </a:lnTo>
                  <a:lnTo>
                    <a:pt x="364" y="155"/>
                  </a:lnTo>
                  <a:close/>
                  <a:moveTo>
                    <a:pt x="328" y="142"/>
                  </a:moveTo>
                  <a:lnTo>
                    <a:pt x="325" y="143"/>
                  </a:lnTo>
                  <a:lnTo>
                    <a:pt x="325" y="142"/>
                  </a:lnTo>
                  <a:lnTo>
                    <a:pt x="328" y="142"/>
                  </a:lnTo>
                  <a:close/>
                  <a:moveTo>
                    <a:pt x="350" y="120"/>
                  </a:moveTo>
                  <a:lnTo>
                    <a:pt x="352" y="128"/>
                  </a:lnTo>
                  <a:lnTo>
                    <a:pt x="347" y="128"/>
                  </a:lnTo>
                  <a:lnTo>
                    <a:pt x="345" y="121"/>
                  </a:lnTo>
                  <a:lnTo>
                    <a:pt x="350" y="120"/>
                  </a:lnTo>
                  <a:close/>
                  <a:moveTo>
                    <a:pt x="366" y="116"/>
                  </a:moveTo>
                  <a:lnTo>
                    <a:pt x="373" y="121"/>
                  </a:lnTo>
                  <a:lnTo>
                    <a:pt x="371" y="130"/>
                  </a:lnTo>
                  <a:lnTo>
                    <a:pt x="371" y="138"/>
                  </a:lnTo>
                  <a:lnTo>
                    <a:pt x="369" y="140"/>
                  </a:lnTo>
                  <a:lnTo>
                    <a:pt x="366" y="138"/>
                  </a:lnTo>
                  <a:lnTo>
                    <a:pt x="366" y="135"/>
                  </a:lnTo>
                  <a:lnTo>
                    <a:pt x="357" y="130"/>
                  </a:lnTo>
                  <a:lnTo>
                    <a:pt x="354" y="123"/>
                  </a:lnTo>
                  <a:lnTo>
                    <a:pt x="354" y="120"/>
                  </a:lnTo>
                  <a:lnTo>
                    <a:pt x="357" y="116"/>
                  </a:lnTo>
                  <a:lnTo>
                    <a:pt x="366" y="116"/>
                  </a:lnTo>
                  <a:close/>
                  <a:moveTo>
                    <a:pt x="338" y="114"/>
                  </a:moveTo>
                  <a:lnTo>
                    <a:pt x="342" y="114"/>
                  </a:lnTo>
                  <a:lnTo>
                    <a:pt x="342" y="116"/>
                  </a:lnTo>
                  <a:lnTo>
                    <a:pt x="338" y="116"/>
                  </a:lnTo>
                  <a:lnTo>
                    <a:pt x="338" y="114"/>
                  </a:lnTo>
                  <a:close/>
                  <a:moveTo>
                    <a:pt x="344" y="114"/>
                  </a:moveTo>
                  <a:lnTo>
                    <a:pt x="345" y="114"/>
                  </a:lnTo>
                  <a:lnTo>
                    <a:pt x="345" y="116"/>
                  </a:lnTo>
                  <a:lnTo>
                    <a:pt x="344" y="116"/>
                  </a:lnTo>
                  <a:lnTo>
                    <a:pt x="344" y="114"/>
                  </a:lnTo>
                  <a:close/>
                  <a:moveTo>
                    <a:pt x="369" y="106"/>
                  </a:moveTo>
                  <a:lnTo>
                    <a:pt x="371" y="106"/>
                  </a:lnTo>
                  <a:lnTo>
                    <a:pt x="369" y="106"/>
                  </a:lnTo>
                  <a:close/>
                  <a:moveTo>
                    <a:pt x="342" y="102"/>
                  </a:moveTo>
                  <a:lnTo>
                    <a:pt x="352" y="104"/>
                  </a:lnTo>
                  <a:lnTo>
                    <a:pt x="359" y="106"/>
                  </a:lnTo>
                  <a:lnTo>
                    <a:pt x="366" y="111"/>
                  </a:lnTo>
                  <a:lnTo>
                    <a:pt x="357" y="113"/>
                  </a:lnTo>
                  <a:lnTo>
                    <a:pt x="355" y="109"/>
                  </a:lnTo>
                  <a:lnTo>
                    <a:pt x="355" y="111"/>
                  </a:lnTo>
                  <a:lnTo>
                    <a:pt x="354" y="109"/>
                  </a:lnTo>
                  <a:lnTo>
                    <a:pt x="345" y="108"/>
                  </a:lnTo>
                  <a:lnTo>
                    <a:pt x="345" y="106"/>
                  </a:lnTo>
                  <a:lnTo>
                    <a:pt x="342" y="104"/>
                  </a:lnTo>
                  <a:lnTo>
                    <a:pt x="342" y="102"/>
                  </a:lnTo>
                  <a:close/>
                  <a:moveTo>
                    <a:pt x="338" y="99"/>
                  </a:moveTo>
                  <a:lnTo>
                    <a:pt x="342" y="99"/>
                  </a:lnTo>
                  <a:lnTo>
                    <a:pt x="342" y="101"/>
                  </a:lnTo>
                  <a:lnTo>
                    <a:pt x="337" y="99"/>
                  </a:lnTo>
                  <a:lnTo>
                    <a:pt x="338" y="99"/>
                  </a:lnTo>
                  <a:close/>
                  <a:moveTo>
                    <a:pt x="328" y="99"/>
                  </a:moveTo>
                  <a:lnTo>
                    <a:pt x="332" y="99"/>
                  </a:lnTo>
                  <a:lnTo>
                    <a:pt x="332" y="101"/>
                  </a:lnTo>
                  <a:lnTo>
                    <a:pt x="328" y="101"/>
                  </a:lnTo>
                  <a:lnTo>
                    <a:pt x="328" y="99"/>
                  </a:lnTo>
                  <a:close/>
                  <a:moveTo>
                    <a:pt x="325" y="99"/>
                  </a:moveTo>
                  <a:lnTo>
                    <a:pt x="328" y="102"/>
                  </a:lnTo>
                  <a:lnTo>
                    <a:pt x="335" y="101"/>
                  </a:lnTo>
                  <a:lnTo>
                    <a:pt x="338" y="102"/>
                  </a:lnTo>
                  <a:lnTo>
                    <a:pt x="344" y="106"/>
                  </a:lnTo>
                  <a:lnTo>
                    <a:pt x="345" y="109"/>
                  </a:lnTo>
                  <a:lnTo>
                    <a:pt x="352" y="109"/>
                  </a:lnTo>
                  <a:lnTo>
                    <a:pt x="354" y="111"/>
                  </a:lnTo>
                  <a:lnTo>
                    <a:pt x="350" y="118"/>
                  </a:lnTo>
                  <a:lnTo>
                    <a:pt x="345" y="114"/>
                  </a:lnTo>
                  <a:lnTo>
                    <a:pt x="337" y="113"/>
                  </a:lnTo>
                  <a:lnTo>
                    <a:pt x="330" y="109"/>
                  </a:lnTo>
                  <a:lnTo>
                    <a:pt x="326" y="111"/>
                  </a:lnTo>
                  <a:lnTo>
                    <a:pt x="320" y="109"/>
                  </a:lnTo>
                  <a:lnTo>
                    <a:pt x="316" y="104"/>
                  </a:lnTo>
                  <a:lnTo>
                    <a:pt x="320" y="99"/>
                  </a:lnTo>
                  <a:lnTo>
                    <a:pt x="325" y="99"/>
                  </a:lnTo>
                  <a:close/>
                  <a:moveTo>
                    <a:pt x="361" y="99"/>
                  </a:moveTo>
                  <a:lnTo>
                    <a:pt x="367" y="101"/>
                  </a:lnTo>
                  <a:lnTo>
                    <a:pt x="371" y="102"/>
                  </a:lnTo>
                  <a:lnTo>
                    <a:pt x="366" y="104"/>
                  </a:lnTo>
                  <a:lnTo>
                    <a:pt x="355" y="102"/>
                  </a:lnTo>
                  <a:lnTo>
                    <a:pt x="352" y="99"/>
                  </a:lnTo>
                  <a:lnTo>
                    <a:pt x="357" y="101"/>
                  </a:lnTo>
                  <a:lnTo>
                    <a:pt x="361" y="99"/>
                  </a:lnTo>
                  <a:close/>
                  <a:moveTo>
                    <a:pt x="388" y="99"/>
                  </a:moveTo>
                  <a:lnTo>
                    <a:pt x="393" y="104"/>
                  </a:lnTo>
                  <a:lnTo>
                    <a:pt x="396" y="113"/>
                  </a:lnTo>
                  <a:lnTo>
                    <a:pt x="395" y="114"/>
                  </a:lnTo>
                  <a:lnTo>
                    <a:pt x="393" y="114"/>
                  </a:lnTo>
                  <a:lnTo>
                    <a:pt x="391" y="113"/>
                  </a:lnTo>
                  <a:lnTo>
                    <a:pt x="383" y="108"/>
                  </a:lnTo>
                  <a:lnTo>
                    <a:pt x="383" y="102"/>
                  </a:lnTo>
                  <a:lnTo>
                    <a:pt x="388" y="99"/>
                  </a:lnTo>
                  <a:close/>
                  <a:moveTo>
                    <a:pt x="347" y="99"/>
                  </a:moveTo>
                  <a:lnTo>
                    <a:pt x="350" y="99"/>
                  </a:lnTo>
                  <a:lnTo>
                    <a:pt x="350" y="101"/>
                  </a:lnTo>
                  <a:lnTo>
                    <a:pt x="347" y="101"/>
                  </a:lnTo>
                  <a:lnTo>
                    <a:pt x="347" y="99"/>
                  </a:lnTo>
                  <a:close/>
                  <a:moveTo>
                    <a:pt x="338" y="96"/>
                  </a:moveTo>
                  <a:lnTo>
                    <a:pt x="347" y="99"/>
                  </a:lnTo>
                  <a:lnTo>
                    <a:pt x="347" y="101"/>
                  </a:lnTo>
                  <a:lnTo>
                    <a:pt x="345" y="102"/>
                  </a:lnTo>
                  <a:lnTo>
                    <a:pt x="340" y="99"/>
                  </a:lnTo>
                  <a:lnTo>
                    <a:pt x="332" y="99"/>
                  </a:lnTo>
                  <a:lnTo>
                    <a:pt x="328" y="99"/>
                  </a:lnTo>
                  <a:lnTo>
                    <a:pt x="326" y="97"/>
                  </a:lnTo>
                  <a:lnTo>
                    <a:pt x="335" y="96"/>
                  </a:lnTo>
                  <a:lnTo>
                    <a:pt x="338" y="96"/>
                  </a:lnTo>
                  <a:close/>
                  <a:moveTo>
                    <a:pt x="357" y="96"/>
                  </a:moveTo>
                  <a:lnTo>
                    <a:pt x="357" y="99"/>
                  </a:lnTo>
                  <a:lnTo>
                    <a:pt x="352" y="97"/>
                  </a:lnTo>
                  <a:lnTo>
                    <a:pt x="354" y="96"/>
                  </a:lnTo>
                  <a:lnTo>
                    <a:pt x="357" y="96"/>
                  </a:lnTo>
                  <a:close/>
                  <a:moveTo>
                    <a:pt x="337" y="94"/>
                  </a:moveTo>
                  <a:lnTo>
                    <a:pt x="335" y="96"/>
                  </a:lnTo>
                  <a:lnTo>
                    <a:pt x="330" y="96"/>
                  </a:lnTo>
                  <a:lnTo>
                    <a:pt x="337" y="94"/>
                  </a:lnTo>
                  <a:close/>
                  <a:moveTo>
                    <a:pt x="350" y="87"/>
                  </a:moveTo>
                  <a:lnTo>
                    <a:pt x="344" y="87"/>
                  </a:lnTo>
                  <a:lnTo>
                    <a:pt x="349" y="84"/>
                  </a:lnTo>
                  <a:lnTo>
                    <a:pt x="350" y="87"/>
                  </a:lnTo>
                  <a:close/>
                  <a:moveTo>
                    <a:pt x="385" y="79"/>
                  </a:moveTo>
                  <a:lnTo>
                    <a:pt x="388" y="79"/>
                  </a:lnTo>
                  <a:lnTo>
                    <a:pt x="390" y="80"/>
                  </a:lnTo>
                  <a:lnTo>
                    <a:pt x="381" y="79"/>
                  </a:lnTo>
                  <a:lnTo>
                    <a:pt x="385" y="79"/>
                  </a:lnTo>
                  <a:close/>
                  <a:moveTo>
                    <a:pt x="362" y="75"/>
                  </a:moveTo>
                  <a:lnTo>
                    <a:pt x="364" y="77"/>
                  </a:lnTo>
                  <a:lnTo>
                    <a:pt x="369" y="77"/>
                  </a:lnTo>
                  <a:lnTo>
                    <a:pt x="371" y="75"/>
                  </a:lnTo>
                  <a:lnTo>
                    <a:pt x="374" y="77"/>
                  </a:lnTo>
                  <a:lnTo>
                    <a:pt x="378" y="79"/>
                  </a:lnTo>
                  <a:lnTo>
                    <a:pt x="388" y="82"/>
                  </a:lnTo>
                  <a:lnTo>
                    <a:pt x="390" y="82"/>
                  </a:lnTo>
                  <a:lnTo>
                    <a:pt x="391" y="85"/>
                  </a:lnTo>
                  <a:lnTo>
                    <a:pt x="385" y="87"/>
                  </a:lnTo>
                  <a:lnTo>
                    <a:pt x="381" y="84"/>
                  </a:lnTo>
                  <a:lnTo>
                    <a:pt x="385" y="87"/>
                  </a:lnTo>
                  <a:lnTo>
                    <a:pt x="379" y="94"/>
                  </a:lnTo>
                  <a:lnTo>
                    <a:pt x="378" y="92"/>
                  </a:lnTo>
                  <a:lnTo>
                    <a:pt x="371" y="96"/>
                  </a:lnTo>
                  <a:lnTo>
                    <a:pt x="362" y="94"/>
                  </a:lnTo>
                  <a:lnTo>
                    <a:pt x="359" y="92"/>
                  </a:lnTo>
                  <a:lnTo>
                    <a:pt x="354" y="87"/>
                  </a:lnTo>
                  <a:lnTo>
                    <a:pt x="349" y="79"/>
                  </a:lnTo>
                  <a:lnTo>
                    <a:pt x="350" y="77"/>
                  </a:lnTo>
                  <a:lnTo>
                    <a:pt x="355" y="77"/>
                  </a:lnTo>
                  <a:lnTo>
                    <a:pt x="362" y="73"/>
                  </a:lnTo>
                  <a:lnTo>
                    <a:pt x="362" y="75"/>
                  </a:lnTo>
                  <a:close/>
                  <a:moveTo>
                    <a:pt x="381" y="65"/>
                  </a:moveTo>
                  <a:lnTo>
                    <a:pt x="383" y="65"/>
                  </a:lnTo>
                  <a:lnTo>
                    <a:pt x="390" y="72"/>
                  </a:lnTo>
                  <a:lnTo>
                    <a:pt x="391" y="75"/>
                  </a:lnTo>
                  <a:lnTo>
                    <a:pt x="386" y="75"/>
                  </a:lnTo>
                  <a:lnTo>
                    <a:pt x="381" y="72"/>
                  </a:lnTo>
                  <a:lnTo>
                    <a:pt x="381" y="68"/>
                  </a:lnTo>
                  <a:lnTo>
                    <a:pt x="376" y="67"/>
                  </a:lnTo>
                  <a:lnTo>
                    <a:pt x="378" y="65"/>
                  </a:lnTo>
                  <a:lnTo>
                    <a:pt x="381" y="65"/>
                  </a:lnTo>
                  <a:close/>
                  <a:moveTo>
                    <a:pt x="361" y="32"/>
                  </a:moveTo>
                  <a:lnTo>
                    <a:pt x="362" y="32"/>
                  </a:lnTo>
                  <a:lnTo>
                    <a:pt x="359" y="36"/>
                  </a:lnTo>
                  <a:lnTo>
                    <a:pt x="355" y="36"/>
                  </a:lnTo>
                  <a:lnTo>
                    <a:pt x="357" y="32"/>
                  </a:lnTo>
                  <a:lnTo>
                    <a:pt x="361" y="32"/>
                  </a:lnTo>
                  <a:close/>
                  <a:moveTo>
                    <a:pt x="371" y="32"/>
                  </a:moveTo>
                  <a:lnTo>
                    <a:pt x="378" y="38"/>
                  </a:lnTo>
                  <a:lnTo>
                    <a:pt x="381" y="43"/>
                  </a:lnTo>
                  <a:lnTo>
                    <a:pt x="378" y="51"/>
                  </a:lnTo>
                  <a:lnTo>
                    <a:pt x="373" y="53"/>
                  </a:lnTo>
                  <a:lnTo>
                    <a:pt x="364" y="48"/>
                  </a:lnTo>
                  <a:lnTo>
                    <a:pt x="362" y="39"/>
                  </a:lnTo>
                  <a:lnTo>
                    <a:pt x="367" y="32"/>
                  </a:lnTo>
                  <a:lnTo>
                    <a:pt x="371" y="32"/>
                  </a:lnTo>
                  <a:close/>
                  <a:moveTo>
                    <a:pt x="400" y="29"/>
                  </a:moveTo>
                  <a:lnTo>
                    <a:pt x="402" y="34"/>
                  </a:lnTo>
                  <a:lnTo>
                    <a:pt x="403" y="41"/>
                  </a:lnTo>
                  <a:lnTo>
                    <a:pt x="400" y="44"/>
                  </a:lnTo>
                  <a:lnTo>
                    <a:pt x="395" y="46"/>
                  </a:lnTo>
                  <a:lnTo>
                    <a:pt x="388" y="41"/>
                  </a:lnTo>
                  <a:lnTo>
                    <a:pt x="381" y="36"/>
                  </a:lnTo>
                  <a:lnTo>
                    <a:pt x="373" y="29"/>
                  </a:lnTo>
                  <a:lnTo>
                    <a:pt x="379" y="29"/>
                  </a:lnTo>
                  <a:lnTo>
                    <a:pt x="385" y="29"/>
                  </a:lnTo>
                  <a:lnTo>
                    <a:pt x="395" y="29"/>
                  </a:lnTo>
                  <a:lnTo>
                    <a:pt x="396" y="29"/>
                  </a:lnTo>
                  <a:lnTo>
                    <a:pt x="398" y="27"/>
                  </a:lnTo>
                  <a:lnTo>
                    <a:pt x="400" y="29"/>
                  </a:lnTo>
                  <a:close/>
                  <a:moveTo>
                    <a:pt x="410" y="237"/>
                  </a:moveTo>
                  <a:lnTo>
                    <a:pt x="407" y="237"/>
                  </a:lnTo>
                  <a:lnTo>
                    <a:pt x="403" y="242"/>
                  </a:lnTo>
                  <a:lnTo>
                    <a:pt x="402" y="241"/>
                  </a:lnTo>
                  <a:lnTo>
                    <a:pt x="396" y="242"/>
                  </a:lnTo>
                  <a:lnTo>
                    <a:pt x="390" y="249"/>
                  </a:lnTo>
                  <a:lnTo>
                    <a:pt x="381" y="249"/>
                  </a:lnTo>
                  <a:lnTo>
                    <a:pt x="379" y="248"/>
                  </a:lnTo>
                  <a:lnTo>
                    <a:pt x="378" y="241"/>
                  </a:lnTo>
                  <a:lnTo>
                    <a:pt x="374" y="241"/>
                  </a:lnTo>
                  <a:lnTo>
                    <a:pt x="373" y="236"/>
                  </a:lnTo>
                  <a:lnTo>
                    <a:pt x="369" y="232"/>
                  </a:lnTo>
                  <a:lnTo>
                    <a:pt x="366" y="227"/>
                  </a:lnTo>
                  <a:lnTo>
                    <a:pt x="361" y="229"/>
                  </a:lnTo>
                  <a:lnTo>
                    <a:pt x="352" y="225"/>
                  </a:lnTo>
                  <a:lnTo>
                    <a:pt x="347" y="224"/>
                  </a:lnTo>
                  <a:lnTo>
                    <a:pt x="340" y="217"/>
                  </a:lnTo>
                  <a:lnTo>
                    <a:pt x="338" y="217"/>
                  </a:lnTo>
                  <a:lnTo>
                    <a:pt x="328" y="217"/>
                  </a:lnTo>
                  <a:lnTo>
                    <a:pt x="321" y="220"/>
                  </a:lnTo>
                  <a:lnTo>
                    <a:pt x="313" y="219"/>
                  </a:lnTo>
                  <a:lnTo>
                    <a:pt x="306" y="217"/>
                  </a:lnTo>
                  <a:lnTo>
                    <a:pt x="301" y="217"/>
                  </a:lnTo>
                  <a:lnTo>
                    <a:pt x="296" y="225"/>
                  </a:lnTo>
                  <a:lnTo>
                    <a:pt x="287" y="227"/>
                  </a:lnTo>
                  <a:lnTo>
                    <a:pt x="282" y="231"/>
                  </a:lnTo>
                  <a:lnTo>
                    <a:pt x="274" y="234"/>
                  </a:lnTo>
                  <a:lnTo>
                    <a:pt x="270" y="241"/>
                  </a:lnTo>
                  <a:lnTo>
                    <a:pt x="268" y="242"/>
                  </a:lnTo>
                  <a:lnTo>
                    <a:pt x="267" y="242"/>
                  </a:lnTo>
                  <a:lnTo>
                    <a:pt x="265" y="236"/>
                  </a:lnTo>
                  <a:lnTo>
                    <a:pt x="262" y="227"/>
                  </a:lnTo>
                  <a:lnTo>
                    <a:pt x="260" y="225"/>
                  </a:lnTo>
                  <a:lnTo>
                    <a:pt x="255" y="229"/>
                  </a:lnTo>
                  <a:lnTo>
                    <a:pt x="248" y="236"/>
                  </a:lnTo>
                  <a:lnTo>
                    <a:pt x="246" y="239"/>
                  </a:lnTo>
                  <a:lnTo>
                    <a:pt x="241" y="237"/>
                  </a:lnTo>
                  <a:lnTo>
                    <a:pt x="239" y="234"/>
                  </a:lnTo>
                  <a:lnTo>
                    <a:pt x="236" y="236"/>
                  </a:lnTo>
                  <a:lnTo>
                    <a:pt x="233" y="234"/>
                  </a:lnTo>
                  <a:lnTo>
                    <a:pt x="231" y="241"/>
                  </a:lnTo>
                  <a:lnTo>
                    <a:pt x="233" y="248"/>
                  </a:lnTo>
                  <a:lnTo>
                    <a:pt x="229" y="251"/>
                  </a:lnTo>
                  <a:lnTo>
                    <a:pt x="229" y="254"/>
                  </a:lnTo>
                  <a:lnTo>
                    <a:pt x="227" y="254"/>
                  </a:lnTo>
                  <a:lnTo>
                    <a:pt x="222" y="253"/>
                  </a:lnTo>
                  <a:lnTo>
                    <a:pt x="212" y="254"/>
                  </a:lnTo>
                  <a:lnTo>
                    <a:pt x="210" y="254"/>
                  </a:lnTo>
                  <a:lnTo>
                    <a:pt x="207" y="260"/>
                  </a:lnTo>
                  <a:lnTo>
                    <a:pt x="209" y="261"/>
                  </a:lnTo>
                  <a:lnTo>
                    <a:pt x="216" y="268"/>
                  </a:lnTo>
                  <a:lnTo>
                    <a:pt x="210" y="273"/>
                  </a:lnTo>
                  <a:lnTo>
                    <a:pt x="207" y="273"/>
                  </a:lnTo>
                  <a:lnTo>
                    <a:pt x="207" y="275"/>
                  </a:lnTo>
                  <a:lnTo>
                    <a:pt x="198" y="278"/>
                  </a:lnTo>
                  <a:lnTo>
                    <a:pt x="198" y="282"/>
                  </a:lnTo>
                  <a:lnTo>
                    <a:pt x="200" y="282"/>
                  </a:lnTo>
                  <a:lnTo>
                    <a:pt x="200" y="287"/>
                  </a:lnTo>
                  <a:lnTo>
                    <a:pt x="195" y="290"/>
                  </a:lnTo>
                  <a:lnTo>
                    <a:pt x="197" y="295"/>
                  </a:lnTo>
                  <a:lnTo>
                    <a:pt x="193" y="301"/>
                  </a:lnTo>
                  <a:lnTo>
                    <a:pt x="195" y="309"/>
                  </a:lnTo>
                  <a:lnTo>
                    <a:pt x="192" y="319"/>
                  </a:lnTo>
                  <a:lnTo>
                    <a:pt x="188" y="330"/>
                  </a:lnTo>
                  <a:lnTo>
                    <a:pt x="183" y="330"/>
                  </a:lnTo>
                  <a:lnTo>
                    <a:pt x="176" y="338"/>
                  </a:lnTo>
                  <a:lnTo>
                    <a:pt x="178" y="340"/>
                  </a:lnTo>
                  <a:lnTo>
                    <a:pt x="176" y="343"/>
                  </a:lnTo>
                  <a:lnTo>
                    <a:pt x="173" y="347"/>
                  </a:lnTo>
                  <a:lnTo>
                    <a:pt x="169" y="345"/>
                  </a:lnTo>
                  <a:lnTo>
                    <a:pt x="166" y="352"/>
                  </a:lnTo>
                  <a:lnTo>
                    <a:pt x="156" y="357"/>
                  </a:lnTo>
                  <a:lnTo>
                    <a:pt x="154" y="364"/>
                  </a:lnTo>
                  <a:lnTo>
                    <a:pt x="146" y="367"/>
                  </a:lnTo>
                  <a:lnTo>
                    <a:pt x="140" y="376"/>
                  </a:lnTo>
                  <a:lnTo>
                    <a:pt x="139" y="377"/>
                  </a:lnTo>
                  <a:lnTo>
                    <a:pt x="130" y="374"/>
                  </a:lnTo>
                  <a:lnTo>
                    <a:pt x="127" y="374"/>
                  </a:lnTo>
                  <a:lnTo>
                    <a:pt x="118" y="377"/>
                  </a:lnTo>
                  <a:lnTo>
                    <a:pt x="111" y="377"/>
                  </a:lnTo>
                  <a:lnTo>
                    <a:pt x="105" y="381"/>
                  </a:lnTo>
                  <a:lnTo>
                    <a:pt x="101" y="386"/>
                  </a:lnTo>
                  <a:lnTo>
                    <a:pt x="103" y="393"/>
                  </a:lnTo>
                  <a:lnTo>
                    <a:pt x="98" y="400"/>
                  </a:lnTo>
                  <a:lnTo>
                    <a:pt x="94" y="401"/>
                  </a:lnTo>
                  <a:lnTo>
                    <a:pt x="89" y="401"/>
                  </a:lnTo>
                  <a:lnTo>
                    <a:pt x="87" y="403"/>
                  </a:lnTo>
                  <a:lnTo>
                    <a:pt x="84" y="403"/>
                  </a:lnTo>
                  <a:lnTo>
                    <a:pt x="76" y="401"/>
                  </a:lnTo>
                  <a:lnTo>
                    <a:pt x="76" y="396"/>
                  </a:lnTo>
                  <a:lnTo>
                    <a:pt x="74" y="394"/>
                  </a:lnTo>
                  <a:lnTo>
                    <a:pt x="67" y="393"/>
                  </a:lnTo>
                  <a:lnTo>
                    <a:pt x="62" y="394"/>
                  </a:lnTo>
                  <a:lnTo>
                    <a:pt x="53" y="394"/>
                  </a:lnTo>
                  <a:lnTo>
                    <a:pt x="52" y="388"/>
                  </a:lnTo>
                  <a:lnTo>
                    <a:pt x="47" y="389"/>
                  </a:lnTo>
                  <a:lnTo>
                    <a:pt x="41" y="384"/>
                  </a:lnTo>
                  <a:lnTo>
                    <a:pt x="36" y="388"/>
                  </a:lnTo>
                  <a:lnTo>
                    <a:pt x="36" y="391"/>
                  </a:lnTo>
                  <a:lnTo>
                    <a:pt x="31" y="388"/>
                  </a:lnTo>
                  <a:lnTo>
                    <a:pt x="24" y="379"/>
                  </a:lnTo>
                  <a:lnTo>
                    <a:pt x="19" y="377"/>
                  </a:lnTo>
                  <a:lnTo>
                    <a:pt x="21" y="374"/>
                  </a:lnTo>
                  <a:lnTo>
                    <a:pt x="17" y="369"/>
                  </a:lnTo>
                  <a:lnTo>
                    <a:pt x="11" y="367"/>
                  </a:lnTo>
                  <a:lnTo>
                    <a:pt x="6" y="364"/>
                  </a:lnTo>
                  <a:lnTo>
                    <a:pt x="0" y="357"/>
                  </a:lnTo>
                  <a:lnTo>
                    <a:pt x="4" y="355"/>
                  </a:lnTo>
                  <a:lnTo>
                    <a:pt x="7" y="347"/>
                  </a:lnTo>
                  <a:lnTo>
                    <a:pt x="6" y="345"/>
                  </a:lnTo>
                  <a:lnTo>
                    <a:pt x="6" y="340"/>
                  </a:lnTo>
                  <a:lnTo>
                    <a:pt x="14" y="336"/>
                  </a:lnTo>
                  <a:lnTo>
                    <a:pt x="17" y="333"/>
                  </a:lnTo>
                  <a:lnTo>
                    <a:pt x="17" y="324"/>
                  </a:lnTo>
                  <a:lnTo>
                    <a:pt x="19" y="321"/>
                  </a:lnTo>
                  <a:lnTo>
                    <a:pt x="17" y="311"/>
                  </a:lnTo>
                  <a:lnTo>
                    <a:pt x="19" y="309"/>
                  </a:lnTo>
                  <a:lnTo>
                    <a:pt x="19" y="306"/>
                  </a:lnTo>
                  <a:lnTo>
                    <a:pt x="23" y="304"/>
                  </a:lnTo>
                  <a:lnTo>
                    <a:pt x="28" y="307"/>
                  </a:lnTo>
                  <a:lnTo>
                    <a:pt x="31" y="302"/>
                  </a:lnTo>
                  <a:lnTo>
                    <a:pt x="36" y="301"/>
                  </a:lnTo>
                  <a:lnTo>
                    <a:pt x="38" y="299"/>
                  </a:lnTo>
                  <a:lnTo>
                    <a:pt x="35" y="294"/>
                  </a:lnTo>
                  <a:lnTo>
                    <a:pt x="40" y="285"/>
                  </a:lnTo>
                  <a:lnTo>
                    <a:pt x="36" y="283"/>
                  </a:lnTo>
                  <a:lnTo>
                    <a:pt x="31" y="285"/>
                  </a:lnTo>
                  <a:lnTo>
                    <a:pt x="29" y="283"/>
                  </a:lnTo>
                  <a:lnTo>
                    <a:pt x="29" y="282"/>
                  </a:lnTo>
                  <a:lnTo>
                    <a:pt x="29" y="278"/>
                  </a:lnTo>
                  <a:lnTo>
                    <a:pt x="31" y="275"/>
                  </a:lnTo>
                  <a:lnTo>
                    <a:pt x="28" y="270"/>
                  </a:lnTo>
                  <a:lnTo>
                    <a:pt x="28" y="263"/>
                  </a:lnTo>
                  <a:lnTo>
                    <a:pt x="29" y="260"/>
                  </a:lnTo>
                  <a:lnTo>
                    <a:pt x="31" y="258"/>
                  </a:lnTo>
                  <a:lnTo>
                    <a:pt x="33" y="260"/>
                  </a:lnTo>
                  <a:lnTo>
                    <a:pt x="38" y="258"/>
                  </a:lnTo>
                  <a:lnTo>
                    <a:pt x="43" y="258"/>
                  </a:lnTo>
                  <a:lnTo>
                    <a:pt x="45" y="254"/>
                  </a:lnTo>
                  <a:lnTo>
                    <a:pt x="48" y="254"/>
                  </a:lnTo>
                  <a:lnTo>
                    <a:pt x="47" y="251"/>
                  </a:lnTo>
                  <a:lnTo>
                    <a:pt x="48" y="246"/>
                  </a:lnTo>
                  <a:lnTo>
                    <a:pt x="52" y="248"/>
                  </a:lnTo>
                  <a:lnTo>
                    <a:pt x="58" y="242"/>
                  </a:lnTo>
                  <a:lnTo>
                    <a:pt x="58" y="241"/>
                  </a:lnTo>
                  <a:lnTo>
                    <a:pt x="65" y="241"/>
                  </a:lnTo>
                  <a:lnTo>
                    <a:pt x="65" y="237"/>
                  </a:lnTo>
                  <a:lnTo>
                    <a:pt x="69" y="232"/>
                  </a:lnTo>
                  <a:lnTo>
                    <a:pt x="77" y="232"/>
                  </a:lnTo>
                  <a:lnTo>
                    <a:pt x="82" y="227"/>
                  </a:lnTo>
                  <a:lnTo>
                    <a:pt x="82" y="224"/>
                  </a:lnTo>
                  <a:lnTo>
                    <a:pt x="79" y="224"/>
                  </a:lnTo>
                  <a:lnTo>
                    <a:pt x="74" y="215"/>
                  </a:lnTo>
                  <a:lnTo>
                    <a:pt x="67" y="219"/>
                  </a:lnTo>
                  <a:lnTo>
                    <a:pt x="64" y="217"/>
                  </a:lnTo>
                  <a:lnTo>
                    <a:pt x="67" y="210"/>
                  </a:lnTo>
                  <a:lnTo>
                    <a:pt x="67" y="207"/>
                  </a:lnTo>
                  <a:lnTo>
                    <a:pt x="64" y="205"/>
                  </a:lnTo>
                  <a:lnTo>
                    <a:pt x="70" y="200"/>
                  </a:lnTo>
                  <a:lnTo>
                    <a:pt x="69" y="196"/>
                  </a:lnTo>
                  <a:lnTo>
                    <a:pt x="70" y="195"/>
                  </a:lnTo>
                  <a:lnTo>
                    <a:pt x="64" y="190"/>
                  </a:lnTo>
                  <a:lnTo>
                    <a:pt x="70" y="184"/>
                  </a:lnTo>
                  <a:lnTo>
                    <a:pt x="70" y="181"/>
                  </a:lnTo>
                  <a:lnTo>
                    <a:pt x="72" y="178"/>
                  </a:lnTo>
                  <a:lnTo>
                    <a:pt x="76" y="178"/>
                  </a:lnTo>
                  <a:lnTo>
                    <a:pt x="77" y="174"/>
                  </a:lnTo>
                  <a:lnTo>
                    <a:pt x="82" y="172"/>
                  </a:lnTo>
                  <a:lnTo>
                    <a:pt x="82" y="169"/>
                  </a:lnTo>
                  <a:lnTo>
                    <a:pt x="86" y="164"/>
                  </a:lnTo>
                  <a:lnTo>
                    <a:pt x="91" y="167"/>
                  </a:lnTo>
                  <a:lnTo>
                    <a:pt x="93" y="172"/>
                  </a:lnTo>
                  <a:lnTo>
                    <a:pt x="99" y="171"/>
                  </a:lnTo>
                  <a:lnTo>
                    <a:pt x="105" y="166"/>
                  </a:lnTo>
                  <a:lnTo>
                    <a:pt x="110" y="167"/>
                  </a:lnTo>
                  <a:lnTo>
                    <a:pt x="111" y="166"/>
                  </a:lnTo>
                  <a:lnTo>
                    <a:pt x="115" y="162"/>
                  </a:lnTo>
                  <a:lnTo>
                    <a:pt x="115" y="155"/>
                  </a:lnTo>
                  <a:lnTo>
                    <a:pt x="117" y="152"/>
                  </a:lnTo>
                  <a:lnTo>
                    <a:pt x="120" y="150"/>
                  </a:lnTo>
                  <a:lnTo>
                    <a:pt x="120" y="149"/>
                  </a:lnTo>
                  <a:lnTo>
                    <a:pt x="115" y="145"/>
                  </a:lnTo>
                  <a:lnTo>
                    <a:pt x="115" y="142"/>
                  </a:lnTo>
                  <a:lnTo>
                    <a:pt x="117" y="142"/>
                  </a:lnTo>
                  <a:lnTo>
                    <a:pt x="115" y="138"/>
                  </a:lnTo>
                  <a:lnTo>
                    <a:pt x="117" y="131"/>
                  </a:lnTo>
                  <a:lnTo>
                    <a:pt x="118" y="130"/>
                  </a:lnTo>
                  <a:lnTo>
                    <a:pt x="118" y="126"/>
                  </a:lnTo>
                  <a:lnTo>
                    <a:pt x="122" y="120"/>
                  </a:lnTo>
                  <a:lnTo>
                    <a:pt x="123" y="114"/>
                  </a:lnTo>
                  <a:lnTo>
                    <a:pt x="125" y="116"/>
                  </a:lnTo>
                  <a:lnTo>
                    <a:pt x="127" y="120"/>
                  </a:lnTo>
                  <a:lnTo>
                    <a:pt x="132" y="116"/>
                  </a:lnTo>
                  <a:lnTo>
                    <a:pt x="125" y="108"/>
                  </a:lnTo>
                  <a:lnTo>
                    <a:pt x="125" y="101"/>
                  </a:lnTo>
                  <a:lnTo>
                    <a:pt x="122" y="96"/>
                  </a:lnTo>
                  <a:lnTo>
                    <a:pt x="122" y="85"/>
                  </a:lnTo>
                  <a:lnTo>
                    <a:pt x="122" y="80"/>
                  </a:lnTo>
                  <a:lnTo>
                    <a:pt x="125" y="70"/>
                  </a:lnTo>
                  <a:lnTo>
                    <a:pt x="127" y="65"/>
                  </a:lnTo>
                  <a:lnTo>
                    <a:pt x="120" y="58"/>
                  </a:lnTo>
                  <a:lnTo>
                    <a:pt x="128" y="53"/>
                  </a:lnTo>
                  <a:lnTo>
                    <a:pt x="130" y="44"/>
                  </a:lnTo>
                  <a:lnTo>
                    <a:pt x="134" y="39"/>
                  </a:lnTo>
                  <a:lnTo>
                    <a:pt x="135" y="27"/>
                  </a:lnTo>
                  <a:lnTo>
                    <a:pt x="142" y="24"/>
                  </a:lnTo>
                  <a:lnTo>
                    <a:pt x="144" y="20"/>
                  </a:lnTo>
                  <a:lnTo>
                    <a:pt x="151" y="22"/>
                  </a:lnTo>
                  <a:lnTo>
                    <a:pt x="151" y="17"/>
                  </a:lnTo>
                  <a:lnTo>
                    <a:pt x="156" y="14"/>
                  </a:lnTo>
                  <a:lnTo>
                    <a:pt x="156" y="8"/>
                  </a:lnTo>
                  <a:lnTo>
                    <a:pt x="157" y="2"/>
                  </a:lnTo>
                  <a:lnTo>
                    <a:pt x="161" y="2"/>
                  </a:lnTo>
                  <a:lnTo>
                    <a:pt x="164" y="7"/>
                  </a:lnTo>
                  <a:lnTo>
                    <a:pt x="169" y="7"/>
                  </a:lnTo>
                  <a:lnTo>
                    <a:pt x="175" y="10"/>
                  </a:lnTo>
                  <a:lnTo>
                    <a:pt x="178" y="14"/>
                  </a:lnTo>
                  <a:lnTo>
                    <a:pt x="181" y="15"/>
                  </a:lnTo>
                  <a:lnTo>
                    <a:pt x="186" y="8"/>
                  </a:lnTo>
                  <a:lnTo>
                    <a:pt x="190" y="8"/>
                  </a:lnTo>
                  <a:lnTo>
                    <a:pt x="192" y="3"/>
                  </a:lnTo>
                  <a:lnTo>
                    <a:pt x="202" y="3"/>
                  </a:lnTo>
                  <a:lnTo>
                    <a:pt x="204" y="5"/>
                  </a:lnTo>
                  <a:lnTo>
                    <a:pt x="214" y="3"/>
                  </a:lnTo>
                  <a:lnTo>
                    <a:pt x="219" y="7"/>
                  </a:lnTo>
                  <a:lnTo>
                    <a:pt x="224" y="10"/>
                  </a:lnTo>
                  <a:lnTo>
                    <a:pt x="226" y="14"/>
                  </a:lnTo>
                  <a:lnTo>
                    <a:pt x="229" y="14"/>
                  </a:lnTo>
                  <a:lnTo>
                    <a:pt x="231" y="8"/>
                  </a:lnTo>
                  <a:lnTo>
                    <a:pt x="236" y="10"/>
                  </a:lnTo>
                  <a:lnTo>
                    <a:pt x="236" y="5"/>
                  </a:lnTo>
                  <a:lnTo>
                    <a:pt x="239" y="0"/>
                  </a:lnTo>
                  <a:lnTo>
                    <a:pt x="243" y="5"/>
                  </a:lnTo>
                  <a:lnTo>
                    <a:pt x="245" y="5"/>
                  </a:lnTo>
                  <a:lnTo>
                    <a:pt x="246" y="8"/>
                  </a:lnTo>
                  <a:lnTo>
                    <a:pt x="248" y="8"/>
                  </a:lnTo>
                  <a:lnTo>
                    <a:pt x="251" y="7"/>
                  </a:lnTo>
                  <a:lnTo>
                    <a:pt x="256" y="8"/>
                  </a:lnTo>
                  <a:lnTo>
                    <a:pt x="260" y="7"/>
                  </a:lnTo>
                  <a:lnTo>
                    <a:pt x="262" y="3"/>
                  </a:lnTo>
                  <a:lnTo>
                    <a:pt x="267" y="8"/>
                  </a:lnTo>
                  <a:lnTo>
                    <a:pt x="268" y="7"/>
                  </a:lnTo>
                  <a:lnTo>
                    <a:pt x="272" y="10"/>
                  </a:lnTo>
                  <a:lnTo>
                    <a:pt x="280" y="5"/>
                  </a:lnTo>
                  <a:lnTo>
                    <a:pt x="287" y="8"/>
                  </a:lnTo>
                  <a:lnTo>
                    <a:pt x="291" y="8"/>
                  </a:lnTo>
                  <a:lnTo>
                    <a:pt x="294" y="10"/>
                  </a:lnTo>
                  <a:lnTo>
                    <a:pt x="296" y="8"/>
                  </a:lnTo>
                  <a:lnTo>
                    <a:pt x="304" y="10"/>
                  </a:lnTo>
                  <a:lnTo>
                    <a:pt x="308" y="7"/>
                  </a:lnTo>
                  <a:lnTo>
                    <a:pt x="316" y="8"/>
                  </a:lnTo>
                  <a:lnTo>
                    <a:pt x="321" y="5"/>
                  </a:lnTo>
                  <a:lnTo>
                    <a:pt x="328" y="12"/>
                  </a:lnTo>
                  <a:lnTo>
                    <a:pt x="337" y="15"/>
                  </a:lnTo>
                  <a:lnTo>
                    <a:pt x="337" y="17"/>
                  </a:lnTo>
                  <a:lnTo>
                    <a:pt x="344" y="20"/>
                  </a:lnTo>
                  <a:lnTo>
                    <a:pt x="344" y="24"/>
                  </a:lnTo>
                  <a:lnTo>
                    <a:pt x="347" y="27"/>
                  </a:lnTo>
                  <a:lnTo>
                    <a:pt x="354" y="29"/>
                  </a:lnTo>
                  <a:lnTo>
                    <a:pt x="361" y="27"/>
                  </a:lnTo>
                  <a:lnTo>
                    <a:pt x="362" y="29"/>
                  </a:lnTo>
                  <a:lnTo>
                    <a:pt x="357" y="32"/>
                  </a:lnTo>
                  <a:lnTo>
                    <a:pt x="354" y="38"/>
                  </a:lnTo>
                  <a:lnTo>
                    <a:pt x="350" y="36"/>
                  </a:lnTo>
                  <a:lnTo>
                    <a:pt x="350" y="34"/>
                  </a:lnTo>
                  <a:lnTo>
                    <a:pt x="349" y="36"/>
                  </a:lnTo>
                  <a:lnTo>
                    <a:pt x="340" y="32"/>
                  </a:lnTo>
                  <a:lnTo>
                    <a:pt x="337" y="32"/>
                  </a:lnTo>
                  <a:lnTo>
                    <a:pt x="340" y="34"/>
                  </a:lnTo>
                  <a:lnTo>
                    <a:pt x="342" y="36"/>
                  </a:lnTo>
                  <a:lnTo>
                    <a:pt x="340" y="38"/>
                  </a:lnTo>
                  <a:lnTo>
                    <a:pt x="342" y="38"/>
                  </a:lnTo>
                  <a:lnTo>
                    <a:pt x="349" y="39"/>
                  </a:lnTo>
                  <a:lnTo>
                    <a:pt x="347" y="43"/>
                  </a:lnTo>
                  <a:lnTo>
                    <a:pt x="349" y="43"/>
                  </a:lnTo>
                  <a:lnTo>
                    <a:pt x="350" y="41"/>
                  </a:lnTo>
                  <a:lnTo>
                    <a:pt x="349" y="43"/>
                  </a:lnTo>
                  <a:lnTo>
                    <a:pt x="352" y="43"/>
                  </a:lnTo>
                  <a:lnTo>
                    <a:pt x="354" y="44"/>
                  </a:lnTo>
                  <a:lnTo>
                    <a:pt x="354" y="46"/>
                  </a:lnTo>
                  <a:lnTo>
                    <a:pt x="355" y="46"/>
                  </a:lnTo>
                  <a:lnTo>
                    <a:pt x="361" y="55"/>
                  </a:lnTo>
                  <a:lnTo>
                    <a:pt x="361" y="53"/>
                  </a:lnTo>
                  <a:lnTo>
                    <a:pt x="364" y="56"/>
                  </a:lnTo>
                  <a:lnTo>
                    <a:pt x="367" y="60"/>
                  </a:lnTo>
                  <a:lnTo>
                    <a:pt x="374" y="60"/>
                  </a:lnTo>
                  <a:lnTo>
                    <a:pt x="373" y="63"/>
                  </a:lnTo>
                  <a:lnTo>
                    <a:pt x="366" y="63"/>
                  </a:lnTo>
                  <a:lnTo>
                    <a:pt x="366" y="65"/>
                  </a:lnTo>
                  <a:lnTo>
                    <a:pt x="374" y="65"/>
                  </a:lnTo>
                  <a:lnTo>
                    <a:pt x="379" y="68"/>
                  </a:lnTo>
                  <a:lnTo>
                    <a:pt x="378" y="72"/>
                  </a:lnTo>
                  <a:lnTo>
                    <a:pt x="385" y="75"/>
                  </a:lnTo>
                  <a:lnTo>
                    <a:pt x="390" y="75"/>
                  </a:lnTo>
                  <a:lnTo>
                    <a:pt x="390" y="79"/>
                  </a:lnTo>
                  <a:lnTo>
                    <a:pt x="386" y="79"/>
                  </a:lnTo>
                  <a:lnTo>
                    <a:pt x="381" y="77"/>
                  </a:lnTo>
                  <a:lnTo>
                    <a:pt x="374" y="77"/>
                  </a:lnTo>
                  <a:lnTo>
                    <a:pt x="371" y="75"/>
                  </a:lnTo>
                  <a:lnTo>
                    <a:pt x="369" y="77"/>
                  </a:lnTo>
                  <a:lnTo>
                    <a:pt x="364" y="77"/>
                  </a:lnTo>
                  <a:lnTo>
                    <a:pt x="362" y="73"/>
                  </a:lnTo>
                  <a:lnTo>
                    <a:pt x="355" y="77"/>
                  </a:lnTo>
                  <a:lnTo>
                    <a:pt x="354" y="75"/>
                  </a:lnTo>
                  <a:lnTo>
                    <a:pt x="350" y="77"/>
                  </a:lnTo>
                  <a:lnTo>
                    <a:pt x="349" y="79"/>
                  </a:lnTo>
                  <a:lnTo>
                    <a:pt x="350" y="82"/>
                  </a:lnTo>
                  <a:lnTo>
                    <a:pt x="342" y="87"/>
                  </a:lnTo>
                  <a:lnTo>
                    <a:pt x="345" y="89"/>
                  </a:lnTo>
                  <a:lnTo>
                    <a:pt x="347" y="89"/>
                  </a:lnTo>
                  <a:lnTo>
                    <a:pt x="349" y="89"/>
                  </a:lnTo>
                  <a:lnTo>
                    <a:pt x="354" y="90"/>
                  </a:lnTo>
                  <a:lnTo>
                    <a:pt x="354" y="94"/>
                  </a:lnTo>
                  <a:lnTo>
                    <a:pt x="350" y="97"/>
                  </a:lnTo>
                  <a:lnTo>
                    <a:pt x="345" y="96"/>
                  </a:lnTo>
                  <a:lnTo>
                    <a:pt x="340" y="92"/>
                  </a:lnTo>
                  <a:lnTo>
                    <a:pt x="338" y="92"/>
                  </a:lnTo>
                  <a:lnTo>
                    <a:pt x="330" y="94"/>
                  </a:lnTo>
                  <a:lnTo>
                    <a:pt x="323" y="96"/>
                  </a:lnTo>
                  <a:lnTo>
                    <a:pt x="318" y="94"/>
                  </a:lnTo>
                  <a:lnTo>
                    <a:pt x="320" y="97"/>
                  </a:lnTo>
                  <a:lnTo>
                    <a:pt x="315" y="104"/>
                  </a:lnTo>
                  <a:lnTo>
                    <a:pt x="318" y="109"/>
                  </a:lnTo>
                  <a:lnTo>
                    <a:pt x="323" y="113"/>
                  </a:lnTo>
                  <a:lnTo>
                    <a:pt x="330" y="113"/>
                  </a:lnTo>
                  <a:lnTo>
                    <a:pt x="328" y="116"/>
                  </a:lnTo>
                  <a:lnTo>
                    <a:pt x="333" y="114"/>
                  </a:lnTo>
                  <a:lnTo>
                    <a:pt x="335" y="118"/>
                  </a:lnTo>
                  <a:lnTo>
                    <a:pt x="337" y="116"/>
                  </a:lnTo>
                  <a:lnTo>
                    <a:pt x="344" y="120"/>
                  </a:lnTo>
                  <a:lnTo>
                    <a:pt x="344" y="128"/>
                  </a:lnTo>
                  <a:lnTo>
                    <a:pt x="340" y="130"/>
                  </a:lnTo>
                  <a:lnTo>
                    <a:pt x="338" y="130"/>
                  </a:lnTo>
                  <a:lnTo>
                    <a:pt x="338" y="128"/>
                  </a:lnTo>
                  <a:lnTo>
                    <a:pt x="335" y="125"/>
                  </a:lnTo>
                  <a:lnTo>
                    <a:pt x="338" y="128"/>
                  </a:lnTo>
                  <a:lnTo>
                    <a:pt x="338" y="131"/>
                  </a:lnTo>
                  <a:lnTo>
                    <a:pt x="340" y="131"/>
                  </a:lnTo>
                  <a:lnTo>
                    <a:pt x="345" y="128"/>
                  </a:lnTo>
                  <a:lnTo>
                    <a:pt x="352" y="130"/>
                  </a:lnTo>
                  <a:lnTo>
                    <a:pt x="354" y="135"/>
                  </a:lnTo>
                  <a:lnTo>
                    <a:pt x="354" y="137"/>
                  </a:lnTo>
                  <a:lnTo>
                    <a:pt x="347" y="135"/>
                  </a:lnTo>
                  <a:lnTo>
                    <a:pt x="342" y="140"/>
                  </a:lnTo>
                  <a:lnTo>
                    <a:pt x="337" y="137"/>
                  </a:lnTo>
                  <a:lnTo>
                    <a:pt x="335" y="138"/>
                  </a:lnTo>
                  <a:lnTo>
                    <a:pt x="337" y="137"/>
                  </a:lnTo>
                  <a:lnTo>
                    <a:pt x="340" y="138"/>
                  </a:lnTo>
                  <a:lnTo>
                    <a:pt x="337" y="142"/>
                  </a:lnTo>
                  <a:lnTo>
                    <a:pt x="332" y="143"/>
                  </a:lnTo>
                  <a:lnTo>
                    <a:pt x="330" y="143"/>
                  </a:lnTo>
                  <a:lnTo>
                    <a:pt x="328" y="140"/>
                  </a:lnTo>
                  <a:lnTo>
                    <a:pt x="325" y="140"/>
                  </a:lnTo>
                  <a:lnTo>
                    <a:pt x="325" y="138"/>
                  </a:lnTo>
                  <a:lnTo>
                    <a:pt x="320" y="138"/>
                  </a:lnTo>
                  <a:lnTo>
                    <a:pt x="315" y="137"/>
                  </a:lnTo>
                  <a:lnTo>
                    <a:pt x="315" y="138"/>
                  </a:lnTo>
                  <a:lnTo>
                    <a:pt x="308" y="135"/>
                  </a:lnTo>
                  <a:lnTo>
                    <a:pt x="313" y="140"/>
                  </a:lnTo>
                  <a:lnTo>
                    <a:pt x="323" y="142"/>
                  </a:lnTo>
                  <a:lnTo>
                    <a:pt x="325" y="145"/>
                  </a:lnTo>
                  <a:lnTo>
                    <a:pt x="328" y="143"/>
                  </a:lnTo>
                  <a:lnTo>
                    <a:pt x="330" y="150"/>
                  </a:lnTo>
                  <a:lnTo>
                    <a:pt x="333" y="147"/>
                  </a:lnTo>
                  <a:lnTo>
                    <a:pt x="338" y="149"/>
                  </a:lnTo>
                  <a:lnTo>
                    <a:pt x="338" y="150"/>
                  </a:lnTo>
                  <a:lnTo>
                    <a:pt x="342" y="149"/>
                  </a:lnTo>
                  <a:lnTo>
                    <a:pt x="344" y="149"/>
                  </a:lnTo>
                  <a:lnTo>
                    <a:pt x="347" y="154"/>
                  </a:lnTo>
                  <a:lnTo>
                    <a:pt x="345" y="154"/>
                  </a:lnTo>
                  <a:lnTo>
                    <a:pt x="349" y="157"/>
                  </a:lnTo>
                  <a:lnTo>
                    <a:pt x="345" y="159"/>
                  </a:lnTo>
                  <a:lnTo>
                    <a:pt x="347" y="159"/>
                  </a:lnTo>
                  <a:lnTo>
                    <a:pt x="347" y="161"/>
                  </a:lnTo>
                  <a:lnTo>
                    <a:pt x="349" y="159"/>
                  </a:lnTo>
                  <a:lnTo>
                    <a:pt x="352" y="161"/>
                  </a:lnTo>
                  <a:lnTo>
                    <a:pt x="354" y="157"/>
                  </a:lnTo>
                  <a:lnTo>
                    <a:pt x="361" y="159"/>
                  </a:lnTo>
                  <a:lnTo>
                    <a:pt x="364" y="157"/>
                  </a:lnTo>
                  <a:lnTo>
                    <a:pt x="366" y="161"/>
                  </a:lnTo>
                  <a:lnTo>
                    <a:pt x="361" y="164"/>
                  </a:lnTo>
                  <a:lnTo>
                    <a:pt x="367" y="162"/>
                  </a:lnTo>
                  <a:lnTo>
                    <a:pt x="366" y="167"/>
                  </a:lnTo>
                  <a:lnTo>
                    <a:pt x="361" y="171"/>
                  </a:lnTo>
                  <a:lnTo>
                    <a:pt x="359" y="167"/>
                  </a:lnTo>
                  <a:lnTo>
                    <a:pt x="359" y="172"/>
                  </a:lnTo>
                  <a:lnTo>
                    <a:pt x="355" y="176"/>
                  </a:lnTo>
                  <a:lnTo>
                    <a:pt x="359" y="176"/>
                  </a:lnTo>
                  <a:lnTo>
                    <a:pt x="366" y="171"/>
                  </a:lnTo>
                  <a:lnTo>
                    <a:pt x="371" y="171"/>
                  </a:lnTo>
                  <a:lnTo>
                    <a:pt x="373" y="172"/>
                  </a:lnTo>
                  <a:lnTo>
                    <a:pt x="371" y="174"/>
                  </a:lnTo>
                  <a:lnTo>
                    <a:pt x="373" y="172"/>
                  </a:lnTo>
                  <a:lnTo>
                    <a:pt x="376" y="176"/>
                  </a:lnTo>
                  <a:lnTo>
                    <a:pt x="367" y="178"/>
                  </a:lnTo>
                  <a:lnTo>
                    <a:pt x="376" y="178"/>
                  </a:lnTo>
                  <a:lnTo>
                    <a:pt x="378" y="179"/>
                  </a:lnTo>
                  <a:lnTo>
                    <a:pt x="367" y="181"/>
                  </a:lnTo>
                  <a:lnTo>
                    <a:pt x="378" y="183"/>
                  </a:lnTo>
                  <a:lnTo>
                    <a:pt x="378" y="186"/>
                  </a:lnTo>
                  <a:lnTo>
                    <a:pt x="369" y="186"/>
                  </a:lnTo>
                  <a:lnTo>
                    <a:pt x="371" y="188"/>
                  </a:lnTo>
                  <a:lnTo>
                    <a:pt x="369" y="191"/>
                  </a:lnTo>
                  <a:lnTo>
                    <a:pt x="362" y="188"/>
                  </a:lnTo>
                  <a:lnTo>
                    <a:pt x="366" y="193"/>
                  </a:lnTo>
                  <a:lnTo>
                    <a:pt x="376" y="195"/>
                  </a:lnTo>
                  <a:lnTo>
                    <a:pt x="379" y="196"/>
                  </a:lnTo>
                  <a:lnTo>
                    <a:pt x="381" y="198"/>
                  </a:lnTo>
                  <a:lnTo>
                    <a:pt x="386" y="198"/>
                  </a:lnTo>
                  <a:lnTo>
                    <a:pt x="386" y="203"/>
                  </a:lnTo>
                  <a:lnTo>
                    <a:pt x="386" y="210"/>
                  </a:lnTo>
                  <a:lnTo>
                    <a:pt x="388" y="213"/>
                  </a:lnTo>
                  <a:lnTo>
                    <a:pt x="393" y="219"/>
                  </a:lnTo>
                  <a:lnTo>
                    <a:pt x="396" y="222"/>
                  </a:lnTo>
                  <a:lnTo>
                    <a:pt x="398" y="224"/>
                  </a:lnTo>
                  <a:lnTo>
                    <a:pt x="405" y="232"/>
                  </a:lnTo>
                  <a:lnTo>
                    <a:pt x="410" y="23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36" name="Freeform 53"/>
            <p:cNvSpPr>
              <a:spLocks noEditPoints="1"/>
            </p:cNvSpPr>
            <p:nvPr/>
          </p:nvSpPr>
          <p:spPr bwMode="gray">
            <a:xfrm>
              <a:off x="4992370" y="2587386"/>
              <a:ext cx="1127345" cy="1092686"/>
            </a:xfrm>
            <a:custGeom>
              <a:avLst/>
              <a:gdLst>
                <a:gd name="T0" fmla="*/ 436 w 618"/>
                <a:gd name="T1" fmla="*/ 411 h 599"/>
                <a:gd name="T2" fmla="*/ 413 w 618"/>
                <a:gd name="T3" fmla="*/ 410 h 599"/>
                <a:gd name="T4" fmla="*/ 415 w 618"/>
                <a:gd name="T5" fmla="*/ 403 h 599"/>
                <a:gd name="T6" fmla="*/ 431 w 618"/>
                <a:gd name="T7" fmla="*/ 398 h 599"/>
                <a:gd name="T8" fmla="*/ 419 w 618"/>
                <a:gd name="T9" fmla="*/ 403 h 599"/>
                <a:gd name="T10" fmla="*/ 437 w 618"/>
                <a:gd name="T11" fmla="*/ 391 h 599"/>
                <a:gd name="T12" fmla="*/ 424 w 618"/>
                <a:gd name="T13" fmla="*/ 398 h 599"/>
                <a:gd name="T14" fmla="*/ 425 w 618"/>
                <a:gd name="T15" fmla="*/ 410 h 599"/>
                <a:gd name="T16" fmla="*/ 441 w 618"/>
                <a:gd name="T17" fmla="*/ 384 h 599"/>
                <a:gd name="T18" fmla="*/ 436 w 618"/>
                <a:gd name="T19" fmla="*/ 396 h 599"/>
                <a:gd name="T20" fmla="*/ 446 w 618"/>
                <a:gd name="T21" fmla="*/ 406 h 599"/>
                <a:gd name="T22" fmla="*/ 439 w 618"/>
                <a:gd name="T23" fmla="*/ 372 h 599"/>
                <a:gd name="T24" fmla="*/ 439 w 618"/>
                <a:gd name="T25" fmla="*/ 372 h 599"/>
                <a:gd name="T26" fmla="*/ 431 w 618"/>
                <a:gd name="T27" fmla="*/ 376 h 599"/>
                <a:gd name="T28" fmla="*/ 436 w 618"/>
                <a:gd name="T29" fmla="*/ 362 h 599"/>
                <a:gd name="T30" fmla="*/ 434 w 618"/>
                <a:gd name="T31" fmla="*/ 353 h 599"/>
                <a:gd name="T32" fmla="*/ 490 w 618"/>
                <a:gd name="T33" fmla="*/ 179 h 599"/>
                <a:gd name="T34" fmla="*/ 489 w 618"/>
                <a:gd name="T35" fmla="*/ 66 h 599"/>
                <a:gd name="T36" fmla="*/ 465 w 618"/>
                <a:gd name="T37" fmla="*/ 63 h 599"/>
                <a:gd name="T38" fmla="*/ 564 w 618"/>
                <a:gd name="T39" fmla="*/ 56 h 599"/>
                <a:gd name="T40" fmla="*/ 473 w 618"/>
                <a:gd name="T41" fmla="*/ 49 h 599"/>
                <a:gd name="T42" fmla="*/ 485 w 618"/>
                <a:gd name="T43" fmla="*/ 53 h 599"/>
                <a:gd name="T44" fmla="*/ 485 w 618"/>
                <a:gd name="T45" fmla="*/ 53 h 599"/>
                <a:gd name="T46" fmla="*/ 567 w 618"/>
                <a:gd name="T47" fmla="*/ 34 h 599"/>
                <a:gd name="T48" fmla="*/ 511 w 618"/>
                <a:gd name="T49" fmla="*/ 37 h 599"/>
                <a:gd name="T50" fmla="*/ 463 w 618"/>
                <a:gd name="T51" fmla="*/ 66 h 599"/>
                <a:gd name="T52" fmla="*/ 480 w 618"/>
                <a:gd name="T53" fmla="*/ 84 h 599"/>
                <a:gd name="T54" fmla="*/ 502 w 618"/>
                <a:gd name="T55" fmla="*/ 102 h 599"/>
                <a:gd name="T56" fmla="*/ 548 w 618"/>
                <a:gd name="T57" fmla="*/ 140 h 599"/>
                <a:gd name="T58" fmla="*/ 562 w 618"/>
                <a:gd name="T59" fmla="*/ 148 h 599"/>
                <a:gd name="T60" fmla="*/ 601 w 618"/>
                <a:gd name="T61" fmla="*/ 186 h 599"/>
                <a:gd name="T62" fmla="*/ 576 w 618"/>
                <a:gd name="T63" fmla="*/ 210 h 599"/>
                <a:gd name="T64" fmla="*/ 507 w 618"/>
                <a:gd name="T65" fmla="*/ 203 h 599"/>
                <a:gd name="T66" fmla="*/ 497 w 618"/>
                <a:gd name="T67" fmla="*/ 189 h 599"/>
                <a:gd name="T68" fmla="*/ 463 w 618"/>
                <a:gd name="T69" fmla="*/ 236 h 599"/>
                <a:gd name="T70" fmla="*/ 444 w 618"/>
                <a:gd name="T71" fmla="*/ 277 h 599"/>
                <a:gd name="T72" fmla="*/ 442 w 618"/>
                <a:gd name="T73" fmla="*/ 297 h 599"/>
                <a:gd name="T74" fmla="*/ 432 w 618"/>
                <a:gd name="T75" fmla="*/ 333 h 599"/>
                <a:gd name="T76" fmla="*/ 429 w 618"/>
                <a:gd name="T77" fmla="*/ 376 h 599"/>
                <a:gd name="T78" fmla="*/ 400 w 618"/>
                <a:gd name="T79" fmla="*/ 427 h 599"/>
                <a:gd name="T80" fmla="*/ 354 w 618"/>
                <a:gd name="T81" fmla="*/ 452 h 599"/>
                <a:gd name="T82" fmla="*/ 350 w 618"/>
                <a:gd name="T83" fmla="*/ 451 h 599"/>
                <a:gd name="T84" fmla="*/ 318 w 618"/>
                <a:gd name="T85" fmla="*/ 509 h 599"/>
                <a:gd name="T86" fmla="*/ 313 w 618"/>
                <a:gd name="T87" fmla="*/ 524 h 599"/>
                <a:gd name="T88" fmla="*/ 326 w 618"/>
                <a:gd name="T89" fmla="*/ 572 h 599"/>
                <a:gd name="T90" fmla="*/ 258 w 618"/>
                <a:gd name="T91" fmla="*/ 589 h 599"/>
                <a:gd name="T92" fmla="*/ 229 w 618"/>
                <a:gd name="T93" fmla="*/ 550 h 599"/>
                <a:gd name="T94" fmla="*/ 217 w 618"/>
                <a:gd name="T95" fmla="*/ 499 h 599"/>
                <a:gd name="T96" fmla="*/ 219 w 618"/>
                <a:gd name="T97" fmla="*/ 430 h 599"/>
                <a:gd name="T98" fmla="*/ 168 w 618"/>
                <a:gd name="T99" fmla="*/ 347 h 599"/>
                <a:gd name="T100" fmla="*/ 130 w 618"/>
                <a:gd name="T101" fmla="*/ 328 h 599"/>
                <a:gd name="T102" fmla="*/ 149 w 618"/>
                <a:gd name="T103" fmla="*/ 271 h 599"/>
                <a:gd name="T104" fmla="*/ 115 w 618"/>
                <a:gd name="T105" fmla="*/ 224 h 599"/>
                <a:gd name="T106" fmla="*/ 64 w 618"/>
                <a:gd name="T107" fmla="*/ 248 h 599"/>
                <a:gd name="T108" fmla="*/ 7 w 618"/>
                <a:gd name="T109" fmla="*/ 234 h 599"/>
                <a:gd name="T110" fmla="*/ 31 w 618"/>
                <a:gd name="T111" fmla="*/ 171 h 599"/>
                <a:gd name="T112" fmla="*/ 81 w 618"/>
                <a:gd name="T113" fmla="*/ 137 h 599"/>
                <a:gd name="T114" fmla="*/ 154 w 618"/>
                <a:gd name="T115" fmla="*/ 176 h 599"/>
                <a:gd name="T116" fmla="*/ 226 w 618"/>
                <a:gd name="T117" fmla="*/ 160 h 599"/>
                <a:gd name="T118" fmla="*/ 284 w 618"/>
                <a:gd name="T119" fmla="*/ 78 h 599"/>
                <a:gd name="T120" fmla="*/ 316 w 618"/>
                <a:gd name="T121" fmla="*/ 37 h 599"/>
                <a:gd name="T122" fmla="*/ 357 w 618"/>
                <a:gd name="T123" fmla="*/ 24 h 599"/>
                <a:gd name="T124" fmla="*/ 456 w 618"/>
                <a:gd name="T125" fmla="*/ 1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599">
                  <a:moveTo>
                    <a:pt x="345" y="446"/>
                  </a:moveTo>
                  <a:lnTo>
                    <a:pt x="347" y="446"/>
                  </a:lnTo>
                  <a:lnTo>
                    <a:pt x="347" y="447"/>
                  </a:lnTo>
                  <a:lnTo>
                    <a:pt x="345" y="447"/>
                  </a:lnTo>
                  <a:lnTo>
                    <a:pt x="345" y="446"/>
                  </a:lnTo>
                  <a:close/>
                  <a:moveTo>
                    <a:pt x="412" y="418"/>
                  </a:moveTo>
                  <a:lnTo>
                    <a:pt x="410" y="417"/>
                  </a:lnTo>
                  <a:lnTo>
                    <a:pt x="410" y="413"/>
                  </a:lnTo>
                  <a:lnTo>
                    <a:pt x="412" y="418"/>
                  </a:lnTo>
                  <a:close/>
                  <a:moveTo>
                    <a:pt x="424" y="418"/>
                  </a:moveTo>
                  <a:lnTo>
                    <a:pt x="424" y="417"/>
                  </a:lnTo>
                  <a:lnTo>
                    <a:pt x="424" y="413"/>
                  </a:lnTo>
                  <a:lnTo>
                    <a:pt x="427" y="417"/>
                  </a:lnTo>
                  <a:lnTo>
                    <a:pt x="424" y="418"/>
                  </a:lnTo>
                  <a:close/>
                  <a:moveTo>
                    <a:pt x="437" y="411"/>
                  </a:moveTo>
                  <a:lnTo>
                    <a:pt x="436" y="411"/>
                  </a:lnTo>
                  <a:lnTo>
                    <a:pt x="436" y="408"/>
                  </a:lnTo>
                  <a:lnTo>
                    <a:pt x="437" y="411"/>
                  </a:lnTo>
                  <a:close/>
                  <a:moveTo>
                    <a:pt x="413" y="418"/>
                  </a:moveTo>
                  <a:lnTo>
                    <a:pt x="412" y="411"/>
                  </a:lnTo>
                  <a:lnTo>
                    <a:pt x="413" y="408"/>
                  </a:lnTo>
                  <a:lnTo>
                    <a:pt x="413" y="410"/>
                  </a:lnTo>
                  <a:lnTo>
                    <a:pt x="412" y="413"/>
                  </a:lnTo>
                  <a:lnTo>
                    <a:pt x="413" y="418"/>
                  </a:lnTo>
                  <a:close/>
                  <a:moveTo>
                    <a:pt x="436" y="408"/>
                  </a:moveTo>
                  <a:lnTo>
                    <a:pt x="437" y="408"/>
                  </a:lnTo>
                  <a:lnTo>
                    <a:pt x="437" y="410"/>
                  </a:lnTo>
                  <a:lnTo>
                    <a:pt x="436" y="410"/>
                  </a:lnTo>
                  <a:lnTo>
                    <a:pt x="436" y="408"/>
                  </a:lnTo>
                  <a:close/>
                  <a:moveTo>
                    <a:pt x="413" y="417"/>
                  </a:moveTo>
                  <a:lnTo>
                    <a:pt x="412" y="413"/>
                  </a:lnTo>
                  <a:lnTo>
                    <a:pt x="413" y="410"/>
                  </a:lnTo>
                  <a:lnTo>
                    <a:pt x="413" y="406"/>
                  </a:lnTo>
                  <a:lnTo>
                    <a:pt x="415" y="413"/>
                  </a:lnTo>
                  <a:lnTo>
                    <a:pt x="413" y="417"/>
                  </a:lnTo>
                  <a:close/>
                  <a:moveTo>
                    <a:pt x="422" y="417"/>
                  </a:moveTo>
                  <a:lnTo>
                    <a:pt x="420" y="417"/>
                  </a:lnTo>
                  <a:lnTo>
                    <a:pt x="422" y="417"/>
                  </a:lnTo>
                  <a:lnTo>
                    <a:pt x="420" y="420"/>
                  </a:lnTo>
                  <a:lnTo>
                    <a:pt x="417" y="417"/>
                  </a:lnTo>
                  <a:lnTo>
                    <a:pt x="417" y="413"/>
                  </a:lnTo>
                  <a:lnTo>
                    <a:pt x="420" y="411"/>
                  </a:lnTo>
                  <a:lnTo>
                    <a:pt x="419" y="406"/>
                  </a:lnTo>
                  <a:lnTo>
                    <a:pt x="420" y="405"/>
                  </a:lnTo>
                  <a:lnTo>
                    <a:pt x="424" y="411"/>
                  </a:lnTo>
                  <a:lnTo>
                    <a:pt x="422" y="417"/>
                  </a:lnTo>
                  <a:close/>
                  <a:moveTo>
                    <a:pt x="413" y="403"/>
                  </a:moveTo>
                  <a:lnTo>
                    <a:pt x="415" y="403"/>
                  </a:lnTo>
                  <a:lnTo>
                    <a:pt x="415" y="406"/>
                  </a:lnTo>
                  <a:lnTo>
                    <a:pt x="413" y="406"/>
                  </a:lnTo>
                  <a:lnTo>
                    <a:pt x="413" y="403"/>
                  </a:lnTo>
                  <a:close/>
                  <a:moveTo>
                    <a:pt x="432" y="400"/>
                  </a:moveTo>
                  <a:lnTo>
                    <a:pt x="436" y="401"/>
                  </a:lnTo>
                  <a:lnTo>
                    <a:pt x="439" y="408"/>
                  </a:lnTo>
                  <a:lnTo>
                    <a:pt x="432" y="400"/>
                  </a:lnTo>
                  <a:close/>
                  <a:moveTo>
                    <a:pt x="419" y="398"/>
                  </a:moveTo>
                  <a:lnTo>
                    <a:pt x="419" y="401"/>
                  </a:lnTo>
                  <a:lnTo>
                    <a:pt x="419" y="398"/>
                  </a:lnTo>
                  <a:close/>
                  <a:moveTo>
                    <a:pt x="439" y="394"/>
                  </a:moveTo>
                  <a:lnTo>
                    <a:pt x="442" y="394"/>
                  </a:lnTo>
                  <a:lnTo>
                    <a:pt x="442" y="396"/>
                  </a:lnTo>
                  <a:lnTo>
                    <a:pt x="439" y="396"/>
                  </a:lnTo>
                  <a:lnTo>
                    <a:pt x="439" y="394"/>
                  </a:lnTo>
                  <a:close/>
                  <a:moveTo>
                    <a:pt x="431" y="398"/>
                  </a:moveTo>
                  <a:lnTo>
                    <a:pt x="432" y="400"/>
                  </a:lnTo>
                  <a:lnTo>
                    <a:pt x="431" y="400"/>
                  </a:lnTo>
                  <a:lnTo>
                    <a:pt x="429" y="398"/>
                  </a:lnTo>
                  <a:lnTo>
                    <a:pt x="431" y="400"/>
                  </a:lnTo>
                  <a:lnTo>
                    <a:pt x="432" y="400"/>
                  </a:lnTo>
                  <a:lnTo>
                    <a:pt x="434" y="405"/>
                  </a:lnTo>
                  <a:lnTo>
                    <a:pt x="431" y="403"/>
                  </a:lnTo>
                  <a:lnTo>
                    <a:pt x="425" y="398"/>
                  </a:lnTo>
                  <a:lnTo>
                    <a:pt x="425" y="394"/>
                  </a:lnTo>
                  <a:lnTo>
                    <a:pt x="431" y="398"/>
                  </a:lnTo>
                  <a:close/>
                  <a:moveTo>
                    <a:pt x="419" y="400"/>
                  </a:moveTo>
                  <a:lnTo>
                    <a:pt x="420" y="405"/>
                  </a:lnTo>
                  <a:lnTo>
                    <a:pt x="419" y="408"/>
                  </a:lnTo>
                  <a:lnTo>
                    <a:pt x="419" y="406"/>
                  </a:lnTo>
                  <a:lnTo>
                    <a:pt x="417" y="400"/>
                  </a:lnTo>
                  <a:lnTo>
                    <a:pt x="419" y="403"/>
                  </a:lnTo>
                  <a:lnTo>
                    <a:pt x="417" y="405"/>
                  </a:lnTo>
                  <a:lnTo>
                    <a:pt x="419" y="406"/>
                  </a:lnTo>
                  <a:lnTo>
                    <a:pt x="417" y="408"/>
                  </a:lnTo>
                  <a:lnTo>
                    <a:pt x="417" y="406"/>
                  </a:lnTo>
                  <a:lnTo>
                    <a:pt x="420" y="411"/>
                  </a:lnTo>
                  <a:lnTo>
                    <a:pt x="417" y="411"/>
                  </a:lnTo>
                  <a:lnTo>
                    <a:pt x="415" y="406"/>
                  </a:lnTo>
                  <a:lnTo>
                    <a:pt x="415" y="403"/>
                  </a:lnTo>
                  <a:lnTo>
                    <a:pt x="415" y="398"/>
                  </a:lnTo>
                  <a:lnTo>
                    <a:pt x="417" y="393"/>
                  </a:lnTo>
                  <a:lnTo>
                    <a:pt x="419" y="400"/>
                  </a:lnTo>
                  <a:close/>
                  <a:moveTo>
                    <a:pt x="441" y="391"/>
                  </a:moveTo>
                  <a:lnTo>
                    <a:pt x="442" y="391"/>
                  </a:lnTo>
                  <a:lnTo>
                    <a:pt x="442" y="394"/>
                  </a:lnTo>
                  <a:lnTo>
                    <a:pt x="436" y="394"/>
                  </a:lnTo>
                  <a:lnTo>
                    <a:pt x="437" y="391"/>
                  </a:lnTo>
                  <a:lnTo>
                    <a:pt x="437" y="389"/>
                  </a:lnTo>
                  <a:lnTo>
                    <a:pt x="441" y="391"/>
                  </a:lnTo>
                  <a:close/>
                  <a:moveTo>
                    <a:pt x="437" y="386"/>
                  </a:moveTo>
                  <a:lnTo>
                    <a:pt x="441" y="389"/>
                  </a:lnTo>
                  <a:lnTo>
                    <a:pt x="441" y="391"/>
                  </a:lnTo>
                  <a:lnTo>
                    <a:pt x="437" y="389"/>
                  </a:lnTo>
                  <a:lnTo>
                    <a:pt x="437" y="391"/>
                  </a:lnTo>
                  <a:lnTo>
                    <a:pt x="436" y="391"/>
                  </a:lnTo>
                  <a:lnTo>
                    <a:pt x="434" y="388"/>
                  </a:lnTo>
                  <a:lnTo>
                    <a:pt x="437" y="386"/>
                  </a:lnTo>
                  <a:close/>
                  <a:moveTo>
                    <a:pt x="425" y="394"/>
                  </a:moveTo>
                  <a:lnTo>
                    <a:pt x="425" y="396"/>
                  </a:lnTo>
                  <a:lnTo>
                    <a:pt x="425" y="394"/>
                  </a:lnTo>
                  <a:lnTo>
                    <a:pt x="424" y="394"/>
                  </a:lnTo>
                  <a:lnTo>
                    <a:pt x="425" y="394"/>
                  </a:lnTo>
                  <a:lnTo>
                    <a:pt x="424" y="398"/>
                  </a:lnTo>
                  <a:lnTo>
                    <a:pt x="427" y="403"/>
                  </a:lnTo>
                  <a:lnTo>
                    <a:pt x="429" y="401"/>
                  </a:lnTo>
                  <a:lnTo>
                    <a:pt x="436" y="408"/>
                  </a:lnTo>
                  <a:lnTo>
                    <a:pt x="436" y="410"/>
                  </a:lnTo>
                  <a:lnTo>
                    <a:pt x="432" y="405"/>
                  </a:lnTo>
                  <a:lnTo>
                    <a:pt x="431" y="405"/>
                  </a:lnTo>
                  <a:lnTo>
                    <a:pt x="429" y="406"/>
                  </a:lnTo>
                  <a:lnTo>
                    <a:pt x="432" y="406"/>
                  </a:lnTo>
                  <a:lnTo>
                    <a:pt x="432" y="410"/>
                  </a:lnTo>
                  <a:lnTo>
                    <a:pt x="429" y="411"/>
                  </a:lnTo>
                  <a:lnTo>
                    <a:pt x="427" y="408"/>
                  </a:lnTo>
                  <a:lnTo>
                    <a:pt x="429" y="411"/>
                  </a:lnTo>
                  <a:lnTo>
                    <a:pt x="432" y="413"/>
                  </a:lnTo>
                  <a:lnTo>
                    <a:pt x="432" y="418"/>
                  </a:lnTo>
                  <a:lnTo>
                    <a:pt x="429" y="417"/>
                  </a:lnTo>
                  <a:lnTo>
                    <a:pt x="425" y="410"/>
                  </a:lnTo>
                  <a:lnTo>
                    <a:pt x="424" y="408"/>
                  </a:lnTo>
                  <a:lnTo>
                    <a:pt x="422" y="405"/>
                  </a:lnTo>
                  <a:lnTo>
                    <a:pt x="420" y="401"/>
                  </a:lnTo>
                  <a:lnTo>
                    <a:pt x="419" y="400"/>
                  </a:lnTo>
                  <a:lnTo>
                    <a:pt x="419" y="394"/>
                  </a:lnTo>
                  <a:lnTo>
                    <a:pt x="417" y="391"/>
                  </a:lnTo>
                  <a:lnTo>
                    <a:pt x="415" y="386"/>
                  </a:lnTo>
                  <a:lnTo>
                    <a:pt x="424" y="391"/>
                  </a:lnTo>
                  <a:lnTo>
                    <a:pt x="425" y="394"/>
                  </a:lnTo>
                  <a:close/>
                  <a:moveTo>
                    <a:pt x="437" y="377"/>
                  </a:moveTo>
                  <a:lnTo>
                    <a:pt x="437" y="379"/>
                  </a:lnTo>
                  <a:lnTo>
                    <a:pt x="441" y="381"/>
                  </a:lnTo>
                  <a:lnTo>
                    <a:pt x="439" y="382"/>
                  </a:lnTo>
                  <a:lnTo>
                    <a:pt x="436" y="382"/>
                  </a:lnTo>
                  <a:lnTo>
                    <a:pt x="439" y="382"/>
                  </a:lnTo>
                  <a:lnTo>
                    <a:pt x="441" y="384"/>
                  </a:lnTo>
                  <a:lnTo>
                    <a:pt x="448" y="386"/>
                  </a:lnTo>
                  <a:lnTo>
                    <a:pt x="446" y="389"/>
                  </a:lnTo>
                  <a:lnTo>
                    <a:pt x="442" y="389"/>
                  </a:lnTo>
                  <a:lnTo>
                    <a:pt x="439" y="386"/>
                  </a:lnTo>
                  <a:lnTo>
                    <a:pt x="434" y="388"/>
                  </a:lnTo>
                  <a:lnTo>
                    <a:pt x="432" y="384"/>
                  </a:lnTo>
                  <a:lnTo>
                    <a:pt x="432" y="388"/>
                  </a:lnTo>
                  <a:lnTo>
                    <a:pt x="429" y="386"/>
                  </a:lnTo>
                  <a:lnTo>
                    <a:pt x="434" y="388"/>
                  </a:lnTo>
                  <a:lnTo>
                    <a:pt x="437" y="391"/>
                  </a:lnTo>
                  <a:lnTo>
                    <a:pt x="436" y="393"/>
                  </a:lnTo>
                  <a:lnTo>
                    <a:pt x="434" y="391"/>
                  </a:lnTo>
                  <a:lnTo>
                    <a:pt x="431" y="391"/>
                  </a:lnTo>
                  <a:lnTo>
                    <a:pt x="431" y="393"/>
                  </a:lnTo>
                  <a:lnTo>
                    <a:pt x="432" y="391"/>
                  </a:lnTo>
                  <a:lnTo>
                    <a:pt x="436" y="396"/>
                  </a:lnTo>
                  <a:lnTo>
                    <a:pt x="432" y="396"/>
                  </a:lnTo>
                  <a:lnTo>
                    <a:pt x="437" y="396"/>
                  </a:lnTo>
                  <a:lnTo>
                    <a:pt x="441" y="400"/>
                  </a:lnTo>
                  <a:lnTo>
                    <a:pt x="446" y="398"/>
                  </a:lnTo>
                  <a:lnTo>
                    <a:pt x="451" y="400"/>
                  </a:lnTo>
                  <a:lnTo>
                    <a:pt x="453" y="398"/>
                  </a:lnTo>
                  <a:lnTo>
                    <a:pt x="453" y="401"/>
                  </a:lnTo>
                  <a:lnTo>
                    <a:pt x="451" y="406"/>
                  </a:lnTo>
                  <a:lnTo>
                    <a:pt x="446" y="406"/>
                  </a:lnTo>
                  <a:lnTo>
                    <a:pt x="442" y="405"/>
                  </a:lnTo>
                  <a:lnTo>
                    <a:pt x="442" y="403"/>
                  </a:lnTo>
                  <a:lnTo>
                    <a:pt x="439" y="400"/>
                  </a:lnTo>
                  <a:lnTo>
                    <a:pt x="437" y="400"/>
                  </a:lnTo>
                  <a:lnTo>
                    <a:pt x="439" y="401"/>
                  </a:lnTo>
                  <a:lnTo>
                    <a:pt x="441" y="405"/>
                  </a:lnTo>
                  <a:lnTo>
                    <a:pt x="446" y="406"/>
                  </a:lnTo>
                  <a:lnTo>
                    <a:pt x="444" y="410"/>
                  </a:lnTo>
                  <a:lnTo>
                    <a:pt x="439" y="408"/>
                  </a:lnTo>
                  <a:lnTo>
                    <a:pt x="436" y="401"/>
                  </a:lnTo>
                  <a:lnTo>
                    <a:pt x="431" y="396"/>
                  </a:lnTo>
                  <a:lnTo>
                    <a:pt x="425" y="394"/>
                  </a:lnTo>
                  <a:lnTo>
                    <a:pt x="422" y="388"/>
                  </a:lnTo>
                  <a:lnTo>
                    <a:pt x="419" y="386"/>
                  </a:lnTo>
                  <a:lnTo>
                    <a:pt x="413" y="381"/>
                  </a:lnTo>
                  <a:lnTo>
                    <a:pt x="422" y="382"/>
                  </a:lnTo>
                  <a:lnTo>
                    <a:pt x="429" y="379"/>
                  </a:lnTo>
                  <a:lnTo>
                    <a:pt x="437" y="377"/>
                  </a:lnTo>
                  <a:close/>
                  <a:moveTo>
                    <a:pt x="439" y="372"/>
                  </a:moveTo>
                  <a:lnTo>
                    <a:pt x="441" y="372"/>
                  </a:lnTo>
                  <a:lnTo>
                    <a:pt x="441" y="374"/>
                  </a:lnTo>
                  <a:lnTo>
                    <a:pt x="439" y="374"/>
                  </a:lnTo>
                  <a:lnTo>
                    <a:pt x="439" y="372"/>
                  </a:lnTo>
                  <a:close/>
                  <a:moveTo>
                    <a:pt x="446" y="370"/>
                  </a:moveTo>
                  <a:lnTo>
                    <a:pt x="448" y="370"/>
                  </a:lnTo>
                  <a:lnTo>
                    <a:pt x="448" y="372"/>
                  </a:lnTo>
                  <a:lnTo>
                    <a:pt x="446" y="372"/>
                  </a:lnTo>
                  <a:lnTo>
                    <a:pt x="446" y="370"/>
                  </a:lnTo>
                  <a:close/>
                  <a:moveTo>
                    <a:pt x="442" y="360"/>
                  </a:moveTo>
                  <a:lnTo>
                    <a:pt x="444" y="360"/>
                  </a:lnTo>
                  <a:lnTo>
                    <a:pt x="444" y="364"/>
                  </a:lnTo>
                  <a:lnTo>
                    <a:pt x="442" y="364"/>
                  </a:lnTo>
                  <a:lnTo>
                    <a:pt x="442" y="360"/>
                  </a:lnTo>
                  <a:close/>
                  <a:moveTo>
                    <a:pt x="454" y="364"/>
                  </a:moveTo>
                  <a:lnTo>
                    <a:pt x="453" y="369"/>
                  </a:lnTo>
                  <a:lnTo>
                    <a:pt x="449" y="367"/>
                  </a:lnTo>
                  <a:lnTo>
                    <a:pt x="451" y="369"/>
                  </a:lnTo>
                  <a:lnTo>
                    <a:pt x="449" y="370"/>
                  </a:lnTo>
                  <a:lnTo>
                    <a:pt x="439" y="372"/>
                  </a:lnTo>
                  <a:lnTo>
                    <a:pt x="439" y="374"/>
                  </a:lnTo>
                  <a:lnTo>
                    <a:pt x="434" y="376"/>
                  </a:lnTo>
                  <a:lnTo>
                    <a:pt x="441" y="374"/>
                  </a:lnTo>
                  <a:lnTo>
                    <a:pt x="444" y="372"/>
                  </a:lnTo>
                  <a:lnTo>
                    <a:pt x="442" y="376"/>
                  </a:lnTo>
                  <a:lnTo>
                    <a:pt x="444" y="372"/>
                  </a:lnTo>
                  <a:lnTo>
                    <a:pt x="449" y="372"/>
                  </a:lnTo>
                  <a:lnTo>
                    <a:pt x="449" y="381"/>
                  </a:lnTo>
                  <a:lnTo>
                    <a:pt x="446" y="382"/>
                  </a:lnTo>
                  <a:lnTo>
                    <a:pt x="441" y="384"/>
                  </a:lnTo>
                  <a:lnTo>
                    <a:pt x="441" y="379"/>
                  </a:lnTo>
                  <a:lnTo>
                    <a:pt x="437" y="379"/>
                  </a:lnTo>
                  <a:lnTo>
                    <a:pt x="437" y="377"/>
                  </a:lnTo>
                  <a:lnTo>
                    <a:pt x="436" y="377"/>
                  </a:lnTo>
                  <a:lnTo>
                    <a:pt x="431" y="379"/>
                  </a:lnTo>
                  <a:lnTo>
                    <a:pt x="431" y="376"/>
                  </a:lnTo>
                  <a:lnTo>
                    <a:pt x="437" y="370"/>
                  </a:lnTo>
                  <a:lnTo>
                    <a:pt x="439" y="367"/>
                  </a:lnTo>
                  <a:lnTo>
                    <a:pt x="442" y="367"/>
                  </a:lnTo>
                  <a:lnTo>
                    <a:pt x="451" y="360"/>
                  </a:lnTo>
                  <a:lnTo>
                    <a:pt x="454" y="362"/>
                  </a:lnTo>
                  <a:lnTo>
                    <a:pt x="454" y="364"/>
                  </a:lnTo>
                  <a:close/>
                  <a:moveTo>
                    <a:pt x="442" y="353"/>
                  </a:moveTo>
                  <a:lnTo>
                    <a:pt x="444" y="357"/>
                  </a:lnTo>
                  <a:lnTo>
                    <a:pt x="439" y="360"/>
                  </a:lnTo>
                  <a:lnTo>
                    <a:pt x="439" y="364"/>
                  </a:lnTo>
                  <a:lnTo>
                    <a:pt x="439" y="360"/>
                  </a:lnTo>
                  <a:lnTo>
                    <a:pt x="444" y="359"/>
                  </a:lnTo>
                  <a:lnTo>
                    <a:pt x="441" y="364"/>
                  </a:lnTo>
                  <a:lnTo>
                    <a:pt x="437" y="369"/>
                  </a:lnTo>
                  <a:lnTo>
                    <a:pt x="432" y="372"/>
                  </a:lnTo>
                  <a:lnTo>
                    <a:pt x="436" y="362"/>
                  </a:lnTo>
                  <a:lnTo>
                    <a:pt x="442" y="353"/>
                  </a:lnTo>
                  <a:close/>
                  <a:moveTo>
                    <a:pt x="437" y="359"/>
                  </a:moveTo>
                  <a:lnTo>
                    <a:pt x="439" y="353"/>
                  </a:lnTo>
                  <a:lnTo>
                    <a:pt x="441" y="353"/>
                  </a:lnTo>
                  <a:lnTo>
                    <a:pt x="437" y="359"/>
                  </a:lnTo>
                  <a:close/>
                  <a:moveTo>
                    <a:pt x="437" y="352"/>
                  </a:moveTo>
                  <a:lnTo>
                    <a:pt x="439" y="353"/>
                  </a:lnTo>
                  <a:lnTo>
                    <a:pt x="434" y="362"/>
                  </a:lnTo>
                  <a:lnTo>
                    <a:pt x="434" y="364"/>
                  </a:lnTo>
                  <a:lnTo>
                    <a:pt x="431" y="364"/>
                  </a:lnTo>
                  <a:lnTo>
                    <a:pt x="432" y="362"/>
                  </a:lnTo>
                  <a:lnTo>
                    <a:pt x="432" y="357"/>
                  </a:lnTo>
                  <a:lnTo>
                    <a:pt x="436" y="359"/>
                  </a:lnTo>
                  <a:lnTo>
                    <a:pt x="436" y="357"/>
                  </a:lnTo>
                  <a:lnTo>
                    <a:pt x="436" y="355"/>
                  </a:lnTo>
                  <a:lnTo>
                    <a:pt x="434" y="353"/>
                  </a:lnTo>
                  <a:lnTo>
                    <a:pt x="437" y="352"/>
                  </a:lnTo>
                  <a:close/>
                  <a:moveTo>
                    <a:pt x="501" y="222"/>
                  </a:moveTo>
                  <a:lnTo>
                    <a:pt x="501" y="225"/>
                  </a:lnTo>
                  <a:lnTo>
                    <a:pt x="499" y="224"/>
                  </a:lnTo>
                  <a:lnTo>
                    <a:pt x="501" y="222"/>
                  </a:lnTo>
                  <a:close/>
                  <a:moveTo>
                    <a:pt x="501" y="205"/>
                  </a:moveTo>
                  <a:lnTo>
                    <a:pt x="502" y="205"/>
                  </a:lnTo>
                  <a:lnTo>
                    <a:pt x="502" y="207"/>
                  </a:lnTo>
                  <a:lnTo>
                    <a:pt x="501" y="207"/>
                  </a:lnTo>
                  <a:lnTo>
                    <a:pt x="501" y="205"/>
                  </a:lnTo>
                  <a:close/>
                  <a:moveTo>
                    <a:pt x="501" y="200"/>
                  </a:moveTo>
                  <a:lnTo>
                    <a:pt x="501" y="203"/>
                  </a:lnTo>
                  <a:lnTo>
                    <a:pt x="499" y="200"/>
                  </a:lnTo>
                  <a:lnTo>
                    <a:pt x="501" y="200"/>
                  </a:lnTo>
                  <a:close/>
                  <a:moveTo>
                    <a:pt x="489" y="179"/>
                  </a:moveTo>
                  <a:lnTo>
                    <a:pt x="490" y="179"/>
                  </a:lnTo>
                  <a:lnTo>
                    <a:pt x="490" y="181"/>
                  </a:lnTo>
                  <a:lnTo>
                    <a:pt x="489" y="181"/>
                  </a:lnTo>
                  <a:lnTo>
                    <a:pt x="489" y="179"/>
                  </a:lnTo>
                  <a:close/>
                  <a:moveTo>
                    <a:pt x="555" y="137"/>
                  </a:moveTo>
                  <a:lnTo>
                    <a:pt x="559" y="138"/>
                  </a:lnTo>
                  <a:lnTo>
                    <a:pt x="559" y="142"/>
                  </a:lnTo>
                  <a:lnTo>
                    <a:pt x="562" y="145"/>
                  </a:lnTo>
                  <a:lnTo>
                    <a:pt x="560" y="147"/>
                  </a:lnTo>
                  <a:lnTo>
                    <a:pt x="557" y="145"/>
                  </a:lnTo>
                  <a:lnTo>
                    <a:pt x="555" y="142"/>
                  </a:lnTo>
                  <a:lnTo>
                    <a:pt x="557" y="140"/>
                  </a:lnTo>
                  <a:lnTo>
                    <a:pt x="553" y="137"/>
                  </a:lnTo>
                  <a:lnTo>
                    <a:pt x="555" y="137"/>
                  </a:lnTo>
                  <a:close/>
                  <a:moveTo>
                    <a:pt x="478" y="60"/>
                  </a:moveTo>
                  <a:lnTo>
                    <a:pt x="489" y="65"/>
                  </a:lnTo>
                  <a:lnTo>
                    <a:pt x="489" y="66"/>
                  </a:lnTo>
                  <a:lnTo>
                    <a:pt x="485" y="66"/>
                  </a:lnTo>
                  <a:lnTo>
                    <a:pt x="485" y="68"/>
                  </a:lnTo>
                  <a:lnTo>
                    <a:pt x="480" y="68"/>
                  </a:lnTo>
                  <a:lnTo>
                    <a:pt x="480" y="66"/>
                  </a:lnTo>
                  <a:lnTo>
                    <a:pt x="478" y="65"/>
                  </a:lnTo>
                  <a:lnTo>
                    <a:pt x="480" y="66"/>
                  </a:lnTo>
                  <a:lnTo>
                    <a:pt x="475" y="68"/>
                  </a:lnTo>
                  <a:lnTo>
                    <a:pt x="475" y="66"/>
                  </a:lnTo>
                  <a:lnTo>
                    <a:pt x="473" y="70"/>
                  </a:lnTo>
                  <a:lnTo>
                    <a:pt x="470" y="68"/>
                  </a:lnTo>
                  <a:lnTo>
                    <a:pt x="468" y="65"/>
                  </a:lnTo>
                  <a:lnTo>
                    <a:pt x="465" y="68"/>
                  </a:lnTo>
                  <a:lnTo>
                    <a:pt x="465" y="66"/>
                  </a:lnTo>
                  <a:lnTo>
                    <a:pt x="465" y="65"/>
                  </a:lnTo>
                  <a:lnTo>
                    <a:pt x="466" y="65"/>
                  </a:lnTo>
                  <a:lnTo>
                    <a:pt x="465" y="63"/>
                  </a:lnTo>
                  <a:lnTo>
                    <a:pt x="473" y="60"/>
                  </a:lnTo>
                  <a:lnTo>
                    <a:pt x="475" y="58"/>
                  </a:lnTo>
                  <a:lnTo>
                    <a:pt x="478" y="60"/>
                  </a:lnTo>
                  <a:close/>
                  <a:moveTo>
                    <a:pt x="487" y="63"/>
                  </a:moveTo>
                  <a:lnTo>
                    <a:pt x="483" y="61"/>
                  </a:lnTo>
                  <a:lnTo>
                    <a:pt x="478" y="58"/>
                  </a:lnTo>
                  <a:lnTo>
                    <a:pt x="482" y="56"/>
                  </a:lnTo>
                  <a:lnTo>
                    <a:pt x="482" y="55"/>
                  </a:lnTo>
                  <a:lnTo>
                    <a:pt x="485" y="55"/>
                  </a:lnTo>
                  <a:lnTo>
                    <a:pt x="487" y="56"/>
                  </a:lnTo>
                  <a:lnTo>
                    <a:pt x="487" y="60"/>
                  </a:lnTo>
                  <a:lnTo>
                    <a:pt x="489" y="61"/>
                  </a:lnTo>
                  <a:lnTo>
                    <a:pt x="487" y="63"/>
                  </a:lnTo>
                  <a:close/>
                  <a:moveTo>
                    <a:pt x="565" y="55"/>
                  </a:moveTo>
                  <a:lnTo>
                    <a:pt x="567" y="58"/>
                  </a:lnTo>
                  <a:lnTo>
                    <a:pt x="564" y="56"/>
                  </a:lnTo>
                  <a:lnTo>
                    <a:pt x="560" y="56"/>
                  </a:lnTo>
                  <a:lnTo>
                    <a:pt x="562" y="53"/>
                  </a:lnTo>
                  <a:lnTo>
                    <a:pt x="564" y="53"/>
                  </a:lnTo>
                  <a:lnTo>
                    <a:pt x="565" y="55"/>
                  </a:lnTo>
                  <a:close/>
                  <a:moveTo>
                    <a:pt x="475" y="51"/>
                  </a:moveTo>
                  <a:lnTo>
                    <a:pt x="475" y="58"/>
                  </a:lnTo>
                  <a:lnTo>
                    <a:pt x="472" y="58"/>
                  </a:lnTo>
                  <a:lnTo>
                    <a:pt x="470" y="58"/>
                  </a:lnTo>
                  <a:lnTo>
                    <a:pt x="473" y="58"/>
                  </a:lnTo>
                  <a:lnTo>
                    <a:pt x="473" y="60"/>
                  </a:lnTo>
                  <a:lnTo>
                    <a:pt x="472" y="60"/>
                  </a:lnTo>
                  <a:lnTo>
                    <a:pt x="466" y="61"/>
                  </a:lnTo>
                  <a:lnTo>
                    <a:pt x="466" y="55"/>
                  </a:lnTo>
                  <a:lnTo>
                    <a:pt x="465" y="53"/>
                  </a:lnTo>
                  <a:lnTo>
                    <a:pt x="472" y="53"/>
                  </a:lnTo>
                  <a:lnTo>
                    <a:pt x="473" y="49"/>
                  </a:lnTo>
                  <a:lnTo>
                    <a:pt x="475" y="51"/>
                  </a:lnTo>
                  <a:close/>
                  <a:moveTo>
                    <a:pt x="470" y="49"/>
                  </a:moveTo>
                  <a:lnTo>
                    <a:pt x="472" y="49"/>
                  </a:lnTo>
                  <a:lnTo>
                    <a:pt x="472" y="51"/>
                  </a:lnTo>
                  <a:lnTo>
                    <a:pt x="465" y="51"/>
                  </a:lnTo>
                  <a:lnTo>
                    <a:pt x="470" y="49"/>
                  </a:lnTo>
                  <a:close/>
                  <a:moveTo>
                    <a:pt x="483" y="49"/>
                  </a:moveTo>
                  <a:lnTo>
                    <a:pt x="487" y="49"/>
                  </a:lnTo>
                  <a:lnTo>
                    <a:pt x="487" y="51"/>
                  </a:lnTo>
                  <a:lnTo>
                    <a:pt x="483" y="51"/>
                  </a:lnTo>
                  <a:lnTo>
                    <a:pt x="483" y="49"/>
                  </a:lnTo>
                  <a:close/>
                  <a:moveTo>
                    <a:pt x="485" y="53"/>
                  </a:moveTo>
                  <a:lnTo>
                    <a:pt x="480" y="51"/>
                  </a:lnTo>
                  <a:lnTo>
                    <a:pt x="478" y="49"/>
                  </a:lnTo>
                  <a:lnTo>
                    <a:pt x="485" y="51"/>
                  </a:lnTo>
                  <a:lnTo>
                    <a:pt x="485" y="53"/>
                  </a:lnTo>
                  <a:close/>
                  <a:moveTo>
                    <a:pt x="485" y="53"/>
                  </a:moveTo>
                  <a:lnTo>
                    <a:pt x="492" y="56"/>
                  </a:lnTo>
                  <a:lnTo>
                    <a:pt x="494" y="58"/>
                  </a:lnTo>
                  <a:lnTo>
                    <a:pt x="489" y="60"/>
                  </a:lnTo>
                  <a:lnTo>
                    <a:pt x="487" y="56"/>
                  </a:lnTo>
                  <a:lnTo>
                    <a:pt x="485" y="55"/>
                  </a:lnTo>
                  <a:lnTo>
                    <a:pt x="483" y="55"/>
                  </a:lnTo>
                  <a:lnTo>
                    <a:pt x="482" y="55"/>
                  </a:lnTo>
                  <a:lnTo>
                    <a:pt x="482" y="56"/>
                  </a:lnTo>
                  <a:lnTo>
                    <a:pt x="478" y="58"/>
                  </a:lnTo>
                  <a:lnTo>
                    <a:pt x="477" y="58"/>
                  </a:lnTo>
                  <a:lnTo>
                    <a:pt x="475" y="49"/>
                  </a:lnTo>
                  <a:lnTo>
                    <a:pt x="477" y="49"/>
                  </a:lnTo>
                  <a:lnTo>
                    <a:pt x="478" y="49"/>
                  </a:lnTo>
                  <a:lnTo>
                    <a:pt x="480" y="51"/>
                  </a:lnTo>
                  <a:lnTo>
                    <a:pt x="485" y="53"/>
                  </a:lnTo>
                  <a:close/>
                  <a:moveTo>
                    <a:pt x="489" y="53"/>
                  </a:moveTo>
                  <a:lnTo>
                    <a:pt x="487" y="49"/>
                  </a:lnTo>
                  <a:lnTo>
                    <a:pt x="487" y="48"/>
                  </a:lnTo>
                  <a:lnTo>
                    <a:pt x="490" y="51"/>
                  </a:lnTo>
                  <a:lnTo>
                    <a:pt x="489" y="53"/>
                  </a:lnTo>
                  <a:close/>
                  <a:moveTo>
                    <a:pt x="569" y="36"/>
                  </a:moveTo>
                  <a:lnTo>
                    <a:pt x="576" y="43"/>
                  </a:lnTo>
                  <a:lnTo>
                    <a:pt x="571" y="39"/>
                  </a:lnTo>
                  <a:lnTo>
                    <a:pt x="567" y="36"/>
                  </a:lnTo>
                  <a:lnTo>
                    <a:pt x="567" y="43"/>
                  </a:lnTo>
                  <a:lnTo>
                    <a:pt x="571" y="46"/>
                  </a:lnTo>
                  <a:lnTo>
                    <a:pt x="577" y="53"/>
                  </a:lnTo>
                  <a:lnTo>
                    <a:pt x="571" y="48"/>
                  </a:lnTo>
                  <a:lnTo>
                    <a:pt x="567" y="44"/>
                  </a:lnTo>
                  <a:lnTo>
                    <a:pt x="567" y="36"/>
                  </a:lnTo>
                  <a:lnTo>
                    <a:pt x="567" y="34"/>
                  </a:lnTo>
                  <a:lnTo>
                    <a:pt x="569" y="36"/>
                  </a:lnTo>
                  <a:close/>
                  <a:moveTo>
                    <a:pt x="523" y="25"/>
                  </a:moveTo>
                  <a:lnTo>
                    <a:pt x="524" y="31"/>
                  </a:lnTo>
                  <a:lnTo>
                    <a:pt x="523" y="27"/>
                  </a:lnTo>
                  <a:lnTo>
                    <a:pt x="523" y="25"/>
                  </a:lnTo>
                  <a:close/>
                  <a:moveTo>
                    <a:pt x="497" y="20"/>
                  </a:moveTo>
                  <a:lnTo>
                    <a:pt x="502" y="25"/>
                  </a:lnTo>
                  <a:lnTo>
                    <a:pt x="499" y="27"/>
                  </a:lnTo>
                  <a:lnTo>
                    <a:pt x="502" y="29"/>
                  </a:lnTo>
                  <a:lnTo>
                    <a:pt x="504" y="27"/>
                  </a:lnTo>
                  <a:lnTo>
                    <a:pt x="509" y="32"/>
                  </a:lnTo>
                  <a:lnTo>
                    <a:pt x="507" y="34"/>
                  </a:lnTo>
                  <a:lnTo>
                    <a:pt x="509" y="32"/>
                  </a:lnTo>
                  <a:lnTo>
                    <a:pt x="511" y="34"/>
                  </a:lnTo>
                  <a:lnTo>
                    <a:pt x="509" y="37"/>
                  </a:lnTo>
                  <a:lnTo>
                    <a:pt x="511" y="37"/>
                  </a:lnTo>
                  <a:lnTo>
                    <a:pt x="507" y="41"/>
                  </a:lnTo>
                  <a:lnTo>
                    <a:pt x="509" y="43"/>
                  </a:lnTo>
                  <a:lnTo>
                    <a:pt x="502" y="48"/>
                  </a:lnTo>
                  <a:lnTo>
                    <a:pt x="492" y="49"/>
                  </a:lnTo>
                  <a:lnTo>
                    <a:pt x="489" y="46"/>
                  </a:lnTo>
                  <a:lnTo>
                    <a:pt x="487" y="48"/>
                  </a:lnTo>
                  <a:lnTo>
                    <a:pt x="477" y="48"/>
                  </a:lnTo>
                  <a:lnTo>
                    <a:pt x="473" y="49"/>
                  </a:lnTo>
                  <a:lnTo>
                    <a:pt x="463" y="49"/>
                  </a:lnTo>
                  <a:lnTo>
                    <a:pt x="463" y="51"/>
                  </a:lnTo>
                  <a:lnTo>
                    <a:pt x="466" y="55"/>
                  </a:lnTo>
                  <a:lnTo>
                    <a:pt x="466" y="61"/>
                  </a:lnTo>
                  <a:lnTo>
                    <a:pt x="465" y="61"/>
                  </a:lnTo>
                  <a:lnTo>
                    <a:pt x="465" y="63"/>
                  </a:lnTo>
                  <a:lnTo>
                    <a:pt x="465" y="65"/>
                  </a:lnTo>
                  <a:lnTo>
                    <a:pt x="463" y="66"/>
                  </a:lnTo>
                  <a:lnTo>
                    <a:pt x="463" y="68"/>
                  </a:lnTo>
                  <a:lnTo>
                    <a:pt x="466" y="68"/>
                  </a:lnTo>
                  <a:lnTo>
                    <a:pt x="468" y="66"/>
                  </a:lnTo>
                  <a:lnTo>
                    <a:pt x="470" y="68"/>
                  </a:lnTo>
                  <a:lnTo>
                    <a:pt x="473" y="70"/>
                  </a:lnTo>
                  <a:lnTo>
                    <a:pt x="472" y="73"/>
                  </a:lnTo>
                  <a:lnTo>
                    <a:pt x="473" y="70"/>
                  </a:lnTo>
                  <a:lnTo>
                    <a:pt x="478" y="70"/>
                  </a:lnTo>
                  <a:lnTo>
                    <a:pt x="478" y="73"/>
                  </a:lnTo>
                  <a:lnTo>
                    <a:pt x="480" y="70"/>
                  </a:lnTo>
                  <a:lnTo>
                    <a:pt x="483" y="75"/>
                  </a:lnTo>
                  <a:lnTo>
                    <a:pt x="480" y="78"/>
                  </a:lnTo>
                  <a:lnTo>
                    <a:pt x="485" y="75"/>
                  </a:lnTo>
                  <a:lnTo>
                    <a:pt x="483" y="84"/>
                  </a:lnTo>
                  <a:lnTo>
                    <a:pt x="482" y="85"/>
                  </a:lnTo>
                  <a:lnTo>
                    <a:pt x="480" y="84"/>
                  </a:lnTo>
                  <a:lnTo>
                    <a:pt x="482" y="87"/>
                  </a:lnTo>
                  <a:lnTo>
                    <a:pt x="480" y="89"/>
                  </a:lnTo>
                  <a:lnTo>
                    <a:pt x="480" y="92"/>
                  </a:lnTo>
                  <a:lnTo>
                    <a:pt x="482" y="92"/>
                  </a:lnTo>
                  <a:lnTo>
                    <a:pt x="480" y="89"/>
                  </a:lnTo>
                  <a:lnTo>
                    <a:pt x="483" y="85"/>
                  </a:lnTo>
                  <a:lnTo>
                    <a:pt x="487" y="87"/>
                  </a:lnTo>
                  <a:lnTo>
                    <a:pt x="487" y="92"/>
                  </a:lnTo>
                  <a:lnTo>
                    <a:pt x="490" y="96"/>
                  </a:lnTo>
                  <a:lnTo>
                    <a:pt x="495" y="97"/>
                  </a:lnTo>
                  <a:lnTo>
                    <a:pt x="502" y="97"/>
                  </a:lnTo>
                  <a:lnTo>
                    <a:pt x="502" y="99"/>
                  </a:lnTo>
                  <a:lnTo>
                    <a:pt x="504" y="97"/>
                  </a:lnTo>
                  <a:lnTo>
                    <a:pt x="507" y="102"/>
                  </a:lnTo>
                  <a:lnTo>
                    <a:pt x="504" y="101"/>
                  </a:lnTo>
                  <a:lnTo>
                    <a:pt x="502" y="102"/>
                  </a:lnTo>
                  <a:lnTo>
                    <a:pt x="504" y="102"/>
                  </a:lnTo>
                  <a:lnTo>
                    <a:pt x="504" y="104"/>
                  </a:lnTo>
                  <a:lnTo>
                    <a:pt x="506" y="102"/>
                  </a:lnTo>
                  <a:lnTo>
                    <a:pt x="507" y="106"/>
                  </a:lnTo>
                  <a:lnTo>
                    <a:pt x="507" y="107"/>
                  </a:lnTo>
                  <a:lnTo>
                    <a:pt x="514" y="114"/>
                  </a:lnTo>
                  <a:lnTo>
                    <a:pt x="519" y="116"/>
                  </a:lnTo>
                  <a:lnTo>
                    <a:pt x="521" y="119"/>
                  </a:lnTo>
                  <a:lnTo>
                    <a:pt x="530" y="125"/>
                  </a:lnTo>
                  <a:lnTo>
                    <a:pt x="535" y="128"/>
                  </a:lnTo>
                  <a:lnTo>
                    <a:pt x="545" y="131"/>
                  </a:lnTo>
                  <a:lnTo>
                    <a:pt x="545" y="133"/>
                  </a:lnTo>
                  <a:lnTo>
                    <a:pt x="548" y="133"/>
                  </a:lnTo>
                  <a:lnTo>
                    <a:pt x="550" y="138"/>
                  </a:lnTo>
                  <a:lnTo>
                    <a:pt x="545" y="140"/>
                  </a:lnTo>
                  <a:lnTo>
                    <a:pt x="548" y="140"/>
                  </a:lnTo>
                  <a:lnTo>
                    <a:pt x="550" y="140"/>
                  </a:lnTo>
                  <a:lnTo>
                    <a:pt x="548" y="140"/>
                  </a:lnTo>
                  <a:lnTo>
                    <a:pt x="550" y="142"/>
                  </a:lnTo>
                  <a:lnTo>
                    <a:pt x="548" y="143"/>
                  </a:lnTo>
                  <a:lnTo>
                    <a:pt x="552" y="143"/>
                  </a:lnTo>
                  <a:lnTo>
                    <a:pt x="552" y="145"/>
                  </a:lnTo>
                  <a:lnTo>
                    <a:pt x="552" y="147"/>
                  </a:lnTo>
                  <a:lnTo>
                    <a:pt x="555" y="143"/>
                  </a:lnTo>
                  <a:lnTo>
                    <a:pt x="555" y="145"/>
                  </a:lnTo>
                  <a:lnTo>
                    <a:pt x="553" y="147"/>
                  </a:lnTo>
                  <a:lnTo>
                    <a:pt x="555" y="148"/>
                  </a:lnTo>
                  <a:lnTo>
                    <a:pt x="557" y="145"/>
                  </a:lnTo>
                  <a:lnTo>
                    <a:pt x="557" y="148"/>
                  </a:lnTo>
                  <a:lnTo>
                    <a:pt x="560" y="147"/>
                  </a:lnTo>
                  <a:lnTo>
                    <a:pt x="560" y="148"/>
                  </a:lnTo>
                  <a:lnTo>
                    <a:pt x="562" y="148"/>
                  </a:lnTo>
                  <a:lnTo>
                    <a:pt x="565" y="148"/>
                  </a:lnTo>
                  <a:lnTo>
                    <a:pt x="565" y="147"/>
                  </a:lnTo>
                  <a:lnTo>
                    <a:pt x="569" y="150"/>
                  </a:lnTo>
                  <a:lnTo>
                    <a:pt x="572" y="152"/>
                  </a:lnTo>
                  <a:lnTo>
                    <a:pt x="579" y="159"/>
                  </a:lnTo>
                  <a:lnTo>
                    <a:pt x="582" y="160"/>
                  </a:lnTo>
                  <a:lnTo>
                    <a:pt x="584" y="162"/>
                  </a:lnTo>
                  <a:lnTo>
                    <a:pt x="591" y="167"/>
                  </a:lnTo>
                  <a:lnTo>
                    <a:pt x="591" y="172"/>
                  </a:lnTo>
                  <a:lnTo>
                    <a:pt x="586" y="172"/>
                  </a:lnTo>
                  <a:lnTo>
                    <a:pt x="593" y="172"/>
                  </a:lnTo>
                  <a:lnTo>
                    <a:pt x="594" y="176"/>
                  </a:lnTo>
                  <a:lnTo>
                    <a:pt x="593" y="176"/>
                  </a:lnTo>
                  <a:lnTo>
                    <a:pt x="600" y="179"/>
                  </a:lnTo>
                  <a:lnTo>
                    <a:pt x="600" y="186"/>
                  </a:lnTo>
                  <a:lnTo>
                    <a:pt x="601" y="186"/>
                  </a:lnTo>
                  <a:lnTo>
                    <a:pt x="603" y="184"/>
                  </a:lnTo>
                  <a:lnTo>
                    <a:pt x="613" y="184"/>
                  </a:lnTo>
                  <a:lnTo>
                    <a:pt x="618" y="188"/>
                  </a:lnTo>
                  <a:lnTo>
                    <a:pt x="618" y="193"/>
                  </a:lnTo>
                  <a:lnTo>
                    <a:pt x="615" y="198"/>
                  </a:lnTo>
                  <a:lnTo>
                    <a:pt x="608" y="203"/>
                  </a:lnTo>
                  <a:lnTo>
                    <a:pt x="606" y="207"/>
                  </a:lnTo>
                  <a:lnTo>
                    <a:pt x="601" y="207"/>
                  </a:lnTo>
                  <a:lnTo>
                    <a:pt x="598" y="210"/>
                  </a:lnTo>
                  <a:lnTo>
                    <a:pt x="598" y="212"/>
                  </a:lnTo>
                  <a:lnTo>
                    <a:pt x="594" y="215"/>
                  </a:lnTo>
                  <a:lnTo>
                    <a:pt x="586" y="213"/>
                  </a:lnTo>
                  <a:lnTo>
                    <a:pt x="584" y="213"/>
                  </a:lnTo>
                  <a:lnTo>
                    <a:pt x="584" y="212"/>
                  </a:lnTo>
                  <a:lnTo>
                    <a:pt x="579" y="208"/>
                  </a:lnTo>
                  <a:lnTo>
                    <a:pt x="576" y="210"/>
                  </a:lnTo>
                  <a:lnTo>
                    <a:pt x="571" y="215"/>
                  </a:lnTo>
                  <a:lnTo>
                    <a:pt x="565" y="215"/>
                  </a:lnTo>
                  <a:lnTo>
                    <a:pt x="557" y="212"/>
                  </a:lnTo>
                  <a:lnTo>
                    <a:pt x="557" y="210"/>
                  </a:lnTo>
                  <a:lnTo>
                    <a:pt x="555" y="212"/>
                  </a:lnTo>
                  <a:lnTo>
                    <a:pt x="552" y="210"/>
                  </a:lnTo>
                  <a:lnTo>
                    <a:pt x="543" y="215"/>
                  </a:lnTo>
                  <a:lnTo>
                    <a:pt x="540" y="213"/>
                  </a:lnTo>
                  <a:lnTo>
                    <a:pt x="540" y="212"/>
                  </a:lnTo>
                  <a:lnTo>
                    <a:pt x="538" y="210"/>
                  </a:lnTo>
                  <a:lnTo>
                    <a:pt x="535" y="210"/>
                  </a:lnTo>
                  <a:lnTo>
                    <a:pt x="524" y="208"/>
                  </a:lnTo>
                  <a:lnTo>
                    <a:pt x="523" y="207"/>
                  </a:lnTo>
                  <a:lnTo>
                    <a:pt x="514" y="205"/>
                  </a:lnTo>
                  <a:lnTo>
                    <a:pt x="512" y="205"/>
                  </a:lnTo>
                  <a:lnTo>
                    <a:pt x="507" y="203"/>
                  </a:lnTo>
                  <a:lnTo>
                    <a:pt x="506" y="201"/>
                  </a:lnTo>
                  <a:lnTo>
                    <a:pt x="506" y="200"/>
                  </a:lnTo>
                  <a:lnTo>
                    <a:pt x="499" y="196"/>
                  </a:lnTo>
                  <a:lnTo>
                    <a:pt x="499" y="189"/>
                  </a:lnTo>
                  <a:lnTo>
                    <a:pt x="497" y="184"/>
                  </a:lnTo>
                  <a:lnTo>
                    <a:pt x="494" y="183"/>
                  </a:lnTo>
                  <a:lnTo>
                    <a:pt x="490" y="179"/>
                  </a:lnTo>
                  <a:lnTo>
                    <a:pt x="489" y="179"/>
                  </a:lnTo>
                  <a:lnTo>
                    <a:pt x="490" y="176"/>
                  </a:lnTo>
                  <a:lnTo>
                    <a:pt x="489" y="177"/>
                  </a:lnTo>
                  <a:lnTo>
                    <a:pt x="487" y="177"/>
                  </a:lnTo>
                  <a:lnTo>
                    <a:pt x="487" y="179"/>
                  </a:lnTo>
                  <a:lnTo>
                    <a:pt x="490" y="183"/>
                  </a:lnTo>
                  <a:lnTo>
                    <a:pt x="487" y="184"/>
                  </a:lnTo>
                  <a:lnTo>
                    <a:pt x="492" y="184"/>
                  </a:lnTo>
                  <a:lnTo>
                    <a:pt x="497" y="189"/>
                  </a:lnTo>
                  <a:lnTo>
                    <a:pt x="497" y="195"/>
                  </a:lnTo>
                  <a:lnTo>
                    <a:pt x="495" y="196"/>
                  </a:lnTo>
                  <a:lnTo>
                    <a:pt x="499" y="205"/>
                  </a:lnTo>
                  <a:lnTo>
                    <a:pt x="502" y="208"/>
                  </a:lnTo>
                  <a:lnTo>
                    <a:pt x="502" y="218"/>
                  </a:lnTo>
                  <a:lnTo>
                    <a:pt x="495" y="218"/>
                  </a:lnTo>
                  <a:lnTo>
                    <a:pt x="494" y="217"/>
                  </a:lnTo>
                  <a:lnTo>
                    <a:pt x="490" y="215"/>
                  </a:lnTo>
                  <a:lnTo>
                    <a:pt x="489" y="212"/>
                  </a:lnTo>
                  <a:lnTo>
                    <a:pt x="485" y="213"/>
                  </a:lnTo>
                  <a:lnTo>
                    <a:pt x="483" y="215"/>
                  </a:lnTo>
                  <a:lnTo>
                    <a:pt x="477" y="215"/>
                  </a:lnTo>
                  <a:lnTo>
                    <a:pt x="472" y="220"/>
                  </a:lnTo>
                  <a:lnTo>
                    <a:pt x="465" y="229"/>
                  </a:lnTo>
                  <a:lnTo>
                    <a:pt x="465" y="236"/>
                  </a:lnTo>
                  <a:lnTo>
                    <a:pt x="463" y="236"/>
                  </a:lnTo>
                  <a:lnTo>
                    <a:pt x="463" y="237"/>
                  </a:lnTo>
                  <a:lnTo>
                    <a:pt x="460" y="239"/>
                  </a:lnTo>
                  <a:lnTo>
                    <a:pt x="456" y="248"/>
                  </a:lnTo>
                  <a:lnTo>
                    <a:pt x="460" y="248"/>
                  </a:lnTo>
                  <a:lnTo>
                    <a:pt x="456" y="248"/>
                  </a:lnTo>
                  <a:lnTo>
                    <a:pt x="453" y="253"/>
                  </a:lnTo>
                  <a:lnTo>
                    <a:pt x="453" y="261"/>
                  </a:lnTo>
                  <a:lnTo>
                    <a:pt x="449" y="263"/>
                  </a:lnTo>
                  <a:lnTo>
                    <a:pt x="448" y="261"/>
                  </a:lnTo>
                  <a:lnTo>
                    <a:pt x="446" y="261"/>
                  </a:lnTo>
                  <a:lnTo>
                    <a:pt x="448" y="261"/>
                  </a:lnTo>
                  <a:lnTo>
                    <a:pt x="448" y="265"/>
                  </a:lnTo>
                  <a:lnTo>
                    <a:pt x="446" y="271"/>
                  </a:lnTo>
                  <a:lnTo>
                    <a:pt x="444" y="273"/>
                  </a:lnTo>
                  <a:lnTo>
                    <a:pt x="442" y="273"/>
                  </a:lnTo>
                  <a:lnTo>
                    <a:pt x="444" y="277"/>
                  </a:lnTo>
                  <a:lnTo>
                    <a:pt x="441" y="278"/>
                  </a:lnTo>
                  <a:lnTo>
                    <a:pt x="442" y="280"/>
                  </a:lnTo>
                  <a:lnTo>
                    <a:pt x="441" y="282"/>
                  </a:lnTo>
                  <a:lnTo>
                    <a:pt x="442" y="285"/>
                  </a:lnTo>
                  <a:lnTo>
                    <a:pt x="439" y="287"/>
                  </a:lnTo>
                  <a:lnTo>
                    <a:pt x="441" y="287"/>
                  </a:lnTo>
                  <a:lnTo>
                    <a:pt x="441" y="289"/>
                  </a:lnTo>
                  <a:lnTo>
                    <a:pt x="437" y="289"/>
                  </a:lnTo>
                  <a:lnTo>
                    <a:pt x="441" y="290"/>
                  </a:lnTo>
                  <a:lnTo>
                    <a:pt x="436" y="292"/>
                  </a:lnTo>
                  <a:lnTo>
                    <a:pt x="437" y="292"/>
                  </a:lnTo>
                  <a:lnTo>
                    <a:pt x="437" y="294"/>
                  </a:lnTo>
                  <a:lnTo>
                    <a:pt x="439" y="292"/>
                  </a:lnTo>
                  <a:lnTo>
                    <a:pt x="439" y="294"/>
                  </a:lnTo>
                  <a:lnTo>
                    <a:pt x="441" y="292"/>
                  </a:lnTo>
                  <a:lnTo>
                    <a:pt x="442" y="297"/>
                  </a:lnTo>
                  <a:lnTo>
                    <a:pt x="441" y="299"/>
                  </a:lnTo>
                  <a:lnTo>
                    <a:pt x="437" y="297"/>
                  </a:lnTo>
                  <a:lnTo>
                    <a:pt x="437" y="302"/>
                  </a:lnTo>
                  <a:lnTo>
                    <a:pt x="434" y="299"/>
                  </a:lnTo>
                  <a:lnTo>
                    <a:pt x="437" y="302"/>
                  </a:lnTo>
                  <a:lnTo>
                    <a:pt x="436" y="306"/>
                  </a:lnTo>
                  <a:lnTo>
                    <a:pt x="441" y="304"/>
                  </a:lnTo>
                  <a:lnTo>
                    <a:pt x="441" y="306"/>
                  </a:lnTo>
                  <a:lnTo>
                    <a:pt x="439" y="306"/>
                  </a:lnTo>
                  <a:lnTo>
                    <a:pt x="439" y="307"/>
                  </a:lnTo>
                  <a:lnTo>
                    <a:pt x="444" y="307"/>
                  </a:lnTo>
                  <a:lnTo>
                    <a:pt x="441" y="311"/>
                  </a:lnTo>
                  <a:lnTo>
                    <a:pt x="442" y="316"/>
                  </a:lnTo>
                  <a:lnTo>
                    <a:pt x="437" y="321"/>
                  </a:lnTo>
                  <a:lnTo>
                    <a:pt x="436" y="324"/>
                  </a:lnTo>
                  <a:lnTo>
                    <a:pt x="432" y="333"/>
                  </a:lnTo>
                  <a:lnTo>
                    <a:pt x="432" y="336"/>
                  </a:lnTo>
                  <a:lnTo>
                    <a:pt x="429" y="338"/>
                  </a:lnTo>
                  <a:lnTo>
                    <a:pt x="431" y="345"/>
                  </a:lnTo>
                  <a:lnTo>
                    <a:pt x="434" y="348"/>
                  </a:lnTo>
                  <a:lnTo>
                    <a:pt x="434" y="353"/>
                  </a:lnTo>
                  <a:lnTo>
                    <a:pt x="436" y="355"/>
                  </a:lnTo>
                  <a:lnTo>
                    <a:pt x="434" y="359"/>
                  </a:lnTo>
                  <a:lnTo>
                    <a:pt x="432" y="357"/>
                  </a:lnTo>
                  <a:lnTo>
                    <a:pt x="432" y="362"/>
                  </a:lnTo>
                  <a:lnTo>
                    <a:pt x="431" y="364"/>
                  </a:lnTo>
                  <a:lnTo>
                    <a:pt x="434" y="367"/>
                  </a:lnTo>
                  <a:lnTo>
                    <a:pt x="431" y="372"/>
                  </a:lnTo>
                  <a:lnTo>
                    <a:pt x="427" y="374"/>
                  </a:lnTo>
                  <a:lnTo>
                    <a:pt x="431" y="372"/>
                  </a:lnTo>
                  <a:lnTo>
                    <a:pt x="431" y="374"/>
                  </a:lnTo>
                  <a:lnTo>
                    <a:pt x="429" y="376"/>
                  </a:lnTo>
                  <a:lnTo>
                    <a:pt x="429" y="377"/>
                  </a:lnTo>
                  <a:lnTo>
                    <a:pt x="424" y="381"/>
                  </a:lnTo>
                  <a:lnTo>
                    <a:pt x="417" y="379"/>
                  </a:lnTo>
                  <a:lnTo>
                    <a:pt x="413" y="381"/>
                  </a:lnTo>
                  <a:lnTo>
                    <a:pt x="412" y="382"/>
                  </a:lnTo>
                  <a:lnTo>
                    <a:pt x="415" y="384"/>
                  </a:lnTo>
                  <a:lnTo>
                    <a:pt x="415" y="393"/>
                  </a:lnTo>
                  <a:lnTo>
                    <a:pt x="413" y="398"/>
                  </a:lnTo>
                  <a:lnTo>
                    <a:pt x="413" y="406"/>
                  </a:lnTo>
                  <a:lnTo>
                    <a:pt x="412" y="408"/>
                  </a:lnTo>
                  <a:lnTo>
                    <a:pt x="402" y="405"/>
                  </a:lnTo>
                  <a:lnTo>
                    <a:pt x="410" y="408"/>
                  </a:lnTo>
                  <a:lnTo>
                    <a:pt x="410" y="411"/>
                  </a:lnTo>
                  <a:lnTo>
                    <a:pt x="410" y="420"/>
                  </a:lnTo>
                  <a:lnTo>
                    <a:pt x="403" y="423"/>
                  </a:lnTo>
                  <a:lnTo>
                    <a:pt x="400" y="427"/>
                  </a:lnTo>
                  <a:lnTo>
                    <a:pt x="395" y="434"/>
                  </a:lnTo>
                  <a:lnTo>
                    <a:pt x="391" y="439"/>
                  </a:lnTo>
                  <a:lnTo>
                    <a:pt x="388" y="444"/>
                  </a:lnTo>
                  <a:lnTo>
                    <a:pt x="383" y="447"/>
                  </a:lnTo>
                  <a:lnTo>
                    <a:pt x="379" y="456"/>
                  </a:lnTo>
                  <a:lnTo>
                    <a:pt x="373" y="461"/>
                  </a:lnTo>
                  <a:lnTo>
                    <a:pt x="366" y="464"/>
                  </a:lnTo>
                  <a:lnTo>
                    <a:pt x="355" y="464"/>
                  </a:lnTo>
                  <a:lnTo>
                    <a:pt x="357" y="459"/>
                  </a:lnTo>
                  <a:lnTo>
                    <a:pt x="357" y="458"/>
                  </a:lnTo>
                  <a:lnTo>
                    <a:pt x="359" y="458"/>
                  </a:lnTo>
                  <a:lnTo>
                    <a:pt x="357" y="456"/>
                  </a:lnTo>
                  <a:lnTo>
                    <a:pt x="359" y="454"/>
                  </a:lnTo>
                  <a:lnTo>
                    <a:pt x="355" y="458"/>
                  </a:lnTo>
                  <a:lnTo>
                    <a:pt x="354" y="456"/>
                  </a:lnTo>
                  <a:lnTo>
                    <a:pt x="354" y="452"/>
                  </a:lnTo>
                  <a:lnTo>
                    <a:pt x="352" y="446"/>
                  </a:lnTo>
                  <a:lnTo>
                    <a:pt x="349" y="446"/>
                  </a:lnTo>
                  <a:lnTo>
                    <a:pt x="350" y="444"/>
                  </a:lnTo>
                  <a:lnTo>
                    <a:pt x="347" y="444"/>
                  </a:lnTo>
                  <a:lnTo>
                    <a:pt x="350" y="435"/>
                  </a:lnTo>
                  <a:lnTo>
                    <a:pt x="349" y="435"/>
                  </a:lnTo>
                  <a:lnTo>
                    <a:pt x="345" y="442"/>
                  </a:lnTo>
                  <a:lnTo>
                    <a:pt x="343" y="442"/>
                  </a:lnTo>
                  <a:lnTo>
                    <a:pt x="345" y="444"/>
                  </a:lnTo>
                  <a:lnTo>
                    <a:pt x="343" y="446"/>
                  </a:lnTo>
                  <a:lnTo>
                    <a:pt x="345" y="447"/>
                  </a:lnTo>
                  <a:lnTo>
                    <a:pt x="342" y="447"/>
                  </a:lnTo>
                  <a:lnTo>
                    <a:pt x="343" y="447"/>
                  </a:lnTo>
                  <a:lnTo>
                    <a:pt x="345" y="447"/>
                  </a:lnTo>
                  <a:lnTo>
                    <a:pt x="347" y="447"/>
                  </a:lnTo>
                  <a:lnTo>
                    <a:pt x="350" y="451"/>
                  </a:lnTo>
                  <a:lnTo>
                    <a:pt x="349" y="451"/>
                  </a:lnTo>
                  <a:lnTo>
                    <a:pt x="352" y="454"/>
                  </a:lnTo>
                  <a:lnTo>
                    <a:pt x="349" y="456"/>
                  </a:lnTo>
                  <a:lnTo>
                    <a:pt x="354" y="461"/>
                  </a:lnTo>
                  <a:lnTo>
                    <a:pt x="350" y="466"/>
                  </a:lnTo>
                  <a:lnTo>
                    <a:pt x="350" y="475"/>
                  </a:lnTo>
                  <a:lnTo>
                    <a:pt x="350" y="476"/>
                  </a:lnTo>
                  <a:lnTo>
                    <a:pt x="345" y="476"/>
                  </a:lnTo>
                  <a:lnTo>
                    <a:pt x="338" y="480"/>
                  </a:lnTo>
                  <a:lnTo>
                    <a:pt x="333" y="482"/>
                  </a:lnTo>
                  <a:lnTo>
                    <a:pt x="325" y="487"/>
                  </a:lnTo>
                  <a:lnTo>
                    <a:pt x="323" y="492"/>
                  </a:lnTo>
                  <a:lnTo>
                    <a:pt x="325" y="495"/>
                  </a:lnTo>
                  <a:lnTo>
                    <a:pt x="326" y="504"/>
                  </a:lnTo>
                  <a:lnTo>
                    <a:pt x="323" y="505"/>
                  </a:lnTo>
                  <a:lnTo>
                    <a:pt x="318" y="509"/>
                  </a:lnTo>
                  <a:lnTo>
                    <a:pt x="313" y="509"/>
                  </a:lnTo>
                  <a:lnTo>
                    <a:pt x="306" y="514"/>
                  </a:lnTo>
                  <a:lnTo>
                    <a:pt x="301" y="516"/>
                  </a:lnTo>
                  <a:lnTo>
                    <a:pt x="299" y="516"/>
                  </a:lnTo>
                  <a:lnTo>
                    <a:pt x="297" y="512"/>
                  </a:lnTo>
                  <a:lnTo>
                    <a:pt x="296" y="519"/>
                  </a:lnTo>
                  <a:lnTo>
                    <a:pt x="287" y="517"/>
                  </a:lnTo>
                  <a:lnTo>
                    <a:pt x="294" y="519"/>
                  </a:lnTo>
                  <a:lnTo>
                    <a:pt x="291" y="524"/>
                  </a:lnTo>
                  <a:lnTo>
                    <a:pt x="284" y="522"/>
                  </a:lnTo>
                  <a:lnTo>
                    <a:pt x="284" y="524"/>
                  </a:lnTo>
                  <a:lnTo>
                    <a:pt x="291" y="528"/>
                  </a:lnTo>
                  <a:lnTo>
                    <a:pt x="301" y="524"/>
                  </a:lnTo>
                  <a:lnTo>
                    <a:pt x="304" y="526"/>
                  </a:lnTo>
                  <a:lnTo>
                    <a:pt x="304" y="522"/>
                  </a:lnTo>
                  <a:lnTo>
                    <a:pt x="313" y="524"/>
                  </a:lnTo>
                  <a:lnTo>
                    <a:pt x="314" y="529"/>
                  </a:lnTo>
                  <a:lnTo>
                    <a:pt x="309" y="536"/>
                  </a:lnTo>
                  <a:lnTo>
                    <a:pt x="311" y="536"/>
                  </a:lnTo>
                  <a:lnTo>
                    <a:pt x="314" y="541"/>
                  </a:lnTo>
                  <a:lnTo>
                    <a:pt x="314" y="548"/>
                  </a:lnTo>
                  <a:lnTo>
                    <a:pt x="314" y="557"/>
                  </a:lnTo>
                  <a:lnTo>
                    <a:pt x="314" y="558"/>
                  </a:lnTo>
                  <a:lnTo>
                    <a:pt x="306" y="562"/>
                  </a:lnTo>
                  <a:lnTo>
                    <a:pt x="301" y="567"/>
                  </a:lnTo>
                  <a:lnTo>
                    <a:pt x="306" y="565"/>
                  </a:lnTo>
                  <a:lnTo>
                    <a:pt x="306" y="567"/>
                  </a:lnTo>
                  <a:lnTo>
                    <a:pt x="313" y="567"/>
                  </a:lnTo>
                  <a:lnTo>
                    <a:pt x="320" y="563"/>
                  </a:lnTo>
                  <a:lnTo>
                    <a:pt x="323" y="570"/>
                  </a:lnTo>
                  <a:lnTo>
                    <a:pt x="321" y="570"/>
                  </a:lnTo>
                  <a:lnTo>
                    <a:pt x="326" y="572"/>
                  </a:lnTo>
                  <a:lnTo>
                    <a:pt x="325" y="575"/>
                  </a:lnTo>
                  <a:lnTo>
                    <a:pt x="330" y="572"/>
                  </a:lnTo>
                  <a:lnTo>
                    <a:pt x="332" y="575"/>
                  </a:lnTo>
                  <a:lnTo>
                    <a:pt x="330" y="575"/>
                  </a:lnTo>
                  <a:lnTo>
                    <a:pt x="330" y="582"/>
                  </a:lnTo>
                  <a:lnTo>
                    <a:pt x="328" y="591"/>
                  </a:lnTo>
                  <a:lnTo>
                    <a:pt x="326" y="599"/>
                  </a:lnTo>
                  <a:lnTo>
                    <a:pt x="318" y="596"/>
                  </a:lnTo>
                  <a:lnTo>
                    <a:pt x="308" y="594"/>
                  </a:lnTo>
                  <a:lnTo>
                    <a:pt x="304" y="594"/>
                  </a:lnTo>
                  <a:lnTo>
                    <a:pt x="297" y="593"/>
                  </a:lnTo>
                  <a:lnTo>
                    <a:pt x="289" y="589"/>
                  </a:lnTo>
                  <a:lnTo>
                    <a:pt x="282" y="589"/>
                  </a:lnTo>
                  <a:lnTo>
                    <a:pt x="262" y="589"/>
                  </a:lnTo>
                  <a:lnTo>
                    <a:pt x="260" y="589"/>
                  </a:lnTo>
                  <a:lnTo>
                    <a:pt x="258" y="589"/>
                  </a:lnTo>
                  <a:lnTo>
                    <a:pt x="253" y="591"/>
                  </a:lnTo>
                  <a:lnTo>
                    <a:pt x="246" y="591"/>
                  </a:lnTo>
                  <a:lnTo>
                    <a:pt x="246" y="596"/>
                  </a:lnTo>
                  <a:lnTo>
                    <a:pt x="241" y="598"/>
                  </a:lnTo>
                  <a:lnTo>
                    <a:pt x="239" y="589"/>
                  </a:lnTo>
                  <a:lnTo>
                    <a:pt x="243" y="586"/>
                  </a:lnTo>
                  <a:lnTo>
                    <a:pt x="238" y="582"/>
                  </a:lnTo>
                  <a:lnTo>
                    <a:pt x="239" y="579"/>
                  </a:lnTo>
                  <a:lnTo>
                    <a:pt x="236" y="574"/>
                  </a:lnTo>
                  <a:lnTo>
                    <a:pt x="236" y="572"/>
                  </a:lnTo>
                  <a:lnTo>
                    <a:pt x="238" y="563"/>
                  </a:lnTo>
                  <a:lnTo>
                    <a:pt x="239" y="558"/>
                  </a:lnTo>
                  <a:lnTo>
                    <a:pt x="236" y="557"/>
                  </a:lnTo>
                  <a:lnTo>
                    <a:pt x="231" y="557"/>
                  </a:lnTo>
                  <a:lnTo>
                    <a:pt x="227" y="555"/>
                  </a:lnTo>
                  <a:lnTo>
                    <a:pt x="229" y="550"/>
                  </a:lnTo>
                  <a:lnTo>
                    <a:pt x="226" y="548"/>
                  </a:lnTo>
                  <a:lnTo>
                    <a:pt x="226" y="550"/>
                  </a:lnTo>
                  <a:lnTo>
                    <a:pt x="224" y="548"/>
                  </a:lnTo>
                  <a:lnTo>
                    <a:pt x="227" y="541"/>
                  </a:lnTo>
                  <a:lnTo>
                    <a:pt x="226" y="541"/>
                  </a:lnTo>
                  <a:lnTo>
                    <a:pt x="227" y="534"/>
                  </a:lnTo>
                  <a:lnTo>
                    <a:pt x="227" y="528"/>
                  </a:lnTo>
                  <a:lnTo>
                    <a:pt x="224" y="526"/>
                  </a:lnTo>
                  <a:lnTo>
                    <a:pt x="222" y="528"/>
                  </a:lnTo>
                  <a:lnTo>
                    <a:pt x="222" y="526"/>
                  </a:lnTo>
                  <a:lnTo>
                    <a:pt x="224" y="519"/>
                  </a:lnTo>
                  <a:lnTo>
                    <a:pt x="221" y="516"/>
                  </a:lnTo>
                  <a:lnTo>
                    <a:pt x="221" y="507"/>
                  </a:lnTo>
                  <a:lnTo>
                    <a:pt x="217" y="504"/>
                  </a:lnTo>
                  <a:lnTo>
                    <a:pt x="215" y="500"/>
                  </a:lnTo>
                  <a:lnTo>
                    <a:pt x="217" y="499"/>
                  </a:lnTo>
                  <a:lnTo>
                    <a:pt x="215" y="495"/>
                  </a:lnTo>
                  <a:lnTo>
                    <a:pt x="219" y="493"/>
                  </a:lnTo>
                  <a:lnTo>
                    <a:pt x="219" y="488"/>
                  </a:lnTo>
                  <a:lnTo>
                    <a:pt x="221" y="487"/>
                  </a:lnTo>
                  <a:lnTo>
                    <a:pt x="224" y="482"/>
                  </a:lnTo>
                  <a:lnTo>
                    <a:pt x="229" y="475"/>
                  </a:lnTo>
                  <a:lnTo>
                    <a:pt x="231" y="468"/>
                  </a:lnTo>
                  <a:lnTo>
                    <a:pt x="234" y="458"/>
                  </a:lnTo>
                  <a:lnTo>
                    <a:pt x="238" y="454"/>
                  </a:lnTo>
                  <a:lnTo>
                    <a:pt x="241" y="451"/>
                  </a:lnTo>
                  <a:lnTo>
                    <a:pt x="236" y="446"/>
                  </a:lnTo>
                  <a:lnTo>
                    <a:pt x="231" y="447"/>
                  </a:lnTo>
                  <a:lnTo>
                    <a:pt x="229" y="442"/>
                  </a:lnTo>
                  <a:lnTo>
                    <a:pt x="224" y="437"/>
                  </a:lnTo>
                  <a:lnTo>
                    <a:pt x="221" y="439"/>
                  </a:lnTo>
                  <a:lnTo>
                    <a:pt x="219" y="430"/>
                  </a:lnTo>
                  <a:lnTo>
                    <a:pt x="210" y="425"/>
                  </a:lnTo>
                  <a:lnTo>
                    <a:pt x="205" y="417"/>
                  </a:lnTo>
                  <a:lnTo>
                    <a:pt x="204" y="417"/>
                  </a:lnTo>
                  <a:lnTo>
                    <a:pt x="197" y="411"/>
                  </a:lnTo>
                  <a:lnTo>
                    <a:pt x="190" y="411"/>
                  </a:lnTo>
                  <a:lnTo>
                    <a:pt x="186" y="408"/>
                  </a:lnTo>
                  <a:lnTo>
                    <a:pt x="185" y="401"/>
                  </a:lnTo>
                  <a:lnTo>
                    <a:pt x="183" y="394"/>
                  </a:lnTo>
                  <a:lnTo>
                    <a:pt x="181" y="389"/>
                  </a:lnTo>
                  <a:lnTo>
                    <a:pt x="181" y="381"/>
                  </a:lnTo>
                  <a:lnTo>
                    <a:pt x="176" y="372"/>
                  </a:lnTo>
                  <a:lnTo>
                    <a:pt x="169" y="365"/>
                  </a:lnTo>
                  <a:lnTo>
                    <a:pt x="171" y="362"/>
                  </a:lnTo>
                  <a:lnTo>
                    <a:pt x="169" y="357"/>
                  </a:lnTo>
                  <a:lnTo>
                    <a:pt x="169" y="353"/>
                  </a:lnTo>
                  <a:lnTo>
                    <a:pt x="168" y="347"/>
                  </a:lnTo>
                  <a:lnTo>
                    <a:pt x="171" y="347"/>
                  </a:lnTo>
                  <a:lnTo>
                    <a:pt x="169" y="340"/>
                  </a:lnTo>
                  <a:lnTo>
                    <a:pt x="173" y="335"/>
                  </a:lnTo>
                  <a:lnTo>
                    <a:pt x="173" y="330"/>
                  </a:lnTo>
                  <a:lnTo>
                    <a:pt x="178" y="323"/>
                  </a:lnTo>
                  <a:lnTo>
                    <a:pt x="176" y="316"/>
                  </a:lnTo>
                  <a:lnTo>
                    <a:pt x="169" y="318"/>
                  </a:lnTo>
                  <a:lnTo>
                    <a:pt x="166" y="321"/>
                  </a:lnTo>
                  <a:lnTo>
                    <a:pt x="164" y="321"/>
                  </a:lnTo>
                  <a:lnTo>
                    <a:pt x="159" y="324"/>
                  </a:lnTo>
                  <a:lnTo>
                    <a:pt x="157" y="328"/>
                  </a:lnTo>
                  <a:lnTo>
                    <a:pt x="151" y="330"/>
                  </a:lnTo>
                  <a:lnTo>
                    <a:pt x="145" y="335"/>
                  </a:lnTo>
                  <a:lnTo>
                    <a:pt x="139" y="333"/>
                  </a:lnTo>
                  <a:lnTo>
                    <a:pt x="132" y="335"/>
                  </a:lnTo>
                  <a:lnTo>
                    <a:pt x="130" y="328"/>
                  </a:lnTo>
                  <a:lnTo>
                    <a:pt x="132" y="323"/>
                  </a:lnTo>
                  <a:lnTo>
                    <a:pt x="127" y="314"/>
                  </a:lnTo>
                  <a:lnTo>
                    <a:pt x="128" y="307"/>
                  </a:lnTo>
                  <a:lnTo>
                    <a:pt x="120" y="302"/>
                  </a:lnTo>
                  <a:lnTo>
                    <a:pt x="118" y="304"/>
                  </a:lnTo>
                  <a:lnTo>
                    <a:pt x="115" y="300"/>
                  </a:lnTo>
                  <a:lnTo>
                    <a:pt x="116" y="290"/>
                  </a:lnTo>
                  <a:lnTo>
                    <a:pt x="120" y="289"/>
                  </a:lnTo>
                  <a:lnTo>
                    <a:pt x="120" y="285"/>
                  </a:lnTo>
                  <a:lnTo>
                    <a:pt x="125" y="283"/>
                  </a:lnTo>
                  <a:lnTo>
                    <a:pt x="128" y="275"/>
                  </a:lnTo>
                  <a:lnTo>
                    <a:pt x="132" y="271"/>
                  </a:lnTo>
                  <a:lnTo>
                    <a:pt x="135" y="275"/>
                  </a:lnTo>
                  <a:lnTo>
                    <a:pt x="142" y="271"/>
                  </a:lnTo>
                  <a:lnTo>
                    <a:pt x="145" y="275"/>
                  </a:lnTo>
                  <a:lnTo>
                    <a:pt x="149" y="271"/>
                  </a:lnTo>
                  <a:lnTo>
                    <a:pt x="152" y="271"/>
                  </a:lnTo>
                  <a:lnTo>
                    <a:pt x="156" y="265"/>
                  </a:lnTo>
                  <a:lnTo>
                    <a:pt x="156" y="259"/>
                  </a:lnTo>
                  <a:lnTo>
                    <a:pt x="152" y="258"/>
                  </a:lnTo>
                  <a:lnTo>
                    <a:pt x="149" y="251"/>
                  </a:lnTo>
                  <a:lnTo>
                    <a:pt x="145" y="246"/>
                  </a:lnTo>
                  <a:lnTo>
                    <a:pt x="142" y="239"/>
                  </a:lnTo>
                  <a:lnTo>
                    <a:pt x="142" y="237"/>
                  </a:lnTo>
                  <a:lnTo>
                    <a:pt x="140" y="236"/>
                  </a:lnTo>
                  <a:lnTo>
                    <a:pt x="139" y="227"/>
                  </a:lnTo>
                  <a:lnTo>
                    <a:pt x="137" y="222"/>
                  </a:lnTo>
                  <a:lnTo>
                    <a:pt x="130" y="217"/>
                  </a:lnTo>
                  <a:lnTo>
                    <a:pt x="125" y="224"/>
                  </a:lnTo>
                  <a:lnTo>
                    <a:pt x="125" y="227"/>
                  </a:lnTo>
                  <a:lnTo>
                    <a:pt x="118" y="222"/>
                  </a:lnTo>
                  <a:lnTo>
                    <a:pt x="115" y="224"/>
                  </a:lnTo>
                  <a:lnTo>
                    <a:pt x="111" y="222"/>
                  </a:lnTo>
                  <a:lnTo>
                    <a:pt x="106" y="227"/>
                  </a:lnTo>
                  <a:lnTo>
                    <a:pt x="104" y="227"/>
                  </a:lnTo>
                  <a:lnTo>
                    <a:pt x="104" y="225"/>
                  </a:lnTo>
                  <a:lnTo>
                    <a:pt x="99" y="227"/>
                  </a:lnTo>
                  <a:lnTo>
                    <a:pt x="98" y="230"/>
                  </a:lnTo>
                  <a:lnTo>
                    <a:pt x="91" y="237"/>
                  </a:lnTo>
                  <a:lnTo>
                    <a:pt x="86" y="236"/>
                  </a:lnTo>
                  <a:lnTo>
                    <a:pt x="86" y="241"/>
                  </a:lnTo>
                  <a:lnTo>
                    <a:pt x="82" y="244"/>
                  </a:lnTo>
                  <a:lnTo>
                    <a:pt x="75" y="244"/>
                  </a:lnTo>
                  <a:lnTo>
                    <a:pt x="72" y="246"/>
                  </a:lnTo>
                  <a:lnTo>
                    <a:pt x="72" y="251"/>
                  </a:lnTo>
                  <a:lnTo>
                    <a:pt x="70" y="253"/>
                  </a:lnTo>
                  <a:lnTo>
                    <a:pt x="67" y="251"/>
                  </a:lnTo>
                  <a:lnTo>
                    <a:pt x="64" y="248"/>
                  </a:lnTo>
                  <a:lnTo>
                    <a:pt x="58" y="246"/>
                  </a:lnTo>
                  <a:lnTo>
                    <a:pt x="53" y="248"/>
                  </a:lnTo>
                  <a:lnTo>
                    <a:pt x="48" y="248"/>
                  </a:lnTo>
                  <a:lnTo>
                    <a:pt x="45" y="248"/>
                  </a:lnTo>
                  <a:lnTo>
                    <a:pt x="41" y="242"/>
                  </a:lnTo>
                  <a:lnTo>
                    <a:pt x="38" y="241"/>
                  </a:lnTo>
                  <a:lnTo>
                    <a:pt x="38" y="239"/>
                  </a:lnTo>
                  <a:lnTo>
                    <a:pt x="41" y="237"/>
                  </a:lnTo>
                  <a:lnTo>
                    <a:pt x="41" y="236"/>
                  </a:lnTo>
                  <a:lnTo>
                    <a:pt x="38" y="230"/>
                  </a:lnTo>
                  <a:lnTo>
                    <a:pt x="33" y="229"/>
                  </a:lnTo>
                  <a:lnTo>
                    <a:pt x="28" y="229"/>
                  </a:lnTo>
                  <a:lnTo>
                    <a:pt x="21" y="232"/>
                  </a:lnTo>
                  <a:lnTo>
                    <a:pt x="19" y="232"/>
                  </a:lnTo>
                  <a:lnTo>
                    <a:pt x="9" y="232"/>
                  </a:lnTo>
                  <a:lnTo>
                    <a:pt x="7" y="234"/>
                  </a:lnTo>
                  <a:lnTo>
                    <a:pt x="5" y="232"/>
                  </a:lnTo>
                  <a:lnTo>
                    <a:pt x="2" y="232"/>
                  </a:lnTo>
                  <a:lnTo>
                    <a:pt x="0" y="229"/>
                  </a:lnTo>
                  <a:lnTo>
                    <a:pt x="7" y="225"/>
                  </a:lnTo>
                  <a:lnTo>
                    <a:pt x="7" y="217"/>
                  </a:lnTo>
                  <a:lnTo>
                    <a:pt x="11" y="210"/>
                  </a:lnTo>
                  <a:lnTo>
                    <a:pt x="5" y="205"/>
                  </a:lnTo>
                  <a:lnTo>
                    <a:pt x="5" y="200"/>
                  </a:lnTo>
                  <a:lnTo>
                    <a:pt x="11" y="193"/>
                  </a:lnTo>
                  <a:lnTo>
                    <a:pt x="7" y="188"/>
                  </a:lnTo>
                  <a:lnTo>
                    <a:pt x="7" y="186"/>
                  </a:lnTo>
                  <a:lnTo>
                    <a:pt x="14" y="183"/>
                  </a:lnTo>
                  <a:lnTo>
                    <a:pt x="16" y="177"/>
                  </a:lnTo>
                  <a:lnTo>
                    <a:pt x="19" y="174"/>
                  </a:lnTo>
                  <a:lnTo>
                    <a:pt x="26" y="176"/>
                  </a:lnTo>
                  <a:lnTo>
                    <a:pt x="31" y="171"/>
                  </a:lnTo>
                  <a:lnTo>
                    <a:pt x="33" y="174"/>
                  </a:lnTo>
                  <a:lnTo>
                    <a:pt x="35" y="174"/>
                  </a:lnTo>
                  <a:lnTo>
                    <a:pt x="38" y="169"/>
                  </a:lnTo>
                  <a:lnTo>
                    <a:pt x="36" y="162"/>
                  </a:lnTo>
                  <a:lnTo>
                    <a:pt x="40" y="160"/>
                  </a:lnTo>
                  <a:lnTo>
                    <a:pt x="38" y="157"/>
                  </a:lnTo>
                  <a:lnTo>
                    <a:pt x="38" y="148"/>
                  </a:lnTo>
                  <a:lnTo>
                    <a:pt x="45" y="142"/>
                  </a:lnTo>
                  <a:lnTo>
                    <a:pt x="48" y="138"/>
                  </a:lnTo>
                  <a:lnTo>
                    <a:pt x="57" y="137"/>
                  </a:lnTo>
                  <a:lnTo>
                    <a:pt x="60" y="133"/>
                  </a:lnTo>
                  <a:lnTo>
                    <a:pt x="65" y="133"/>
                  </a:lnTo>
                  <a:lnTo>
                    <a:pt x="67" y="130"/>
                  </a:lnTo>
                  <a:lnTo>
                    <a:pt x="69" y="130"/>
                  </a:lnTo>
                  <a:lnTo>
                    <a:pt x="77" y="135"/>
                  </a:lnTo>
                  <a:lnTo>
                    <a:pt x="81" y="137"/>
                  </a:lnTo>
                  <a:lnTo>
                    <a:pt x="87" y="140"/>
                  </a:lnTo>
                  <a:lnTo>
                    <a:pt x="93" y="147"/>
                  </a:lnTo>
                  <a:lnTo>
                    <a:pt x="98" y="150"/>
                  </a:lnTo>
                  <a:lnTo>
                    <a:pt x="104" y="152"/>
                  </a:lnTo>
                  <a:lnTo>
                    <a:pt x="108" y="157"/>
                  </a:lnTo>
                  <a:lnTo>
                    <a:pt x="106" y="160"/>
                  </a:lnTo>
                  <a:lnTo>
                    <a:pt x="111" y="162"/>
                  </a:lnTo>
                  <a:lnTo>
                    <a:pt x="118" y="171"/>
                  </a:lnTo>
                  <a:lnTo>
                    <a:pt x="123" y="174"/>
                  </a:lnTo>
                  <a:lnTo>
                    <a:pt x="123" y="171"/>
                  </a:lnTo>
                  <a:lnTo>
                    <a:pt x="128" y="167"/>
                  </a:lnTo>
                  <a:lnTo>
                    <a:pt x="134" y="172"/>
                  </a:lnTo>
                  <a:lnTo>
                    <a:pt x="139" y="171"/>
                  </a:lnTo>
                  <a:lnTo>
                    <a:pt x="140" y="177"/>
                  </a:lnTo>
                  <a:lnTo>
                    <a:pt x="149" y="177"/>
                  </a:lnTo>
                  <a:lnTo>
                    <a:pt x="154" y="176"/>
                  </a:lnTo>
                  <a:lnTo>
                    <a:pt x="161" y="177"/>
                  </a:lnTo>
                  <a:lnTo>
                    <a:pt x="163" y="179"/>
                  </a:lnTo>
                  <a:lnTo>
                    <a:pt x="163" y="184"/>
                  </a:lnTo>
                  <a:lnTo>
                    <a:pt x="171" y="186"/>
                  </a:lnTo>
                  <a:lnTo>
                    <a:pt x="174" y="186"/>
                  </a:lnTo>
                  <a:lnTo>
                    <a:pt x="176" y="184"/>
                  </a:lnTo>
                  <a:lnTo>
                    <a:pt x="181" y="184"/>
                  </a:lnTo>
                  <a:lnTo>
                    <a:pt x="185" y="183"/>
                  </a:lnTo>
                  <a:lnTo>
                    <a:pt x="190" y="176"/>
                  </a:lnTo>
                  <a:lnTo>
                    <a:pt x="188" y="169"/>
                  </a:lnTo>
                  <a:lnTo>
                    <a:pt x="192" y="164"/>
                  </a:lnTo>
                  <a:lnTo>
                    <a:pt x="198" y="160"/>
                  </a:lnTo>
                  <a:lnTo>
                    <a:pt x="205" y="160"/>
                  </a:lnTo>
                  <a:lnTo>
                    <a:pt x="214" y="157"/>
                  </a:lnTo>
                  <a:lnTo>
                    <a:pt x="217" y="157"/>
                  </a:lnTo>
                  <a:lnTo>
                    <a:pt x="226" y="160"/>
                  </a:lnTo>
                  <a:lnTo>
                    <a:pt x="227" y="159"/>
                  </a:lnTo>
                  <a:lnTo>
                    <a:pt x="233" y="150"/>
                  </a:lnTo>
                  <a:lnTo>
                    <a:pt x="241" y="147"/>
                  </a:lnTo>
                  <a:lnTo>
                    <a:pt x="243" y="140"/>
                  </a:lnTo>
                  <a:lnTo>
                    <a:pt x="253" y="135"/>
                  </a:lnTo>
                  <a:lnTo>
                    <a:pt x="256" y="128"/>
                  </a:lnTo>
                  <a:lnTo>
                    <a:pt x="260" y="130"/>
                  </a:lnTo>
                  <a:lnTo>
                    <a:pt x="263" y="126"/>
                  </a:lnTo>
                  <a:lnTo>
                    <a:pt x="265" y="123"/>
                  </a:lnTo>
                  <a:lnTo>
                    <a:pt x="263" y="121"/>
                  </a:lnTo>
                  <a:lnTo>
                    <a:pt x="270" y="113"/>
                  </a:lnTo>
                  <a:lnTo>
                    <a:pt x="275" y="113"/>
                  </a:lnTo>
                  <a:lnTo>
                    <a:pt x="279" y="102"/>
                  </a:lnTo>
                  <a:lnTo>
                    <a:pt x="282" y="92"/>
                  </a:lnTo>
                  <a:lnTo>
                    <a:pt x="280" y="84"/>
                  </a:lnTo>
                  <a:lnTo>
                    <a:pt x="284" y="78"/>
                  </a:lnTo>
                  <a:lnTo>
                    <a:pt x="282" y="73"/>
                  </a:lnTo>
                  <a:lnTo>
                    <a:pt x="287" y="70"/>
                  </a:lnTo>
                  <a:lnTo>
                    <a:pt x="287" y="65"/>
                  </a:lnTo>
                  <a:lnTo>
                    <a:pt x="285" y="65"/>
                  </a:lnTo>
                  <a:lnTo>
                    <a:pt x="285" y="61"/>
                  </a:lnTo>
                  <a:lnTo>
                    <a:pt x="294" y="58"/>
                  </a:lnTo>
                  <a:lnTo>
                    <a:pt x="294" y="56"/>
                  </a:lnTo>
                  <a:lnTo>
                    <a:pt x="297" y="56"/>
                  </a:lnTo>
                  <a:lnTo>
                    <a:pt x="303" y="51"/>
                  </a:lnTo>
                  <a:lnTo>
                    <a:pt x="296" y="44"/>
                  </a:lnTo>
                  <a:lnTo>
                    <a:pt x="294" y="43"/>
                  </a:lnTo>
                  <a:lnTo>
                    <a:pt x="297" y="37"/>
                  </a:lnTo>
                  <a:lnTo>
                    <a:pt x="299" y="37"/>
                  </a:lnTo>
                  <a:lnTo>
                    <a:pt x="309" y="36"/>
                  </a:lnTo>
                  <a:lnTo>
                    <a:pt x="314" y="37"/>
                  </a:lnTo>
                  <a:lnTo>
                    <a:pt x="316" y="37"/>
                  </a:lnTo>
                  <a:lnTo>
                    <a:pt x="316" y="34"/>
                  </a:lnTo>
                  <a:lnTo>
                    <a:pt x="320" y="31"/>
                  </a:lnTo>
                  <a:lnTo>
                    <a:pt x="318" y="24"/>
                  </a:lnTo>
                  <a:lnTo>
                    <a:pt x="320" y="17"/>
                  </a:lnTo>
                  <a:lnTo>
                    <a:pt x="323" y="19"/>
                  </a:lnTo>
                  <a:lnTo>
                    <a:pt x="326" y="17"/>
                  </a:lnTo>
                  <a:lnTo>
                    <a:pt x="328" y="20"/>
                  </a:lnTo>
                  <a:lnTo>
                    <a:pt x="333" y="22"/>
                  </a:lnTo>
                  <a:lnTo>
                    <a:pt x="335" y="19"/>
                  </a:lnTo>
                  <a:lnTo>
                    <a:pt x="342" y="12"/>
                  </a:lnTo>
                  <a:lnTo>
                    <a:pt x="347" y="8"/>
                  </a:lnTo>
                  <a:lnTo>
                    <a:pt x="349" y="10"/>
                  </a:lnTo>
                  <a:lnTo>
                    <a:pt x="352" y="19"/>
                  </a:lnTo>
                  <a:lnTo>
                    <a:pt x="354" y="25"/>
                  </a:lnTo>
                  <a:lnTo>
                    <a:pt x="355" y="25"/>
                  </a:lnTo>
                  <a:lnTo>
                    <a:pt x="357" y="24"/>
                  </a:lnTo>
                  <a:lnTo>
                    <a:pt x="361" y="17"/>
                  </a:lnTo>
                  <a:lnTo>
                    <a:pt x="369" y="14"/>
                  </a:lnTo>
                  <a:lnTo>
                    <a:pt x="374" y="10"/>
                  </a:lnTo>
                  <a:lnTo>
                    <a:pt x="383" y="8"/>
                  </a:lnTo>
                  <a:lnTo>
                    <a:pt x="388" y="0"/>
                  </a:lnTo>
                  <a:lnTo>
                    <a:pt x="393" y="0"/>
                  </a:lnTo>
                  <a:lnTo>
                    <a:pt x="400" y="2"/>
                  </a:lnTo>
                  <a:lnTo>
                    <a:pt x="408" y="3"/>
                  </a:lnTo>
                  <a:lnTo>
                    <a:pt x="415" y="0"/>
                  </a:lnTo>
                  <a:lnTo>
                    <a:pt x="425" y="0"/>
                  </a:lnTo>
                  <a:lnTo>
                    <a:pt x="427" y="0"/>
                  </a:lnTo>
                  <a:lnTo>
                    <a:pt x="434" y="7"/>
                  </a:lnTo>
                  <a:lnTo>
                    <a:pt x="439" y="8"/>
                  </a:lnTo>
                  <a:lnTo>
                    <a:pt x="448" y="12"/>
                  </a:lnTo>
                  <a:lnTo>
                    <a:pt x="453" y="10"/>
                  </a:lnTo>
                  <a:lnTo>
                    <a:pt x="456" y="15"/>
                  </a:lnTo>
                  <a:lnTo>
                    <a:pt x="460" y="19"/>
                  </a:lnTo>
                  <a:lnTo>
                    <a:pt x="461" y="24"/>
                  </a:lnTo>
                  <a:lnTo>
                    <a:pt x="465" y="24"/>
                  </a:lnTo>
                  <a:lnTo>
                    <a:pt x="466" y="31"/>
                  </a:lnTo>
                  <a:lnTo>
                    <a:pt x="468" y="32"/>
                  </a:lnTo>
                  <a:lnTo>
                    <a:pt x="477" y="32"/>
                  </a:lnTo>
                  <a:lnTo>
                    <a:pt x="483" y="25"/>
                  </a:lnTo>
                  <a:lnTo>
                    <a:pt x="489" y="24"/>
                  </a:lnTo>
                  <a:lnTo>
                    <a:pt x="490" y="25"/>
                  </a:lnTo>
                  <a:lnTo>
                    <a:pt x="494" y="20"/>
                  </a:lnTo>
                  <a:lnTo>
                    <a:pt x="497" y="20"/>
                  </a:lnTo>
                  <a:close/>
                </a:path>
              </a:pathLst>
            </a:custGeom>
            <a:grpFill/>
            <a:ln w="6350">
              <a:noFill/>
            </a:ln>
          </p:spPr>
          <p:txBody>
            <a:bodyPr vert="horz" wrap="square" lIns="91440" tIns="45720" rIns="91440" bIns="45720" numCol="1" anchor="t" anchorCtr="0" compatLnSpc="1"/>
            <a:lstStyle/>
            <a:p>
              <a:pPr fontAlgn="auto">
                <a:spcBef>
                  <a:spcPts val="0"/>
                </a:spcBef>
                <a:spcAft>
                  <a:spcPts val="0"/>
                </a:spcAft>
              </a:pPr>
              <a:endParaRPr lang="en-US" sz="1800" kern="0">
                <a:solidFill>
                  <a:srgbClr val="000000"/>
                </a:solidFill>
              </a:endParaRPr>
            </a:p>
          </p:txBody>
        </p:sp>
        <p:sp>
          <p:nvSpPr>
            <p:cNvPr id="37" name="Freeform 54"/>
            <p:cNvSpPr>
              <a:spLocks noEditPoints="1"/>
            </p:cNvSpPr>
            <p:nvPr/>
          </p:nvSpPr>
          <p:spPr bwMode="gray">
            <a:xfrm>
              <a:off x="6594003" y="2926684"/>
              <a:ext cx="523540" cy="162353"/>
            </a:xfrm>
            <a:custGeom>
              <a:avLst/>
              <a:gdLst>
                <a:gd name="T0" fmla="*/ 63 w 287"/>
                <a:gd name="T1" fmla="*/ 67 h 89"/>
                <a:gd name="T2" fmla="*/ 208 w 287"/>
                <a:gd name="T3" fmla="*/ 24 h 89"/>
                <a:gd name="T4" fmla="*/ 193 w 287"/>
                <a:gd name="T5" fmla="*/ 17 h 89"/>
                <a:gd name="T6" fmla="*/ 193 w 287"/>
                <a:gd name="T7" fmla="*/ 17 h 89"/>
                <a:gd name="T8" fmla="*/ 246 w 287"/>
                <a:gd name="T9" fmla="*/ 22 h 89"/>
                <a:gd name="T10" fmla="*/ 249 w 287"/>
                <a:gd name="T11" fmla="*/ 39 h 89"/>
                <a:gd name="T12" fmla="*/ 273 w 287"/>
                <a:gd name="T13" fmla="*/ 48 h 89"/>
                <a:gd name="T14" fmla="*/ 283 w 287"/>
                <a:gd name="T15" fmla="*/ 62 h 89"/>
                <a:gd name="T16" fmla="*/ 287 w 287"/>
                <a:gd name="T17" fmla="*/ 73 h 89"/>
                <a:gd name="T18" fmla="*/ 270 w 287"/>
                <a:gd name="T19" fmla="*/ 89 h 89"/>
                <a:gd name="T20" fmla="*/ 244 w 287"/>
                <a:gd name="T21" fmla="*/ 79 h 89"/>
                <a:gd name="T22" fmla="*/ 229 w 287"/>
                <a:gd name="T23" fmla="*/ 63 h 89"/>
                <a:gd name="T24" fmla="*/ 206 w 287"/>
                <a:gd name="T25" fmla="*/ 67 h 89"/>
                <a:gd name="T26" fmla="*/ 193 w 287"/>
                <a:gd name="T27" fmla="*/ 68 h 89"/>
                <a:gd name="T28" fmla="*/ 179 w 287"/>
                <a:gd name="T29" fmla="*/ 67 h 89"/>
                <a:gd name="T30" fmla="*/ 172 w 287"/>
                <a:gd name="T31" fmla="*/ 65 h 89"/>
                <a:gd name="T32" fmla="*/ 167 w 287"/>
                <a:gd name="T33" fmla="*/ 63 h 89"/>
                <a:gd name="T34" fmla="*/ 164 w 287"/>
                <a:gd name="T35" fmla="*/ 67 h 89"/>
                <a:gd name="T36" fmla="*/ 162 w 287"/>
                <a:gd name="T37" fmla="*/ 63 h 89"/>
                <a:gd name="T38" fmla="*/ 150 w 287"/>
                <a:gd name="T39" fmla="*/ 65 h 89"/>
                <a:gd name="T40" fmla="*/ 143 w 287"/>
                <a:gd name="T41" fmla="*/ 67 h 89"/>
                <a:gd name="T42" fmla="*/ 138 w 287"/>
                <a:gd name="T43" fmla="*/ 65 h 89"/>
                <a:gd name="T44" fmla="*/ 135 w 287"/>
                <a:gd name="T45" fmla="*/ 68 h 89"/>
                <a:gd name="T46" fmla="*/ 114 w 287"/>
                <a:gd name="T47" fmla="*/ 67 h 89"/>
                <a:gd name="T48" fmla="*/ 94 w 287"/>
                <a:gd name="T49" fmla="*/ 72 h 89"/>
                <a:gd name="T50" fmla="*/ 68 w 287"/>
                <a:gd name="T51" fmla="*/ 65 h 89"/>
                <a:gd name="T52" fmla="*/ 56 w 287"/>
                <a:gd name="T53" fmla="*/ 60 h 89"/>
                <a:gd name="T54" fmla="*/ 54 w 287"/>
                <a:gd name="T55" fmla="*/ 60 h 89"/>
                <a:gd name="T56" fmla="*/ 49 w 287"/>
                <a:gd name="T57" fmla="*/ 62 h 89"/>
                <a:gd name="T58" fmla="*/ 39 w 287"/>
                <a:gd name="T59" fmla="*/ 68 h 89"/>
                <a:gd name="T60" fmla="*/ 31 w 287"/>
                <a:gd name="T61" fmla="*/ 67 h 89"/>
                <a:gd name="T62" fmla="*/ 24 w 287"/>
                <a:gd name="T63" fmla="*/ 67 h 89"/>
                <a:gd name="T64" fmla="*/ 17 w 287"/>
                <a:gd name="T65" fmla="*/ 56 h 89"/>
                <a:gd name="T66" fmla="*/ 0 w 287"/>
                <a:gd name="T67" fmla="*/ 44 h 89"/>
                <a:gd name="T68" fmla="*/ 7 w 287"/>
                <a:gd name="T69" fmla="*/ 31 h 89"/>
                <a:gd name="T70" fmla="*/ 24 w 287"/>
                <a:gd name="T71" fmla="*/ 29 h 89"/>
                <a:gd name="T72" fmla="*/ 36 w 287"/>
                <a:gd name="T73" fmla="*/ 24 h 89"/>
                <a:gd name="T74" fmla="*/ 53 w 287"/>
                <a:gd name="T75" fmla="*/ 21 h 89"/>
                <a:gd name="T76" fmla="*/ 77 w 287"/>
                <a:gd name="T77" fmla="*/ 12 h 89"/>
                <a:gd name="T78" fmla="*/ 90 w 287"/>
                <a:gd name="T79" fmla="*/ 14 h 89"/>
                <a:gd name="T80" fmla="*/ 101 w 287"/>
                <a:gd name="T81" fmla="*/ 12 h 89"/>
                <a:gd name="T82" fmla="*/ 121 w 287"/>
                <a:gd name="T83" fmla="*/ 2 h 89"/>
                <a:gd name="T84" fmla="*/ 128 w 287"/>
                <a:gd name="T85" fmla="*/ 7 h 89"/>
                <a:gd name="T86" fmla="*/ 143 w 287"/>
                <a:gd name="T87" fmla="*/ 7 h 89"/>
                <a:gd name="T88" fmla="*/ 153 w 287"/>
                <a:gd name="T89" fmla="*/ 3 h 89"/>
                <a:gd name="T90" fmla="*/ 174 w 287"/>
                <a:gd name="T91" fmla="*/ 12 h 89"/>
                <a:gd name="T92" fmla="*/ 182 w 287"/>
                <a:gd name="T93" fmla="*/ 19 h 89"/>
                <a:gd name="T94" fmla="*/ 193 w 287"/>
                <a:gd name="T95" fmla="*/ 22 h 89"/>
                <a:gd name="T96" fmla="*/ 196 w 287"/>
                <a:gd name="T97" fmla="*/ 26 h 89"/>
                <a:gd name="T98" fmla="*/ 211 w 287"/>
                <a:gd name="T99" fmla="*/ 22 h 89"/>
                <a:gd name="T100" fmla="*/ 213 w 287"/>
                <a:gd name="T101" fmla="*/ 14 h 89"/>
                <a:gd name="T102" fmla="*/ 220 w 287"/>
                <a:gd name="T103" fmla="*/ 12 h 89"/>
                <a:gd name="T104" fmla="*/ 230 w 287"/>
                <a:gd name="T105"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7" h="89">
                  <a:moveTo>
                    <a:pt x="63" y="65"/>
                  </a:moveTo>
                  <a:lnTo>
                    <a:pt x="65" y="65"/>
                  </a:lnTo>
                  <a:lnTo>
                    <a:pt x="65" y="67"/>
                  </a:lnTo>
                  <a:lnTo>
                    <a:pt x="63" y="67"/>
                  </a:lnTo>
                  <a:lnTo>
                    <a:pt x="63" y="65"/>
                  </a:lnTo>
                  <a:close/>
                  <a:moveTo>
                    <a:pt x="203" y="17"/>
                  </a:moveTo>
                  <a:lnTo>
                    <a:pt x="208" y="19"/>
                  </a:lnTo>
                  <a:lnTo>
                    <a:pt x="208" y="24"/>
                  </a:lnTo>
                  <a:lnTo>
                    <a:pt x="206" y="22"/>
                  </a:lnTo>
                  <a:lnTo>
                    <a:pt x="206" y="19"/>
                  </a:lnTo>
                  <a:lnTo>
                    <a:pt x="203" y="17"/>
                  </a:lnTo>
                  <a:close/>
                  <a:moveTo>
                    <a:pt x="193" y="17"/>
                  </a:moveTo>
                  <a:lnTo>
                    <a:pt x="198" y="19"/>
                  </a:lnTo>
                  <a:lnTo>
                    <a:pt x="198" y="21"/>
                  </a:lnTo>
                  <a:lnTo>
                    <a:pt x="191" y="17"/>
                  </a:lnTo>
                  <a:lnTo>
                    <a:pt x="193" y="17"/>
                  </a:lnTo>
                  <a:close/>
                  <a:moveTo>
                    <a:pt x="234" y="15"/>
                  </a:moveTo>
                  <a:lnTo>
                    <a:pt x="235" y="19"/>
                  </a:lnTo>
                  <a:lnTo>
                    <a:pt x="239" y="21"/>
                  </a:lnTo>
                  <a:lnTo>
                    <a:pt x="246" y="22"/>
                  </a:lnTo>
                  <a:lnTo>
                    <a:pt x="252" y="29"/>
                  </a:lnTo>
                  <a:lnTo>
                    <a:pt x="252" y="31"/>
                  </a:lnTo>
                  <a:lnTo>
                    <a:pt x="251" y="34"/>
                  </a:lnTo>
                  <a:lnTo>
                    <a:pt x="249" y="39"/>
                  </a:lnTo>
                  <a:lnTo>
                    <a:pt x="252" y="41"/>
                  </a:lnTo>
                  <a:lnTo>
                    <a:pt x="259" y="41"/>
                  </a:lnTo>
                  <a:lnTo>
                    <a:pt x="266" y="50"/>
                  </a:lnTo>
                  <a:lnTo>
                    <a:pt x="273" y="48"/>
                  </a:lnTo>
                  <a:lnTo>
                    <a:pt x="278" y="50"/>
                  </a:lnTo>
                  <a:lnTo>
                    <a:pt x="280" y="53"/>
                  </a:lnTo>
                  <a:lnTo>
                    <a:pt x="283" y="56"/>
                  </a:lnTo>
                  <a:lnTo>
                    <a:pt x="283" y="62"/>
                  </a:lnTo>
                  <a:lnTo>
                    <a:pt x="287" y="65"/>
                  </a:lnTo>
                  <a:lnTo>
                    <a:pt x="283" y="67"/>
                  </a:lnTo>
                  <a:lnTo>
                    <a:pt x="283" y="70"/>
                  </a:lnTo>
                  <a:lnTo>
                    <a:pt x="287" y="73"/>
                  </a:lnTo>
                  <a:lnTo>
                    <a:pt x="280" y="80"/>
                  </a:lnTo>
                  <a:lnTo>
                    <a:pt x="278" y="87"/>
                  </a:lnTo>
                  <a:lnTo>
                    <a:pt x="275" y="85"/>
                  </a:lnTo>
                  <a:lnTo>
                    <a:pt x="270" y="89"/>
                  </a:lnTo>
                  <a:lnTo>
                    <a:pt x="261" y="89"/>
                  </a:lnTo>
                  <a:lnTo>
                    <a:pt x="252" y="87"/>
                  </a:lnTo>
                  <a:lnTo>
                    <a:pt x="247" y="84"/>
                  </a:lnTo>
                  <a:lnTo>
                    <a:pt x="244" y="79"/>
                  </a:lnTo>
                  <a:lnTo>
                    <a:pt x="239" y="77"/>
                  </a:lnTo>
                  <a:lnTo>
                    <a:pt x="234" y="70"/>
                  </a:lnTo>
                  <a:lnTo>
                    <a:pt x="229" y="65"/>
                  </a:lnTo>
                  <a:lnTo>
                    <a:pt x="229" y="63"/>
                  </a:lnTo>
                  <a:lnTo>
                    <a:pt x="225" y="67"/>
                  </a:lnTo>
                  <a:lnTo>
                    <a:pt x="218" y="67"/>
                  </a:lnTo>
                  <a:lnTo>
                    <a:pt x="215" y="67"/>
                  </a:lnTo>
                  <a:lnTo>
                    <a:pt x="206" y="67"/>
                  </a:lnTo>
                  <a:lnTo>
                    <a:pt x="200" y="67"/>
                  </a:lnTo>
                  <a:lnTo>
                    <a:pt x="198" y="67"/>
                  </a:lnTo>
                  <a:lnTo>
                    <a:pt x="194" y="67"/>
                  </a:lnTo>
                  <a:lnTo>
                    <a:pt x="193" y="68"/>
                  </a:lnTo>
                  <a:lnTo>
                    <a:pt x="184" y="68"/>
                  </a:lnTo>
                  <a:lnTo>
                    <a:pt x="182" y="65"/>
                  </a:lnTo>
                  <a:lnTo>
                    <a:pt x="177" y="63"/>
                  </a:lnTo>
                  <a:lnTo>
                    <a:pt x="179" y="67"/>
                  </a:lnTo>
                  <a:lnTo>
                    <a:pt x="177" y="68"/>
                  </a:lnTo>
                  <a:lnTo>
                    <a:pt x="174" y="67"/>
                  </a:lnTo>
                  <a:lnTo>
                    <a:pt x="172" y="67"/>
                  </a:lnTo>
                  <a:lnTo>
                    <a:pt x="172" y="65"/>
                  </a:lnTo>
                  <a:lnTo>
                    <a:pt x="171" y="65"/>
                  </a:lnTo>
                  <a:lnTo>
                    <a:pt x="172" y="65"/>
                  </a:lnTo>
                  <a:lnTo>
                    <a:pt x="171" y="67"/>
                  </a:lnTo>
                  <a:lnTo>
                    <a:pt x="167" y="63"/>
                  </a:lnTo>
                  <a:lnTo>
                    <a:pt x="167" y="67"/>
                  </a:lnTo>
                  <a:lnTo>
                    <a:pt x="165" y="67"/>
                  </a:lnTo>
                  <a:lnTo>
                    <a:pt x="165" y="65"/>
                  </a:lnTo>
                  <a:lnTo>
                    <a:pt x="164" y="67"/>
                  </a:lnTo>
                  <a:lnTo>
                    <a:pt x="164" y="65"/>
                  </a:lnTo>
                  <a:lnTo>
                    <a:pt x="162" y="65"/>
                  </a:lnTo>
                  <a:lnTo>
                    <a:pt x="162" y="67"/>
                  </a:lnTo>
                  <a:lnTo>
                    <a:pt x="162" y="63"/>
                  </a:lnTo>
                  <a:lnTo>
                    <a:pt x="157" y="65"/>
                  </a:lnTo>
                  <a:lnTo>
                    <a:pt x="153" y="63"/>
                  </a:lnTo>
                  <a:lnTo>
                    <a:pt x="153" y="65"/>
                  </a:lnTo>
                  <a:lnTo>
                    <a:pt x="150" y="65"/>
                  </a:lnTo>
                  <a:lnTo>
                    <a:pt x="148" y="63"/>
                  </a:lnTo>
                  <a:lnTo>
                    <a:pt x="145" y="65"/>
                  </a:lnTo>
                  <a:lnTo>
                    <a:pt x="143" y="65"/>
                  </a:lnTo>
                  <a:lnTo>
                    <a:pt x="143" y="67"/>
                  </a:lnTo>
                  <a:lnTo>
                    <a:pt x="141" y="67"/>
                  </a:lnTo>
                  <a:lnTo>
                    <a:pt x="140" y="65"/>
                  </a:lnTo>
                  <a:lnTo>
                    <a:pt x="140" y="67"/>
                  </a:lnTo>
                  <a:lnTo>
                    <a:pt x="138" y="65"/>
                  </a:lnTo>
                  <a:lnTo>
                    <a:pt x="138" y="67"/>
                  </a:lnTo>
                  <a:lnTo>
                    <a:pt x="135" y="67"/>
                  </a:lnTo>
                  <a:lnTo>
                    <a:pt x="136" y="68"/>
                  </a:lnTo>
                  <a:lnTo>
                    <a:pt x="135" y="68"/>
                  </a:lnTo>
                  <a:lnTo>
                    <a:pt x="128" y="67"/>
                  </a:lnTo>
                  <a:lnTo>
                    <a:pt x="119" y="70"/>
                  </a:lnTo>
                  <a:lnTo>
                    <a:pt x="118" y="68"/>
                  </a:lnTo>
                  <a:lnTo>
                    <a:pt x="114" y="67"/>
                  </a:lnTo>
                  <a:lnTo>
                    <a:pt x="107" y="68"/>
                  </a:lnTo>
                  <a:lnTo>
                    <a:pt x="99" y="72"/>
                  </a:lnTo>
                  <a:lnTo>
                    <a:pt x="97" y="70"/>
                  </a:lnTo>
                  <a:lnTo>
                    <a:pt x="94" y="72"/>
                  </a:lnTo>
                  <a:lnTo>
                    <a:pt x="83" y="72"/>
                  </a:lnTo>
                  <a:lnTo>
                    <a:pt x="77" y="77"/>
                  </a:lnTo>
                  <a:lnTo>
                    <a:pt x="71" y="72"/>
                  </a:lnTo>
                  <a:lnTo>
                    <a:pt x="68" y="65"/>
                  </a:lnTo>
                  <a:lnTo>
                    <a:pt x="66" y="65"/>
                  </a:lnTo>
                  <a:lnTo>
                    <a:pt x="66" y="63"/>
                  </a:lnTo>
                  <a:lnTo>
                    <a:pt x="63" y="63"/>
                  </a:lnTo>
                  <a:lnTo>
                    <a:pt x="56" y="60"/>
                  </a:lnTo>
                  <a:lnTo>
                    <a:pt x="58" y="63"/>
                  </a:lnTo>
                  <a:lnTo>
                    <a:pt x="56" y="62"/>
                  </a:lnTo>
                  <a:lnTo>
                    <a:pt x="54" y="63"/>
                  </a:lnTo>
                  <a:lnTo>
                    <a:pt x="54" y="60"/>
                  </a:lnTo>
                  <a:lnTo>
                    <a:pt x="53" y="62"/>
                  </a:lnTo>
                  <a:lnTo>
                    <a:pt x="53" y="60"/>
                  </a:lnTo>
                  <a:lnTo>
                    <a:pt x="53" y="62"/>
                  </a:lnTo>
                  <a:lnTo>
                    <a:pt x="49" y="62"/>
                  </a:lnTo>
                  <a:lnTo>
                    <a:pt x="44" y="60"/>
                  </a:lnTo>
                  <a:lnTo>
                    <a:pt x="42" y="62"/>
                  </a:lnTo>
                  <a:lnTo>
                    <a:pt x="42" y="67"/>
                  </a:lnTo>
                  <a:lnTo>
                    <a:pt x="39" y="68"/>
                  </a:lnTo>
                  <a:lnTo>
                    <a:pt x="37" y="68"/>
                  </a:lnTo>
                  <a:lnTo>
                    <a:pt x="34" y="70"/>
                  </a:lnTo>
                  <a:lnTo>
                    <a:pt x="34" y="65"/>
                  </a:lnTo>
                  <a:lnTo>
                    <a:pt x="31" y="67"/>
                  </a:lnTo>
                  <a:lnTo>
                    <a:pt x="31" y="68"/>
                  </a:lnTo>
                  <a:lnTo>
                    <a:pt x="29" y="67"/>
                  </a:lnTo>
                  <a:lnTo>
                    <a:pt x="20" y="68"/>
                  </a:lnTo>
                  <a:lnTo>
                    <a:pt x="24" y="67"/>
                  </a:lnTo>
                  <a:lnTo>
                    <a:pt x="20" y="65"/>
                  </a:lnTo>
                  <a:lnTo>
                    <a:pt x="22" y="62"/>
                  </a:lnTo>
                  <a:lnTo>
                    <a:pt x="22" y="56"/>
                  </a:lnTo>
                  <a:lnTo>
                    <a:pt x="17" y="56"/>
                  </a:lnTo>
                  <a:lnTo>
                    <a:pt x="10" y="53"/>
                  </a:lnTo>
                  <a:lnTo>
                    <a:pt x="8" y="48"/>
                  </a:lnTo>
                  <a:lnTo>
                    <a:pt x="5" y="48"/>
                  </a:lnTo>
                  <a:lnTo>
                    <a:pt x="0" y="44"/>
                  </a:lnTo>
                  <a:lnTo>
                    <a:pt x="3" y="39"/>
                  </a:lnTo>
                  <a:lnTo>
                    <a:pt x="3" y="34"/>
                  </a:lnTo>
                  <a:lnTo>
                    <a:pt x="7" y="32"/>
                  </a:lnTo>
                  <a:lnTo>
                    <a:pt x="7" y="31"/>
                  </a:lnTo>
                  <a:lnTo>
                    <a:pt x="10" y="29"/>
                  </a:lnTo>
                  <a:lnTo>
                    <a:pt x="19" y="31"/>
                  </a:lnTo>
                  <a:lnTo>
                    <a:pt x="22" y="31"/>
                  </a:lnTo>
                  <a:lnTo>
                    <a:pt x="24" y="29"/>
                  </a:lnTo>
                  <a:lnTo>
                    <a:pt x="22" y="24"/>
                  </a:lnTo>
                  <a:lnTo>
                    <a:pt x="27" y="22"/>
                  </a:lnTo>
                  <a:lnTo>
                    <a:pt x="29" y="24"/>
                  </a:lnTo>
                  <a:lnTo>
                    <a:pt x="36" y="24"/>
                  </a:lnTo>
                  <a:lnTo>
                    <a:pt x="41" y="26"/>
                  </a:lnTo>
                  <a:lnTo>
                    <a:pt x="44" y="24"/>
                  </a:lnTo>
                  <a:lnTo>
                    <a:pt x="46" y="21"/>
                  </a:lnTo>
                  <a:lnTo>
                    <a:pt x="53" y="21"/>
                  </a:lnTo>
                  <a:lnTo>
                    <a:pt x="54" y="19"/>
                  </a:lnTo>
                  <a:lnTo>
                    <a:pt x="65" y="17"/>
                  </a:lnTo>
                  <a:lnTo>
                    <a:pt x="66" y="15"/>
                  </a:lnTo>
                  <a:lnTo>
                    <a:pt x="77" y="12"/>
                  </a:lnTo>
                  <a:lnTo>
                    <a:pt x="78" y="12"/>
                  </a:lnTo>
                  <a:lnTo>
                    <a:pt x="85" y="7"/>
                  </a:lnTo>
                  <a:lnTo>
                    <a:pt x="89" y="10"/>
                  </a:lnTo>
                  <a:lnTo>
                    <a:pt x="90" y="14"/>
                  </a:lnTo>
                  <a:lnTo>
                    <a:pt x="92" y="14"/>
                  </a:lnTo>
                  <a:lnTo>
                    <a:pt x="95" y="17"/>
                  </a:lnTo>
                  <a:lnTo>
                    <a:pt x="99" y="17"/>
                  </a:lnTo>
                  <a:lnTo>
                    <a:pt x="101" y="12"/>
                  </a:lnTo>
                  <a:lnTo>
                    <a:pt x="104" y="12"/>
                  </a:lnTo>
                  <a:lnTo>
                    <a:pt x="107" y="7"/>
                  </a:lnTo>
                  <a:lnTo>
                    <a:pt x="111" y="5"/>
                  </a:lnTo>
                  <a:lnTo>
                    <a:pt x="121" y="2"/>
                  </a:lnTo>
                  <a:lnTo>
                    <a:pt x="123" y="2"/>
                  </a:lnTo>
                  <a:lnTo>
                    <a:pt x="124" y="2"/>
                  </a:lnTo>
                  <a:lnTo>
                    <a:pt x="128" y="3"/>
                  </a:lnTo>
                  <a:lnTo>
                    <a:pt x="128" y="7"/>
                  </a:lnTo>
                  <a:lnTo>
                    <a:pt x="130" y="5"/>
                  </a:lnTo>
                  <a:lnTo>
                    <a:pt x="138" y="5"/>
                  </a:lnTo>
                  <a:lnTo>
                    <a:pt x="140" y="0"/>
                  </a:lnTo>
                  <a:lnTo>
                    <a:pt x="143" y="7"/>
                  </a:lnTo>
                  <a:lnTo>
                    <a:pt x="148" y="3"/>
                  </a:lnTo>
                  <a:lnTo>
                    <a:pt x="150" y="7"/>
                  </a:lnTo>
                  <a:lnTo>
                    <a:pt x="153" y="5"/>
                  </a:lnTo>
                  <a:lnTo>
                    <a:pt x="153" y="3"/>
                  </a:lnTo>
                  <a:lnTo>
                    <a:pt x="155" y="2"/>
                  </a:lnTo>
                  <a:lnTo>
                    <a:pt x="160" y="7"/>
                  </a:lnTo>
                  <a:lnTo>
                    <a:pt x="167" y="9"/>
                  </a:lnTo>
                  <a:lnTo>
                    <a:pt x="174" y="12"/>
                  </a:lnTo>
                  <a:lnTo>
                    <a:pt x="176" y="10"/>
                  </a:lnTo>
                  <a:lnTo>
                    <a:pt x="177" y="12"/>
                  </a:lnTo>
                  <a:lnTo>
                    <a:pt x="179" y="12"/>
                  </a:lnTo>
                  <a:lnTo>
                    <a:pt x="182" y="19"/>
                  </a:lnTo>
                  <a:lnTo>
                    <a:pt x="188" y="19"/>
                  </a:lnTo>
                  <a:lnTo>
                    <a:pt x="186" y="22"/>
                  </a:lnTo>
                  <a:lnTo>
                    <a:pt x="189" y="21"/>
                  </a:lnTo>
                  <a:lnTo>
                    <a:pt x="193" y="22"/>
                  </a:lnTo>
                  <a:lnTo>
                    <a:pt x="193" y="21"/>
                  </a:lnTo>
                  <a:lnTo>
                    <a:pt x="196" y="24"/>
                  </a:lnTo>
                  <a:lnTo>
                    <a:pt x="194" y="24"/>
                  </a:lnTo>
                  <a:lnTo>
                    <a:pt x="196" y="26"/>
                  </a:lnTo>
                  <a:lnTo>
                    <a:pt x="200" y="26"/>
                  </a:lnTo>
                  <a:lnTo>
                    <a:pt x="201" y="29"/>
                  </a:lnTo>
                  <a:lnTo>
                    <a:pt x="203" y="26"/>
                  </a:lnTo>
                  <a:lnTo>
                    <a:pt x="211" y="22"/>
                  </a:lnTo>
                  <a:lnTo>
                    <a:pt x="215" y="19"/>
                  </a:lnTo>
                  <a:lnTo>
                    <a:pt x="215" y="15"/>
                  </a:lnTo>
                  <a:lnTo>
                    <a:pt x="217" y="14"/>
                  </a:lnTo>
                  <a:lnTo>
                    <a:pt x="213" y="14"/>
                  </a:lnTo>
                  <a:lnTo>
                    <a:pt x="213" y="10"/>
                  </a:lnTo>
                  <a:lnTo>
                    <a:pt x="218" y="10"/>
                  </a:lnTo>
                  <a:lnTo>
                    <a:pt x="220" y="10"/>
                  </a:lnTo>
                  <a:lnTo>
                    <a:pt x="220" y="12"/>
                  </a:lnTo>
                  <a:lnTo>
                    <a:pt x="223" y="14"/>
                  </a:lnTo>
                  <a:lnTo>
                    <a:pt x="225" y="14"/>
                  </a:lnTo>
                  <a:lnTo>
                    <a:pt x="229" y="15"/>
                  </a:lnTo>
                  <a:lnTo>
                    <a:pt x="230" y="14"/>
                  </a:lnTo>
                  <a:lnTo>
                    <a:pt x="230" y="17"/>
                  </a:lnTo>
                  <a:lnTo>
                    <a:pt x="232" y="14"/>
                  </a:lnTo>
                  <a:lnTo>
                    <a:pt x="234" y="1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38" name="Freeform 55"/>
            <p:cNvSpPr>
              <a:spLocks noEditPoints="1"/>
            </p:cNvSpPr>
            <p:nvPr/>
          </p:nvSpPr>
          <p:spPr bwMode="gray">
            <a:xfrm>
              <a:off x="7020862" y="2111275"/>
              <a:ext cx="877432" cy="981410"/>
            </a:xfrm>
            <a:custGeom>
              <a:avLst/>
              <a:gdLst>
                <a:gd name="T0" fmla="*/ 252 w 481"/>
                <a:gd name="T1" fmla="*/ 404 h 538"/>
                <a:gd name="T2" fmla="*/ 254 w 481"/>
                <a:gd name="T3" fmla="*/ 398 h 538"/>
                <a:gd name="T4" fmla="*/ 194 w 481"/>
                <a:gd name="T5" fmla="*/ 377 h 538"/>
                <a:gd name="T6" fmla="*/ 46 w 481"/>
                <a:gd name="T7" fmla="*/ 527 h 538"/>
                <a:gd name="T8" fmla="*/ 44 w 481"/>
                <a:gd name="T9" fmla="*/ 497 h 538"/>
                <a:gd name="T10" fmla="*/ 18 w 481"/>
                <a:gd name="T11" fmla="*/ 476 h 538"/>
                <a:gd name="T12" fmla="*/ 12 w 481"/>
                <a:gd name="T13" fmla="*/ 461 h 538"/>
                <a:gd name="T14" fmla="*/ 30 w 481"/>
                <a:gd name="T15" fmla="*/ 462 h 538"/>
                <a:gd name="T16" fmla="*/ 68 w 481"/>
                <a:gd name="T17" fmla="*/ 468 h 538"/>
                <a:gd name="T18" fmla="*/ 83 w 481"/>
                <a:gd name="T19" fmla="*/ 473 h 538"/>
                <a:gd name="T20" fmla="*/ 104 w 481"/>
                <a:gd name="T21" fmla="*/ 468 h 538"/>
                <a:gd name="T22" fmla="*/ 146 w 481"/>
                <a:gd name="T23" fmla="*/ 440 h 538"/>
                <a:gd name="T24" fmla="*/ 169 w 481"/>
                <a:gd name="T25" fmla="*/ 427 h 538"/>
                <a:gd name="T26" fmla="*/ 170 w 481"/>
                <a:gd name="T27" fmla="*/ 411 h 538"/>
                <a:gd name="T28" fmla="*/ 203 w 481"/>
                <a:gd name="T29" fmla="*/ 386 h 538"/>
                <a:gd name="T30" fmla="*/ 223 w 481"/>
                <a:gd name="T31" fmla="*/ 367 h 538"/>
                <a:gd name="T32" fmla="*/ 242 w 481"/>
                <a:gd name="T33" fmla="*/ 370 h 538"/>
                <a:gd name="T34" fmla="*/ 240 w 481"/>
                <a:gd name="T35" fmla="*/ 401 h 538"/>
                <a:gd name="T36" fmla="*/ 213 w 481"/>
                <a:gd name="T37" fmla="*/ 452 h 538"/>
                <a:gd name="T38" fmla="*/ 186 w 481"/>
                <a:gd name="T39" fmla="*/ 473 h 538"/>
                <a:gd name="T40" fmla="*/ 170 w 481"/>
                <a:gd name="T41" fmla="*/ 498 h 538"/>
                <a:gd name="T42" fmla="*/ 165 w 481"/>
                <a:gd name="T43" fmla="*/ 514 h 538"/>
                <a:gd name="T44" fmla="*/ 146 w 481"/>
                <a:gd name="T45" fmla="*/ 520 h 538"/>
                <a:gd name="T46" fmla="*/ 131 w 481"/>
                <a:gd name="T47" fmla="*/ 526 h 538"/>
                <a:gd name="T48" fmla="*/ 100 w 481"/>
                <a:gd name="T49" fmla="*/ 529 h 538"/>
                <a:gd name="T50" fmla="*/ 65 w 481"/>
                <a:gd name="T51" fmla="*/ 536 h 538"/>
                <a:gd name="T52" fmla="*/ 193 w 481"/>
                <a:gd name="T53" fmla="*/ 365 h 538"/>
                <a:gd name="T54" fmla="*/ 199 w 481"/>
                <a:gd name="T55" fmla="*/ 358 h 538"/>
                <a:gd name="T56" fmla="*/ 247 w 481"/>
                <a:gd name="T57" fmla="*/ 360 h 538"/>
                <a:gd name="T58" fmla="*/ 244 w 481"/>
                <a:gd name="T59" fmla="*/ 353 h 538"/>
                <a:gd name="T60" fmla="*/ 275 w 481"/>
                <a:gd name="T61" fmla="*/ 321 h 538"/>
                <a:gd name="T62" fmla="*/ 273 w 481"/>
                <a:gd name="T63" fmla="*/ 319 h 538"/>
                <a:gd name="T64" fmla="*/ 275 w 481"/>
                <a:gd name="T65" fmla="*/ 288 h 538"/>
                <a:gd name="T66" fmla="*/ 281 w 481"/>
                <a:gd name="T67" fmla="*/ 252 h 538"/>
                <a:gd name="T68" fmla="*/ 247 w 481"/>
                <a:gd name="T69" fmla="*/ 245 h 538"/>
                <a:gd name="T70" fmla="*/ 276 w 481"/>
                <a:gd name="T71" fmla="*/ 256 h 538"/>
                <a:gd name="T72" fmla="*/ 285 w 481"/>
                <a:gd name="T73" fmla="*/ 203 h 538"/>
                <a:gd name="T74" fmla="*/ 285 w 481"/>
                <a:gd name="T75" fmla="*/ 193 h 538"/>
                <a:gd name="T76" fmla="*/ 278 w 481"/>
                <a:gd name="T77" fmla="*/ 182 h 538"/>
                <a:gd name="T78" fmla="*/ 310 w 481"/>
                <a:gd name="T79" fmla="*/ 158 h 538"/>
                <a:gd name="T80" fmla="*/ 295 w 481"/>
                <a:gd name="T81" fmla="*/ 140 h 538"/>
                <a:gd name="T82" fmla="*/ 302 w 481"/>
                <a:gd name="T83" fmla="*/ 153 h 538"/>
                <a:gd name="T84" fmla="*/ 300 w 481"/>
                <a:gd name="T85" fmla="*/ 167 h 538"/>
                <a:gd name="T86" fmla="*/ 292 w 481"/>
                <a:gd name="T87" fmla="*/ 162 h 538"/>
                <a:gd name="T88" fmla="*/ 285 w 481"/>
                <a:gd name="T89" fmla="*/ 157 h 538"/>
                <a:gd name="T90" fmla="*/ 273 w 481"/>
                <a:gd name="T91" fmla="*/ 133 h 538"/>
                <a:gd name="T92" fmla="*/ 297 w 481"/>
                <a:gd name="T93" fmla="*/ 117 h 538"/>
                <a:gd name="T94" fmla="*/ 444 w 481"/>
                <a:gd name="T95" fmla="*/ 117 h 538"/>
                <a:gd name="T96" fmla="*/ 421 w 481"/>
                <a:gd name="T97" fmla="*/ 93 h 538"/>
                <a:gd name="T98" fmla="*/ 426 w 481"/>
                <a:gd name="T99" fmla="*/ 116 h 538"/>
                <a:gd name="T100" fmla="*/ 421 w 481"/>
                <a:gd name="T101" fmla="*/ 93 h 538"/>
                <a:gd name="T102" fmla="*/ 445 w 481"/>
                <a:gd name="T103" fmla="*/ 49 h 538"/>
                <a:gd name="T104" fmla="*/ 440 w 481"/>
                <a:gd name="T105" fmla="*/ 90 h 538"/>
                <a:gd name="T106" fmla="*/ 438 w 481"/>
                <a:gd name="T107" fmla="*/ 68 h 538"/>
                <a:gd name="T108" fmla="*/ 430 w 481"/>
                <a:gd name="T109" fmla="*/ 32 h 538"/>
                <a:gd name="T110" fmla="*/ 479 w 481"/>
                <a:gd name="T111" fmla="*/ 8 h 538"/>
                <a:gd name="T112" fmla="*/ 283 w 481"/>
                <a:gd name="T113" fmla="*/ 6 h 538"/>
                <a:gd name="T114" fmla="*/ 479 w 481"/>
                <a:gd name="T115" fmla="*/ 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1" h="538">
                  <a:moveTo>
                    <a:pt x="186" y="476"/>
                  </a:moveTo>
                  <a:lnTo>
                    <a:pt x="187" y="476"/>
                  </a:lnTo>
                  <a:lnTo>
                    <a:pt x="186" y="476"/>
                  </a:lnTo>
                  <a:close/>
                  <a:moveTo>
                    <a:pt x="261" y="387"/>
                  </a:moveTo>
                  <a:lnTo>
                    <a:pt x="259" y="392"/>
                  </a:lnTo>
                  <a:lnTo>
                    <a:pt x="259" y="396"/>
                  </a:lnTo>
                  <a:lnTo>
                    <a:pt x="257" y="403"/>
                  </a:lnTo>
                  <a:lnTo>
                    <a:pt x="252" y="404"/>
                  </a:lnTo>
                  <a:lnTo>
                    <a:pt x="247" y="404"/>
                  </a:lnTo>
                  <a:lnTo>
                    <a:pt x="247" y="406"/>
                  </a:lnTo>
                  <a:lnTo>
                    <a:pt x="245" y="404"/>
                  </a:lnTo>
                  <a:lnTo>
                    <a:pt x="247" y="404"/>
                  </a:lnTo>
                  <a:lnTo>
                    <a:pt x="245" y="404"/>
                  </a:lnTo>
                  <a:lnTo>
                    <a:pt x="247" y="401"/>
                  </a:lnTo>
                  <a:lnTo>
                    <a:pt x="254" y="399"/>
                  </a:lnTo>
                  <a:lnTo>
                    <a:pt x="254" y="398"/>
                  </a:lnTo>
                  <a:lnTo>
                    <a:pt x="259" y="391"/>
                  </a:lnTo>
                  <a:lnTo>
                    <a:pt x="261" y="387"/>
                  </a:lnTo>
                  <a:close/>
                  <a:moveTo>
                    <a:pt x="196" y="377"/>
                  </a:moveTo>
                  <a:lnTo>
                    <a:pt x="199" y="377"/>
                  </a:lnTo>
                  <a:lnTo>
                    <a:pt x="199" y="382"/>
                  </a:lnTo>
                  <a:lnTo>
                    <a:pt x="198" y="379"/>
                  </a:lnTo>
                  <a:lnTo>
                    <a:pt x="194" y="379"/>
                  </a:lnTo>
                  <a:lnTo>
                    <a:pt x="194" y="377"/>
                  </a:lnTo>
                  <a:lnTo>
                    <a:pt x="196" y="377"/>
                  </a:lnTo>
                  <a:close/>
                  <a:moveTo>
                    <a:pt x="189" y="375"/>
                  </a:moveTo>
                  <a:lnTo>
                    <a:pt x="191" y="377"/>
                  </a:lnTo>
                  <a:lnTo>
                    <a:pt x="187" y="379"/>
                  </a:lnTo>
                  <a:lnTo>
                    <a:pt x="187" y="375"/>
                  </a:lnTo>
                  <a:lnTo>
                    <a:pt x="189" y="375"/>
                  </a:lnTo>
                  <a:close/>
                  <a:moveTo>
                    <a:pt x="44" y="534"/>
                  </a:moveTo>
                  <a:lnTo>
                    <a:pt x="46" y="527"/>
                  </a:lnTo>
                  <a:lnTo>
                    <a:pt x="53" y="520"/>
                  </a:lnTo>
                  <a:lnTo>
                    <a:pt x="49" y="517"/>
                  </a:lnTo>
                  <a:lnTo>
                    <a:pt x="49" y="514"/>
                  </a:lnTo>
                  <a:lnTo>
                    <a:pt x="53" y="512"/>
                  </a:lnTo>
                  <a:lnTo>
                    <a:pt x="49" y="509"/>
                  </a:lnTo>
                  <a:lnTo>
                    <a:pt x="49" y="503"/>
                  </a:lnTo>
                  <a:lnTo>
                    <a:pt x="46" y="500"/>
                  </a:lnTo>
                  <a:lnTo>
                    <a:pt x="44" y="497"/>
                  </a:lnTo>
                  <a:lnTo>
                    <a:pt x="39" y="495"/>
                  </a:lnTo>
                  <a:lnTo>
                    <a:pt x="32" y="497"/>
                  </a:lnTo>
                  <a:lnTo>
                    <a:pt x="25" y="488"/>
                  </a:lnTo>
                  <a:lnTo>
                    <a:pt x="18" y="488"/>
                  </a:lnTo>
                  <a:lnTo>
                    <a:pt x="15" y="486"/>
                  </a:lnTo>
                  <a:lnTo>
                    <a:pt x="17" y="481"/>
                  </a:lnTo>
                  <a:lnTo>
                    <a:pt x="18" y="478"/>
                  </a:lnTo>
                  <a:lnTo>
                    <a:pt x="18" y="476"/>
                  </a:lnTo>
                  <a:lnTo>
                    <a:pt x="12" y="469"/>
                  </a:lnTo>
                  <a:lnTo>
                    <a:pt x="5" y="468"/>
                  </a:lnTo>
                  <a:lnTo>
                    <a:pt x="1" y="466"/>
                  </a:lnTo>
                  <a:lnTo>
                    <a:pt x="0" y="462"/>
                  </a:lnTo>
                  <a:lnTo>
                    <a:pt x="8" y="464"/>
                  </a:lnTo>
                  <a:lnTo>
                    <a:pt x="10" y="462"/>
                  </a:lnTo>
                  <a:lnTo>
                    <a:pt x="6" y="459"/>
                  </a:lnTo>
                  <a:lnTo>
                    <a:pt x="12" y="461"/>
                  </a:lnTo>
                  <a:lnTo>
                    <a:pt x="15" y="459"/>
                  </a:lnTo>
                  <a:lnTo>
                    <a:pt x="15" y="457"/>
                  </a:lnTo>
                  <a:lnTo>
                    <a:pt x="17" y="462"/>
                  </a:lnTo>
                  <a:lnTo>
                    <a:pt x="18" y="462"/>
                  </a:lnTo>
                  <a:lnTo>
                    <a:pt x="27" y="464"/>
                  </a:lnTo>
                  <a:lnTo>
                    <a:pt x="29" y="462"/>
                  </a:lnTo>
                  <a:lnTo>
                    <a:pt x="29" y="464"/>
                  </a:lnTo>
                  <a:lnTo>
                    <a:pt x="30" y="462"/>
                  </a:lnTo>
                  <a:lnTo>
                    <a:pt x="34" y="464"/>
                  </a:lnTo>
                  <a:lnTo>
                    <a:pt x="34" y="462"/>
                  </a:lnTo>
                  <a:lnTo>
                    <a:pt x="36" y="466"/>
                  </a:lnTo>
                  <a:lnTo>
                    <a:pt x="39" y="464"/>
                  </a:lnTo>
                  <a:lnTo>
                    <a:pt x="49" y="466"/>
                  </a:lnTo>
                  <a:lnTo>
                    <a:pt x="58" y="464"/>
                  </a:lnTo>
                  <a:lnTo>
                    <a:pt x="65" y="468"/>
                  </a:lnTo>
                  <a:lnTo>
                    <a:pt x="68" y="468"/>
                  </a:lnTo>
                  <a:lnTo>
                    <a:pt x="70" y="469"/>
                  </a:lnTo>
                  <a:lnTo>
                    <a:pt x="71" y="468"/>
                  </a:lnTo>
                  <a:lnTo>
                    <a:pt x="75" y="469"/>
                  </a:lnTo>
                  <a:lnTo>
                    <a:pt x="76" y="473"/>
                  </a:lnTo>
                  <a:lnTo>
                    <a:pt x="78" y="473"/>
                  </a:lnTo>
                  <a:lnTo>
                    <a:pt x="76" y="469"/>
                  </a:lnTo>
                  <a:lnTo>
                    <a:pt x="80" y="473"/>
                  </a:lnTo>
                  <a:lnTo>
                    <a:pt x="83" y="473"/>
                  </a:lnTo>
                  <a:lnTo>
                    <a:pt x="82" y="469"/>
                  </a:lnTo>
                  <a:lnTo>
                    <a:pt x="85" y="471"/>
                  </a:lnTo>
                  <a:lnTo>
                    <a:pt x="95" y="471"/>
                  </a:lnTo>
                  <a:lnTo>
                    <a:pt x="99" y="473"/>
                  </a:lnTo>
                  <a:lnTo>
                    <a:pt x="100" y="473"/>
                  </a:lnTo>
                  <a:lnTo>
                    <a:pt x="97" y="469"/>
                  </a:lnTo>
                  <a:lnTo>
                    <a:pt x="100" y="469"/>
                  </a:lnTo>
                  <a:lnTo>
                    <a:pt x="104" y="468"/>
                  </a:lnTo>
                  <a:lnTo>
                    <a:pt x="109" y="464"/>
                  </a:lnTo>
                  <a:lnTo>
                    <a:pt x="114" y="462"/>
                  </a:lnTo>
                  <a:lnTo>
                    <a:pt x="123" y="461"/>
                  </a:lnTo>
                  <a:lnTo>
                    <a:pt x="129" y="454"/>
                  </a:lnTo>
                  <a:lnTo>
                    <a:pt x="140" y="452"/>
                  </a:lnTo>
                  <a:lnTo>
                    <a:pt x="141" y="452"/>
                  </a:lnTo>
                  <a:lnTo>
                    <a:pt x="145" y="444"/>
                  </a:lnTo>
                  <a:lnTo>
                    <a:pt x="146" y="440"/>
                  </a:lnTo>
                  <a:lnTo>
                    <a:pt x="146" y="438"/>
                  </a:lnTo>
                  <a:lnTo>
                    <a:pt x="148" y="437"/>
                  </a:lnTo>
                  <a:lnTo>
                    <a:pt x="146" y="433"/>
                  </a:lnTo>
                  <a:lnTo>
                    <a:pt x="148" y="433"/>
                  </a:lnTo>
                  <a:lnTo>
                    <a:pt x="155" y="430"/>
                  </a:lnTo>
                  <a:lnTo>
                    <a:pt x="160" y="430"/>
                  </a:lnTo>
                  <a:lnTo>
                    <a:pt x="169" y="430"/>
                  </a:lnTo>
                  <a:lnTo>
                    <a:pt x="169" y="427"/>
                  </a:lnTo>
                  <a:lnTo>
                    <a:pt x="172" y="428"/>
                  </a:lnTo>
                  <a:lnTo>
                    <a:pt x="174" y="432"/>
                  </a:lnTo>
                  <a:lnTo>
                    <a:pt x="175" y="430"/>
                  </a:lnTo>
                  <a:lnTo>
                    <a:pt x="179" y="423"/>
                  </a:lnTo>
                  <a:lnTo>
                    <a:pt x="174" y="420"/>
                  </a:lnTo>
                  <a:lnTo>
                    <a:pt x="172" y="420"/>
                  </a:lnTo>
                  <a:lnTo>
                    <a:pt x="167" y="416"/>
                  </a:lnTo>
                  <a:lnTo>
                    <a:pt x="170" y="411"/>
                  </a:lnTo>
                  <a:lnTo>
                    <a:pt x="172" y="408"/>
                  </a:lnTo>
                  <a:lnTo>
                    <a:pt x="179" y="403"/>
                  </a:lnTo>
                  <a:lnTo>
                    <a:pt x="187" y="406"/>
                  </a:lnTo>
                  <a:lnTo>
                    <a:pt x="194" y="401"/>
                  </a:lnTo>
                  <a:lnTo>
                    <a:pt x="196" y="398"/>
                  </a:lnTo>
                  <a:lnTo>
                    <a:pt x="205" y="398"/>
                  </a:lnTo>
                  <a:lnTo>
                    <a:pt x="206" y="391"/>
                  </a:lnTo>
                  <a:lnTo>
                    <a:pt x="203" y="386"/>
                  </a:lnTo>
                  <a:lnTo>
                    <a:pt x="203" y="384"/>
                  </a:lnTo>
                  <a:lnTo>
                    <a:pt x="210" y="380"/>
                  </a:lnTo>
                  <a:lnTo>
                    <a:pt x="211" y="377"/>
                  </a:lnTo>
                  <a:lnTo>
                    <a:pt x="216" y="374"/>
                  </a:lnTo>
                  <a:lnTo>
                    <a:pt x="218" y="370"/>
                  </a:lnTo>
                  <a:lnTo>
                    <a:pt x="222" y="372"/>
                  </a:lnTo>
                  <a:lnTo>
                    <a:pt x="222" y="365"/>
                  </a:lnTo>
                  <a:lnTo>
                    <a:pt x="223" y="367"/>
                  </a:lnTo>
                  <a:lnTo>
                    <a:pt x="223" y="363"/>
                  </a:lnTo>
                  <a:lnTo>
                    <a:pt x="228" y="365"/>
                  </a:lnTo>
                  <a:lnTo>
                    <a:pt x="227" y="370"/>
                  </a:lnTo>
                  <a:lnTo>
                    <a:pt x="230" y="370"/>
                  </a:lnTo>
                  <a:lnTo>
                    <a:pt x="239" y="374"/>
                  </a:lnTo>
                  <a:lnTo>
                    <a:pt x="240" y="372"/>
                  </a:lnTo>
                  <a:lnTo>
                    <a:pt x="242" y="372"/>
                  </a:lnTo>
                  <a:lnTo>
                    <a:pt x="242" y="370"/>
                  </a:lnTo>
                  <a:lnTo>
                    <a:pt x="247" y="370"/>
                  </a:lnTo>
                  <a:lnTo>
                    <a:pt x="242" y="380"/>
                  </a:lnTo>
                  <a:lnTo>
                    <a:pt x="245" y="384"/>
                  </a:lnTo>
                  <a:lnTo>
                    <a:pt x="251" y="387"/>
                  </a:lnTo>
                  <a:lnTo>
                    <a:pt x="256" y="391"/>
                  </a:lnTo>
                  <a:lnTo>
                    <a:pt x="254" y="396"/>
                  </a:lnTo>
                  <a:lnTo>
                    <a:pt x="249" y="401"/>
                  </a:lnTo>
                  <a:lnTo>
                    <a:pt x="240" y="401"/>
                  </a:lnTo>
                  <a:lnTo>
                    <a:pt x="240" y="404"/>
                  </a:lnTo>
                  <a:lnTo>
                    <a:pt x="235" y="408"/>
                  </a:lnTo>
                  <a:lnTo>
                    <a:pt x="234" y="418"/>
                  </a:lnTo>
                  <a:lnTo>
                    <a:pt x="232" y="427"/>
                  </a:lnTo>
                  <a:lnTo>
                    <a:pt x="228" y="435"/>
                  </a:lnTo>
                  <a:lnTo>
                    <a:pt x="222" y="444"/>
                  </a:lnTo>
                  <a:lnTo>
                    <a:pt x="220" y="445"/>
                  </a:lnTo>
                  <a:lnTo>
                    <a:pt x="213" y="452"/>
                  </a:lnTo>
                  <a:lnTo>
                    <a:pt x="211" y="456"/>
                  </a:lnTo>
                  <a:lnTo>
                    <a:pt x="208" y="457"/>
                  </a:lnTo>
                  <a:lnTo>
                    <a:pt x="201" y="459"/>
                  </a:lnTo>
                  <a:lnTo>
                    <a:pt x="198" y="466"/>
                  </a:lnTo>
                  <a:lnTo>
                    <a:pt x="193" y="466"/>
                  </a:lnTo>
                  <a:lnTo>
                    <a:pt x="191" y="471"/>
                  </a:lnTo>
                  <a:lnTo>
                    <a:pt x="194" y="469"/>
                  </a:lnTo>
                  <a:lnTo>
                    <a:pt x="186" y="473"/>
                  </a:lnTo>
                  <a:lnTo>
                    <a:pt x="182" y="478"/>
                  </a:lnTo>
                  <a:lnTo>
                    <a:pt x="181" y="481"/>
                  </a:lnTo>
                  <a:lnTo>
                    <a:pt x="182" y="486"/>
                  </a:lnTo>
                  <a:lnTo>
                    <a:pt x="179" y="488"/>
                  </a:lnTo>
                  <a:lnTo>
                    <a:pt x="177" y="488"/>
                  </a:lnTo>
                  <a:lnTo>
                    <a:pt x="177" y="491"/>
                  </a:lnTo>
                  <a:lnTo>
                    <a:pt x="175" y="490"/>
                  </a:lnTo>
                  <a:lnTo>
                    <a:pt x="170" y="498"/>
                  </a:lnTo>
                  <a:lnTo>
                    <a:pt x="174" y="498"/>
                  </a:lnTo>
                  <a:lnTo>
                    <a:pt x="174" y="503"/>
                  </a:lnTo>
                  <a:lnTo>
                    <a:pt x="170" y="502"/>
                  </a:lnTo>
                  <a:lnTo>
                    <a:pt x="169" y="505"/>
                  </a:lnTo>
                  <a:lnTo>
                    <a:pt x="165" y="507"/>
                  </a:lnTo>
                  <a:lnTo>
                    <a:pt x="167" y="515"/>
                  </a:lnTo>
                  <a:lnTo>
                    <a:pt x="165" y="517"/>
                  </a:lnTo>
                  <a:lnTo>
                    <a:pt x="165" y="514"/>
                  </a:lnTo>
                  <a:lnTo>
                    <a:pt x="164" y="517"/>
                  </a:lnTo>
                  <a:lnTo>
                    <a:pt x="160" y="517"/>
                  </a:lnTo>
                  <a:lnTo>
                    <a:pt x="160" y="519"/>
                  </a:lnTo>
                  <a:lnTo>
                    <a:pt x="155" y="519"/>
                  </a:lnTo>
                  <a:lnTo>
                    <a:pt x="150" y="519"/>
                  </a:lnTo>
                  <a:lnTo>
                    <a:pt x="150" y="520"/>
                  </a:lnTo>
                  <a:lnTo>
                    <a:pt x="148" y="519"/>
                  </a:lnTo>
                  <a:lnTo>
                    <a:pt x="146" y="520"/>
                  </a:lnTo>
                  <a:lnTo>
                    <a:pt x="145" y="519"/>
                  </a:lnTo>
                  <a:lnTo>
                    <a:pt x="143" y="524"/>
                  </a:lnTo>
                  <a:lnTo>
                    <a:pt x="143" y="520"/>
                  </a:lnTo>
                  <a:lnTo>
                    <a:pt x="138" y="520"/>
                  </a:lnTo>
                  <a:lnTo>
                    <a:pt x="140" y="524"/>
                  </a:lnTo>
                  <a:lnTo>
                    <a:pt x="133" y="526"/>
                  </a:lnTo>
                  <a:lnTo>
                    <a:pt x="133" y="527"/>
                  </a:lnTo>
                  <a:lnTo>
                    <a:pt x="131" y="526"/>
                  </a:lnTo>
                  <a:lnTo>
                    <a:pt x="123" y="526"/>
                  </a:lnTo>
                  <a:lnTo>
                    <a:pt x="117" y="526"/>
                  </a:lnTo>
                  <a:lnTo>
                    <a:pt x="116" y="526"/>
                  </a:lnTo>
                  <a:lnTo>
                    <a:pt x="112" y="529"/>
                  </a:lnTo>
                  <a:lnTo>
                    <a:pt x="111" y="527"/>
                  </a:lnTo>
                  <a:lnTo>
                    <a:pt x="106" y="527"/>
                  </a:lnTo>
                  <a:lnTo>
                    <a:pt x="104" y="529"/>
                  </a:lnTo>
                  <a:lnTo>
                    <a:pt x="100" y="529"/>
                  </a:lnTo>
                  <a:lnTo>
                    <a:pt x="97" y="531"/>
                  </a:lnTo>
                  <a:lnTo>
                    <a:pt x="92" y="531"/>
                  </a:lnTo>
                  <a:lnTo>
                    <a:pt x="88" y="532"/>
                  </a:lnTo>
                  <a:lnTo>
                    <a:pt x="83" y="532"/>
                  </a:lnTo>
                  <a:lnTo>
                    <a:pt x="80" y="536"/>
                  </a:lnTo>
                  <a:lnTo>
                    <a:pt x="71" y="534"/>
                  </a:lnTo>
                  <a:lnTo>
                    <a:pt x="68" y="538"/>
                  </a:lnTo>
                  <a:lnTo>
                    <a:pt x="65" y="536"/>
                  </a:lnTo>
                  <a:lnTo>
                    <a:pt x="61" y="538"/>
                  </a:lnTo>
                  <a:lnTo>
                    <a:pt x="54" y="534"/>
                  </a:lnTo>
                  <a:lnTo>
                    <a:pt x="46" y="536"/>
                  </a:lnTo>
                  <a:lnTo>
                    <a:pt x="44" y="534"/>
                  </a:lnTo>
                  <a:close/>
                  <a:moveTo>
                    <a:pt x="198" y="367"/>
                  </a:moveTo>
                  <a:lnTo>
                    <a:pt x="199" y="368"/>
                  </a:lnTo>
                  <a:lnTo>
                    <a:pt x="198" y="370"/>
                  </a:lnTo>
                  <a:lnTo>
                    <a:pt x="193" y="365"/>
                  </a:lnTo>
                  <a:lnTo>
                    <a:pt x="196" y="367"/>
                  </a:lnTo>
                  <a:lnTo>
                    <a:pt x="196" y="362"/>
                  </a:lnTo>
                  <a:lnTo>
                    <a:pt x="198" y="367"/>
                  </a:lnTo>
                  <a:close/>
                  <a:moveTo>
                    <a:pt x="232" y="358"/>
                  </a:moveTo>
                  <a:lnTo>
                    <a:pt x="234" y="362"/>
                  </a:lnTo>
                  <a:lnTo>
                    <a:pt x="232" y="362"/>
                  </a:lnTo>
                  <a:lnTo>
                    <a:pt x="232" y="358"/>
                  </a:lnTo>
                  <a:close/>
                  <a:moveTo>
                    <a:pt x="199" y="358"/>
                  </a:moveTo>
                  <a:lnTo>
                    <a:pt x="201" y="358"/>
                  </a:lnTo>
                  <a:lnTo>
                    <a:pt x="201" y="360"/>
                  </a:lnTo>
                  <a:lnTo>
                    <a:pt x="199" y="360"/>
                  </a:lnTo>
                  <a:lnTo>
                    <a:pt x="199" y="358"/>
                  </a:lnTo>
                  <a:close/>
                  <a:moveTo>
                    <a:pt x="244" y="353"/>
                  </a:moveTo>
                  <a:lnTo>
                    <a:pt x="245" y="357"/>
                  </a:lnTo>
                  <a:lnTo>
                    <a:pt x="249" y="357"/>
                  </a:lnTo>
                  <a:lnTo>
                    <a:pt x="247" y="360"/>
                  </a:lnTo>
                  <a:lnTo>
                    <a:pt x="244" y="362"/>
                  </a:lnTo>
                  <a:lnTo>
                    <a:pt x="245" y="363"/>
                  </a:lnTo>
                  <a:lnTo>
                    <a:pt x="244" y="363"/>
                  </a:lnTo>
                  <a:lnTo>
                    <a:pt x="244" y="365"/>
                  </a:lnTo>
                  <a:lnTo>
                    <a:pt x="239" y="355"/>
                  </a:lnTo>
                  <a:lnTo>
                    <a:pt x="242" y="355"/>
                  </a:lnTo>
                  <a:lnTo>
                    <a:pt x="242" y="351"/>
                  </a:lnTo>
                  <a:lnTo>
                    <a:pt x="244" y="353"/>
                  </a:lnTo>
                  <a:close/>
                  <a:moveTo>
                    <a:pt x="237" y="350"/>
                  </a:moveTo>
                  <a:lnTo>
                    <a:pt x="235" y="353"/>
                  </a:lnTo>
                  <a:lnTo>
                    <a:pt x="232" y="357"/>
                  </a:lnTo>
                  <a:lnTo>
                    <a:pt x="234" y="350"/>
                  </a:lnTo>
                  <a:lnTo>
                    <a:pt x="237" y="346"/>
                  </a:lnTo>
                  <a:lnTo>
                    <a:pt x="237" y="350"/>
                  </a:lnTo>
                  <a:close/>
                  <a:moveTo>
                    <a:pt x="275" y="319"/>
                  </a:moveTo>
                  <a:lnTo>
                    <a:pt x="275" y="321"/>
                  </a:lnTo>
                  <a:lnTo>
                    <a:pt x="269" y="322"/>
                  </a:lnTo>
                  <a:lnTo>
                    <a:pt x="268" y="324"/>
                  </a:lnTo>
                  <a:lnTo>
                    <a:pt x="266" y="322"/>
                  </a:lnTo>
                  <a:lnTo>
                    <a:pt x="266" y="321"/>
                  </a:lnTo>
                  <a:lnTo>
                    <a:pt x="269" y="321"/>
                  </a:lnTo>
                  <a:lnTo>
                    <a:pt x="269" y="317"/>
                  </a:lnTo>
                  <a:lnTo>
                    <a:pt x="269" y="319"/>
                  </a:lnTo>
                  <a:lnTo>
                    <a:pt x="273" y="319"/>
                  </a:lnTo>
                  <a:lnTo>
                    <a:pt x="275" y="317"/>
                  </a:lnTo>
                  <a:lnTo>
                    <a:pt x="275" y="319"/>
                  </a:lnTo>
                  <a:close/>
                  <a:moveTo>
                    <a:pt x="271" y="293"/>
                  </a:moveTo>
                  <a:lnTo>
                    <a:pt x="271" y="297"/>
                  </a:lnTo>
                  <a:lnTo>
                    <a:pt x="269" y="298"/>
                  </a:lnTo>
                  <a:lnTo>
                    <a:pt x="266" y="297"/>
                  </a:lnTo>
                  <a:lnTo>
                    <a:pt x="271" y="293"/>
                  </a:lnTo>
                  <a:close/>
                  <a:moveTo>
                    <a:pt x="275" y="288"/>
                  </a:moveTo>
                  <a:lnTo>
                    <a:pt x="278" y="286"/>
                  </a:lnTo>
                  <a:lnTo>
                    <a:pt x="281" y="292"/>
                  </a:lnTo>
                  <a:lnTo>
                    <a:pt x="278" y="295"/>
                  </a:lnTo>
                  <a:lnTo>
                    <a:pt x="275" y="295"/>
                  </a:lnTo>
                  <a:lnTo>
                    <a:pt x="269" y="290"/>
                  </a:lnTo>
                  <a:lnTo>
                    <a:pt x="273" y="286"/>
                  </a:lnTo>
                  <a:lnTo>
                    <a:pt x="275" y="288"/>
                  </a:lnTo>
                  <a:close/>
                  <a:moveTo>
                    <a:pt x="281" y="252"/>
                  </a:moveTo>
                  <a:lnTo>
                    <a:pt x="281" y="256"/>
                  </a:lnTo>
                  <a:lnTo>
                    <a:pt x="278" y="256"/>
                  </a:lnTo>
                  <a:lnTo>
                    <a:pt x="280" y="256"/>
                  </a:lnTo>
                  <a:lnTo>
                    <a:pt x="280" y="252"/>
                  </a:lnTo>
                  <a:lnTo>
                    <a:pt x="281" y="252"/>
                  </a:lnTo>
                  <a:close/>
                  <a:moveTo>
                    <a:pt x="245" y="244"/>
                  </a:moveTo>
                  <a:lnTo>
                    <a:pt x="247" y="244"/>
                  </a:lnTo>
                  <a:lnTo>
                    <a:pt x="247" y="245"/>
                  </a:lnTo>
                  <a:lnTo>
                    <a:pt x="245" y="245"/>
                  </a:lnTo>
                  <a:lnTo>
                    <a:pt x="245" y="244"/>
                  </a:lnTo>
                  <a:close/>
                  <a:moveTo>
                    <a:pt x="275" y="235"/>
                  </a:moveTo>
                  <a:lnTo>
                    <a:pt x="276" y="237"/>
                  </a:lnTo>
                  <a:lnTo>
                    <a:pt x="280" y="240"/>
                  </a:lnTo>
                  <a:lnTo>
                    <a:pt x="273" y="247"/>
                  </a:lnTo>
                  <a:lnTo>
                    <a:pt x="273" y="251"/>
                  </a:lnTo>
                  <a:lnTo>
                    <a:pt x="276" y="256"/>
                  </a:lnTo>
                  <a:lnTo>
                    <a:pt x="275" y="257"/>
                  </a:lnTo>
                  <a:lnTo>
                    <a:pt x="269" y="254"/>
                  </a:lnTo>
                  <a:lnTo>
                    <a:pt x="268" y="245"/>
                  </a:lnTo>
                  <a:lnTo>
                    <a:pt x="269" y="237"/>
                  </a:lnTo>
                  <a:lnTo>
                    <a:pt x="275" y="235"/>
                  </a:lnTo>
                  <a:close/>
                  <a:moveTo>
                    <a:pt x="285" y="203"/>
                  </a:moveTo>
                  <a:lnTo>
                    <a:pt x="285" y="206"/>
                  </a:lnTo>
                  <a:lnTo>
                    <a:pt x="285" y="203"/>
                  </a:lnTo>
                  <a:lnTo>
                    <a:pt x="285" y="201"/>
                  </a:lnTo>
                  <a:lnTo>
                    <a:pt x="285" y="203"/>
                  </a:lnTo>
                  <a:close/>
                  <a:moveTo>
                    <a:pt x="286" y="191"/>
                  </a:moveTo>
                  <a:lnTo>
                    <a:pt x="286" y="193"/>
                  </a:lnTo>
                  <a:lnTo>
                    <a:pt x="286" y="189"/>
                  </a:lnTo>
                  <a:lnTo>
                    <a:pt x="290" y="191"/>
                  </a:lnTo>
                  <a:lnTo>
                    <a:pt x="288" y="194"/>
                  </a:lnTo>
                  <a:lnTo>
                    <a:pt x="285" y="193"/>
                  </a:lnTo>
                  <a:lnTo>
                    <a:pt x="286" y="193"/>
                  </a:lnTo>
                  <a:lnTo>
                    <a:pt x="285" y="191"/>
                  </a:lnTo>
                  <a:lnTo>
                    <a:pt x="286" y="191"/>
                  </a:lnTo>
                  <a:close/>
                  <a:moveTo>
                    <a:pt x="278" y="182"/>
                  </a:moveTo>
                  <a:lnTo>
                    <a:pt x="281" y="182"/>
                  </a:lnTo>
                  <a:lnTo>
                    <a:pt x="281" y="186"/>
                  </a:lnTo>
                  <a:lnTo>
                    <a:pt x="278" y="186"/>
                  </a:lnTo>
                  <a:lnTo>
                    <a:pt x="278" y="182"/>
                  </a:lnTo>
                  <a:close/>
                  <a:moveTo>
                    <a:pt x="292" y="164"/>
                  </a:moveTo>
                  <a:lnTo>
                    <a:pt x="293" y="164"/>
                  </a:lnTo>
                  <a:lnTo>
                    <a:pt x="293" y="167"/>
                  </a:lnTo>
                  <a:lnTo>
                    <a:pt x="292" y="167"/>
                  </a:lnTo>
                  <a:lnTo>
                    <a:pt x="292" y="164"/>
                  </a:lnTo>
                  <a:close/>
                  <a:moveTo>
                    <a:pt x="307" y="157"/>
                  </a:moveTo>
                  <a:lnTo>
                    <a:pt x="310" y="157"/>
                  </a:lnTo>
                  <a:lnTo>
                    <a:pt x="310" y="158"/>
                  </a:lnTo>
                  <a:lnTo>
                    <a:pt x="307" y="158"/>
                  </a:lnTo>
                  <a:lnTo>
                    <a:pt x="307" y="157"/>
                  </a:lnTo>
                  <a:close/>
                  <a:moveTo>
                    <a:pt x="280" y="124"/>
                  </a:moveTo>
                  <a:lnTo>
                    <a:pt x="285" y="126"/>
                  </a:lnTo>
                  <a:lnTo>
                    <a:pt x="292" y="133"/>
                  </a:lnTo>
                  <a:lnTo>
                    <a:pt x="293" y="136"/>
                  </a:lnTo>
                  <a:lnTo>
                    <a:pt x="292" y="138"/>
                  </a:lnTo>
                  <a:lnTo>
                    <a:pt x="295" y="140"/>
                  </a:lnTo>
                  <a:lnTo>
                    <a:pt x="293" y="140"/>
                  </a:lnTo>
                  <a:lnTo>
                    <a:pt x="295" y="141"/>
                  </a:lnTo>
                  <a:lnTo>
                    <a:pt x="292" y="143"/>
                  </a:lnTo>
                  <a:lnTo>
                    <a:pt x="295" y="143"/>
                  </a:lnTo>
                  <a:lnTo>
                    <a:pt x="295" y="146"/>
                  </a:lnTo>
                  <a:lnTo>
                    <a:pt x="297" y="146"/>
                  </a:lnTo>
                  <a:lnTo>
                    <a:pt x="298" y="148"/>
                  </a:lnTo>
                  <a:lnTo>
                    <a:pt x="302" y="153"/>
                  </a:lnTo>
                  <a:lnTo>
                    <a:pt x="304" y="155"/>
                  </a:lnTo>
                  <a:lnTo>
                    <a:pt x="302" y="152"/>
                  </a:lnTo>
                  <a:lnTo>
                    <a:pt x="304" y="150"/>
                  </a:lnTo>
                  <a:lnTo>
                    <a:pt x="304" y="153"/>
                  </a:lnTo>
                  <a:lnTo>
                    <a:pt x="305" y="153"/>
                  </a:lnTo>
                  <a:lnTo>
                    <a:pt x="305" y="162"/>
                  </a:lnTo>
                  <a:lnTo>
                    <a:pt x="302" y="169"/>
                  </a:lnTo>
                  <a:lnTo>
                    <a:pt x="300" y="167"/>
                  </a:lnTo>
                  <a:lnTo>
                    <a:pt x="298" y="167"/>
                  </a:lnTo>
                  <a:lnTo>
                    <a:pt x="298" y="172"/>
                  </a:lnTo>
                  <a:lnTo>
                    <a:pt x="297" y="172"/>
                  </a:lnTo>
                  <a:lnTo>
                    <a:pt x="298" y="169"/>
                  </a:lnTo>
                  <a:lnTo>
                    <a:pt x="295" y="169"/>
                  </a:lnTo>
                  <a:lnTo>
                    <a:pt x="295" y="167"/>
                  </a:lnTo>
                  <a:lnTo>
                    <a:pt x="295" y="165"/>
                  </a:lnTo>
                  <a:lnTo>
                    <a:pt x="292" y="162"/>
                  </a:lnTo>
                  <a:lnTo>
                    <a:pt x="293" y="160"/>
                  </a:lnTo>
                  <a:lnTo>
                    <a:pt x="290" y="162"/>
                  </a:lnTo>
                  <a:lnTo>
                    <a:pt x="290" y="164"/>
                  </a:lnTo>
                  <a:lnTo>
                    <a:pt x="288" y="164"/>
                  </a:lnTo>
                  <a:lnTo>
                    <a:pt x="288" y="160"/>
                  </a:lnTo>
                  <a:lnTo>
                    <a:pt x="285" y="160"/>
                  </a:lnTo>
                  <a:lnTo>
                    <a:pt x="283" y="158"/>
                  </a:lnTo>
                  <a:lnTo>
                    <a:pt x="285" y="157"/>
                  </a:lnTo>
                  <a:lnTo>
                    <a:pt x="283" y="157"/>
                  </a:lnTo>
                  <a:lnTo>
                    <a:pt x="283" y="150"/>
                  </a:lnTo>
                  <a:lnTo>
                    <a:pt x="286" y="145"/>
                  </a:lnTo>
                  <a:lnTo>
                    <a:pt x="283" y="145"/>
                  </a:lnTo>
                  <a:lnTo>
                    <a:pt x="283" y="141"/>
                  </a:lnTo>
                  <a:lnTo>
                    <a:pt x="285" y="140"/>
                  </a:lnTo>
                  <a:lnTo>
                    <a:pt x="278" y="138"/>
                  </a:lnTo>
                  <a:lnTo>
                    <a:pt x="273" y="133"/>
                  </a:lnTo>
                  <a:lnTo>
                    <a:pt x="273" y="126"/>
                  </a:lnTo>
                  <a:lnTo>
                    <a:pt x="280" y="124"/>
                  </a:lnTo>
                  <a:close/>
                  <a:moveTo>
                    <a:pt x="295" y="123"/>
                  </a:moveTo>
                  <a:lnTo>
                    <a:pt x="292" y="124"/>
                  </a:lnTo>
                  <a:lnTo>
                    <a:pt x="292" y="123"/>
                  </a:lnTo>
                  <a:lnTo>
                    <a:pt x="293" y="121"/>
                  </a:lnTo>
                  <a:lnTo>
                    <a:pt x="295" y="123"/>
                  </a:lnTo>
                  <a:close/>
                  <a:moveTo>
                    <a:pt x="297" y="117"/>
                  </a:moveTo>
                  <a:lnTo>
                    <a:pt x="300" y="119"/>
                  </a:lnTo>
                  <a:lnTo>
                    <a:pt x="297" y="119"/>
                  </a:lnTo>
                  <a:lnTo>
                    <a:pt x="295" y="121"/>
                  </a:lnTo>
                  <a:lnTo>
                    <a:pt x="295" y="119"/>
                  </a:lnTo>
                  <a:lnTo>
                    <a:pt x="297" y="117"/>
                  </a:lnTo>
                  <a:close/>
                  <a:moveTo>
                    <a:pt x="438" y="112"/>
                  </a:moveTo>
                  <a:lnTo>
                    <a:pt x="440" y="112"/>
                  </a:lnTo>
                  <a:lnTo>
                    <a:pt x="444" y="117"/>
                  </a:lnTo>
                  <a:lnTo>
                    <a:pt x="447" y="123"/>
                  </a:lnTo>
                  <a:lnTo>
                    <a:pt x="444" y="126"/>
                  </a:lnTo>
                  <a:lnTo>
                    <a:pt x="438" y="124"/>
                  </a:lnTo>
                  <a:lnTo>
                    <a:pt x="435" y="119"/>
                  </a:lnTo>
                  <a:lnTo>
                    <a:pt x="433" y="112"/>
                  </a:lnTo>
                  <a:lnTo>
                    <a:pt x="435" y="111"/>
                  </a:lnTo>
                  <a:lnTo>
                    <a:pt x="438" y="112"/>
                  </a:lnTo>
                  <a:close/>
                  <a:moveTo>
                    <a:pt x="421" y="93"/>
                  </a:moveTo>
                  <a:lnTo>
                    <a:pt x="421" y="97"/>
                  </a:lnTo>
                  <a:lnTo>
                    <a:pt x="428" y="100"/>
                  </a:lnTo>
                  <a:lnTo>
                    <a:pt x="430" y="104"/>
                  </a:lnTo>
                  <a:lnTo>
                    <a:pt x="430" y="107"/>
                  </a:lnTo>
                  <a:lnTo>
                    <a:pt x="426" y="109"/>
                  </a:lnTo>
                  <a:lnTo>
                    <a:pt x="428" y="114"/>
                  </a:lnTo>
                  <a:lnTo>
                    <a:pt x="428" y="116"/>
                  </a:lnTo>
                  <a:lnTo>
                    <a:pt x="426" y="116"/>
                  </a:lnTo>
                  <a:lnTo>
                    <a:pt x="423" y="107"/>
                  </a:lnTo>
                  <a:lnTo>
                    <a:pt x="425" y="102"/>
                  </a:lnTo>
                  <a:lnTo>
                    <a:pt x="420" y="99"/>
                  </a:lnTo>
                  <a:lnTo>
                    <a:pt x="420" y="95"/>
                  </a:lnTo>
                  <a:lnTo>
                    <a:pt x="418" y="95"/>
                  </a:lnTo>
                  <a:lnTo>
                    <a:pt x="416" y="88"/>
                  </a:lnTo>
                  <a:lnTo>
                    <a:pt x="421" y="90"/>
                  </a:lnTo>
                  <a:lnTo>
                    <a:pt x="421" y="93"/>
                  </a:lnTo>
                  <a:close/>
                  <a:moveTo>
                    <a:pt x="435" y="29"/>
                  </a:moveTo>
                  <a:lnTo>
                    <a:pt x="437" y="30"/>
                  </a:lnTo>
                  <a:lnTo>
                    <a:pt x="440" y="29"/>
                  </a:lnTo>
                  <a:lnTo>
                    <a:pt x="444" y="34"/>
                  </a:lnTo>
                  <a:lnTo>
                    <a:pt x="445" y="34"/>
                  </a:lnTo>
                  <a:lnTo>
                    <a:pt x="449" y="42"/>
                  </a:lnTo>
                  <a:lnTo>
                    <a:pt x="445" y="44"/>
                  </a:lnTo>
                  <a:lnTo>
                    <a:pt x="445" y="49"/>
                  </a:lnTo>
                  <a:lnTo>
                    <a:pt x="452" y="58"/>
                  </a:lnTo>
                  <a:lnTo>
                    <a:pt x="454" y="61"/>
                  </a:lnTo>
                  <a:lnTo>
                    <a:pt x="447" y="63"/>
                  </a:lnTo>
                  <a:lnTo>
                    <a:pt x="449" y="68"/>
                  </a:lnTo>
                  <a:lnTo>
                    <a:pt x="444" y="71"/>
                  </a:lnTo>
                  <a:lnTo>
                    <a:pt x="440" y="75"/>
                  </a:lnTo>
                  <a:lnTo>
                    <a:pt x="442" y="82"/>
                  </a:lnTo>
                  <a:lnTo>
                    <a:pt x="440" y="90"/>
                  </a:lnTo>
                  <a:lnTo>
                    <a:pt x="435" y="93"/>
                  </a:lnTo>
                  <a:lnTo>
                    <a:pt x="428" y="92"/>
                  </a:lnTo>
                  <a:lnTo>
                    <a:pt x="426" y="93"/>
                  </a:lnTo>
                  <a:lnTo>
                    <a:pt x="425" y="88"/>
                  </a:lnTo>
                  <a:lnTo>
                    <a:pt x="426" y="85"/>
                  </a:lnTo>
                  <a:lnTo>
                    <a:pt x="432" y="80"/>
                  </a:lnTo>
                  <a:lnTo>
                    <a:pt x="435" y="71"/>
                  </a:lnTo>
                  <a:lnTo>
                    <a:pt x="438" y="68"/>
                  </a:lnTo>
                  <a:lnTo>
                    <a:pt x="437" y="63"/>
                  </a:lnTo>
                  <a:lnTo>
                    <a:pt x="430" y="61"/>
                  </a:lnTo>
                  <a:lnTo>
                    <a:pt x="428" y="54"/>
                  </a:lnTo>
                  <a:lnTo>
                    <a:pt x="425" y="52"/>
                  </a:lnTo>
                  <a:lnTo>
                    <a:pt x="428" y="47"/>
                  </a:lnTo>
                  <a:lnTo>
                    <a:pt x="428" y="42"/>
                  </a:lnTo>
                  <a:lnTo>
                    <a:pt x="432" y="37"/>
                  </a:lnTo>
                  <a:lnTo>
                    <a:pt x="430" y="32"/>
                  </a:lnTo>
                  <a:lnTo>
                    <a:pt x="432" y="29"/>
                  </a:lnTo>
                  <a:lnTo>
                    <a:pt x="435" y="29"/>
                  </a:lnTo>
                  <a:close/>
                  <a:moveTo>
                    <a:pt x="481" y="20"/>
                  </a:moveTo>
                  <a:lnTo>
                    <a:pt x="478" y="20"/>
                  </a:lnTo>
                  <a:lnTo>
                    <a:pt x="481" y="20"/>
                  </a:lnTo>
                  <a:close/>
                  <a:moveTo>
                    <a:pt x="479" y="8"/>
                  </a:moveTo>
                  <a:lnTo>
                    <a:pt x="479" y="12"/>
                  </a:lnTo>
                  <a:lnTo>
                    <a:pt x="479" y="8"/>
                  </a:lnTo>
                  <a:close/>
                  <a:moveTo>
                    <a:pt x="471" y="5"/>
                  </a:moveTo>
                  <a:lnTo>
                    <a:pt x="474" y="5"/>
                  </a:lnTo>
                  <a:lnTo>
                    <a:pt x="473" y="6"/>
                  </a:lnTo>
                  <a:lnTo>
                    <a:pt x="469" y="6"/>
                  </a:lnTo>
                  <a:lnTo>
                    <a:pt x="471" y="5"/>
                  </a:lnTo>
                  <a:close/>
                  <a:moveTo>
                    <a:pt x="281" y="5"/>
                  </a:moveTo>
                  <a:lnTo>
                    <a:pt x="283" y="5"/>
                  </a:lnTo>
                  <a:lnTo>
                    <a:pt x="283" y="6"/>
                  </a:lnTo>
                  <a:lnTo>
                    <a:pt x="281" y="6"/>
                  </a:lnTo>
                  <a:lnTo>
                    <a:pt x="281" y="5"/>
                  </a:lnTo>
                  <a:close/>
                  <a:moveTo>
                    <a:pt x="479" y="5"/>
                  </a:moveTo>
                  <a:lnTo>
                    <a:pt x="476" y="5"/>
                  </a:lnTo>
                  <a:lnTo>
                    <a:pt x="476" y="3"/>
                  </a:lnTo>
                  <a:lnTo>
                    <a:pt x="479" y="0"/>
                  </a:lnTo>
                  <a:lnTo>
                    <a:pt x="481" y="3"/>
                  </a:lnTo>
                  <a:lnTo>
                    <a:pt x="479" y="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39" name="Freeform 56"/>
            <p:cNvSpPr>
              <a:spLocks noEditPoints="1"/>
            </p:cNvSpPr>
            <p:nvPr/>
          </p:nvSpPr>
          <p:spPr bwMode="gray">
            <a:xfrm>
              <a:off x="7278071" y="2578266"/>
              <a:ext cx="1171126" cy="1118225"/>
            </a:xfrm>
            <a:custGeom>
              <a:avLst/>
              <a:gdLst>
                <a:gd name="T0" fmla="*/ 203 w 642"/>
                <a:gd name="T1" fmla="*/ 609 h 613"/>
                <a:gd name="T2" fmla="*/ 395 w 642"/>
                <a:gd name="T3" fmla="*/ 538 h 613"/>
                <a:gd name="T4" fmla="*/ 142 w 642"/>
                <a:gd name="T5" fmla="*/ 529 h 613"/>
                <a:gd name="T6" fmla="*/ 203 w 642"/>
                <a:gd name="T7" fmla="*/ 533 h 613"/>
                <a:gd name="T8" fmla="*/ 176 w 642"/>
                <a:gd name="T9" fmla="*/ 546 h 613"/>
                <a:gd name="T10" fmla="*/ 128 w 642"/>
                <a:gd name="T11" fmla="*/ 529 h 613"/>
                <a:gd name="T12" fmla="*/ 81 w 642"/>
                <a:gd name="T13" fmla="*/ 517 h 613"/>
                <a:gd name="T14" fmla="*/ 79 w 642"/>
                <a:gd name="T15" fmla="*/ 519 h 613"/>
                <a:gd name="T16" fmla="*/ 106 w 642"/>
                <a:gd name="T17" fmla="*/ 529 h 613"/>
                <a:gd name="T18" fmla="*/ 84 w 642"/>
                <a:gd name="T19" fmla="*/ 548 h 613"/>
                <a:gd name="T20" fmla="*/ 7 w 642"/>
                <a:gd name="T21" fmla="*/ 531 h 613"/>
                <a:gd name="T22" fmla="*/ 21 w 642"/>
                <a:gd name="T23" fmla="*/ 509 h 613"/>
                <a:gd name="T24" fmla="*/ 553 w 642"/>
                <a:gd name="T25" fmla="*/ 485 h 613"/>
                <a:gd name="T26" fmla="*/ 415 w 642"/>
                <a:gd name="T27" fmla="*/ 478 h 613"/>
                <a:gd name="T28" fmla="*/ 442 w 642"/>
                <a:gd name="T29" fmla="*/ 521 h 613"/>
                <a:gd name="T30" fmla="*/ 374 w 642"/>
                <a:gd name="T31" fmla="*/ 493 h 613"/>
                <a:gd name="T32" fmla="*/ 408 w 642"/>
                <a:gd name="T33" fmla="*/ 464 h 613"/>
                <a:gd name="T34" fmla="*/ 371 w 642"/>
                <a:gd name="T35" fmla="*/ 454 h 613"/>
                <a:gd name="T36" fmla="*/ 487 w 642"/>
                <a:gd name="T37" fmla="*/ 440 h 613"/>
                <a:gd name="T38" fmla="*/ 456 w 642"/>
                <a:gd name="T39" fmla="*/ 416 h 613"/>
                <a:gd name="T40" fmla="*/ 354 w 642"/>
                <a:gd name="T41" fmla="*/ 389 h 613"/>
                <a:gd name="T42" fmla="*/ 354 w 642"/>
                <a:gd name="T43" fmla="*/ 389 h 613"/>
                <a:gd name="T44" fmla="*/ 495 w 642"/>
                <a:gd name="T45" fmla="*/ 387 h 613"/>
                <a:gd name="T46" fmla="*/ 355 w 642"/>
                <a:gd name="T47" fmla="*/ 377 h 613"/>
                <a:gd name="T48" fmla="*/ 372 w 642"/>
                <a:gd name="T49" fmla="*/ 355 h 613"/>
                <a:gd name="T50" fmla="*/ 410 w 642"/>
                <a:gd name="T51" fmla="*/ 399 h 613"/>
                <a:gd name="T52" fmla="*/ 403 w 642"/>
                <a:gd name="T53" fmla="*/ 410 h 613"/>
                <a:gd name="T54" fmla="*/ 362 w 642"/>
                <a:gd name="T55" fmla="*/ 369 h 613"/>
                <a:gd name="T56" fmla="*/ 332 w 642"/>
                <a:gd name="T57" fmla="*/ 352 h 613"/>
                <a:gd name="T58" fmla="*/ 338 w 642"/>
                <a:gd name="T59" fmla="*/ 374 h 613"/>
                <a:gd name="T60" fmla="*/ 330 w 642"/>
                <a:gd name="T61" fmla="*/ 350 h 613"/>
                <a:gd name="T62" fmla="*/ 349 w 642"/>
                <a:gd name="T63" fmla="*/ 331 h 613"/>
                <a:gd name="T64" fmla="*/ 639 w 642"/>
                <a:gd name="T65" fmla="*/ 321 h 613"/>
                <a:gd name="T66" fmla="*/ 632 w 642"/>
                <a:gd name="T67" fmla="*/ 340 h 613"/>
                <a:gd name="T68" fmla="*/ 378 w 642"/>
                <a:gd name="T69" fmla="*/ 309 h 613"/>
                <a:gd name="T70" fmla="*/ 432 w 642"/>
                <a:gd name="T71" fmla="*/ 276 h 613"/>
                <a:gd name="T72" fmla="*/ 374 w 642"/>
                <a:gd name="T73" fmla="*/ 259 h 613"/>
                <a:gd name="T74" fmla="*/ 372 w 642"/>
                <a:gd name="T75" fmla="*/ 227 h 613"/>
                <a:gd name="T76" fmla="*/ 473 w 642"/>
                <a:gd name="T77" fmla="*/ 218 h 613"/>
                <a:gd name="T78" fmla="*/ 362 w 642"/>
                <a:gd name="T79" fmla="*/ 208 h 613"/>
                <a:gd name="T80" fmla="*/ 453 w 642"/>
                <a:gd name="T81" fmla="*/ 130 h 613"/>
                <a:gd name="T82" fmla="*/ 448 w 642"/>
                <a:gd name="T83" fmla="*/ 107 h 613"/>
                <a:gd name="T84" fmla="*/ 439 w 642"/>
                <a:gd name="T85" fmla="*/ 71 h 613"/>
                <a:gd name="T86" fmla="*/ 448 w 642"/>
                <a:gd name="T87" fmla="*/ 133 h 613"/>
                <a:gd name="T88" fmla="*/ 402 w 642"/>
                <a:gd name="T89" fmla="*/ 206 h 613"/>
                <a:gd name="T90" fmla="*/ 463 w 642"/>
                <a:gd name="T91" fmla="*/ 182 h 613"/>
                <a:gd name="T92" fmla="*/ 518 w 642"/>
                <a:gd name="T93" fmla="*/ 128 h 613"/>
                <a:gd name="T94" fmla="*/ 511 w 642"/>
                <a:gd name="T95" fmla="*/ 198 h 613"/>
                <a:gd name="T96" fmla="*/ 501 w 642"/>
                <a:gd name="T97" fmla="*/ 246 h 613"/>
                <a:gd name="T98" fmla="*/ 535 w 642"/>
                <a:gd name="T99" fmla="*/ 283 h 613"/>
                <a:gd name="T100" fmla="*/ 453 w 642"/>
                <a:gd name="T101" fmla="*/ 261 h 613"/>
                <a:gd name="T102" fmla="*/ 431 w 642"/>
                <a:gd name="T103" fmla="*/ 317 h 613"/>
                <a:gd name="T104" fmla="*/ 489 w 642"/>
                <a:gd name="T105" fmla="*/ 418 h 613"/>
                <a:gd name="T106" fmla="*/ 460 w 642"/>
                <a:gd name="T107" fmla="*/ 405 h 613"/>
                <a:gd name="T108" fmla="*/ 408 w 642"/>
                <a:gd name="T109" fmla="*/ 316 h 613"/>
                <a:gd name="T110" fmla="*/ 390 w 642"/>
                <a:gd name="T111" fmla="*/ 229 h 613"/>
                <a:gd name="T112" fmla="*/ 381 w 642"/>
                <a:gd name="T113" fmla="*/ 196 h 613"/>
                <a:gd name="T114" fmla="*/ 388 w 642"/>
                <a:gd name="T115" fmla="*/ 126 h 613"/>
                <a:gd name="T116" fmla="*/ 419 w 642"/>
                <a:gd name="T117" fmla="*/ 73 h 613"/>
                <a:gd name="T118" fmla="*/ 458 w 642"/>
                <a:gd name="T119" fmla="*/ 37 h 613"/>
                <a:gd name="T120" fmla="*/ 512 w 642"/>
                <a:gd name="T121" fmla="*/ 63 h 613"/>
                <a:gd name="T122" fmla="*/ 480 w 642"/>
                <a:gd name="T123" fmla="*/ 2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13">
                  <a:moveTo>
                    <a:pt x="12" y="560"/>
                  </a:moveTo>
                  <a:lnTo>
                    <a:pt x="14" y="562"/>
                  </a:lnTo>
                  <a:lnTo>
                    <a:pt x="11" y="565"/>
                  </a:lnTo>
                  <a:lnTo>
                    <a:pt x="9" y="562"/>
                  </a:lnTo>
                  <a:lnTo>
                    <a:pt x="9" y="557"/>
                  </a:lnTo>
                  <a:lnTo>
                    <a:pt x="12" y="560"/>
                  </a:lnTo>
                  <a:close/>
                  <a:moveTo>
                    <a:pt x="193" y="553"/>
                  </a:moveTo>
                  <a:lnTo>
                    <a:pt x="197" y="553"/>
                  </a:lnTo>
                  <a:lnTo>
                    <a:pt x="203" y="560"/>
                  </a:lnTo>
                  <a:lnTo>
                    <a:pt x="203" y="562"/>
                  </a:lnTo>
                  <a:lnTo>
                    <a:pt x="200" y="570"/>
                  </a:lnTo>
                  <a:lnTo>
                    <a:pt x="198" y="575"/>
                  </a:lnTo>
                  <a:lnTo>
                    <a:pt x="200" y="579"/>
                  </a:lnTo>
                  <a:lnTo>
                    <a:pt x="205" y="587"/>
                  </a:lnTo>
                  <a:lnTo>
                    <a:pt x="207" y="592"/>
                  </a:lnTo>
                  <a:lnTo>
                    <a:pt x="209" y="599"/>
                  </a:lnTo>
                  <a:lnTo>
                    <a:pt x="212" y="606"/>
                  </a:lnTo>
                  <a:lnTo>
                    <a:pt x="212" y="609"/>
                  </a:lnTo>
                  <a:lnTo>
                    <a:pt x="210" y="613"/>
                  </a:lnTo>
                  <a:lnTo>
                    <a:pt x="203" y="609"/>
                  </a:lnTo>
                  <a:lnTo>
                    <a:pt x="200" y="603"/>
                  </a:lnTo>
                  <a:lnTo>
                    <a:pt x="198" y="594"/>
                  </a:lnTo>
                  <a:lnTo>
                    <a:pt x="195" y="589"/>
                  </a:lnTo>
                  <a:lnTo>
                    <a:pt x="190" y="582"/>
                  </a:lnTo>
                  <a:lnTo>
                    <a:pt x="190" y="577"/>
                  </a:lnTo>
                  <a:lnTo>
                    <a:pt x="186" y="567"/>
                  </a:lnTo>
                  <a:lnTo>
                    <a:pt x="186" y="563"/>
                  </a:lnTo>
                  <a:lnTo>
                    <a:pt x="192" y="555"/>
                  </a:lnTo>
                  <a:lnTo>
                    <a:pt x="193" y="553"/>
                  </a:lnTo>
                  <a:close/>
                  <a:moveTo>
                    <a:pt x="5" y="553"/>
                  </a:moveTo>
                  <a:lnTo>
                    <a:pt x="9" y="553"/>
                  </a:lnTo>
                  <a:lnTo>
                    <a:pt x="9" y="562"/>
                  </a:lnTo>
                  <a:lnTo>
                    <a:pt x="2" y="558"/>
                  </a:lnTo>
                  <a:lnTo>
                    <a:pt x="2" y="557"/>
                  </a:lnTo>
                  <a:lnTo>
                    <a:pt x="0" y="557"/>
                  </a:lnTo>
                  <a:lnTo>
                    <a:pt x="2" y="553"/>
                  </a:lnTo>
                  <a:lnTo>
                    <a:pt x="5" y="553"/>
                  </a:lnTo>
                  <a:close/>
                  <a:moveTo>
                    <a:pt x="402" y="534"/>
                  </a:moveTo>
                  <a:lnTo>
                    <a:pt x="400" y="538"/>
                  </a:lnTo>
                  <a:lnTo>
                    <a:pt x="395" y="538"/>
                  </a:lnTo>
                  <a:lnTo>
                    <a:pt x="393" y="539"/>
                  </a:lnTo>
                  <a:lnTo>
                    <a:pt x="395" y="536"/>
                  </a:lnTo>
                  <a:lnTo>
                    <a:pt x="402" y="534"/>
                  </a:lnTo>
                  <a:close/>
                  <a:moveTo>
                    <a:pt x="260" y="533"/>
                  </a:moveTo>
                  <a:lnTo>
                    <a:pt x="258" y="533"/>
                  </a:lnTo>
                  <a:lnTo>
                    <a:pt x="262" y="533"/>
                  </a:lnTo>
                  <a:lnTo>
                    <a:pt x="263" y="534"/>
                  </a:lnTo>
                  <a:lnTo>
                    <a:pt x="260" y="538"/>
                  </a:lnTo>
                  <a:lnTo>
                    <a:pt x="255" y="536"/>
                  </a:lnTo>
                  <a:lnTo>
                    <a:pt x="251" y="536"/>
                  </a:lnTo>
                  <a:lnTo>
                    <a:pt x="246" y="536"/>
                  </a:lnTo>
                  <a:lnTo>
                    <a:pt x="255" y="534"/>
                  </a:lnTo>
                  <a:lnTo>
                    <a:pt x="256" y="533"/>
                  </a:lnTo>
                  <a:lnTo>
                    <a:pt x="260" y="533"/>
                  </a:lnTo>
                  <a:close/>
                  <a:moveTo>
                    <a:pt x="134" y="531"/>
                  </a:moveTo>
                  <a:lnTo>
                    <a:pt x="134" y="533"/>
                  </a:lnTo>
                  <a:lnTo>
                    <a:pt x="135" y="533"/>
                  </a:lnTo>
                  <a:lnTo>
                    <a:pt x="139" y="533"/>
                  </a:lnTo>
                  <a:lnTo>
                    <a:pt x="139" y="529"/>
                  </a:lnTo>
                  <a:lnTo>
                    <a:pt x="142" y="529"/>
                  </a:lnTo>
                  <a:lnTo>
                    <a:pt x="140" y="533"/>
                  </a:lnTo>
                  <a:lnTo>
                    <a:pt x="144" y="534"/>
                  </a:lnTo>
                  <a:lnTo>
                    <a:pt x="144" y="533"/>
                  </a:lnTo>
                  <a:lnTo>
                    <a:pt x="144" y="534"/>
                  </a:lnTo>
                  <a:lnTo>
                    <a:pt x="149" y="531"/>
                  </a:lnTo>
                  <a:lnTo>
                    <a:pt x="149" y="534"/>
                  </a:lnTo>
                  <a:lnTo>
                    <a:pt x="156" y="533"/>
                  </a:lnTo>
                  <a:lnTo>
                    <a:pt x="161" y="536"/>
                  </a:lnTo>
                  <a:lnTo>
                    <a:pt x="168" y="536"/>
                  </a:lnTo>
                  <a:lnTo>
                    <a:pt x="169" y="534"/>
                  </a:lnTo>
                  <a:lnTo>
                    <a:pt x="171" y="536"/>
                  </a:lnTo>
                  <a:lnTo>
                    <a:pt x="174" y="533"/>
                  </a:lnTo>
                  <a:lnTo>
                    <a:pt x="176" y="534"/>
                  </a:lnTo>
                  <a:lnTo>
                    <a:pt x="178" y="533"/>
                  </a:lnTo>
                  <a:lnTo>
                    <a:pt x="181" y="534"/>
                  </a:lnTo>
                  <a:lnTo>
                    <a:pt x="190" y="533"/>
                  </a:lnTo>
                  <a:lnTo>
                    <a:pt x="193" y="531"/>
                  </a:lnTo>
                  <a:lnTo>
                    <a:pt x="198" y="533"/>
                  </a:lnTo>
                  <a:lnTo>
                    <a:pt x="200" y="531"/>
                  </a:lnTo>
                  <a:lnTo>
                    <a:pt x="203" y="533"/>
                  </a:lnTo>
                  <a:lnTo>
                    <a:pt x="210" y="533"/>
                  </a:lnTo>
                  <a:lnTo>
                    <a:pt x="219" y="534"/>
                  </a:lnTo>
                  <a:lnTo>
                    <a:pt x="227" y="533"/>
                  </a:lnTo>
                  <a:lnTo>
                    <a:pt x="229" y="534"/>
                  </a:lnTo>
                  <a:lnTo>
                    <a:pt x="236" y="534"/>
                  </a:lnTo>
                  <a:lnTo>
                    <a:pt x="241" y="536"/>
                  </a:lnTo>
                  <a:lnTo>
                    <a:pt x="244" y="533"/>
                  </a:lnTo>
                  <a:lnTo>
                    <a:pt x="246" y="534"/>
                  </a:lnTo>
                  <a:lnTo>
                    <a:pt x="243" y="538"/>
                  </a:lnTo>
                  <a:lnTo>
                    <a:pt x="234" y="541"/>
                  </a:lnTo>
                  <a:lnTo>
                    <a:pt x="229" y="539"/>
                  </a:lnTo>
                  <a:lnTo>
                    <a:pt x="221" y="543"/>
                  </a:lnTo>
                  <a:lnTo>
                    <a:pt x="212" y="543"/>
                  </a:lnTo>
                  <a:lnTo>
                    <a:pt x="202" y="546"/>
                  </a:lnTo>
                  <a:lnTo>
                    <a:pt x="198" y="546"/>
                  </a:lnTo>
                  <a:lnTo>
                    <a:pt x="195" y="550"/>
                  </a:lnTo>
                  <a:lnTo>
                    <a:pt x="185" y="543"/>
                  </a:lnTo>
                  <a:lnTo>
                    <a:pt x="180" y="546"/>
                  </a:lnTo>
                  <a:lnTo>
                    <a:pt x="178" y="548"/>
                  </a:lnTo>
                  <a:lnTo>
                    <a:pt x="176" y="546"/>
                  </a:lnTo>
                  <a:lnTo>
                    <a:pt x="176" y="548"/>
                  </a:lnTo>
                  <a:lnTo>
                    <a:pt x="174" y="548"/>
                  </a:lnTo>
                  <a:lnTo>
                    <a:pt x="164" y="548"/>
                  </a:lnTo>
                  <a:lnTo>
                    <a:pt x="154" y="548"/>
                  </a:lnTo>
                  <a:lnTo>
                    <a:pt x="147" y="550"/>
                  </a:lnTo>
                  <a:lnTo>
                    <a:pt x="144" y="548"/>
                  </a:lnTo>
                  <a:lnTo>
                    <a:pt x="135" y="550"/>
                  </a:lnTo>
                  <a:lnTo>
                    <a:pt x="137" y="548"/>
                  </a:lnTo>
                  <a:lnTo>
                    <a:pt x="137" y="543"/>
                  </a:lnTo>
                  <a:lnTo>
                    <a:pt x="132" y="541"/>
                  </a:lnTo>
                  <a:lnTo>
                    <a:pt x="132" y="539"/>
                  </a:lnTo>
                  <a:lnTo>
                    <a:pt x="130" y="539"/>
                  </a:lnTo>
                  <a:lnTo>
                    <a:pt x="128" y="538"/>
                  </a:lnTo>
                  <a:lnTo>
                    <a:pt x="127" y="543"/>
                  </a:lnTo>
                  <a:lnTo>
                    <a:pt x="123" y="539"/>
                  </a:lnTo>
                  <a:lnTo>
                    <a:pt x="123" y="536"/>
                  </a:lnTo>
                  <a:lnTo>
                    <a:pt x="127" y="533"/>
                  </a:lnTo>
                  <a:lnTo>
                    <a:pt x="130" y="533"/>
                  </a:lnTo>
                  <a:lnTo>
                    <a:pt x="127" y="531"/>
                  </a:lnTo>
                  <a:lnTo>
                    <a:pt x="128" y="529"/>
                  </a:lnTo>
                  <a:lnTo>
                    <a:pt x="134" y="531"/>
                  </a:lnTo>
                  <a:close/>
                  <a:moveTo>
                    <a:pt x="5" y="527"/>
                  </a:moveTo>
                  <a:lnTo>
                    <a:pt x="5" y="529"/>
                  </a:lnTo>
                  <a:lnTo>
                    <a:pt x="5" y="527"/>
                  </a:lnTo>
                  <a:close/>
                  <a:moveTo>
                    <a:pt x="149" y="527"/>
                  </a:moveTo>
                  <a:lnTo>
                    <a:pt x="151" y="529"/>
                  </a:lnTo>
                  <a:lnTo>
                    <a:pt x="145" y="529"/>
                  </a:lnTo>
                  <a:lnTo>
                    <a:pt x="149" y="527"/>
                  </a:lnTo>
                  <a:close/>
                  <a:moveTo>
                    <a:pt x="0" y="526"/>
                  </a:moveTo>
                  <a:lnTo>
                    <a:pt x="2" y="531"/>
                  </a:lnTo>
                  <a:lnTo>
                    <a:pt x="0" y="529"/>
                  </a:lnTo>
                  <a:lnTo>
                    <a:pt x="0" y="526"/>
                  </a:lnTo>
                  <a:close/>
                  <a:moveTo>
                    <a:pt x="5" y="519"/>
                  </a:moveTo>
                  <a:lnTo>
                    <a:pt x="7" y="519"/>
                  </a:lnTo>
                  <a:lnTo>
                    <a:pt x="7" y="522"/>
                  </a:lnTo>
                  <a:lnTo>
                    <a:pt x="5" y="522"/>
                  </a:lnTo>
                  <a:lnTo>
                    <a:pt x="5" y="519"/>
                  </a:lnTo>
                  <a:close/>
                  <a:moveTo>
                    <a:pt x="79" y="516"/>
                  </a:moveTo>
                  <a:lnTo>
                    <a:pt x="81" y="516"/>
                  </a:lnTo>
                  <a:lnTo>
                    <a:pt x="81" y="517"/>
                  </a:lnTo>
                  <a:lnTo>
                    <a:pt x="79" y="517"/>
                  </a:lnTo>
                  <a:lnTo>
                    <a:pt x="79" y="516"/>
                  </a:lnTo>
                  <a:close/>
                  <a:moveTo>
                    <a:pt x="84" y="516"/>
                  </a:moveTo>
                  <a:lnTo>
                    <a:pt x="87" y="516"/>
                  </a:lnTo>
                  <a:lnTo>
                    <a:pt x="84" y="517"/>
                  </a:lnTo>
                  <a:lnTo>
                    <a:pt x="84" y="516"/>
                  </a:lnTo>
                  <a:close/>
                  <a:moveTo>
                    <a:pt x="28" y="512"/>
                  </a:moveTo>
                  <a:lnTo>
                    <a:pt x="28" y="516"/>
                  </a:lnTo>
                  <a:lnTo>
                    <a:pt x="31" y="512"/>
                  </a:lnTo>
                  <a:lnTo>
                    <a:pt x="41" y="512"/>
                  </a:lnTo>
                  <a:lnTo>
                    <a:pt x="50" y="514"/>
                  </a:lnTo>
                  <a:lnTo>
                    <a:pt x="55" y="517"/>
                  </a:lnTo>
                  <a:lnTo>
                    <a:pt x="58" y="516"/>
                  </a:lnTo>
                  <a:lnTo>
                    <a:pt x="62" y="519"/>
                  </a:lnTo>
                  <a:lnTo>
                    <a:pt x="62" y="517"/>
                  </a:lnTo>
                  <a:lnTo>
                    <a:pt x="69" y="517"/>
                  </a:lnTo>
                  <a:lnTo>
                    <a:pt x="72" y="521"/>
                  </a:lnTo>
                  <a:lnTo>
                    <a:pt x="74" y="519"/>
                  </a:lnTo>
                  <a:lnTo>
                    <a:pt x="75" y="521"/>
                  </a:lnTo>
                  <a:lnTo>
                    <a:pt x="79" y="519"/>
                  </a:lnTo>
                  <a:lnTo>
                    <a:pt x="81" y="521"/>
                  </a:lnTo>
                  <a:lnTo>
                    <a:pt x="84" y="522"/>
                  </a:lnTo>
                  <a:lnTo>
                    <a:pt x="84" y="524"/>
                  </a:lnTo>
                  <a:lnTo>
                    <a:pt x="87" y="522"/>
                  </a:lnTo>
                  <a:lnTo>
                    <a:pt x="86" y="526"/>
                  </a:lnTo>
                  <a:lnTo>
                    <a:pt x="87" y="527"/>
                  </a:lnTo>
                  <a:lnTo>
                    <a:pt x="89" y="526"/>
                  </a:lnTo>
                  <a:lnTo>
                    <a:pt x="91" y="529"/>
                  </a:lnTo>
                  <a:lnTo>
                    <a:pt x="93" y="526"/>
                  </a:lnTo>
                  <a:lnTo>
                    <a:pt x="93" y="529"/>
                  </a:lnTo>
                  <a:lnTo>
                    <a:pt x="98" y="526"/>
                  </a:lnTo>
                  <a:lnTo>
                    <a:pt x="94" y="526"/>
                  </a:lnTo>
                  <a:lnTo>
                    <a:pt x="98" y="524"/>
                  </a:lnTo>
                  <a:lnTo>
                    <a:pt x="96" y="524"/>
                  </a:lnTo>
                  <a:lnTo>
                    <a:pt x="98" y="519"/>
                  </a:lnTo>
                  <a:lnTo>
                    <a:pt x="99" y="519"/>
                  </a:lnTo>
                  <a:lnTo>
                    <a:pt x="103" y="522"/>
                  </a:lnTo>
                  <a:lnTo>
                    <a:pt x="104" y="519"/>
                  </a:lnTo>
                  <a:lnTo>
                    <a:pt x="110" y="522"/>
                  </a:lnTo>
                  <a:lnTo>
                    <a:pt x="106" y="529"/>
                  </a:lnTo>
                  <a:lnTo>
                    <a:pt x="110" y="531"/>
                  </a:lnTo>
                  <a:lnTo>
                    <a:pt x="111" y="527"/>
                  </a:lnTo>
                  <a:lnTo>
                    <a:pt x="111" y="524"/>
                  </a:lnTo>
                  <a:lnTo>
                    <a:pt x="115" y="522"/>
                  </a:lnTo>
                  <a:lnTo>
                    <a:pt x="120" y="524"/>
                  </a:lnTo>
                  <a:lnTo>
                    <a:pt x="120" y="529"/>
                  </a:lnTo>
                  <a:lnTo>
                    <a:pt x="116" y="531"/>
                  </a:lnTo>
                  <a:lnTo>
                    <a:pt x="123" y="531"/>
                  </a:lnTo>
                  <a:lnTo>
                    <a:pt x="122" y="538"/>
                  </a:lnTo>
                  <a:lnTo>
                    <a:pt x="123" y="543"/>
                  </a:lnTo>
                  <a:lnTo>
                    <a:pt x="116" y="543"/>
                  </a:lnTo>
                  <a:lnTo>
                    <a:pt x="113" y="541"/>
                  </a:lnTo>
                  <a:lnTo>
                    <a:pt x="108" y="543"/>
                  </a:lnTo>
                  <a:lnTo>
                    <a:pt x="101" y="541"/>
                  </a:lnTo>
                  <a:lnTo>
                    <a:pt x="96" y="545"/>
                  </a:lnTo>
                  <a:lnTo>
                    <a:pt x="89" y="543"/>
                  </a:lnTo>
                  <a:lnTo>
                    <a:pt x="86" y="545"/>
                  </a:lnTo>
                  <a:lnTo>
                    <a:pt x="87" y="548"/>
                  </a:lnTo>
                  <a:lnTo>
                    <a:pt x="86" y="550"/>
                  </a:lnTo>
                  <a:lnTo>
                    <a:pt x="84" y="548"/>
                  </a:lnTo>
                  <a:lnTo>
                    <a:pt x="82" y="548"/>
                  </a:lnTo>
                  <a:lnTo>
                    <a:pt x="72" y="548"/>
                  </a:lnTo>
                  <a:lnTo>
                    <a:pt x="69" y="543"/>
                  </a:lnTo>
                  <a:lnTo>
                    <a:pt x="62" y="545"/>
                  </a:lnTo>
                  <a:lnTo>
                    <a:pt x="57" y="546"/>
                  </a:lnTo>
                  <a:lnTo>
                    <a:pt x="48" y="550"/>
                  </a:lnTo>
                  <a:lnTo>
                    <a:pt x="46" y="553"/>
                  </a:lnTo>
                  <a:lnTo>
                    <a:pt x="45" y="553"/>
                  </a:lnTo>
                  <a:lnTo>
                    <a:pt x="40" y="555"/>
                  </a:lnTo>
                  <a:lnTo>
                    <a:pt x="31" y="557"/>
                  </a:lnTo>
                  <a:lnTo>
                    <a:pt x="28" y="558"/>
                  </a:lnTo>
                  <a:lnTo>
                    <a:pt x="26" y="558"/>
                  </a:lnTo>
                  <a:lnTo>
                    <a:pt x="23" y="560"/>
                  </a:lnTo>
                  <a:lnTo>
                    <a:pt x="14" y="558"/>
                  </a:lnTo>
                  <a:lnTo>
                    <a:pt x="12" y="560"/>
                  </a:lnTo>
                  <a:lnTo>
                    <a:pt x="12" y="553"/>
                  </a:lnTo>
                  <a:lnTo>
                    <a:pt x="11" y="550"/>
                  </a:lnTo>
                  <a:lnTo>
                    <a:pt x="5" y="543"/>
                  </a:lnTo>
                  <a:lnTo>
                    <a:pt x="5" y="538"/>
                  </a:lnTo>
                  <a:lnTo>
                    <a:pt x="7" y="531"/>
                  </a:lnTo>
                  <a:lnTo>
                    <a:pt x="9" y="526"/>
                  </a:lnTo>
                  <a:lnTo>
                    <a:pt x="9" y="522"/>
                  </a:lnTo>
                  <a:lnTo>
                    <a:pt x="11" y="521"/>
                  </a:lnTo>
                  <a:lnTo>
                    <a:pt x="9" y="522"/>
                  </a:lnTo>
                  <a:lnTo>
                    <a:pt x="9" y="521"/>
                  </a:lnTo>
                  <a:lnTo>
                    <a:pt x="12" y="516"/>
                  </a:lnTo>
                  <a:lnTo>
                    <a:pt x="17" y="516"/>
                  </a:lnTo>
                  <a:lnTo>
                    <a:pt x="24" y="516"/>
                  </a:lnTo>
                  <a:lnTo>
                    <a:pt x="28" y="512"/>
                  </a:lnTo>
                  <a:close/>
                  <a:moveTo>
                    <a:pt x="485" y="509"/>
                  </a:moveTo>
                  <a:lnTo>
                    <a:pt x="487" y="510"/>
                  </a:lnTo>
                  <a:lnTo>
                    <a:pt x="487" y="514"/>
                  </a:lnTo>
                  <a:lnTo>
                    <a:pt x="482" y="516"/>
                  </a:lnTo>
                  <a:lnTo>
                    <a:pt x="480" y="514"/>
                  </a:lnTo>
                  <a:lnTo>
                    <a:pt x="482" y="510"/>
                  </a:lnTo>
                  <a:lnTo>
                    <a:pt x="485" y="509"/>
                  </a:lnTo>
                  <a:close/>
                  <a:moveTo>
                    <a:pt x="21" y="505"/>
                  </a:moveTo>
                  <a:lnTo>
                    <a:pt x="23" y="505"/>
                  </a:lnTo>
                  <a:lnTo>
                    <a:pt x="23" y="509"/>
                  </a:lnTo>
                  <a:lnTo>
                    <a:pt x="21" y="509"/>
                  </a:lnTo>
                  <a:lnTo>
                    <a:pt x="21" y="505"/>
                  </a:lnTo>
                  <a:close/>
                  <a:moveTo>
                    <a:pt x="454" y="504"/>
                  </a:moveTo>
                  <a:lnTo>
                    <a:pt x="456" y="504"/>
                  </a:lnTo>
                  <a:lnTo>
                    <a:pt x="456" y="505"/>
                  </a:lnTo>
                  <a:lnTo>
                    <a:pt x="454" y="505"/>
                  </a:lnTo>
                  <a:lnTo>
                    <a:pt x="454" y="504"/>
                  </a:lnTo>
                  <a:close/>
                  <a:moveTo>
                    <a:pt x="442" y="495"/>
                  </a:moveTo>
                  <a:lnTo>
                    <a:pt x="444" y="495"/>
                  </a:lnTo>
                  <a:lnTo>
                    <a:pt x="444" y="497"/>
                  </a:lnTo>
                  <a:lnTo>
                    <a:pt x="442" y="497"/>
                  </a:lnTo>
                  <a:lnTo>
                    <a:pt x="442" y="495"/>
                  </a:lnTo>
                  <a:close/>
                  <a:moveTo>
                    <a:pt x="372" y="497"/>
                  </a:moveTo>
                  <a:lnTo>
                    <a:pt x="371" y="498"/>
                  </a:lnTo>
                  <a:lnTo>
                    <a:pt x="369" y="498"/>
                  </a:lnTo>
                  <a:lnTo>
                    <a:pt x="371" y="495"/>
                  </a:lnTo>
                  <a:lnTo>
                    <a:pt x="372" y="497"/>
                  </a:lnTo>
                  <a:close/>
                  <a:moveTo>
                    <a:pt x="553" y="481"/>
                  </a:moveTo>
                  <a:lnTo>
                    <a:pt x="555" y="481"/>
                  </a:lnTo>
                  <a:lnTo>
                    <a:pt x="555" y="485"/>
                  </a:lnTo>
                  <a:lnTo>
                    <a:pt x="553" y="485"/>
                  </a:lnTo>
                  <a:lnTo>
                    <a:pt x="553" y="481"/>
                  </a:lnTo>
                  <a:close/>
                  <a:moveTo>
                    <a:pt x="366" y="483"/>
                  </a:moveTo>
                  <a:lnTo>
                    <a:pt x="367" y="480"/>
                  </a:lnTo>
                  <a:lnTo>
                    <a:pt x="367" y="481"/>
                  </a:lnTo>
                  <a:lnTo>
                    <a:pt x="369" y="480"/>
                  </a:lnTo>
                  <a:lnTo>
                    <a:pt x="369" y="481"/>
                  </a:lnTo>
                  <a:lnTo>
                    <a:pt x="372" y="485"/>
                  </a:lnTo>
                  <a:lnTo>
                    <a:pt x="364" y="492"/>
                  </a:lnTo>
                  <a:lnTo>
                    <a:pt x="357" y="487"/>
                  </a:lnTo>
                  <a:lnTo>
                    <a:pt x="362" y="483"/>
                  </a:lnTo>
                  <a:lnTo>
                    <a:pt x="362" y="480"/>
                  </a:lnTo>
                  <a:lnTo>
                    <a:pt x="364" y="483"/>
                  </a:lnTo>
                  <a:lnTo>
                    <a:pt x="366" y="480"/>
                  </a:lnTo>
                  <a:lnTo>
                    <a:pt x="366" y="483"/>
                  </a:lnTo>
                  <a:close/>
                  <a:moveTo>
                    <a:pt x="402" y="476"/>
                  </a:moveTo>
                  <a:lnTo>
                    <a:pt x="403" y="478"/>
                  </a:lnTo>
                  <a:lnTo>
                    <a:pt x="405" y="476"/>
                  </a:lnTo>
                  <a:lnTo>
                    <a:pt x="408" y="478"/>
                  </a:lnTo>
                  <a:lnTo>
                    <a:pt x="408" y="476"/>
                  </a:lnTo>
                  <a:lnTo>
                    <a:pt x="415" y="478"/>
                  </a:lnTo>
                  <a:lnTo>
                    <a:pt x="417" y="481"/>
                  </a:lnTo>
                  <a:lnTo>
                    <a:pt x="419" y="481"/>
                  </a:lnTo>
                  <a:lnTo>
                    <a:pt x="420" y="485"/>
                  </a:lnTo>
                  <a:lnTo>
                    <a:pt x="425" y="487"/>
                  </a:lnTo>
                  <a:lnTo>
                    <a:pt x="424" y="488"/>
                  </a:lnTo>
                  <a:lnTo>
                    <a:pt x="429" y="488"/>
                  </a:lnTo>
                  <a:lnTo>
                    <a:pt x="431" y="487"/>
                  </a:lnTo>
                  <a:lnTo>
                    <a:pt x="436" y="490"/>
                  </a:lnTo>
                  <a:lnTo>
                    <a:pt x="442" y="498"/>
                  </a:lnTo>
                  <a:lnTo>
                    <a:pt x="444" y="497"/>
                  </a:lnTo>
                  <a:lnTo>
                    <a:pt x="451" y="504"/>
                  </a:lnTo>
                  <a:lnTo>
                    <a:pt x="453" y="504"/>
                  </a:lnTo>
                  <a:lnTo>
                    <a:pt x="453" y="505"/>
                  </a:lnTo>
                  <a:lnTo>
                    <a:pt x="456" y="505"/>
                  </a:lnTo>
                  <a:lnTo>
                    <a:pt x="458" y="504"/>
                  </a:lnTo>
                  <a:lnTo>
                    <a:pt x="465" y="510"/>
                  </a:lnTo>
                  <a:lnTo>
                    <a:pt x="463" y="519"/>
                  </a:lnTo>
                  <a:lnTo>
                    <a:pt x="454" y="522"/>
                  </a:lnTo>
                  <a:lnTo>
                    <a:pt x="446" y="524"/>
                  </a:lnTo>
                  <a:lnTo>
                    <a:pt x="442" y="521"/>
                  </a:lnTo>
                  <a:lnTo>
                    <a:pt x="432" y="519"/>
                  </a:lnTo>
                  <a:lnTo>
                    <a:pt x="431" y="519"/>
                  </a:lnTo>
                  <a:lnTo>
                    <a:pt x="422" y="521"/>
                  </a:lnTo>
                  <a:lnTo>
                    <a:pt x="415" y="519"/>
                  </a:lnTo>
                  <a:lnTo>
                    <a:pt x="412" y="519"/>
                  </a:lnTo>
                  <a:lnTo>
                    <a:pt x="410" y="519"/>
                  </a:lnTo>
                  <a:lnTo>
                    <a:pt x="405" y="521"/>
                  </a:lnTo>
                  <a:lnTo>
                    <a:pt x="403" y="524"/>
                  </a:lnTo>
                  <a:lnTo>
                    <a:pt x="398" y="522"/>
                  </a:lnTo>
                  <a:lnTo>
                    <a:pt x="395" y="524"/>
                  </a:lnTo>
                  <a:lnTo>
                    <a:pt x="386" y="522"/>
                  </a:lnTo>
                  <a:lnTo>
                    <a:pt x="384" y="522"/>
                  </a:lnTo>
                  <a:lnTo>
                    <a:pt x="376" y="517"/>
                  </a:lnTo>
                  <a:lnTo>
                    <a:pt x="374" y="516"/>
                  </a:lnTo>
                  <a:lnTo>
                    <a:pt x="372" y="516"/>
                  </a:lnTo>
                  <a:lnTo>
                    <a:pt x="371" y="510"/>
                  </a:lnTo>
                  <a:lnTo>
                    <a:pt x="374" y="504"/>
                  </a:lnTo>
                  <a:lnTo>
                    <a:pt x="372" y="500"/>
                  </a:lnTo>
                  <a:lnTo>
                    <a:pt x="376" y="497"/>
                  </a:lnTo>
                  <a:lnTo>
                    <a:pt x="374" y="493"/>
                  </a:lnTo>
                  <a:lnTo>
                    <a:pt x="378" y="488"/>
                  </a:lnTo>
                  <a:lnTo>
                    <a:pt x="374" y="487"/>
                  </a:lnTo>
                  <a:lnTo>
                    <a:pt x="378" y="485"/>
                  </a:lnTo>
                  <a:lnTo>
                    <a:pt x="376" y="487"/>
                  </a:lnTo>
                  <a:lnTo>
                    <a:pt x="383" y="490"/>
                  </a:lnTo>
                  <a:lnTo>
                    <a:pt x="383" y="488"/>
                  </a:lnTo>
                  <a:lnTo>
                    <a:pt x="384" y="490"/>
                  </a:lnTo>
                  <a:lnTo>
                    <a:pt x="386" y="487"/>
                  </a:lnTo>
                  <a:lnTo>
                    <a:pt x="393" y="480"/>
                  </a:lnTo>
                  <a:lnTo>
                    <a:pt x="402" y="476"/>
                  </a:lnTo>
                  <a:close/>
                  <a:moveTo>
                    <a:pt x="372" y="475"/>
                  </a:moveTo>
                  <a:lnTo>
                    <a:pt x="376" y="475"/>
                  </a:lnTo>
                  <a:lnTo>
                    <a:pt x="374" y="476"/>
                  </a:lnTo>
                  <a:lnTo>
                    <a:pt x="371" y="476"/>
                  </a:lnTo>
                  <a:lnTo>
                    <a:pt x="369" y="475"/>
                  </a:lnTo>
                  <a:lnTo>
                    <a:pt x="372" y="475"/>
                  </a:lnTo>
                  <a:close/>
                  <a:moveTo>
                    <a:pt x="391" y="457"/>
                  </a:moveTo>
                  <a:lnTo>
                    <a:pt x="396" y="461"/>
                  </a:lnTo>
                  <a:lnTo>
                    <a:pt x="398" y="461"/>
                  </a:lnTo>
                  <a:lnTo>
                    <a:pt x="408" y="464"/>
                  </a:lnTo>
                  <a:lnTo>
                    <a:pt x="407" y="471"/>
                  </a:lnTo>
                  <a:lnTo>
                    <a:pt x="400" y="469"/>
                  </a:lnTo>
                  <a:lnTo>
                    <a:pt x="391" y="466"/>
                  </a:lnTo>
                  <a:lnTo>
                    <a:pt x="383" y="469"/>
                  </a:lnTo>
                  <a:lnTo>
                    <a:pt x="381" y="468"/>
                  </a:lnTo>
                  <a:lnTo>
                    <a:pt x="379" y="464"/>
                  </a:lnTo>
                  <a:lnTo>
                    <a:pt x="384" y="461"/>
                  </a:lnTo>
                  <a:lnTo>
                    <a:pt x="386" y="457"/>
                  </a:lnTo>
                  <a:lnTo>
                    <a:pt x="391" y="457"/>
                  </a:lnTo>
                  <a:close/>
                  <a:moveTo>
                    <a:pt x="494" y="454"/>
                  </a:moveTo>
                  <a:lnTo>
                    <a:pt x="495" y="454"/>
                  </a:lnTo>
                  <a:lnTo>
                    <a:pt x="495" y="456"/>
                  </a:lnTo>
                  <a:lnTo>
                    <a:pt x="494" y="456"/>
                  </a:lnTo>
                  <a:lnTo>
                    <a:pt x="494" y="454"/>
                  </a:lnTo>
                  <a:close/>
                  <a:moveTo>
                    <a:pt x="372" y="452"/>
                  </a:moveTo>
                  <a:lnTo>
                    <a:pt x="378" y="459"/>
                  </a:lnTo>
                  <a:lnTo>
                    <a:pt x="376" y="463"/>
                  </a:lnTo>
                  <a:lnTo>
                    <a:pt x="372" y="461"/>
                  </a:lnTo>
                  <a:lnTo>
                    <a:pt x="372" y="456"/>
                  </a:lnTo>
                  <a:lnTo>
                    <a:pt x="371" y="454"/>
                  </a:lnTo>
                  <a:lnTo>
                    <a:pt x="372" y="452"/>
                  </a:lnTo>
                  <a:close/>
                  <a:moveTo>
                    <a:pt x="489" y="452"/>
                  </a:moveTo>
                  <a:lnTo>
                    <a:pt x="492" y="454"/>
                  </a:lnTo>
                  <a:lnTo>
                    <a:pt x="489" y="452"/>
                  </a:lnTo>
                  <a:close/>
                  <a:moveTo>
                    <a:pt x="490" y="446"/>
                  </a:moveTo>
                  <a:lnTo>
                    <a:pt x="494" y="447"/>
                  </a:lnTo>
                  <a:lnTo>
                    <a:pt x="499" y="452"/>
                  </a:lnTo>
                  <a:lnTo>
                    <a:pt x="494" y="449"/>
                  </a:lnTo>
                  <a:lnTo>
                    <a:pt x="487" y="451"/>
                  </a:lnTo>
                  <a:lnTo>
                    <a:pt x="487" y="447"/>
                  </a:lnTo>
                  <a:lnTo>
                    <a:pt x="485" y="447"/>
                  </a:lnTo>
                  <a:lnTo>
                    <a:pt x="487" y="446"/>
                  </a:lnTo>
                  <a:lnTo>
                    <a:pt x="490" y="446"/>
                  </a:lnTo>
                  <a:close/>
                  <a:moveTo>
                    <a:pt x="472" y="442"/>
                  </a:moveTo>
                  <a:lnTo>
                    <a:pt x="475" y="442"/>
                  </a:lnTo>
                  <a:lnTo>
                    <a:pt x="475" y="444"/>
                  </a:lnTo>
                  <a:lnTo>
                    <a:pt x="472" y="444"/>
                  </a:lnTo>
                  <a:lnTo>
                    <a:pt x="472" y="442"/>
                  </a:lnTo>
                  <a:close/>
                  <a:moveTo>
                    <a:pt x="485" y="440"/>
                  </a:moveTo>
                  <a:lnTo>
                    <a:pt x="487" y="440"/>
                  </a:lnTo>
                  <a:lnTo>
                    <a:pt x="487" y="442"/>
                  </a:lnTo>
                  <a:lnTo>
                    <a:pt x="485" y="442"/>
                  </a:lnTo>
                  <a:lnTo>
                    <a:pt x="485" y="440"/>
                  </a:lnTo>
                  <a:close/>
                  <a:moveTo>
                    <a:pt x="482" y="428"/>
                  </a:moveTo>
                  <a:lnTo>
                    <a:pt x="485" y="430"/>
                  </a:lnTo>
                  <a:lnTo>
                    <a:pt x="485" y="434"/>
                  </a:lnTo>
                  <a:lnTo>
                    <a:pt x="485" y="432"/>
                  </a:lnTo>
                  <a:lnTo>
                    <a:pt x="490" y="437"/>
                  </a:lnTo>
                  <a:lnTo>
                    <a:pt x="492" y="435"/>
                  </a:lnTo>
                  <a:lnTo>
                    <a:pt x="494" y="439"/>
                  </a:lnTo>
                  <a:lnTo>
                    <a:pt x="487" y="442"/>
                  </a:lnTo>
                  <a:lnTo>
                    <a:pt x="483" y="439"/>
                  </a:lnTo>
                  <a:lnTo>
                    <a:pt x="485" y="434"/>
                  </a:lnTo>
                  <a:lnTo>
                    <a:pt x="480" y="432"/>
                  </a:lnTo>
                  <a:lnTo>
                    <a:pt x="482" y="428"/>
                  </a:lnTo>
                  <a:close/>
                  <a:moveTo>
                    <a:pt x="456" y="416"/>
                  </a:moveTo>
                  <a:lnTo>
                    <a:pt x="458" y="418"/>
                  </a:lnTo>
                  <a:lnTo>
                    <a:pt x="456" y="420"/>
                  </a:lnTo>
                  <a:lnTo>
                    <a:pt x="454" y="418"/>
                  </a:lnTo>
                  <a:lnTo>
                    <a:pt x="456" y="416"/>
                  </a:lnTo>
                  <a:close/>
                  <a:moveTo>
                    <a:pt x="343" y="406"/>
                  </a:moveTo>
                  <a:lnTo>
                    <a:pt x="347" y="410"/>
                  </a:lnTo>
                  <a:lnTo>
                    <a:pt x="343" y="408"/>
                  </a:lnTo>
                  <a:lnTo>
                    <a:pt x="343" y="406"/>
                  </a:lnTo>
                  <a:close/>
                  <a:moveTo>
                    <a:pt x="362" y="396"/>
                  </a:moveTo>
                  <a:lnTo>
                    <a:pt x="361" y="394"/>
                  </a:lnTo>
                  <a:lnTo>
                    <a:pt x="361" y="393"/>
                  </a:lnTo>
                  <a:lnTo>
                    <a:pt x="362" y="396"/>
                  </a:lnTo>
                  <a:close/>
                  <a:moveTo>
                    <a:pt x="516" y="393"/>
                  </a:moveTo>
                  <a:lnTo>
                    <a:pt x="518" y="394"/>
                  </a:lnTo>
                  <a:lnTo>
                    <a:pt x="516" y="394"/>
                  </a:lnTo>
                  <a:lnTo>
                    <a:pt x="516" y="393"/>
                  </a:lnTo>
                  <a:lnTo>
                    <a:pt x="512" y="393"/>
                  </a:lnTo>
                  <a:lnTo>
                    <a:pt x="516" y="393"/>
                  </a:lnTo>
                  <a:close/>
                  <a:moveTo>
                    <a:pt x="364" y="393"/>
                  </a:moveTo>
                  <a:lnTo>
                    <a:pt x="364" y="396"/>
                  </a:lnTo>
                  <a:lnTo>
                    <a:pt x="361" y="391"/>
                  </a:lnTo>
                  <a:lnTo>
                    <a:pt x="364" y="391"/>
                  </a:lnTo>
                  <a:lnTo>
                    <a:pt x="364" y="393"/>
                  </a:lnTo>
                  <a:close/>
                  <a:moveTo>
                    <a:pt x="354" y="389"/>
                  </a:moveTo>
                  <a:lnTo>
                    <a:pt x="357" y="391"/>
                  </a:lnTo>
                  <a:lnTo>
                    <a:pt x="354" y="391"/>
                  </a:lnTo>
                  <a:lnTo>
                    <a:pt x="355" y="394"/>
                  </a:lnTo>
                  <a:lnTo>
                    <a:pt x="361" y="398"/>
                  </a:lnTo>
                  <a:lnTo>
                    <a:pt x="359" y="399"/>
                  </a:lnTo>
                  <a:lnTo>
                    <a:pt x="359" y="405"/>
                  </a:lnTo>
                  <a:lnTo>
                    <a:pt x="364" y="411"/>
                  </a:lnTo>
                  <a:lnTo>
                    <a:pt x="362" y="411"/>
                  </a:lnTo>
                  <a:lnTo>
                    <a:pt x="359" y="411"/>
                  </a:lnTo>
                  <a:lnTo>
                    <a:pt x="354" y="408"/>
                  </a:lnTo>
                  <a:lnTo>
                    <a:pt x="352" y="410"/>
                  </a:lnTo>
                  <a:lnTo>
                    <a:pt x="349" y="410"/>
                  </a:lnTo>
                  <a:lnTo>
                    <a:pt x="343" y="406"/>
                  </a:lnTo>
                  <a:lnTo>
                    <a:pt x="345" y="401"/>
                  </a:lnTo>
                  <a:lnTo>
                    <a:pt x="347" y="399"/>
                  </a:lnTo>
                  <a:lnTo>
                    <a:pt x="347" y="398"/>
                  </a:lnTo>
                  <a:lnTo>
                    <a:pt x="350" y="398"/>
                  </a:lnTo>
                  <a:lnTo>
                    <a:pt x="350" y="393"/>
                  </a:lnTo>
                  <a:lnTo>
                    <a:pt x="347" y="391"/>
                  </a:lnTo>
                  <a:lnTo>
                    <a:pt x="354" y="389"/>
                  </a:lnTo>
                  <a:close/>
                  <a:moveTo>
                    <a:pt x="366" y="389"/>
                  </a:moveTo>
                  <a:lnTo>
                    <a:pt x="371" y="389"/>
                  </a:lnTo>
                  <a:lnTo>
                    <a:pt x="374" y="393"/>
                  </a:lnTo>
                  <a:lnTo>
                    <a:pt x="374" y="396"/>
                  </a:lnTo>
                  <a:lnTo>
                    <a:pt x="369" y="396"/>
                  </a:lnTo>
                  <a:lnTo>
                    <a:pt x="369" y="394"/>
                  </a:lnTo>
                  <a:lnTo>
                    <a:pt x="369" y="396"/>
                  </a:lnTo>
                  <a:lnTo>
                    <a:pt x="366" y="396"/>
                  </a:lnTo>
                  <a:lnTo>
                    <a:pt x="364" y="389"/>
                  </a:lnTo>
                  <a:lnTo>
                    <a:pt x="364" y="387"/>
                  </a:lnTo>
                  <a:lnTo>
                    <a:pt x="366" y="389"/>
                  </a:lnTo>
                  <a:close/>
                  <a:moveTo>
                    <a:pt x="504" y="387"/>
                  </a:moveTo>
                  <a:lnTo>
                    <a:pt x="506" y="387"/>
                  </a:lnTo>
                  <a:lnTo>
                    <a:pt x="506" y="391"/>
                  </a:lnTo>
                  <a:lnTo>
                    <a:pt x="504" y="391"/>
                  </a:lnTo>
                  <a:lnTo>
                    <a:pt x="504" y="387"/>
                  </a:lnTo>
                  <a:close/>
                  <a:moveTo>
                    <a:pt x="495" y="384"/>
                  </a:moveTo>
                  <a:lnTo>
                    <a:pt x="497" y="384"/>
                  </a:lnTo>
                  <a:lnTo>
                    <a:pt x="497" y="387"/>
                  </a:lnTo>
                  <a:lnTo>
                    <a:pt x="495" y="387"/>
                  </a:lnTo>
                  <a:lnTo>
                    <a:pt x="495" y="384"/>
                  </a:lnTo>
                  <a:close/>
                  <a:moveTo>
                    <a:pt x="485" y="384"/>
                  </a:moveTo>
                  <a:lnTo>
                    <a:pt x="487" y="386"/>
                  </a:lnTo>
                  <a:lnTo>
                    <a:pt x="483" y="386"/>
                  </a:lnTo>
                  <a:lnTo>
                    <a:pt x="485" y="384"/>
                  </a:lnTo>
                  <a:close/>
                  <a:moveTo>
                    <a:pt x="352" y="381"/>
                  </a:moveTo>
                  <a:lnTo>
                    <a:pt x="354" y="381"/>
                  </a:lnTo>
                  <a:lnTo>
                    <a:pt x="354" y="382"/>
                  </a:lnTo>
                  <a:lnTo>
                    <a:pt x="352" y="382"/>
                  </a:lnTo>
                  <a:lnTo>
                    <a:pt x="352" y="381"/>
                  </a:lnTo>
                  <a:close/>
                  <a:moveTo>
                    <a:pt x="490" y="381"/>
                  </a:moveTo>
                  <a:lnTo>
                    <a:pt x="494" y="382"/>
                  </a:lnTo>
                  <a:lnTo>
                    <a:pt x="494" y="384"/>
                  </a:lnTo>
                  <a:lnTo>
                    <a:pt x="489" y="381"/>
                  </a:lnTo>
                  <a:lnTo>
                    <a:pt x="487" y="382"/>
                  </a:lnTo>
                  <a:lnTo>
                    <a:pt x="490" y="384"/>
                  </a:lnTo>
                  <a:lnTo>
                    <a:pt x="482" y="382"/>
                  </a:lnTo>
                  <a:lnTo>
                    <a:pt x="489" y="379"/>
                  </a:lnTo>
                  <a:lnTo>
                    <a:pt x="490" y="381"/>
                  </a:lnTo>
                  <a:close/>
                  <a:moveTo>
                    <a:pt x="355" y="377"/>
                  </a:moveTo>
                  <a:lnTo>
                    <a:pt x="355" y="381"/>
                  </a:lnTo>
                  <a:lnTo>
                    <a:pt x="354" y="377"/>
                  </a:lnTo>
                  <a:lnTo>
                    <a:pt x="355" y="377"/>
                  </a:lnTo>
                  <a:close/>
                  <a:moveTo>
                    <a:pt x="359" y="375"/>
                  </a:moveTo>
                  <a:lnTo>
                    <a:pt x="361" y="375"/>
                  </a:lnTo>
                  <a:lnTo>
                    <a:pt x="359" y="379"/>
                  </a:lnTo>
                  <a:lnTo>
                    <a:pt x="357" y="377"/>
                  </a:lnTo>
                  <a:lnTo>
                    <a:pt x="357" y="375"/>
                  </a:lnTo>
                  <a:lnTo>
                    <a:pt x="359" y="375"/>
                  </a:lnTo>
                  <a:close/>
                  <a:moveTo>
                    <a:pt x="357" y="357"/>
                  </a:moveTo>
                  <a:lnTo>
                    <a:pt x="361" y="357"/>
                  </a:lnTo>
                  <a:lnTo>
                    <a:pt x="361" y="358"/>
                  </a:lnTo>
                  <a:lnTo>
                    <a:pt x="357" y="358"/>
                  </a:lnTo>
                  <a:lnTo>
                    <a:pt x="357" y="357"/>
                  </a:lnTo>
                  <a:close/>
                  <a:moveTo>
                    <a:pt x="413" y="355"/>
                  </a:moveTo>
                  <a:lnTo>
                    <a:pt x="417" y="362"/>
                  </a:lnTo>
                  <a:lnTo>
                    <a:pt x="413" y="362"/>
                  </a:lnTo>
                  <a:lnTo>
                    <a:pt x="412" y="364"/>
                  </a:lnTo>
                  <a:lnTo>
                    <a:pt x="413" y="355"/>
                  </a:lnTo>
                  <a:close/>
                  <a:moveTo>
                    <a:pt x="372" y="355"/>
                  </a:moveTo>
                  <a:lnTo>
                    <a:pt x="372" y="357"/>
                  </a:lnTo>
                  <a:lnTo>
                    <a:pt x="372" y="355"/>
                  </a:lnTo>
                  <a:close/>
                  <a:moveTo>
                    <a:pt x="388" y="353"/>
                  </a:moveTo>
                  <a:lnTo>
                    <a:pt x="390" y="353"/>
                  </a:lnTo>
                  <a:lnTo>
                    <a:pt x="393" y="355"/>
                  </a:lnTo>
                  <a:lnTo>
                    <a:pt x="395" y="362"/>
                  </a:lnTo>
                  <a:lnTo>
                    <a:pt x="398" y="362"/>
                  </a:lnTo>
                  <a:lnTo>
                    <a:pt x="398" y="365"/>
                  </a:lnTo>
                  <a:lnTo>
                    <a:pt x="402" y="365"/>
                  </a:lnTo>
                  <a:lnTo>
                    <a:pt x="403" y="369"/>
                  </a:lnTo>
                  <a:lnTo>
                    <a:pt x="407" y="370"/>
                  </a:lnTo>
                  <a:lnTo>
                    <a:pt x="403" y="379"/>
                  </a:lnTo>
                  <a:lnTo>
                    <a:pt x="396" y="386"/>
                  </a:lnTo>
                  <a:lnTo>
                    <a:pt x="396" y="387"/>
                  </a:lnTo>
                  <a:lnTo>
                    <a:pt x="396" y="393"/>
                  </a:lnTo>
                  <a:lnTo>
                    <a:pt x="402" y="393"/>
                  </a:lnTo>
                  <a:lnTo>
                    <a:pt x="402" y="398"/>
                  </a:lnTo>
                  <a:lnTo>
                    <a:pt x="403" y="401"/>
                  </a:lnTo>
                  <a:lnTo>
                    <a:pt x="407" y="401"/>
                  </a:lnTo>
                  <a:lnTo>
                    <a:pt x="410" y="399"/>
                  </a:lnTo>
                  <a:lnTo>
                    <a:pt x="415" y="399"/>
                  </a:lnTo>
                  <a:lnTo>
                    <a:pt x="420" y="398"/>
                  </a:lnTo>
                  <a:lnTo>
                    <a:pt x="429" y="403"/>
                  </a:lnTo>
                  <a:lnTo>
                    <a:pt x="429" y="406"/>
                  </a:lnTo>
                  <a:lnTo>
                    <a:pt x="432" y="410"/>
                  </a:lnTo>
                  <a:lnTo>
                    <a:pt x="432" y="411"/>
                  </a:lnTo>
                  <a:lnTo>
                    <a:pt x="429" y="410"/>
                  </a:lnTo>
                  <a:lnTo>
                    <a:pt x="432" y="413"/>
                  </a:lnTo>
                  <a:lnTo>
                    <a:pt x="431" y="411"/>
                  </a:lnTo>
                  <a:lnTo>
                    <a:pt x="429" y="415"/>
                  </a:lnTo>
                  <a:lnTo>
                    <a:pt x="427" y="416"/>
                  </a:lnTo>
                  <a:lnTo>
                    <a:pt x="424" y="418"/>
                  </a:lnTo>
                  <a:lnTo>
                    <a:pt x="417" y="420"/>
                  </a:lnTo>
                  <a:lnTo>
                    <a:pt x="412" y="420"/>
                  </a:lnTo>
                  <a:lnTo>
                    <a:pt x="413" y="420"/>
                  </a:lnTo>
                  <a:lnTo>
                    <a:pt x="407" y="418"/>
                  </a:lnTo>
                  <a:lnTo>
                    <a:pt x="407" y="415"/>
                  </a:lnTo>
                  <a:lnTo>
                    <a:pt x="405" y="415"/>
                  </a:lnTo>
                  <a:lnTo>
                    <a:pt x="403" y="411"/>
                  </a:lnTo>
                  <a:lnTo>
                    <a:pt x="403" y="410"/>
                  </a:lnTo>
                  <a:lnTo>
                    <a:pt x="403" y="406"/>
                  </a:lnTo>
                  <a:lnTo>
                    <a:pt x="400" y="405"/>
                  </a:lnTo>
                  <a:lnTo>
                    <a:pt x="398" y="408"/>
                  </a:lnTo>
                  <a:lnTo>
                    <a:pt x="393" y="410"/>
                  </a:lnTo>
                  <a:lnTo>
                    <a:pt x="384" y="413"/>
                  </a:lnTo>
                  <a:lnTo>
                    <a:pt x="381" y="415"/>
                  </a:lnTo>
                  <a:lnTo>
                    <a:pt x="379" y="415"/>
                  </a:lnTo>
                  <a:lnTo>
                    <a:pt x="378" y="405"/>
                  </a:lnTo>
                  <a:lnTo>
                    <a:pt x="381" y="396"/>
                  </a:lnTo>
                  <a:lnTo>
                    <a:pt x="381" y="393"/>
                  </a:lnTo>
                  <a:lnTo>
                    <a:pt x="378" y="393"/>
                  </a:lnTo>
                  <a:lnTo>
                    <a:pt x="374" y="389"/>
                  </a:lnTo>
                  <a:lnTo>
                    <a:pt x="372" y="391"/>
                  </a:lnTo>
                  <a:lnTo>
                    <a:pt x="371" y="387"/>
                  </a:lnTo>
                  <a:lnTo>
                    <a:pt x="367" y="386"/>
                  </a:lnTo>
                  <a:lnTo>
                    <a:pt x="367" y="384"/>
                  </a:lnTo>
                  <a:lnTo>
                    <a:pt x="361" y="377"/>
                  </a:lnTo>
                  <a:lnTo>
                    <a:pt x="359" y="372"/>
                  </a:lnTo>
                  <a:lnTo>
                    <a:pt x="361" y="369"/>
                  </a:lnTo>
                  <a:lnTo>
                    <a:pt x="362" y="369"/>
                  </a:lnTo>
                  <a:lnTo>
                    <a:pt x="364" y="362"/>
                  </a:lnTo>
                  <a:lnTo>
                    <a:pt x="362" y="357"/>
                  </a:lnTo>
                  <a:lnTo>
                    <a:pt x="366" y="357"/>
                  </a:lnTo>
                  <a:lnTo>
                    <a:pt x="369" y="355"/>
                  </a:lnTo>
                  <a:lnTo>
                    <a:pt x="374" y="360"/>
                  </a:lnTo>
                  <a:lnTo>
                    <a:pt x="376" y="365"/>
                  </a:lnTo>
                  <a:lnTo>
                    <a:pt x="379" y="367"/>
                  </a:lnTo>
                  <a:lnTo>
                    <a:pt x="379" y="365"/>
                  </a:lnTo>
                  <a:lnTo>
                    <a:pt x="381" y="364"/>
                  </a:lnTo>
                  <a:lnTo>
                    <a:pt x="383" y="357"/>
                  </a:lnTo>
                  <a:lnTo>
                    <a:pt x="388" y="353"/>
                  </a:lnTo>
                  <a:close/>
                  <a:moveTo>
                    <a:pt x="390" y="352"/>
                  </a:moveTo>
                  <a:lnTo>
                    <a:pt x="393" y="353"/>
                  </a:lnTo>
                  <a:lnTo>
                    <a:pt x="390" y="353"/>
                  </a:lnTo>
                  <a:lnTo>
                    <a:pt x="388" y="352"/>
                  </a:lnTo>
                  <a:lnTo>
                    <a:pt x="390" y="352"/>
                  </a:lnTo>
                  <a:close/>
                  <a:moveTo>
                    <a:pt x="332" y="350"/>
                  </a:moveTo>
                  <a:lnTo>
                    <a:pt x="333" y="350"/>
                  </a:lnTo>
                  <a:lnTo>
                    <a:pt x="333" y="352"/>
                  </a:lnTo>
                  <a:lnTo>
                    <a:pt x="332" y="352"/>
                  </a:lnTo>
                  <a:lnTo>
                    <a:pt x="332" y="350"/>
                  </a:lnTo>
                  <a:close/>
                  <a:moveTo>
                    <a:pt x="354" y="346"/>
                  </a:moveTo>
                  <a:lnTo>
                    <a:pt x="355" y="350"/>
                  </a:lnTo>
                  <a:lnTo>
                    <a:pt x="361" y="348"/>
                  </a:lnTo>
                  <a:lnTo>
                    <a:pt x="361" y="350"/>
                  </a:lnTo>
                  <a:lnTo>
                    <a:pt x="355" y="352"/>
                  </a:lnTo>
                  <a:lnTo>
                    <a:pt x="355" y="357"/>
                  </a:lnTo>
                  <a:lnTo>
                    <a:pt x="357" y="357"/>
                  </a:lnTo>
                  <a:lnTo>
                    <a:pt x="359" y="362"/>
                  </a:lnTo>
                  <a:lnTo>
                    <a:pt x="359" y="364"/>
                  </a:lnTo>
                  <a:lnTo>
                    <a:pt x="355" y="365"/>
                  </a:lnTo>
                  <a:lnTo>
                    <a:pt x="357" y="370"/>
                  </a:lnTo>
                  <a:lnTo>
                    <a:pt x="355" y="374"/>
                  </a:lnTo>
                  <a:lnTo>
                    <a:pt x="355" y="375"/>
                  </a:lnTo>
                  <a:lnTo>
                    <a:pt x="352" y="375"/>
                  </a:lnTo>
                  <a:lnTo>
                    <a:pt x="352" y="377"/>
                  </a:lnTo>
                  <a:lnTo>
                    <a:pt x="345" y="381"/>
                  </a:lnTo>
                  <a:lnTo>
                    <a:pt x="340" y="379"/>
                  </a:lnTo>
                  <a:lnTo>
                    <a:pt x="340" y="377"/>
                  </a:lnTo>
                  <a:lnTo>
                    <a:pt x="338" y="374"/>
                  </a:lnTo>
                  <a:lnTo>
                    <a:pt x="343" y="374"/>
                  </a:lnTo>
                  <a:lnTo>
                    <a:pt x="338" y="367"/>
                  </a:lnTo>
                  <a:lnTo>
                    <a:pt x="337" y="367"/>
                  </a:lnTo>
                  <a:lnTo>
                    <a:pt x="338" y="365"/>
                  </a:lnTo>
                  <a:lnTo>
                    <a:pt x="337" y="364"/>
                  </a:lnTo>
                  <a:lnTo>
                    <a:pt x="340" y="360"/>
                  </a:lnTo>
                  <a:lnTo>
                    <a:pt x="342" y="353"/>
                  </a:lnTo>
                  <a:lnTo>
                    <a:pt x="338" y="353"/>
                  </a:lnTo>
                  <a:lnTo>
                    <a:pt x="337" y="350"/>
                  </a:lnTo>
                  <a:lnTo>
                    <a:pt x="342" y="346"/>
                  </a:lnTo>
                  <a:lnTo>
                    <a:pt x="345" y="348"/>
                  </a:lnTo>
                  <a:lnTo>
                    <a:pt x="354" y="346"/>
                  </a:lnTo>
                  <a:close/>
                  <a:moveTo>
                    <a:pt x="332" y="345"/>
                  </a:moveTo>
                  <a:lnTo>
                    <a:pt x="335" y="346"/>
                  </a:lnTo>
                  <a:lnTo>
                    <a:pt x="335" y="345"/>
                  </a:lnTo>
                  <a:lnTo>
                    <a:pt x="335" y="348"/>
                  </a:lnTo>
                  <a:lnTo>
                    <a:pt x="328" y="352"/>
                  </a:lnTo>
                  <a:lnTo>
                    <a:pt x="326" y="348"/>
                  </a:lnTo>
                  <a:lnTo>
                    <a:pt x="328" y="346"/>
                  </a:lnTo>
                  <a:lnTo>
                    <a:pt x="330" y="350"/>
                  </a:lnTo>
                  <a:lnTo>
                    <a:pt x="330" y="345"/>
                  </a:lnTo>
                  <a:lnTo>
                    <a:pt x="332" y="345"/>
                  </a:lnTo>
                  <a:close/>
                  <a:moveTo>
                    <a:pt x="342" y="338"/>
                  </a:moveTo>
                  <a:lnTo>
                    <a:pt x="340" y="341"/>
                  </a:lnTo>
                  <a:lnTo>
                    <a:pt x="340" y="345"/>
                  </a:lnTo>
                  <a:lnTo>
                    <a:pt x="335" y="346"/>
                  </a:lnTo>
                  <a:lnTo>
                    <a:pt x="335" y="341"/>
                  </a:lnTo>
                  <a:lnTo>
                    <a:pt x="337" y="341"/>
                  </a:lnTo>
                  <a:lnTo>
                    <a:pt x="340" y="338"/>
                  </a:lnTo>
                  <a:lnTo>
                    <a:pt x="342" y="338"/>
                  </a:lnTo>
                  <a:close/>
                  <a:moveTo>
                    <a:pt x="615" y="328"/>
                  </a:moveTo>
                  <a:lnTo>
                    <a:pt x="617" y="328"/>
                  </a:lnTo>
                  <a:lnTo>
                    <a:pt x="615" y="331"/>
                  </a:lnTo>
                  <a:lnTo>
                    <a:pt x="613" y="328"/>
                  </a:lnTo>
                  <a:lnTo>
                    <a:pt x="615" y="326"/>
                  </a:lnTo>
                  <a:lnTo>
                    <a:pt x="615" y="328"/>
                  </a:lnTo>
                  <a:close/>
                  <a:moveTo>
                    <a:pt x="357" y="326"/>
                  </a:moveTo>
                  <a:lnTo>
                    <a:pt x="355" y="331"/>
                  </a:lnTo>
                  <a:lnTo>
                    <a:pt x="352" y="333"/>
                  </a:lnTo>
                  <a:lnTo>
                    <a:pt x="349" y="331"/>
                  </a:lnTo>
                  <a:lnTo>
                    <a:pt x="352" y="329"/>
                  </a:lnTo>
                  <a:lnTo>
                    <a:pt x="354" y="326"/>
                  </a:lnTo>
                  <a:lnTo>
                    <a:pt x="357" y="326"/>
                  </a:lnTo>
                  <a:close/>
                  <a:moveTo>
                    <a:pt x="374" y="319"/>
                  </a:moveTo>
                  <a:lnTo>
                    <a:pt x="374" y="323"/>
                  </a:lnTo>
                  <a:lnTo>
                    <a:pt x="378" y="326"/>
                  </a:lnTo>
                  <a:lnTo>
                    <a:pt x="374" y="324"/>
                  </a:lnTo>
                  <a:lnTo>
                    <a:pt x="374" y="329"/>
                  </a:lnTo>
                  <a:lnTo>
                    <a:pt x="372" y="324"/>
                  </a:lnTo>
                  <a:lnTo>
                    <a:pt x="374" y="319"/>
                  </a:lnTo>
                  <a:close/>
                  <a:moveTo>
                    <a:pt x="345" y="317"/>
                  </a:moveTo>
                  <a:lnTo>
                    <a:pt x="349" y="319"/>
                  </a:lnTo>
                  <a:lnTo>
                    <a:pt x="345" y="319"/>
                  </a:lnTo>
                  <a:lnTo>
                    <a:pt x="343" y="319"/>
                  </a:lnTo>
                  <a:lnTo>
                    <a:pt x="345" y="317"/>
                  </a:lnTo>
                  <a:close/>
                  <a:moveTo>
                    <a:pt x="639" y="321"/>
                  </a:moveTo>
                  <a:lnTo>
                    <a:pt x="642" y="323"/>
                  </a:lnTo>
                  <a:lnTo>
                    <a:pt x="642" y="324"/>
                  </a:lnTo>
                  <a:lnTo>
                    <a:pt x="641" y="324"/>
                  </a:lnTo>
                  <a:lnTo>
                    <a:pt x="639" y="321"/>
                  </a:lnTo>
                  <a:lnTo>
                    <a:pt x="637" y="321"/>
                  </a:lnTo>
                  <a:lnTo>
                    <a:pt x="641" y="323"/>
                  </a:lnTo>
                  <a:lnTo>
                    <a:pt x="639" y="324"/>
                  </a:lnTo>
                  <a:lnTo>
                    <a:pt x="637" y="324"/>
                  </a:lnTo>
                  <a:lnTo>
                    <a:pt x="634" y="323"/>
                  </a:lnTo>
                  <a:lnTo>
                    <a:pt x="634" y="317"/>
                  </a:lnTo>
                  <a:lnTo>
                    <a:pt x="635" y="317"/>
                  </a:lnTo>
                  <a:lnTo>
                    <a:pt x="639" y="321"/>
                  </a:lnTo>
                  <a:close/>
                  <a:moveTo>
                    <a:pt x="374" y="316"/>
                  </a:moveTo>
                  <a:lnTo>
                    <a:pt x="376" y="316"/>
                  </a:lnTo>
                  <a:lnTo>
                    <a:pt x="376" y="317"/>
                  </a:lnTo>
                  <a:lnTo>
                    <a:pt x="374" y="317"/>
                  </a:lnTo>
                  <a:lnTo>
                    <a:pt x="374" y="316"/>
                  </a:lnTo>
                  <a:close/>
                  <a:moveTo>
                    <a:pt x="598" y="311"/>
                  </a:moveTo>
                  <a:lnTo>
                    <a:pt x="605" y="314"/>
                  </a:lnTo>
                  <a:lnTo>
                    <a:pt x="611" y="317"/>
                  </a:lnTo>
                  <a:lnTo>
                    <a:pt x="618" y="324"/>
                  </a:lnTo>
                  <a:lnTo>
                    <a:pt x="620" y="328"/>
                  </a:lnTo>
                  <a:lnTo>
                    <a:pt x="629" y="331"/>
                  </a:lnTo>
                  <a:lnTo>
                    <a:pt x="632" y="340"/>
                  </a:lnTo>
                  <a:lnTo>
                    <a:pt x="632" y="341"/>
                  </a:lnTo>
                  <a:lnTo>
                    <a:pt x="630" y="340"/>
                  </a:lnTo>
                  <a:lnTo>
                    <a:pt x="629" y="343"/>
                  </a:lnTo>
                  <a:lnTo>
                    <a:pt x="627" y="341"/>
                  </a:lnTo>
                  <a:lnTo>
                    <a:pt x="625" y="338"/>
                  </a:lnTo>
                  <a:lnTo>
                    <a:pt x="625" y="336"/>
                  </a:lnTo>
                  <a:lnTo>
                    <a:pt x="620" y="333"/>
                  </a:lnTo>
                  <a:lnTo>
                    <a:pt x="622" y="331"/>
                  </a:lnTo>
                  <a:lnTo>
                    <a:pt x="618" y="328"/>
                  </a:lnTo>
                  <a:lnTo>
                    <a:pt x="613" y="326"/>
                  </a:lnTo>
                  <a:lnTo>
                    <a:pt x="610" y="326"/>
                  </a:lnTo>
                  <a:lnTo>
                    <a:pt x="610" y="321"/>
                  </a:lnTo>
                  <a:lnTo>
                    <a:pt x="608" y="317"/>
                  </a:lnTo>
                  <a:lnTo>
                    <a:pt x="603" y="314"/>
                  </a:lnTo>
                  <a:lnTo>
                    <a:pt x="598" y="312"/>
                  </a:lnTo>
                  <a:lnTo>
                    <a:pt x="598" y="311"/>
                  </a:lnTo>
                  <a:close/>
                  <a:moveTo>
                    <a:pt x="376" y="300"/>
                  </a:moveTo>
                  <a:lnTo>
                    <a:pt x="379" y="300"/>
                  </a:lnTo>
                  <a:lnTo>
                    <a:pt x="378" y="304"/>
                  </a:lnTo>
                  <a:lnTo>
                    <a:pt x="378" y="309"/>
                  </a:lnTo>
                  <a:lnTo>
                    <a:pt x="381" y="307"/>
                  </a:lnTo>
                  <a:lnTo>
                    <a:pt x="379" y="316"/>
                  </a:lnTo>
                  <a:lnTo>
                    <a:pt x="379" y="317"/>
                  </a:lnTo>
                  <a:lnTo>
                    <a:pt x="381" y="324"/>
                  </a:lnTo>
                  <a:lnTo>
                    <a:pt x="381" y="321"/>
                  </a:lnTo>
                  <a:lnTo>
                    <a:pt x="378" y="317"/>
                  </a:lnTo>
                  <a:lnTo>
                    <a:pt x="378" y="316"/>
                  </a:lnTo>
                  <a:lnTo>
                    <a:pt x="376" y="314"/>
                  </a:lnTo>
                  <a:lnTo>
                    <a:pt x="372" y="314"/>
                  </a:lnTo>
                  <a:lnTo>
                    <a:pt x="374" y="305"/>
                  </a:lnTo>
                  <a:lnTo>
                    <a:pt x="376" y="304"/>
                  </a:lnTo>
                  <a:lnTo>
                    <a:pt x="376" y="300"/>
                  </a:lnTo>
                  <a:close/>
                  <a:moveTo>
                    <a:pt x="560" y="295"/>
                  </a:moveTo>
                  <a:lnTo>
                    <a:pt x="562" y="297"/>
                  </a:lnTo>
                  <a:lnTo>
                    <a:pt x="559" y="295"/>
                  </a:lnTo>
                  <a:lnTo>
                    <a:pt x="557" y="294"/>
                  </a:lnTo>
                  <a:lnTo>
                    <a:pt x="560" y="295"/>
                  </a:lnTo>
                  <a:close/>
                  <a:moveTo>
                    <a:pt x="431" y="273"/>
                  </a:moveTo>
                  <a:lnTo>
                    <a:pt x="432" y="273"/>
                  </a:lnTo>
                  <a:lnTo>
                    <a:pt x="432" y="276"/>
                  </a:lnTo>
                  <a:lnTo>
                    <a:pt x="431" y="276"/>
                  </a:lnTo>
                  <a:lnTo>
                    <a:pt x="431" y="273"/>
                  </a:lnTo>
                  <a:close/>
                  <a:moveTo>
                    <a:pt x="374" y="273"/>
                  </a:moveTo>
                  <a:lnTo>
                    <a:pt x="378" y="276"/>
                  </a:lnTo>
                  <a:lnTo>
                    <a:pt x="378" y="278"/>
                  </a:lnTo>
                  <a:lnTo>
                    <a:pt x="374" y="283"/>
                  </a:lnTo>
                  <a:lnTo>
                    <a:pt x="371" y="283"/>
                  </a:lnTo>
                  <a:lnTo>
                    <a:pt x="366" y="280"/>
                  </a:lnTo>
                  <a:lnTo>
                    <a:pt x="366" y="276"/>
                  </a:lnTo>
                  <a:lnTo>
                    <a:pt x="371" y="273"/>
                  </a:lnTo>
                  <a:lnTo>
                    <a:pt x="374" y="273"/>
                  </a:lnTo>
                  <a:close/>
                  <a:moveTo>
                    <a:pt x="548" y="259"/>
                  </a:moveTo>
                  <a:lnTo>
                    <a:pt x="548" y="261"/>
                  </a:lnTo>
                  <a:lnTo>
                    <a:pt x="548" y="259"/>
                  </a:lnTo>
                  <a:close/>
                  <a:moveTo>
                    <a:pt x="374" y="259"/>
                  </a:moveTo>
                  <a:lnTo>
                    <a:pt x="378" y="263"/>
                  </a:lnTo>
                  <a:lnTo>
                    <a:pt x="374" y="264"/>
                  </a:lnTo>
                  <a:lnTo>
                    <a:pt x="371" y="264"/>
                  </a:lnTo>
                  <a:lnTo>
                    <a:pt x="371" y="259"/>
                  </a:lnTo>
                  <a:lnTo>
                    <a:pt x="374" y="259"/>
                  </a:lnTo>
                  <a:close/>
                  <a:moveTo>
                    <a:pt x="541" y="249"/>
                  </a:moveTo>
                  <a:lnTo>
                    <a:pt x="547" y="258"/>
                  </a:lnTo>
                  <a:lnTo>
                    <a:pt x="543" y="256"/>
                  </a:lnTo>
                  <a:lnTo>
                    <a:pt x="540" y="251"/>
                  </a:lnTo>
                  <a:lnTo>
                    <a:pt x="541" y="249"/>
                  </a:lnTo>
                  <a:close/>
                  <a:moveTo>
                    <a:pt x="521" y="247"/>
                  </a:moveTo>
                  <a:lnTo>
                    <a:pt x="524" y="249"/>
                  </a:lnTo>
                  <a:lnTo>
                    <a:pt x="521" y="249"/>
                  </a:lnTo>
                  <a:lnTo>
                    <a:pt x="519" y="247"/>
                  </a:lnTo>
                  <a:lnTo>
                    <a:pt x="521" y="247"/>
                  </a:lnTo>
                  <a:close/>
                  <a:moveTo>
                    <a:pt x="372" y="246"/>
                  </a:moveTo>
                  <a:lnTo>
                    <a:pt x="374" y="247"/>
                  </a:lnTo>
                  <a:lnTo>
                    <a:pt x="371" y="249"/>
                  </a:lnTo>
                  <a:lnTo>
                    <a:pt x="372" y="246"/>
                  </a:lnTo>
                  <a:close/>
                  <a:moveTo>
                    <a:pt x="507" y="241"/>
                  </a:moveTo>
                  <a:lnTo>
                    <a:pt x="509" y="241"/>
                  </a:lnTo>
                  <a:lnTo>
                    <a:pt x="509" y="242"/>
                  </a:lnTo>
                  <a:lnTo>
                    <a:pt x="507" y="242"/>
                  </a:lnTo>
                  <a:lnTo>
                    <a:pt x="507" y="241"/>
                  </a:lnTo>
                  <a:close/>
                  <a:moveTo>
                    <a:pt x="372" y="227"/>
                  </a:moveTo>
                  <a:lnTo>
                    <a:pt x="378" y="227"/>
                  </a:lnTo>
                  <a:lnTo>
                    <a:pt x="379" y="230"/>
                  </a:lnTo>
                  <a:lnTo>
                    <a:pt x="378" y="237"/>
                  </a:lnTo>
                  <a:lnTo>
                    <a:pt x="376" y="241"/>
                  </a:lnTo>
                  <a:lnTo>
                    <a:pt x="372" y="242"/>
                  </a:lnTo>
                  <a:lnTo>
                    <a:pt x="369" y="239"/>
                  </a:lnTo>
                  <a:lnTo>
                    <a:pt x="367" y="235"/>
                  </a:lnTo>
                  <a:lnTo>
                    <a:pt x="371" y="227"/>
                  </a:lnTo>
                  <a:lnTo>
                    <a:pt x="372" y="227"/>
                  </a:lnTo>
                  <a:close/>
                  <a:moveTo>
                    <a:pt x="478" y="222"/>
                  </a:moveTo>
                  <a:lnTo>
                    <a:pt x="480" y="222"/>
                  </a:lnTo>
                  <a:lnTo>
                    <a:pt x="480" y="225"/>
                  </a:lnTo>
                  <a:lnTo>
                    <a:pt x="478" y="225"/>
                  </a:lnTo>
                  <a:lnTo>
                    <a:pt x="478" y="222"/>
                  </a:lnTo>
                  <a:close/>
                  <a:moveTo>
                    <a:pt x="482" y="220"/>
                  </a:moveTo>
                  <a:lnTo>
                    <a:pt x="485" y="220"/>
                  </a:lnTo>
                  <a:lnTo>
                    <a:pt x="485" y="223"/>
                  </a:lnTo>
                  <a:lnTo>
                    <a:pt x="483" y="223"/>
                  </a:lnTo>
                  <a:lnTo>
                    <a:pt x="482" y="220"/>
                  </a:lnTo>
                  <a:close/>
                  <a:moveTo>
                    <a:pt x="473" y="218"/>
                  </a:moveTo>
                  <a:lnTo>
                    <a:pt x="477" y="218"/>
                  </a:lnTo>
                  <a:lnTo>
                    <a:pt x="477" y="222"/>
                  </a:lnTo>
                  <a:lnTo>
                    <a:pt x="473" y="222"/>
                  </a:lnTo>
                  <a:lnTo>
                    <a:pt x="473" y="218"/>
                  </a:lnTo>
                  <a:close/>
                  <a:moveTo>
                    <a:pt x="364" y="213"/>
                  </a:moveTo>
                  <a:lnTo>
                    <a:pt x="371" y="217"/>
                  </a:lnTo>
                  <a:lnTo>
                    <a:pt x="371" y="222"/>
                  </a:lnTo>
                  <a:lnTo>
                    <a:pt x="369" y="225"/>
                  </a:lnTo>
                  <a:lnTo>
                    <a:pt x="362" y="225"/>
                  </a:lnTo>
                  <a:lnTo>
                    <a:pt x="359" y="222"/>
                  </a:lnTo>
                  <a:lnTo>
                    <a:pt x="361" y="215"/>
                  </a:lnTo>
                  <a:lnTo>
                    <a:pt x="364" y="213"/>
                  </a:lnTo>
                  <a:close/>
                  <a:moveTo>
                    <a:pt x="384" y="210"/>
                  </a:moveTo>
                  <a:lnTo>
                    <a:pt x="384" y="213"/>
                  </a:lnTo>
                  <a:lnTo>
                    <a:pt x="384" y="210"/>
                  </a:lnTo>
                  <a:close/>
                  <a:moveTo>
                    <a:pt x="362" y="208"/>
                  </a:moveTo>
                  <a:lnTo>
                    <a:pt x="364" y="210"/>
                  </a:lnTo>
                  <a:lnTo>
                    <a:pt x="362" y="212"/>
                  </a:lnTo>
                  <a:lnTo>
                    <a:pt x="361" y="208"/>
                  </a:lnTo>
                  <a:lnTo>
                    <a:pt x="362" y="208"/>
                  </a:lnTo>
                  <a:close/>
                  <a:moveTo>
                    <a:pt x="222" y="200"/>
                  </a:moveTo>
                  <a:lnTo>
                    <a:pt x="222" y="201"/>
                  </a:lnTo>
                  <a:lnTo>
                    <a:pt x="224" y="201"/>
                  </a:lnTo>
                  <a:lnTo>
                    <a:pt x="222" y="201"/>
                  </a:lnTo>
                  <a:lnTo>
                    <a:pt x="221" y="200"/>
                  </a:lnTo>
                  <a:lnTo>
                    <a:pt x="222" y="200"/>
                  </a:lnTo>
                  <a:close/>
                  <a:moveTo>
                    <a:pt x="444" y="160"/>
                  </a:moveTo>
                  <a:lnTo>
                    <a:pt x="448" y="160"/>
                  </a:lnTo>
                  <a:lnTo>
                    <a:pt x="448" y="162"/>
                  </a:lnTo>
                  <a:lnTo>
                    <a:pt x="444" y="162"/>
                  </a:lnTo>
                  <a:lnTo>
                    <a:pt x="444" y="160"/>
                  </a:lnTo>
                  <a:close/>
                  <a:moveTo>
                    <a:pt x="250" y="155"/>
                  </a:moveTo>
                  <a:lnTo>
                    <a:pt x="255" y="157"/>
                  </a:lnTo>
                  <a:lnTo>
                    <a:pt x="253" y="159"/>
                  </a:lnTo>
                  <a:lnTo>
                    <a:pt x="251" y="164"/>
                  </a:lnTo>
                  <a:lnTo>
                    <a:pt x="248" y="159"/>
                  </a:lnTo>
                  <a:lnTo>
                    <a:pt x="250" y="155"/>
                  </a:lnTo>
                  <a:close/>
                  <a:moveTo>
                    <a:pt x="449" y="126"/>
                  </a:moveTo>
                  <a:lnTo>
                    <a:pt x="453" y="126"/>
                  </a:lnTo>
                  <a:lnTo>
                    <a:pt x="453" y="130"/>
                  </a:lnTo>
                  <a:lnTo>
                    <a:pt x="449" y="130"/>
                  </a:lnTo>
                  <a:lnTo>
                    <a:pt x="449" y="126"/>
                  </a:lnTo>
                  <a:close/>
                  <a:moveTo>
                    <a:pt x="381" y="116"/>
                  </a:moveTo>
                  <a:lnTo>
                    <a:pt x="383" y="116"/>
                  </a:lnTo>
                  <a:lnTo>
                    <a:pt x="383" y="118"/>
                  </a:lnTo>
                  <a:lnTo>
                    <a:pt x="381" y="118"/>
                  </a:lnTo>
                  <a:lnTo>
                    <a:pt x="381" y="116"/>
                  </a:lnTo>
                  <a:close/>
                  <a:moveTo>
                    <a:pt x="386" y="111"/>
                  </a:moveTo>
                  <a:lnTo>
                    <a:pt x="388" y="114"/>
                  </a:lnTo>
                  <a:lnTo>
                    <a:pt x="383" y="118"/>
                  </a:lnTo>
                  <a:lnTo>
                    <a:pt x="386" y="111"/>
                  </a:lnTo>
                  <a:close/>
                  <a:moveTo>
                    <a:pt x="451" y="107"/>
                  </a:moveTo>
                  <a:lnTo>
                    <a:pt x="453" y="107"/>
                  </a:lnTo>
                  <a:lnTo>
                    <a:pt x="453" y="111"/>
                  </a:lnTo>
                  <a:lnTo>
                    <a:pt x="451" y="111"/>
                  </a:lnTo>
                  <a:lnTo>
                    <a:pt x="451" y="107"/>
                  </a:lnTo>
                  <a:close/>
                  <a:moveTo>
                    <a:pt x="448" y="106"/>
                  </a:moveTo>
                  <a:lnTo>
                    <a:pt x="451" y="106"/>
                  </a:lnTo>
                  <a:lnTo>
                    <a:pt x="451" y="107"/>
                  </a:lnTo>
                  <a:lnTo>
                    <a:pt x="448" y="107"/>
                  </a:lnTo>
                  <a:lnTo>
                    <a:pt x="448" y="106"/>
                  </a:lnTo>
                  <a:close/>
                  <a:moveTo>
                    <a:pt x="444" y="102"/>
                  </a:moveTo>
                  <a:lnTo>
                    <a:pt x="446" y="104"/>
                  </a:lnTo>
                  <a:lnTo>
                    <a:pt x="444" y="104"/>
                  </a:lnTo>
                  <a:lnTo>
                    <a:pt x="442" y="101"/>
                  </a:lnTo>
                  <a:lnTo>
                    <a:pt x="444" y="102"/>
                  </a:lnTo>
                  <a:close/>
                  <a:moveTo>
                    <a:pt x="410" y="53"/>
                  </a:moveTo>
                  <a:lnTo>
                    <a:pt x="415" y="54"/>
                  </a:lnTo>
                  <a:lnTo>
                    <a:pt x="417" y="58"/>
                  </a:lnTo>
                  <a:lnTo>
                    <a:pt x="410" y="53"/>
                  </a:lnTo>
                  <a:close/>
                  <a:moveTo>
                    <a:pt x="468" y="51"/>
                  </a:moveTo>
                  <a:lnTo>
                    <a:pt x="468" y="54"/>
                  </a:lnTo>
                  <a:lnTo>
                    <a:pt x="468" y="51"/>
                  </a:lnTo>
                  <a:close/>
                  <a:moveTo>
                    <a:pt x="441" y="54"/>
                  </a:moveTo>
                  <a:lnTo>
                    <a:pt x="442" y="54"/>
                  </a:lnTo>
                  <a:lnTo>
                    <a:pt x="451" y="53"/>
                  </a:lnTo>
                  <a:lnTo>
                    <a:pt x="451" y="56"/>
                  </a:lnTo>
                  <a:lnTo>
                    <a:pt x="446" y="65"/>
                  </a:lnTo>
                  <a:lnTo>
                    <a:pt x="441" y="70"/>
                  </a:lnTo>
                  <a:lnTo>
                    <a:pt x="439" y="71"/>
                  </a:lnTo>
                  <a:lnTo>
                    <a:pt x="437" y="78"/>
                  </a:lnTo>
                  <a:lnTo>
                    <a:pt x="434" y="82"/>
                  </a:lnTo>
                  <a:lnTo>
                    <a:pt x="425" y="85"/>
                  </a:lnTo>
                  <a:lnTo>
                    <a:pt x="425" y="95"/>
                  </a:lnTo>
                  <a:lnTo>
                    <a:pt x="427" y="101"/>
                  </a:lnTo>
                  <a:lnTo>
                    <a:pt x="429" y="101"/>
                  </a:lnTo>
                  <a:lnTo>
                    <a:pt x="431" y="101"/>
                  </a:lnTo>
                  <a:lnTo>
                    <a:pt x="436" y="99"/>
                  </a:lnTo>
                  <a:lnTo>
                    <a:pt x="439" y="102"/>
                  </a:lnTo>
                  <a:lnTo>
                    <a:pt x="439" y="104"/>
                  </a:lnTo>
                  <a:lnTo>
                    <a:pt x="442" y="106"/>
                  </a:lnTo>
                  <a:lnTo>
                    <a:pt x="446" y="109"/>
                  </a:lnTo>
                  <a:lnTo>
                    <a:pt x="446" y="114"/>
                  </a:lnTo>
                  <a:lnTo>
                    <a:pt x="442" y="116"/>
                  </a:lnTo>
                  <a:lnTo>
                    <a:pt x="444" y="123"/>
                  </a:lnTo>
                  <a:lnTo>
                    <a:pt x="442" y="123"/>
                  </a:lnTo>
                  <a:lnTo>
                    <a:pt x="444" y="124"/>
                  </a:lnTo>
                  <a:lnTo>
                    <a:pt x="448" y="126"/>
                  </a:lnTo>
                  <a:lnTo>
                    <a:pt x="448" y="131"/>
                  </a:lnTo>
                  <a:lnTo>
                    <a:pt x="448" y="133"/>
                  </a:lnTo>
                  <a:lnTo>
                    <a:pt x="448" y="135"/>
                  </a:lnTo>
                  <a:lnTo>
                    <a:pt x="446" y="145"/>
                  </a:lnTo>
                  <a:lnTo>
                    <a:pt x="448" y="148"/>
                  </a:lnTo>
                  <a:lnTo>
                    <a:pt x="444" y="150"/>
                  </a:lnTo>
                  <a:lnTo>
                    <a:pt x="442" y="153"/>
                  </a:lnTo>
                  <a:lnTo>
                    <a:pt x="446" y="159"/>
                  </a:lnTo>
                  <a:lnTo>
                    <a:pt x="441" y="160"/>
                  </a:lnTo>
                  <a:lnTo>
                    <a:pt x="441" y="164"/>
                  </a:lnTo>
                  <a:lnTo>
                    <a:pt x="434" y="169"/>
                  </a:lnTo>
                  <a:lnTo>
                    <a:pt x="432" y="179"/>
                  </a:lnTo>
                  <a:lnTo>
                    <a:pt x="424" y="179"/>
                  </a:lnTo>
                  <a:lnTo>
                    <a:pt x="420" y="184"/>
                  </a:lnTo>
                  <a:lnTo>
                    <a:pt x="415" y="189"/>
                  </a:lnTo>
                  <a:lnTo>
                    <a:pt x="412" y="189"/>
                  </a:lnTo>
                  <a:lnTo>
                    <a:pt x="410" y="191"/>
                  </a:lnTo>
                  <a:lnTo>
                    <a:pt x="403" y="193"/>
                  </a:lnTo>
                  <a:lnTo>
                    <a:pt x="400" y="200"/>
                  </a:lnTo>
                  <a:lnTo>
                    <a:pt x="402" y="205"/>
                  </a:lnTo>
                  <a:lnTo>
                    <a:pt x="400" y="206"/>
                  </a:lnTo>
                  <a:lnTo>
                    <a:pt x="402" y="206"/>
                  </a:lnTo>
                  <a:lnTo>
                    <a:pt x="403" y="212"/>
                  </a:lnTo>
                  <a:lnTo>
                    <a:pt x="405" y="213"/>
                  </a:lnTo>
                  <a:lnTo>
                    <a:pt x="405" y="210"/>
                  </a:lnTo>
                  <a:lnTo>
                    <a:pt x="408" y="212"/>
                  </a:lnTo>
                  <a:lnTo>
                    <a:pt x="408" y="213"/>
                  </a:lnTo>
                  <a:lnTo>
                    <a:pt x="412" y="217"/>
                  </a:lnTo>
                  <a:lnTo>
                    <a:pt x="412" y="218"/>
                  </a:lnTo>
                  <a:lnTo>
                    <a:pt x="420" y="222"/>
                  </a:lnTo>
                  <a:lnTo>
                    <a:pt x="420" y="220"/>
                  </a:lnTo>
                  <a:lnTo>
                    <a:pt x="431" y="217"/>
                  </a:lnTo>
                  <a:lnTo>
                    <a:pt x="431" y="215"/>
                  </a:lnTo>
                  <a:lnTo>
                    <a:pt x="436" y="212"/>
                  </a:lnTo>
                  <a:lnTo>
                    <a:pt x="436" y="201"/>
                  </a:lnTo>
                  <a:lnTo>
                    <a:pt x="437" y="198"/>
                  </a:lnTo>
                  <a:lnTo>
                    <a:pt x="436" y="196"/>
                  </a:lnTo>
                  <a:lnTo>
                    <a:pt x="439" y="193"/>
                  </a:lnTo>
                  <a:lnTo>
                    <a:pt x="442" y="186"/>
                  </a:lnTo>
                  <a:lnTo>
                    <a:pt x="448" y="182"/>
                  </a:lnTo>
                  <a:lnTo>
                    <a:pt x="454" y="181"/>
                  </a:lnTo>
                  <a:lnTo>
                    <a:pt x="463" y="182"/>
                  </a:lnTo>
                  <a:lnTo>
                    <a:pt x="468" y="177"/>
                  </a:lnTo>
                  <a:lnTo>
                    <a:pt x="468" y="172"/>
                  </a:lnTo>
                  <a:lnTo>
                    <a:pt x="465" y="167"/>
                  </a:lnTo>
                  <a:lnTo>
                    <a:pt x="461" y="167"/>
                  </a:lnTo>
                  <a:lnTo>
                    <a:pt x="456" y="167"/>
                  </a:lnTo>
                  <a:lnTo>
                    <a:pt x="454" y="165"/>
                  </a:lnTo>
                  <a:lnTo>
                    <a:pt x="454" y="162"/>
                  </a:lnTo>
                  <a:lnTo>
                    <a:pt x="458" y="162"/>
                  </a:lnTo>
                  <a:lnTo>
                    <a:pt x="463" y="155"/>
                  </a:lnTo>
                  <a:lnTo>
                    <a:pt x="466" y="150"/>
                  </a:lnTo>
                  <a:lnTo>
                    <a:pt x="470" y="150"/>
                  </a:lnTo>
                  <a:lnTo>
                    <a:pt x="473" y="147"/>
                  </a:lnTo>
                  <a:lnTo>
                    <a:pt x="480" y="145"/>
                  </a:lnTo>
                  <a:lnTo>
                    <a:pt x="485" y="142"/>
                  </a:lnTo>
                  <a:lnTo>
                    <a:pt x="489" y="136"/>
                  </a:lnTo>
                  <a:lnTo>
                    <a:pt x="494" y="133"/>
                  </a:lnTo>
                  <a:lnTo>
                    <a:pt x="501" y="131"/>
                  </a:lnTo>
                  <a:lnTo>
                    <a:pt x="506" y="133"/>
                  </a:lnTo>
                  <a:lnTo>
                    <a:pt x="511" y="128"/>
                  </a:lnTo>
                  <a:lnTo>
                    <a:pt x="518" y="128"/>
                  </a:lnTo>
                  <a:lnTo>
                    <a:pt x="524" y="126"/>
                  </a:lnTo>
                  <a:lnTo>
                    <a:pt x="530" y="128"/>
                  </a:lnTo>
                  <a:lnTo>
                    <a:pt x="531" y="133"/>
                  </a:lnTo>
                  <a:lnTo>
                    <a:pt x="528" y="133"/>
                  </a:lnTo>
                  <a:lnTo>
                    <a:pt x="528" y="136"/>
                  </a:lnTo>
                  <a:lnTo>
                    <a:pt x="526" y="136"/>
                  </a:lnTo>
                  <a:lnTo>
                    <a:pt x="526" y="142"/>
                  </a:lnTo>
                  <a:lnTo>
                    <a:pt x="530" y="148"/>
                  </a:lnTo>
                  <a:lnTo>
                    <a:pt x="535" y="150"/>
                  </a:lnTo>
                  <a:lnTo>
                    <a:pt x="533" y="152"/>
                  </a:lnTo>
                  <a:lnTo>
                    <a:pt x="533" y="160"/>
                  </a:lnTo>
                  <a:lnTo>
                    <a:pt x="530" y="162"/>
                  </a:lnTo>
                  <a:lnTo>
                    <a:pt x="530" y="165"/>
                  </a:lnTo>
                  <a:lnTo>
                    <a:pt x="526" y="172"/>
                  </a:lnTo>
                  <a:lnTo>
                    <a:pt x="528" y="179"/>
                  </a:lnTo>
                  <a:lnTo>
                    <a:pt x="526" y="186"/>
                  </a:lnTo>
                  <a:lnTo>
                    <a:pt x="528" y="189"/>
                  </a:lnTo>
                  <a:lnTo>
                    <a:pt x="526" y="189"/>
                  </a:lnTo>
                  <a:lnTo>
                    <a:pt x="518" y="191"/>
                  </a:lnTo>
                  <a:lnTo>
                    <a:pt x="511" y="198"/>
                  </a:lnTo>
                  <a:lnTo>
                    <a:pt x="507" y="200"/>
                  </a:lnTo>
                  <a:lnTo>
                    <a:pt x="504" y="200"/>
                  </a:lnTo>
                  <a:lnTo>
                    <a:pt x="497" y="205"/>
                  </a:lnTo>
                  <a:lnTo>
                    <a:pt x="494" y="205"/>
                  </a:lnTo>
                  <a:lnTo>
                    <a:pt x="490" y="208"/>
                  </a:lnTo>
                  <a:lnTo>
                    <a:pt x="483" y="206"/>
                  </a:lnTo>
                  <a:lnTo>
                    <a:pt x="478" y="213"/>
                  </a:lnTo>
                  <a:lnTo>
                    <a:pt x="482" y="218"/>
                  </a:lnTo>
                  <a:lnTo>
                    <a:pt x="473" y="215"/>
                  </a:lnTo>
                  <a:lnTo>
                    <a:pt x="473" y="218"/>
                  </a:lnTo>
                  <a:lnTo>
                    <a:pt x="468" y="220"/>
                  </a:lnTo>
                  <a:lnTo>
                    <a:pt x="468" y="222"/>
                  </a:lnTo>
                  <a:lnTo>
                    <a:pt x="473" y="229"/>
                  </a:lnTo>
                  <a:lnTo>
                    <a:pt x="475" y="227"/>
                  </a:lnTo>
                  <a:lnTo>
                    <a:pt x="480" y="232"/>
                  </a:lnTo>
                  <a:lnTo>
                    <a:pt x="483" y="239"/>
                  </a:lnTo>
                  <a:lnTo>
                    <a:pt x="487" y="237"/>
                  </a:lnTo>
                  <a:lnTo>
                    <a:pt x="487" y="239"/>
                  </a:lnTo>
                  <a:lnTo>
                    <a:pt x="495" y="241"/>
                  </a:lnTo>
                  <a:lnTo>
                    <a:pt x="501" y="246"/>
                  </a:lnTo>
                  <a:lnTo>
                    <a:pt x="507" y="246"/>
                  </a:lnTo>
                  <a:lnTo>
                    <a:pt x="512" y="249"/>
                  </a:lnTo>
                  <a:lnTo>
                    <a:pt x="523" y="251"/>
                  </a:lnTo>
                  <a:lnTo>
                    <a:pt x="526" y="251"/>
                  </a:lnTo>
                  <a:lnTo>
                    <a:pt x="526" y="253"/>
                  </a:lnTo>
                  <a:lnTo>
                    <a:pt x="524" y="258"/>
                  </a:lnTo>
                  <a:lnTo>
                    <a:pt x="526" y="261"/>
                  </a:lnTo>
                  <a:lnTo>
                    <a:pt x="526" y="268"/>
                  </a:lnTo>
                  <a:lnTo>
                    <a:pt x="524" y="275"/>
                  </a:lnTo>
                  <a:lnTo>
                    <a:pt x="526" y="276"/>
                  </a:lnTo>
                  <a:lnTo>
                    <a:pt x="530" y="276"/>
                  </a:lnTo>
                  <a:lnTo>
                    <a:pt x="538" y="278"/>
                  </a:lnTo>
                  <a:lnTo>
                    <a:pt x="545" y="282"/>
                  </a:lnTo>
                  <a:lnTo>
                    <a:pt x="547" y="283"/>
                  </a:lnTo>
                  <a:lnTo>
                    <a:pt x="548" y="288"/>
                  </a:lnTo>
                  <a:lnTo>
                    <a:pt x="552" y="292"/>
                  </a:lnTo>
                  <a:lnTo>
                    <a:pt x="548" y="290"/>
                  </a:lnTo>
                  <a:lnTo>
                    <a:pt x="545" y="285"/>
                  </a:lnTo>
                  <a:lnTo>
                    <a:pt x="543" y="285"/>
                  </a:lnTo>
                  <a:lnTo>
                    <a:pt x="535" y="283"/>
                  </a:lnTo>
                  <a:lnTo>
                    <a:pt x="531" y="283"/>
                  </a:lnTo>
                  <a:lnTo>
                    <a:pt x="528" y="282"/>
                  </a:lnTo>
                  <a:lnTo>
                    <a:pt x="524" y="282"/>
                  </a:lnTo>
                  <a:lnTo>
                    <a:pt x="518" y="278"/>
                  </a:lnTo>
                  <a:lnTo>
                    <a:pt x="511" y="278"/>
                  </a:lnTo>
                  <a:lnTo>
                    <a:pt x="504" y="275"/>
                  </a:lnTo>
                  <a:lnTo>
                    <a:pt x="502" y="270"/>
                  </a:lnTo>
                  <a:lnTo>
                    <a:pt x="499" y="268"/>
                  </a:lnTo>
                  <a:lnTo>
                    <a:pt x="495" y="270"/>
                  </a:lnTo>
                  <a:lnTo>
                    <a:pt x="490" y="268"/>
                  </a:lnTo>
                  <a:lnTo>
                    <a:pt x="487" y="268"/>
                  </a:lnTo>
                  <a:lnTo>
                    <a:pt x="478" y="270"/>
                  </a:lnTo>
                  <a:lnTo>
                    <a:pt x="473" y="266"/>
                  </a:lnTo>
                  <a:lnTo>
                    <a:pt x="472" y="268"/>
                  </a:lnTo>
                  <a:lnTo>
                    <a:pt x="468" y="264"/>
                  </a:lnTo>
                  <a:lnTo>
                    <a:pt x="466" y="264"/>
                  </a:lnTo>
                  <a:lnTo>
                    <a:pt x="465" y="261"/>
                  </a:lnTo>
                  <a:lnTo>
                    <a:pt x="458" y="263"/>
                  </a:lnTo>
                  <a:lnTo>
                    <a:pt x="453" y="259"/>
                  </a:lnTo>
                  <a:lnTo>
                    <a:pt x="453" y="261"/>
                  </a:lnTo>
                  <a:lnTo>
                    <a:pt x="441" y="259"/>
                  </a:lnTo>
                  <a:lnTo>
                    <a:pt x="434" y="263"/>
                  </a:lnTo>
                  <a:lnTo>
                    <a:pt x="432" y="264"/>
                  </a:lnTo>
                  <a:lnTo>
                    <a:pt x="434" y="268"/>
                  </a:lnTo>
                  <a:lnTo>
                    <a:pt x="432" y="271"/>
                  </a:lnTo>
                  <a:lnTo>
                    <a:pt x="432" y="273"/>
                  </a:lnTo>
                  <a:lnTo>
                    <a:pt x="431" y="273"/>
                  </a:lnTo>
                  <a:lnTo>
                    <a:pt x="431" y="275"/>
                  </a:lnTo>
                  <a:lnTo>
                    <a:pt x="429" y="280"/>
                  </a:lnTo>
                  <a:lnTo>
                    <a:pt x="427" y="282"/>
                  </a:lnTo>
                  <a:lnTo>
                    <a:pt x="429" y="282"/>
                  </a:lnTo>
                  <a:lnTo>
                    <a:pt x="429" y="280"/>
                  </a:lnTo>
                  <a:lnTo>
                    <a:pt x="434" y="283"/>
                  </a:lnTo>
                  <a:lnTo>
                    <a:pt x="434" y="287"/>
                  </a:lnTo>
                  <a:lnTo>
                    <a:pt x="436" y="290"/>
                  </a:lnTo>
                  <a:lnTo>
                    <a:pt x="434" y="294"/>
                  </a:lnTo>
                  <a:lnTo>
                    <a:pt x="436" y="304"/>
                  </a:lnTo>
                  <a:lnTo>
                    <a:pt x="432" y="304"/>
                  </a:lnTo>
                  <a:lnTo>
                    <a:pt x="431" y="307"/>
                  </a:lnTo>
                  <a:lnTo>
                    <a:pt x="431" y="317"/>
                  </a:lnTo>
                  <a:lnTo>
                    <a:pt x="434" y="324"/>
                  </a:lnTo>
                  <a:lnTo>
                    <a:pt x="437" y="329"/>
                  </a:lnTo>
                  <a:lnTo>
                    <a:pt x="441" y="338"/>
                  </a:lnTo>
                  <a:lnTo>
                    <a:pt x="441" y="341"/>
                  </a:lnTo>
                  <a:lnTo>
                    <a:pt x="442" y="348"/>
                  </a:lnTo>
                  <a:lnTo>
                    <a:pt x="446" y="357"/>
                  </a:lnTo>
                  <a:lnTo>
                    <a:pt x="449" y="364"/>
                  </a:lnTo>
                  <a:lnTo>
                    <a:pt x="449" y="367"/>
                  </a:lnTo>
                  <a:lnTo>
                    <a:pt x="451" y="367"/>
                  </a:lnTo>
                  <a:lnTo>
                    <a:pt x="453" y="369"/>
                  </a:lnTo>
                  <a:lnTo>
                    <a:pt x="456" y="377"/>
                  </a:lnTo>
                  <a:lnTo>
                    <a:pt x="460" y="381"/>
                  </a:lnTo>
                  <a:lnTo>
                    <a:pt x="463" y="387"/>
                  </a:lnTo>
                  <a:lnTo>
                    <a:pt x="466" y="393"/>
                  </a:lnTo>
                  <a:lnTo>
                    <a:pt x="470" y="401"/>
                  </a:lnTo>
                  <a:lnTo>
                    <a:pt x="473" y="405"/>
                  </a:lnTo>
                  <a:lnTo>
                    <a:pt x="480" y="408"/>
                  </a:lnTo>
                  <a:lnTo>
                    <a:pt x="482" y="411"/>
                  </a:lnTo>
                  <a:lnTo>
                    <a:pt x="485" y="415"/>
                  </a:lnTo>
                  <a:lnTo>
                    <a:pt x="489" y="418"/>
                  </a:lnTo>
                  <a:lnTo>
                    <a:pt x="497" y="423"/>
                  </a:lnTo>
                  <a:lnTo>
                    <a:pt x="499" y="427"/>
                  </a:lnTo>
                  <a:lnTo>
                    <a:pt x="489" y="422"/>
                  </a:lnTo>
                  <a:lnTo>
                    <a:pt x="487" y="423"/>
                  </a:lnTo>
                  <a:lnTo>
                    <a:pt x="482" y="420"/>
                  </a:lnTo>
                  <a:lnTo>
                    <a:pt x="480" y="422"/>
                  </a:lnTo>
                  <a:lnTo>
                    <a:pt x="477" y="420"/>
                  </a:lnTo>
                  <a:lnTo>
                    <a:pt x="472" y="416"/>
                  </a:lnTo>
                  <a:lnTo>
                    <a:pt x="473" y="415"/>
                  </a:lnTo>
                  <a:lnTo>
                    <a:pt x="478" y="416"/>
                  </a:lnTo>
                  <a:lnTo>
                    <a:pt x="472" y="410"/>
                  </a:lnTo>
                  <a:lnTo>
                    <a:pt x="473" y="408"/>
                  </a:lnTo>
                  <a:lnTo>
                    <a:pt x="472" y="408"/>
                  </a:lnTo>
                  <a:lnTo>
                    <a:pt x="472" y="406"/>
                  </a:lnTo>
                  <a:lnTo>
                    <a:pt x="470" y="410"/>
                  </a:lnTo>
                  <a:lnTo>
                    <a:pt x="468" y="408"/>
                  </a:lnTo>
                  <a:lnTo>
                    <a:pt x="466" y="408"/>
                  </a:lnTo>
                  <a:lnTo>
                    <a:pt x="465" y="406"/>
                  </a:lnTo>
                  <a:lnTo>
                    <a:pt x="463" y="406"/>
                  </a:lnTo>
                  <a:lnTo>
                    <a:pt x="460" y="405"/>
                  </a:lnTo>
                  <a:lnTo>
                    <a:pt x="453" y="403"/>
                  </a:lnTo>
                  <a:lnTo>
                    <a:pt x="446" y="399"/>
                  </a:lnTo>
                  <a:lnTo>
                    <a:pt x="444" y="396"/>
                  </a:lnTo>
                  <a:lnTo>
                    <a:pt x="444" y="393"/>
                  </a:lnTo>
                  <a:lnTo>
                    <a:pt x="439" y="384"/>
                  </a:lnTo>
                  <a:lnTo>
                    <a:pt x="437" y="377"/>
                  </a:lnTo>
                  <a:lnTo>
                    <a:pt x="432" y="374"/>
                  </a:lnTo>
                  <a:lnTo>
                    <a:pt x="432" y="370"/>
                  </a:lnTo>
                  <a:lnTo>
                    <a:pt x="431" y="364"/>
                  </a:lnTo>
                  <a:lnTo>
                    <a:pt x="427" y="360"/>
                  </a:lnTo>
                  <a:lnTo>
                    <a:pt x="422" y="357"/>
                  </a:lnTo>
                  <a:lnTo>
                    <a:pt x="413" y="355"/>
                  </a:lnTo>
                  <a:lnTo>
                    <a:pt x="407" y="348"/>
                  </a:lnTo>
                  <a:lnTo>
                    <a:pt x="407" y="346"/>
                  </a:lnTo>
                  <a:lnTo>
                    <a:pt x="403" y="341"/>
                  </a:lnTo>
                  <a:lnTo>
                    <a:pt x="407" y="333"/>
                  </a:lnTo>
                  <a:lnTo>
                    <a:pt x="407" y="329"/>
                  </a:lnTo>
                  <a:lnTo>
                    <a:pt x="408" y="328"/>
                  </a:lnTo>
                  <a:lnTo>
                    <a:pt x="408" y="321"/>
                  </a:lnTo>
                  <a:lnTo>
                    <a:pt x="408" y="316"/>
                  </a:lnTo>
                  <a:lnTo>
                    <a:pt x="410" y="307"/>
                  </a:lnTo>
                  <a:lnTo>
                    <a:pt x="410" y="304"/>
                  </a:lnTo>
                  <a:lnTo>
                    <a:pt x="407" y="305"/>
                  </a:lnTo>
                  <a:lnTo>
                    <a:pt x="408" y="302"/>
                  </a:lnTo>
                  <a:lnTo>
                    <a:pt x="408" y="294"/>
                  </a:lnTo>
                  <a:lnTo>
                    <a:pt x="410" y="285"/>
                  </a:lnTo>
                  <a:lnTo>
                    <a:pt x="412" y="280"/>
                  </a:lnTo>
                  <a:lnTo>
                    <a:pt x="410" y="275"/>
                  </a:lnTo>
                  <a:lnTo>
                    <a:pt x="403" y="275"/>
                  </a:lnTo>
                  <a:lnTo>
                    <a:pt x="402" y="273"/>
                  </a:lnTo>
                  <a:lnTo>
                    <a:pt x="398" y="273"/>
                  </a:lnTo>
                  <a:lnTo>
                    <a:pt x="398" y="270"/>
                  </a:lnTo>
                  <a:lnTo>
                    <a:pt x="393" y="266"/>
                  </a:lnTo>
                  <a:lnTo>
                    <a:pt x="395" y="266"/>
                  </a:lnTo>
                  <a:lnTo>
                    <a:pt x="393" y="264"/>
                  </a:lnTo>
                  <a:lnTo>
                    <a:pt x="391" y="254"/>
                  </a:lnTo>
                  <a:lnTo>
                    <a:pt x="388" y="251"/>
                  </a:lnTo>
                  <a:lnTo>
                    <a:pt x="388" y="242"/>
                  </a:lnTo>
                  <a:lnTo>
                    <a:pt x="390" y="235"/>
                  </a:lnTo>
                  <a:lnTo>
                    <a:pt x="390" y="229"/>
                  </a:lnTo>
                  <a:lnTo>
                    <a:pt x="393" y="227"/>
                  </a:lnTo>
                  <a:lnTo>
                    <a:pt x="396" y="225"/>
                  </a:lnTo>
                  <a:lnTo>
                    <a:pt x="396" y="227"/>
                  </a:lnTo>
                  <a:lnTo>
                    <a:pt x="396" y="223"/>
                  </a:lnTo>
                  <a:lnTo>
                    <a:pt x="400" y="220"/>
                  </a:lnTo>
                  <a:lnTo>
                    <a:pt x="402" y="215"/>
                  </a:lnTo>
                  <a:lnTo>
                    <a:pt x="400" y="215"/>
                  </a:lnTo>
                  <a:lnTo>
                    <a:pt x="400" y="213"/>
                  </a:lnTo>
                  <a:lnTo>
                    <a:pt x="398" y="215"/>
                  </a:lnTo>
                  <a:lnTo>
                    <a:pt x="391" y="212"/>
                  </a:lnTo>
                  <a:lnTo>
                    <a:pt x="391" y="213"/>
                  </a:lnTo>
                  <a:lnTo>
                    <a:pt x="391" y="212"/>
                  </a:lnTo>
                  <a:lnTo>
                    <a:pt x="390" y="212"/>
                  </a:lnTo>
                  <a:lnTo>
                    <a:pt x="390" y="213"/>
                  </a:lnTo>
                  <a:lnTo>
                    <a:pt x="388" y="213"/>
                  </a:lnTo>
                  <a:lnTo>
                    <a:pt x="390" y="212"/>
                  </a:lnTo>
                  <a:lnTo>
                    <a:pt x="383" y="210"/>
                  </a:lnTo>
                  <a:lnTo>
                    <a:pt x="383" y="205"/>
                  </a:lnTo>
                  <a:lnTo>
                    <a:pt x="386" y="200"/>
                  </a:lnTo>
                  <a:lnTo>
                    <a:pt x="381" y="196"/>
                  </a:lnTo>
                  <a:lnTo>
                    <a:pt x="383" y="194"/>
                  </a:lnTo>
                  <a:lnTo>
                    <a:pt x="383" y="189"/>
                  </a:lnTo>
                  <a:lnTo>
                    <a:pt x="381" y="189"/>
                  </a:lnTo>
                  <a:lnTo>
                    <a:pt x="376" y="191"/>
                  </a:lnTo>
                  <a:lnTo>
                    <a:pt x="374" y="193"/>
                  </a:lnTo>
                  <a:lnTo>
                    <a:pt x="372" y="191"/>
                  </a:lnTo>
                  <a:lnTo>
                    <a:pt x="374" y="191"/>
                  </a:lnTo>
                  <a:lnTo>
                    <a:pt x="372" y="189"/>
                  </a:lnTo>
                  <a:lnTo>
                    <a:pt x="372" y="186"/>
                  </a:lnTo>
                  <a:lnTo>
                    <a:pt x="376" y="179"/>
                  </a:lnTo>
                  <a:lnTo>
                    <a:pt x="372" y="174"/>
                  </a:lnTo>
                  <a:lnTo>
                    <a:pt x="372" y="169"/>
                  </a:lnTo>
                  <a:lnTo>
                    <a:pt x="378" y="160"/>
                  </a:lnTo>
                  <a:lnTo>
                    <a:pt x="381" y="155"/>
                  </a:lnTo>
                  <a:lnTo>
                    <a:pt x="383" y="150"/>
                  </a:lnTo>
                  <a:lnTo>
                    <a:pt x="386" y="143"/>
                  </a:lnTo>
                  <a:lnTo>
                    <a:pt x="388" y="136"/>
                  </a:lnTo>
                  <a:lnTo>
                    <a:pt x="388" y="131"/>
                  </a:lnTo>
                  <a:lnTo>
                    <a:pt x="384" y="130"/>
                  </a:lnTo>
                  <a:lnTo>
                    <a:pt x="388" y="126"/>
                  </a:lnTo>
                  <a:lnTo>
                    <a:pt x="390" y="128"/>
                  </a:lnTo>
                  <a:lnTo>
                    <a:pt x="390" y="126"/>
                  </a:lnTo>
                  <a:lnTo>
                    <a:pt x="390" y="118"/>
                  </a:lnTo>
                  <a:lnTo>
                    <a:pt x="391" y="118"/>
                  </a:lnTo>
                  <a:lnTo>
                    <a:pt x="391" y="119"/>
                  </a:lnTo>
                  <a:lnTo>
                    <a:pt x="391" y="118"/>
                  </a:lnTo>
                  <a:lnTo>
                    <a:pt x="395" y="118"/>
                  </a:lnTo>
                  <a:lnTo>
                    <a:pt x="395" y="114"/>
                  </a:lnTo>
                  <a:lnTo>
                    <a:pt x="390" y="111"/>
                  </a:lnTo>
                  <a:lnTo>
                    <a:pt x="393" y="109"/>
                  </a:lnTo>
                  <a:lnTo>
                    <a:pt x="393" y="106"/>
                  </a:lnTo>
                  <a:lnTo>
                    <a:pt x="398" y="102"/>
                  </a:lnTo>
                  <a:lnTo>
                    <a:pt x="402" y="97"/>
                  </a:lnTo>
                  <a:lnTo>
                    <a:pt x="402" y="92"/>
                  </a:lnTo>
                  <a:lnTo>
                    <a:pt x="403" y="92"/>
                  </a:lnTo>
                  <a:lnTo>
                    <a:pt x="405" y="90"/>
                  </a:lnTo>
                  <a:lnTo>
                    <a:pt x="407" y="85"/>
                  </a:lnTo>
                  <a:lnTo>
                    <a:pt x="413" y="80"/>
                  </a:lnTo>
                  <a:lnTo>
                    <a:pt x="419" y="75"/>
                  </a:lnTo>
                  <a:lnTo>
                    <a:pt x="419" y="73"/>
                  </a:lnTo>
                  <a:lnTo>
                    <a:pt x="424" y="66"/>
                  </a:lnTo>
                  <a:lnTo>
                    <a:pt x="432" y="61"/>
                  </a:lnTo>
                  <a:lnTo>
                    <a:pt x="439" y="53"/>
                  </a:lnTo>
                  <a:lnTo>
                    <a:pt x="437" y="51"/>
                  </a:lnTo>
                  <a:lnTo>
                    <a:pt x="441" y="54"/>
                  </a:lnTo>
                  <a:close/>
                  <a:moveTo>
                    <a:pt x="417" y="41"/>
                  </a:moveTo>
                  <a:lnTo>
                    <a:pt x="417" y="44"/>
                  </a:lnTo>
                  <a:lnTo>
                    <a:pt x="422" y="44"/>
                  </a:lnTo>
                  <a:lnTo>
                    <a:pt x="422" y="49"/>
                  </a:lnTo>
                  <a:lnTo>
                    <a:pt x="419" y="51"/>
                  </a:lnTo>
                  <a:lnTo>
                    <a:pt x="417" y="51"/>
                  </a:lnTo>
                  <a:lnTo>
                    <a:pt x="417" y="46"/>
                  </a:lnTo>
                  <a:lnTo>
                    <a:pt x="415" y="46"/>
                  </a:lnTo>
                  <a:lnTo>
                    <a:pt x="417" y="41"/>
                  </a:lnTo>
                  <a:close/>
                  <a:moveTo>
                    <a:pt x="465" y="36"/>
                  </a:moveTo>
                  <a:lnTo>
                    <a:pt x="465" y="39"/>
                  </a:lnTo>
                  <a:lnTo>
                    <a:pt x="466" y="41"/>
                  </a:lnTo>
                  <a:lnTo>
                    <a:pt x="465" y="42"/>
                  </a:lnTo>
                  <a:lnTo>
                    <a:pt x="461" y="41"/>
                  </a:lnTo>
                  <a:lnTo>
                    <a:pt x="458" y="37"/>
                  </a:lnTo>
                  <a:lnTo>
                    <a:pt x="461" y="30"/>
                  </a:lnTo>
                  <a:lnTo>
                    <a:pt x="463" y="27"/>
                  </a:lnTo>
                  <a:lnTo>
                    <a:pt x="466" y="34"/>
                  </a:lnTo>
                  <a:lnTo>
                    <a:pt x="465" y="36"/>
                  </a:lnTo>
                  <a:close/>
                  <a:moveTo>
                    <a:pt x="514" y="3"/>
                  </a:moveTo>
                  <a:lnTo>
                    <a:pt x="516" y="8"/>
                  </a:lnTo>
                  <a:lnTo>
                    <a:pt x="519" y="10"/>
                  </a:lnTo>
                  <a:lnTo>
                    <a:pt x="519" y="13"/>
                  </a:lnTo>
                  <a:lnTo>
                    <a:pt x="523" y="13"/>
                  </a:lnTo>
                  <a:lnTo>
                    <a:pt x="524" y="17"/>
                  </a:lnTo>
                  <a:lnTo>
                    <a:pt x="526" y="17"/>
                  </a:lnTo>
                  <a:lnTo>
                    <a:pt x="526" y="25"/>
                  </a:lnTo>
                  <a:lnTo>
                    <a:pt x="521" y="32"/>
                  </a:lnTo>
                  <a:lnTo>
                    <a:pt x="521" y="37"/>
                  </a:lnTo>
                  <a:lnTo>
                    <a:pt x="523" y="39"/>
                  </a:lnTo>
                  <a:lnTo>
                    <a:pt x="519" y="46"/>
                  </a:lnTo>
                  <a:lnTo>
                    <a:pt x="518" y="51"/>
                  </a:lnTo>
                  <a:lnTo>
                    <a:pt x="516" y="54"/>
                  </a:lnTo>
                  <a:lnTo>
                    <a:pt x="512" y="61"/>
                  </a:lnTo>
                  <a:lnTo>
                    <a:pt x="512" y="63"/>
                  </a:lnTo>
                  <a:lnTo>
                    <a:pt x="509" y="65"/>
                  </a:lnTo>
                  <a:lnTo>
                    <a:pt x="504" y="70"/>
                  </a:lnTo>
                  <a:lnTo>
                    <a:pt x="501" y="70"/>
                  </a:lnTo>
                  <a:lnTo>
                    <a:pt x="492" y="70"/>
                  </a:lnTo>
                  <a:lnTo>
                    <a:pt x="485" y="71"/>
                  </a:lnTo>
                  <a:lnTo>
                    <a:pt x="480" y="73"/>
                  </a:lnTo>
                  <a:lnTo>
                    <a:pt x="478" y="75"/>
                  </a:lnTo>
                  <a:lnTo>
                    <a:pt x="475" y="80"/>
                  </a:lnTo>
                  <a:lnTo>
                    <a:pt x="478" y="70"/>
                  </a:lnTo>
                  <a:lnTo>
                    <a:pt x="477" y="66"/>
                  </a:lnTo>
                  <a:lnTo>
                    <a:pt x="475" y="66"/>
                  </a:lnTo>
                  <a:lnTo>
                    <a:pt x="473" y="63"/>
                  </a:lnTo>
                  <a:lnTo>
                    <a:pt x="473" y="54"/>
                  </a:lnTo>
                  <a:lnTo>
                    <a:pt x="472" y="53"/>
                  </a:lnTo>
                  <a:lnTo>
                    <a:pt x="473" y="48"/>
                  </a:lnTo>
                  <a:lnTo>
                    <a:pt x="470" y="44"/>
                  </a:lnTo>
                  <a:lnTo>
                    <a:pt x="466" y="42"/>
                  </a:lnTo>
                  <a:lnTo>
                    <a:pt x="473" y="37"/>
                  </a:lnTo>
                  <a:lnTo>
                    <a:pt x="477" y="32"/>
                  </a:lnTo>
                  <a:lnTo>
                    <a:pt x="480" y="29"/>
                  </a:lnTo>
                  <a:lnTo>
                    <a:pt x="478" y="24"/>
                  </a:lnTo>
                  <a:lnTo>
                    <a:pt x="485" y="19"/>
                  </a:lnTo>
                  <a:lnTo>
                    <a:pt x="487" y="15"/>
                  </a:lnTo>
                  <a:lnTo>
                    <a:pt x="492" y="13"/>
                  </a:lnTo>
                  <a:lnTo>
                    <a:pt x="499" y="5"/>
                  </a:lnTo>
                  <a:lnTo>
                    <a:pt x="506" y="8"/>
                  </a:lnTo>
                  <a:lnTo>
                    <a:pt x="511" y="0"/>
                  </a:lnTo>
                  <a:lnTo>
                    <a:pt x="514" y="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0" name="Freeform 57"/>
            <p:cNvSpPr>
              <a:spLocks noEditPoints="1"/>
            </p:cNvSpPr>
            <p:nvPr/>
          </p:nvSpPr>
          <p:spPr bwMode="gray">
            <a:xfrm>
              <a:off x="9465268" y="2954048"/>
              <a:ext cx="1462995" cy="2199964"/>
            </a:xfrm>
            <a:custGeom>
              <a:avLst/>
              <a:gdLst>
                <a:gd name="T0" fmla="*/ 548 w 802"/>
                <a:gd name="T1" fmla="*/ 1109 h 1206"/>
                <a:gd name="T2" fmla="*/ 507 w 802"/>
                <a:gd name="T3" fmla="*/ 1114 h 1206"/>
                <a:gd name="T4" fmla="*/ 558 w 802"/>
                <a:gd name="T5" fmla="*/ 1017 h 1206"/>
                <a:gd name="T6" fmla="*/ 483 w 802"/>
                <a:gd name="T7" fmla="*/ 1112 h 1206"/>
                <a:gd name="T8" fmla="*/ 404 w 802"/>
                <a:gd name="T9" fmla="*/ 1082 h 1206"/>
                <a:gd name="T10" fmla="*/ 517 w 802"/>
                <a:gd name="T11" fmla="*/ 993 h 1206"/>
                <a:gd name="T12" fmla="*/ 582 w 802"/>
                <a:gd name="T13" fmla="*/ 952 h 1206"/>
                <a:gd name="T14" fmla="*/ 519 w 802"/>
                <a:gd name="T15" fmla="*/ 957 h 1206"/>
                <a:gd name="T16" fmla="*/ 517 w 802"/>
                <a:gd name="T17" fmla="*/ 930 h 1206"/>
                <a:gd name="T18" fmla="*/ 466 w 802"/>
                <a:gd name="T19" fmla="*/ 793 h 1206"/>
                <a:gd name="T20" fmla="*/ 370 w 802"/>
                <a:gd name="T21" fmla="*/ 707 h 1206"/>
                <a:gd name="T22" fmla="*/ 327 w 802"/>
                <a:gd name="T23" fmla="*/ 692 h 1206"/>
                <a:gd name="T24" fmla="*/ 281 w 802"/>
                <a:gd name="T25" fmla="*/ 687 h 1206"/>
                <a:gd name="T26" fmla="*/ 164 w 802"/>
                <a:gd name="T27" fmla="*/ 463 h 1206"/>
                <a:gd name="T28" fmla="*/ 346 w 802"/>
                <a:gd name="T29" fmla="*/ 349 h 1206"/>
                <a:gd name="T30" fmla="*/ 350 w 802"/>
                <a:gd name="T31" fmla="*/ 335 h 1206"/>
                <a:gd name="T32" fmla="*/ 339 w 802"/>
                <a:gd name="T33" fmla="*/ 332 h 1206"/>
                <a:gd name="T34" fmla="*/ 165 w 802"/>
                <a:gd name="T35" fmla="*/ 304 h 1206"/>
                <a:gd name="T36" fmla="*/ 273 w 802"/>
                <a:gd name="T37" fmla="*/ 318 h 1206"/>
                <a:gd name="T38" fmla="*/ 252 w 802"/>
                <a:gd name="T39" fmla="*/ 335 h 1206"/>
                <a:gd name="T40" fmla="*/ 182 w 802"/>
                <a:gd name="T41" fmla="*/ 318 h 1206"/>
                <a:gd name="T42" fmla="*/ 529 w 802"/>
                <a:gd name="T43" fmla="*/ 299 h 1206"/>
                <a:gd name="T44" fmla="*/ 97 w 802"/>
                <a:gd name="T45" fmla="*/ 286 h 1206"/>
                <a:gd name="T46" fmla="*/ 46 w 802"/>
                <a:gd name="T47" fmla="*/ 511 h 1206"/>
                <a:gd name="T48" fmla="*/ 65 w 802"/>
                <a:gd name="T49" fmla="*/ 456 h 1206"/>
                <a:gd name="T50" fmla="*/ 78 w 802"/>
                <a:gd name="T51" fmla="*/ 508 h 1206"/>
                <a:gd name="T52" fmla="*/ 176 w 802"/>
                <a:gd name="T53" fmla="*/ 477 h 1206"/>
                <a:gd name="T54" fmla="*/ 199 w 802"/>
                <a:gd name="T55" fmla="*/ 441 h 1206"/>
                <a:gd name="T56" fmla="*/ 273 w 802"/>
                <a:gd name="T57" fmla="*/ 380 h 1206"/>
                <a:gd name="T58" fmla="*/ 324 w 802"/>
                <a:gd name="T59" fmla="*/ 368 h 1206"/>
                <a:gd name="T60" fmla="*/ 345 w 802"/>
                <a:gd name="T61" fmla="*/ 342 h 1206"/>
                <a:gd name="T62" fmla="*/ 423 w 802"/>
                <a:gd name="T63" fmla="*/ 286 h 1206"/>
                <a:gd name="T64" fmla="*/ 520 w 802"/>
                <a:gd name="T65" fmla="*/ 325 h 1206"/>
                <a:gd name="T66" fmla="*/ 636 w 802"/>
                <a:gd name="T67" fmla="*/ 385 h 1206"/>
                <a:gd name="T68" fmla="*/ 724 w 802"/>
                <a:gd name="T69" fmla="*/ 403 h 1206"/>
                <a:gd name="T70" fmla="*/ 773 w 802"/>
                <a:gd name="T71" fmla="*/ 426 h 1206"/>
                <a:gd name="T72" fmla="*/ 799 w 802"/>
                <a:gd name="T73" fmla="*/ 743 h 1206"/>
                <a:gd name="T74" fmla="*/ 782 w 802"/>
                <a:gd name="T75" fmla="*/ 899 h 1206"/>
                <a:gd name="T76" fmla="*/ 795 w 802"/>
                <a:gd name="T77" fmla="*/ 1027 h 1206"/>
                <a:gd name="T78" fmla="*/ 693 w 802"/>
                <a:gd name="T79" fmla="*/ 1109 h 1206"/>
                <a:gd name="T80" fmla="*/ 614 w 802"/>
                <a:gd name="T81" fmla="*/ 1090 h 1206"/>
                <a:gd name="T82" fmla="*/ 536 w 802"/>
                <a:gd name="T83" fmla="*/ 1092 h 1206"/>
                <a:gd name="T84" fmla="*/ 515 w 802"/>
                <a:gd name="T85" fmla="*/ 974 h 1206"/>
                <a:gd name="T86" fmla="*/ 587 w 802"/>
                <a:gd name="T87" fmla="*/ 952 h 1206"/>
                <a:gd name="T88" fmla="*/ 496 w 802"/>
                <a:gd name="T89" fmla="*/ 880 h 1206"/>
                <a:gd name="T90" fmla="*/ 466 w 802"/>
                <a:gd name="T91" fmla="*/ 793 h 1206"/>
                <a:gd name="T92" fmla="*/ 411 w 802"/>
                <a:gd name="T93" fmla="*/ 745 h 1206"/>
                <a:gd name="T94" fmla="*/ 389 w 802"/>
                <a:gd name="T95" fmla="*/ 711 h 1206"/>
                <a:gd name="T96" fmla="*/ 372 w 802"/>
                <a:gd name="T97" fmla="*/ 701 h 1206"/>
                <a:gd name="T98" fmla="*/ 331 w 802"/>
                <a:gd name="T99" fmla="*/ 694 h 1206"/>
                <a:gd name="T100" fmla="*/ 319 w 802"/>
                <a:gd name="T101" fmla="*/ 692 h 1206"/>
                <a:gd name="T102" fmla="*/ 264 w 802"/>
                <a:gd name="T103" fmla="*/ 684 h 1206"/>
                <a:gd name="T104" fmla="*/ 210 w 802"/>
                <a:gd name="T105" fmla="*/ 660 h 1206"/>
                <a:gd name="T106" fmla="*/ 116 w 802"/>
                <a:gd name="T107" fmla="*/ 643 h 1206"/>
                <a:gd name="T108" fmla="*/ 275 w 802"/>
                <a:gd name="T109" fmla="*/ 263 h 1206"/>
                <a:gd name="T110" fmla="*/ 257 w 802"/>
                <a:gd name="T111" fmla="*/ 258 h 1206"/>
                <a:gd name="T112" fmla="*/ 78 w 802"/>
                <a:gd name="T113" fmla="*/ 236 h 1206"/>
                <a:gd name="T114" fmla="*/ 140 w 802"/>
                <a:gd name="T115" fmla="*/ 188 h 1206"/>
                <a:gd name="T116" fmla="*/ 215 w 802"/>
                <a:gd name="T117" fmla="*/ 226 h 1206"/>
                <a:gd name="T118" fmla="*/ 176 w 802"/>
                <a:gd name="T119" fmla="*/ 217 h 1206"/>
                <a:gd name="T120" fmla="*/ 131 w 802"/>
                <a:gd name="T121" fmla="*/ 19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1206">
                  <a:moveTo>
                    <a:pt x="548" y="1114"/>
                  </a:moveTo>
                  <a:lnTo>
                    <a:pt x="543" y="1112"/>
                  </a:lnTo>
                  <a:lnTo>
                    <a:pt x="544" y="1109"/>
                  </a:lnTo>
                  <a:lnTo>
                    <a:pt x="549" y="1112"/>
                  </a:lnTo>
                  <a:lnTo>
                    <a:pt x="548" y="1114"/>
                  </a:lnTo>
                  <a:close/>
                  <a:moveTo>
                    <a:pt x="493" y="1107"/>
                  </a:moveTo>
                  <a:lnTo>
                    <a:pt x="491" y="1111"/>
                  </a:lnTo>
                  <a:lnTo>
                    <a:pt x="486" y="1116"/>
                  </a:lnTo>
                  <a:lnTo>
                    <a:pt x="481" y="1117"/>
                  </a:lnTo>
                  <a:lnTo>
                    <a:pt x="474" y="1119"/>
                  </a:lnTo>
                  <a:lnTo>
                    <a:pt x="471" y="1121"/>
                  </a:lnTo>
                  <a:lnTo>
                    <a:pt x="464" y="1119"/>
                  </a:lnTo>
                  <a:lnTo>
                    <a:pt x="464" y="1116"/>
                  </a:lnTo>
                  <a:lnTo>
                    <a:pt x="469" y="1116"/>
                  </a:lnTo>
                  <a:lnTo>
                    <a:pt x="471" y="1114"/>
                  </a:lnTo>
                  <a:lnTo>
                    <a:pt x="474" y="1116"/>
                  </a:lnTo>
                  <a:lnTo>
                    <a:pt x="479" y="1114"/>
                  </a:lnTo>
                  <a:lnTo>
                    <a:pt x="485" y="1112"/>
                  </a:lnTo>
                  <a:lnTo>
                    <a:pt x="486" y="1111"/>
                  </a:lnTo>
                  <a:lnTo>
                    <a:pt x="490" y="1111"/>
                  </a:lnTo>
                  <a:lnTo>
                    <a:pt x="493" y="1107"/>
                  </a:lnTo>
                  <a:close/>
                  <a:moveTo>
                    <a:pt x="548" y="1109"/>
                  </a:moveTo>
                  <a:lnTo>
                    <a:pt x="549" y="1109"/>
                  </a:lnTo>
                  <a:lnTo>
                    <a:pt x="546" y="1111"/>
                  </a:lnTo>
                  <a:lnTo>
                    <a:pt x="544" y="1107"/>
                  </a:lnTo>
                  <a:lnTo>
                    <a:pt x="548" y="1109"/>
                  </a:lnTo>
                  <a:close/>
                  <a:moveTo>
                    <a:pt x="537" y="1102"/>
                  </a:moveTo>
                  <a:lnTo>
                    <a:pt x="539" y="1102"/>
                  </a:lnTo>
                  <a:lnTo>
                    <a:pt x="541" y="1102"/>
                  </a:lnTo>
                  <a:lnTo>
                    <a:pt x="539" y="1104"/>
                  </a:lnTo>
                  <a:lnTo>
                    <a:pt x="534" y="1100"/>
                  </a:lnTo>
                  <a:lnTo>
                    <a:pt x="537" y="1102"/>
                  </a:lnTo>
                  <a:close/>
                  <a:moveTo>
                    <a:pt x="539" y="1102"/>
                  </a:moveTo>
                  <a:lnTo>
                    <a:pt x="534" y="1100"/>
                  </a:lnTo>
                  <a:lnTo>
                    <a:pt x="536" y="1093"/>
                  </a:lnTo>
                  <a:lnTo>
                    <a:pt x="539" y="1097"/>
                  </a:lnTo>
                  <a:lnTo>
                    <a:pt x="539" y="1102"/>
                  </a:lnTo>
                  <a:close/>
                  <a:moveTo>
                    <a:pt x="517" y="1088"/>
                  </a:moveTo>
                  <a:lnTo>
                    <a:pt x="519" y="1088"/>
                  </a:lnTo>
                  <a:lnTo>
                    <a:pt x="517" y="1088"/>
                  </a:lnTo>
                  <a:close/>
                  <a:moveTo>
                    <a:pt x="532" y="1088"/>
                  </a:moveTo>
                  <a:lnTo>
                    <a:pt x="534" y="1093"/>
                  </a:lnTo>
                  <a:lnTo>
                    <a:pt x="534" y="1100"/>
                  </a:lnTo>
                  <a:lnTo>
                    <a:pt x="537" y="1104"/>
                  </a:lnTo>
                  <a:lnTo>
                    <a:pt x="543" y="1105"/>
                  </a:lnTo>
                  <a:lnTo>
                    <a:pt x="543" y="1112"/>
                  </a:lnTo>
                  <a:lnTo>
                    <a:pt x="541" y="1116"/>
                  </a:lnTo>
                  <a:lnTo>
                    <a:pt x="536" y="1116"/>
                  </a:lnTo>
                  <a:lnTo>
                    <a:pt x="529" y="1114"/>
                  </a:lnTo>
                  <a:lnTo>
                    <a:pt x="520" y="1116"/>
                  </a:lnTo>
                  <a:lnTo>
                    <a:pt x="514" y="1114"/>
                  </a:lnTo>
                  <a:lnTo>
                    <a:pt x="507" y="1114"/>
                  </a:lnTo>
                  <a:lnTo>
                    <a:pt x="502" y="1112"/>
                  </a:lnTo>
                  <a:lnTo>
                    <a:pt x="500" y="1111"/>
                  </a:lnTo>
                  <a:lnTo>
                    <a:pt x="502" y="1105"/>
                  </a:lnTo>
                  <a:lnTo>
                    <a:pt x="505" y="1104"/>
                  </a:lnTo>
                  <a:lnTo>
                    <a:pt x="512" y="1097"/>
                  </a:lnTo>
                  <a:lnTo>
                    <a:pt x="515" y="1090"/>
                  </a:lnTo>
                  <a:lnTo>
                    <a:pt x="522" y="1088"/>
                  </a:lnTo>
                  <a:lnTo>
                    <a:pt x="531" y="1085"/>
                  </a:lnTo>
                  <a:lnTo>
                    <a:pt x="532" y="1088"/>
                  </a:lnTo>
                  <a:close/>
                  <a:moveTo>
                    <a:pt x="681" y="1075"/>
                  </a:moveTo>
                  <a:lnTo>
                    <a:pt x="679" y="1071"/>
                  </a:lnTo>
                  <a:lnTo>
                    <a:pt x="679" y="1070"/>
                  </a:lnTo>
                  <a:lnTo>
                    <a:pt x="681" y="1075"/>
                  </a:lnTo>
                  <a:close/>
                  <a:moveTo>
                    <a:pt x="544" y="1056"/>
                  </a:moveTo>
                  <a:lnTo>
                    <a:pt x="546" y="1056"/>
                  </a:lnTo>
                  <a:lnTo>
                    <a:pt x="543" y="1056"/>
                  </a:lnTo>
                  <a:lnTo>
                    <a:pt x="544" y="1056"/>
                  </a:lnTo>
                  <a:close/>
                  <a:moveTo>
                    <a:pt x="517" y="993"/>
                  </a:moveTo>
                  <a:lnTo>
                    <a:pt x="525" y="994"/>
                  </a:lnTo>
                  <a:lnTo>
                    <a:pt x="534" y="998"/>
                  </a:lnTo>
                  <a:lnTo>
                    <a:pt x="539" y="1003"/>
                  </a:lnTo>
                  <a:lnTo>
                    <a:pt x="543" y="1010"/>
                  </a:lnTo>
                  <a:lnTo>
                    <a:pt x="546" y="1013"/>
                  </a:lnTo>
                  <a:lnTo>
                    <a:pt x="544" y="1013"/>
                  </a:lnTo>
                  <a:lnTo>
                    <a:pt x="549" y="1015"/>
                  </a:lnTo>
                  <a:lnTo>
                    <a:pt x="558" y="1017"/>
                  </a:lnTo>
                  <a:lnTo>
                    <a:pt x="565" y="1018"/>
                  </a:lnTo>
                  <a:lnTo>
                    <a:pt x="560" y="1025"/>
                  </a:lnTo>
                  <a:lnTo>
                    <a:pt x="558" y="1032"/>
                  </a:lnTo>
                  <a:lnTo>
                    <a:pt x="553" y="1039"/>
                  </a:lnTo>
                  <a:lnTo>
                    <a:pt x="555" y="1049"/>
                  </a:lnTo>
                  <a:lnTo>
                    <a:pt x="553" y="1051"/>
                  </a:lnTo>
                  <a:lnTo>
                    <a:pt x="544" y="1054"/>
                  </a:lnTo>
                  <a:lnTo>
                    <a:pt x="541" y="1058"/>
                  </a:lnTo>
                  <a:lnTo>
                    <a:pt x="541" y="1061"/>
                  </a:lnTo>
                  <a:lnTo>
                    <a:pt x="541" y="1068"/>
                  </a:lnTo>
                  <a:lnTo>
                    <a:pt x="541" y="1073"/>
                  </a:lnTo>
                  <a:lnTo>
                    <a:pt x="543" y="1078"/>
                  </a:lnTo>
                  <a:lnTo>
                    <a:pt x="534" y="1078"/>
                  </a:lnTo>
                  <a:lnTo>
                    <a:pt x="531" y="1080"/>
                  </a:lnTo>
                  <a:lnTo>
                    <a:pt x="529" y="1087"/>
                  </a:lnTo>
                  <a:lnTo>
                    <a:pt x="522" y="1088"/>
                  </a:lnTo>
                  <a:lnTo>
                    <a:pt x="515" y="1087"/>
                  </a:lnTo>
                  <a:lnTo>
                    <a:pt x="512" y="1093"/>
                  </a:lnTo>
                  <a:lnTo>
                    <a:pt x="507" y="1099"/>
                  </a:lnTo>
                  <a:lnTo>
                    <a:pt x="502" y="1102"/>
                  </a:lnTo>
                  <a:lnTo>
                    <a:pt x="496" y="1105"/>
                  </a:lnTo>
                  <a:lnTo>
                    <a:pt x="491" y="1107"/>
                  </a:lnTo>
                  <a:lnTo>
                    <a:pt x="490" y="1111"/>
                  </a:lnTo>
                  <a:lnTo>
                    <a:pt x="486" y="1111"/>
                  </a:lnTo>
                  <a:lnTo>
                    <a:pt x="485" y="1112"/>
                  </a:lnTo>
                  <a:lnTo>
                    <a:pt x="483" y="1112"/>
                  </a:lnTo>
                  <a:lnTo>
                    <a:pt x="474" y="1114"/>
                  </a:lnTo>
                  <a:lnTo>
                    <a:pt x="471" y="1114"/>
                  </a:lnTo>
                  <a:lnTo>
                    <a:pt x="469" y="1116"/>
                  </a:lnTo>
                  <a:lnTo>
                    <a:pt x="464" y="1116"/>
                  </a:lnTo>
                  <a:lnTo>
                    <a:pt x="459" y="1114"/>
                  </a:lnTo>
                  <a:lnTo>
                    <a:pt x="457" y="1116"/>
                  </a:lnTo>
                  <a:lnTo>
                    <a:pt x="447" y="1116"/>
                  </a:lnTo>
                  <a:lnTo>
                    <a:pt x="445" y="1116"/>
                  </a:lnTo>
                  <a:lnTo>
                    <a:pt x="442" y="1116"/>
                  </a:lnTo>
                  <a:lnTo>
                    <a:pt x="432" y="1116"/>
                  </a:lnTo>
                  <a:lnTo>
                    <a:pt x="426" y="1116"/>
                  </a:lnTo>
                  <a:lnTo>
                    <a:pt x="420" y="1116"/>
                  </a:lnTo>
                  <a:lnTo>
                    <a:pt x="418" y="1114"/>
                  </a:lnTo>
                  <a:lnTo>
                    <a:pt x="416" y="1116"/>
                  </a:lnTo>
                  <a:lnTo>
                    <a:pt x="408" y="1116"/>
                  </a:lnTo>
                  <a:lnTo>
                    <a:pt x="401" y="1117"/>
                  </a:lnTo>
                  <a:lnTo>
                    <a:pt x="397" y="1119"/>
                  </a:lnTo>
                  <a:lnTo>
                    <a:pt x="396" y="1119"/>
                  </a:lnTo>
                  <a:lnTo>
                    <a:pt x="392" y="1123"/>
                  </a:lnTo>
                  <a:lnTo>
                    <a:pt x="391" y="1121"/>
                  </a:lnTo>
                  <a:lnTo>
                    <a:pt x="391" y="1119"/>
                  </a:lnTo>
                  <a:lnTo>
                    <a:pt x="392" y="1112"/>
                  </a:lnTo>
                  <a:lnTo>
                    <a:pt x="392" y="1105"/>
                  </a:lnTo>
                  <a:lnTo>
                    <a:pt x="396" y="1097"/>
                  </a:lnTo>
                  <a:lnTo>
                    <a:pt x="399" y="1090"/>
                  </a:lnTo>
                  <a:lnTo>
                    <a:pt x="404" y="1082"/>
                  </a:lnTo>
                  <a:lnTo>
                    <a:pt x="406" y="1078"/>
                  </a:lnTo>
                  <a:lnTo>
                    <a:pt x="411" y="1075"/>
                  </a:lnTo>
                  <a:lnTo>
                    <a:pt x="409" y="1070"/>
                  </a:lnTo>
                  <a:lnTo>
                    <a:pt x="415" y="1059"/>
                  </a:lnTo>
                  <a:lnTo>
                    <a:pt x="416" y="1056"/>
                  </a:lnTo>
                  <a:lnTo>
                    <a:pt x="418" y="1054"/>
                  </a:lnTo>
                  <a:lnTo>
                    <a:pt x="420" y="1051"/>
                  </a:lnTo>
                  <a:lnTo>
                    <a:pt x="423" y="1044"/>
                  </a:lnTo>
                  <a:lnTo>
                    <a:pt x="432" y="1037"/>
                  </a:lnTo>
                  <a:lnTo>
                    <a:pt x="433" y="1032"/>
                  </a:lnTo>
                  <a:lnTo>
                    <a:pt x="438" y="1023"/>
                  </a:lnTo>
                  <a:lnTo>
                    <a:pt x="440" y="1022"/>
                  </a:lnTo>
                  <a:lnTo>
                    <a:pt x="444" y="1018"/>
                  </a:lnTo>
                  <a:lnTo>
                    <a:pt x="445" y="1020"/>
                  </a:lnTo>
                  <a:lnTo>
                    <a:pt x="445" y="1017"/>
                  </a:lnTo>
                  <a:lnTo>
                    <a:pt x="450" y="1012"/>
                  </a:lnTo>
                  <a:lnTo>
                    <a:pt x="454" y="1010"/>
                  </a:lnTo>
                  <a:lnTo>
                    <a:pt x="462" y="1005"/>
                  </a:lnTo>
                  <a:lnTo>
                    <a:pt x="467" y="1003"/>
                  </a:lnTo>
                  <a:lnTo>
                    <a:pt x="473" y="1001"/>
                  </a:lnTo>
                  <a:lnTo>
                    <a:pt x="481" y="998"/>
                  </a:lnTo>
                  <a:lnTo>
                    <a:pt x="485" y="998"/>
                  </a:lnTo>
                  <a:lnTo>
                    <a:pt x="493" y="996"/>
                  </a:lnTo>
                  <a:lnTo>
                    <a:pt x="502" y="996"/>
                  </a:lnTo>
                  <a:lnTo>
                    <a:pt x="510" y="993"/>
                  </a:lnTo>
                  <a:lnTo>
                    <a:pt x="517" y="993"/>
                  </a:lnTo>
                  <a:close/>
                  <a:moveTo>
                    <a:pt x="558" y="977"/>
                  </a:moveTo>
                  <a:lnTo>
                    <a:pt x="561" y="977"/>
                  </a:lnTo>
                  <a:lnTo>
                    <a:pt x="558" y="977"/>
                  </a:lnTo>
                  <a:close/>
                  <a:moveTo>
                    <a:pt x="555" y="974"/>
                  </a:moveTo>
                  <a:lnTo>
                    <a:pt x="558" y="976"/>
                  </a:lnTo>
                  <a:lnTo>
                    <a:pt x="551" y="974"/>
                  </a:lnTo>
                  <a:lnTo>
                    <a:pt x="551" y="972"/>
                  </a:lnTo>
                  <a:lnTo>
                    <a:pt x="555" y="974"/>
                  </a:lnTo>
                  <a:close/>
                  <a:moveTo>
                    <a:pt x="529" y="967"/>
                  </a:moveTo>
                  <a:lnTo>
                    <a:pt x="532" y="967"/>
                  </a:lnTo>
                  <a:lnTo>
                    <a:pt x="532" y="969"/>
                  </a:lnTo>
                  <a:lnTo>
                    <a:pt x="529" y="969"/>
                  </a:lnTo>
                  <a:lnTo>
                    <a:pt x="529" y="967"/>
                  </a:lnTo>
                  <a:close/>
                  <a:moveTo>
                    <a:pt x="525" y="969"/>
                  </a:moveTo>
                  <a:lnTo>
                    <a:pt x="522" y="969"/>
                  </a:lnTo>
                  <a:lnTo>
                    <a:pt x="520" y="964"/>
                  </a:lnTo>
                  <a:lnTo>
                    <a:pt x="527" y="967"/>
                  </a:lnTo>
                  <a:lnTo>
                    <a:pt x="527" y="969"/>
                  </a:lnTo>
                  <a:lnTo>
                    <a:pt x="525" y="969"/>
                  </a:lnTo>
                  <a:close/>
                  <a:moveTo>
                    <a:pt x="546" y="930"/>
                  </a:moveTo>
                  <a:lnTo>
                    <a:pt x="555" y="935"/>
                  </a:lnTo>
                  <a:lnTo>
                    <a:pt x="563" y="940"/>
                  </a:lnTo>
                  <a:lnTo>
                    <a:pt x="572" y="945"/>
                  </a:lnTo>
                  <a:lnTo>
                    <a:pt x="578" y="947"/>
                  </a:lnTo>
                  <a:lnTo>
                    <a:pt x="582" y="948"/>
                  </a:lnTo>
                  <a:lnTo>
                    <a:pt x="582" y="952"/>
                  </a:lnTo>
                  <a:lnTo>
                    <a:pt x="584" y="952"/>
                  </a:lnTo>
                  <a:lnTo>
                    <a:pt x="592" y="955"/>
                  </a:lnTo>
                  <a:lnTo>
                    <a:pt x="597" y="955"/>
                  </a:lnTo>
                  <a:lnTo>
                    <a:pt x="601" y="962"/>
                  </a:lnTo>
                  <a:lnTo>
                    <a:pt x="595" y="969"/>
                  </a:lnTo>
                  <a:lnTo>
                    <a:pt x="595" y="971"/>
                  </a:lnTo>
                  <a:lnTo>
                    <a:pt x="601" y="976"/>
                  </a:lnTo>
                  <a:lnTo>
                    <a:pt x="606" y="974"/>
                  </a:lnTo>
                  <a:lnTo>
                    <a:pt x="606" y="976"/>
                  </a:lnTo>
                  <a:lnTo>
                    <a:pt x="599" y="977"/>
                  </a:lnTo>
                  <a:lnTo>
                    <a:pt x="592" y="974"/>
                  </a:lnTo>
                  <a:lnTo>
                    <a:pt x="587" y="976"/>
                  </a:lnTo>
                  <a:lnTo>
                    <a:pt x="587" y="967"/>
                  </a:lnTo>
                  <a:lnTo>
                    <a:pt x="584" y="965"/>
                  </a:lnTo>
                  <a:lnTo>
                    <a:pt x="580" y="969"/>
                  </a:lnTo>
                  <a:lnTo>
                    <a:pt x="577" y="976"/>
                  </a:lnTo>
                  <a:lnTo>
                    <a:pt x="575" y="974"/>
                  </a:lnTo>
                  <a:lnTo>
                    <a:pt x="572" y="974"/>
                  </a:lnTo>
                  <a:lnTo>
                    <a:pt x="563" y="974"/>
                  </a:lnTo>
                  <a:lnTo>
                    <a:pt x="560" y="974"/>
                  </a:lnTo>
                  <a:lnTo>
                    <a:pt x="549" y="969"/>
                  </a:lnTo>
                  <a:lnTo>
                    <a:pt x="544" y="967"/>
                  </a:lnTo>
                  <a:lnTo>
                    <a:pt x="537" y="969"/>
                  </a:lnTo>
                  <a:lnTo>
                    <a:pt x="529" y="964"/>
                  </a:lnTo>
                  <a:lnTo>
                    <a:pt x="525" y="962"/>
                  </a:lnTo>
                  <a:lnTo>
                    <a:pt x="519" y="957"/>
                  </a:lnTo>
                  <a:lnTo>
                    <a:pt x="517" y="955"/>
                  </a:lnTo>
                  <a:lnTo>
                    <a:pt x="510" y="950"/>
                  </a:lnTo>
                  <a:lnTo>
                    <a:pt x="507" y="948"/>
                  </a:lnTo>
                  <a:lnTo>
                    <a:pt x="503" y="941"/>
                  </a:lnTo>
                  <a:lnTo>
                    <a:pt x="507" y="936"/>
                  </a:lnTo>
                  <a:lnTo>
                    <a:pt x="512" y="935"/>
                  </a:lnTo>
                  <a:lnTo>
                    <a:pt x="515" y="936"/>
                  </a:lnTo>
                  <a:lnTo>
                    <a:pt x="522" y="938"/>
                  </a:lnTo>
                  <a:lnTo>
                    <a:pt x="525" y="936"/>
                  </a:lnTo>
                  <a:lnTo>
                    <a:pt x="532" y="931"/>
                  </a:lnTo>
                  <a:lnTo>
                    <a:pt x="539" y="931"/>
                  </a:lnTo>
                  <a:lnTo>
                    <a:pt x="546" y="930"/>
                  </a:lnTo>
                  <a:close/>
                  <a:moveTo>
                    <a:pt x="531" y="926"/>
                  </a:moveTo>
                  <a:lnTo>
                    <a:pt x="534" y="926"/>
                  </a:lnTo>
                  <a:lnTo>
                    <a:pt x="534" y="930"/>
                  </a:lnTo>
                  <a:lnTo>
                    <a:pt x="531" y="930"/>
                  </a:lnTo>
                  <a:lnTo>
                    <a:pt x="531" y="926"/>
                  </a:lnTo>
                  <a:close/>
                  <a:moveTo>
                    <a:pt x="512" y="918"/>
                  </a:moveTo>
                  <a:lnTo>
                    <a:pt x="517" y="919"/>
                  </a:lnTo>
                  <a:lnTo>
                    <a:pt x="524" y="921"/>
                  </a:lnTo>
                  <a:lnTo>
                    <a:pt x="529" y="926"/>
                  </a:lnTo>
                  <a:lnTo>
                    <a:pt x="532" y="930"/>
                  </a:lnTo>
                  <a:lnTo>
                    <a:pt x="524" y="935"/>
                  </a:lnTo>
                  <a:lnTo>
                    <a:pt x="517" y="933"/>
                  </a:lnTo>
                  <a:lnTo>
                    <a:pt x="515" y="931"/>
                  </a:lnTo>
                  <a:lnTo>
                    <a:pt x="517" y="930"/>
                  </a:lnTo>
                  <a:lnTo>
                    <a:pt x="512" y="926"/>
                  </a:lnTo>
                  <a:lnTo>
                    <a:pt x="510" y="921"/>
                  </a:lnTo>
                  <a:lnTo>
                    <a:pt x="510" y="918"/>
                  </a:lnTo>
                  <a:lnTo>
                    <a:pt x="512" y="918"/>
                  </a:lnTo>
                  <a:close/>
                  <a:moveTo>
                    <a:pt x="536" y="916"/>
                  </a:moveTo>
                  <a:lnTo>
                    <a:pt x="534" y="923"/>
                  </a:lnTo>
                  <a:lnTo>
                    <a:pt x="536" y="924"/>
                  </a:lnTo>
                  <a:lnTo>
                    <a:pt x="541" y="926"/>
                  </a:lnTo>
                  <a:lnTo>
                    <a:pt x="546" y="924"/>
                  </a:lnTo>
                  <a:lnTo>
                    <a:pt x="549" y="926"/>
                  </a:lnTo>
                  <a:lnTo>
                    <a:pt x="549" y="928"/>
                  </a:lnTo>
                  <a:lnTo>
                    <a:pt x="546" y="928"/>
                  </a:lnTo>
                  <a:lnTo>
                    <a:pt x="537" y="930"/>
                  </a:lnTo>
                  <a:lnTo>
                    <a:pt x="536" y="928"/>
                  </a:lnTo>
                  <a:lnTo>
                    <a:pt x="531" y="923"/>
                  </a:lnTo>
                  <a:lnTo>
                    <a:pt x="527" y="919"/>
                  </a:lnTo>
                  <a:lnTo>
                    <a:pt x="517" y="916"/>
                  </a:lnTo>
                  <a:lnTo>
                    <a:pt x="517" y="906"/>
                  </a:lnTo>
                  <a:lnTo>
                    <a:pt x="520" y="904"/>
                  </a:lnTo>
                  <a:lnTo>
                    <a:pt x="524" y="907"/>
                  </a:lnTo>
                  <a:lnTo>
                    <a:pt x="531" y="911"/>
                  </a:lnTo>
                  <a:lnTo>
                    <a:pt x="534" y="914"/>
                  </a:lnTo>
                  <a:lnTo>
                    <a:pt x="536" y="916"/>
                  </a:lnTo>
                  <a:close/>
                  <a:moveTo>
                    <a:pt x="462" y="795"/>
                  </a:moveTo>
                  <a:lnTo>
                    <a:pt x="464" y="791"/>
                  </a:lnTo>
                  <a:lnTo>
                    <a:pt x="466" y="793"/>
                  </a:lnTo>
                  <a:lnTo>
                    <a:pt x="462" y="795"/>
                  </a:lnTo>
                  <a:close/>
                  <a:moveTo>
                    <a:pt x="379" y="731"/>
                  </a:moveTo>
                  <a:lnTo>
                    <a:pt x="380" y="731"/>
                  </a:lnTo>
                  <a:lnTo>
                    <a:pt x="380" y="733"/>
                  </a:lnTo>
                  <a:lnTo>
                    <a:pt x="379" y="733"/>
                  </a:lnTo>
                  <a:lnTo>
                    <a:pt x="379" y="731"/>
                  </a:lnTo>
                  <a:close/>
                  <a:moveTo>
                    <a:pt x="341" y="713"/>
                  </a:moveTo>
                  <a:lnTo>
                    <a:pt x="343" y="713"/>
                  </a:lnTo>
                  <a:lnTo>
                    <a:pt x="343" y="714"/>
                  </a:lnTo>
                  <a:lnTo>
                    <a:pt x="341" y="714"/>
                  </a:lnTo>
                  <a:lnTo>
                    <a:pt x="341" y="713"/>
                  </a:lnTo>
                  <a:close/>
                  <a:moveTo>
                    <a:pt x="382" y="707"/>
                  </a:moveTo>
                  <a:lnTo>
                    <a:pt x="384" y="707"/>
                  </a:lnTo>
                  <a:lnTo>
                    <a:pt x="384" y="709"/>
                  </a:lnTo>
                  <a:lnTo>
                    <a:pt x="382" y="709"/>
                  </a:lnTo>
                  <a:lnTo>
                    <a:pt x="382" y="707"/>
                  </a:lnTo>
                  <a:close/>
                  <a:moveTo>
                    <a:pt x="392" y="707"/>
                  </a:moveTo>
                  <a:lnTo>
                    <a:pt x="394" y="713"/>
                  </a:lnTo>
                  <a:lnTo>
                    <a:pt x="389" y="707"/>
                  </a:lnTo>
                  <a:lnTo>
                    <a:pt x="394" y="704"/>
                  </a:lnTo>
                  <a:lnTo>
                    <a:pt x="392" y="707"/>
                  </a:lnTo>
                  <a:close/>
                  <a:moveTo>
                    <a:pt x="374" y="701"/>
                  </a:moveTo>
                  <a:lnTo>
                    <a:pt x="377" y="702"/>
                  </a:lnTo>
                  <a:lnTo>
                    <a:pt x="374" y="702"/>
                  </a:lnTo>
                  <a:lnTo>
                    <a:pt x="374" y="709"/>
                  </a:lnTo>
                  <a:lnTo>
                    <a:pt x="370" y="707"/>
                  </a:lnTo>
                  <a:lnTo>
                    <a:pt x="368" y="711"/>
                  </a:lnTo>
                  <a:lnTo>
                    <a:pt x="370" y="718"/>
                  </a:lnTo>
                  <a:lnTo>
                    <a:pt x="368" y="723"/>
                  </a:lnTo>
                  <a:lnTo>
                    <a:pt x="367" y="723"/>
                  </a:lnTo>
                  <a:lnTo>
                    <a:pt x="360" y="716"/>
                  </a:lnTo>
                  <a:lnTo>
                    <a:pt x="363" y="713"/>
                  </a:lnTo>
                  <a:lnTo>
                    <a:pt x="362" y="711"/>
                  </a:lnTo>
                  <a:lnTo>
                    <a:pt x="365" y="709"/>
                  </a:lnTo>
                  <a:lnTo>
                    <a:pt x="367" y="706"/>
                  </a:lnTo>
                  <a:lnTo>
                    <a:pt x="372" y="704"/>
                  </a:lnTo>
                  <a:lnTo>
                    <a:pt x="372" y="701"/>
                  </a:lnTo>
                  <a:lnTo>
                    <a:pt x="374" y="701"/>
                  </a:lnTo>
                  <a:close/>
                  <a:moveTo>
                    <a:pt x="297" y="697"/>
                  </a:moveTo>
                  <a:lnTo>
                    <a:pt x="298" y="697"/>
                  </a:lnTo>
                  <a:lnTo>
                    <a:pt x="298" y="699"/>
                  </a:lnTo>
                  <a:lnTo>
                    <a:pt x="297" y="699"/>
                  </a:lnTo>
                  <a:lnTo>
                    <a:pt x="297" y="697"/>
                  </a:lnTo>
                  <a:close/>
                  <a:moveTo>
                    <a:pt x="327" y="694"/>
                  </a:moveTo>
                  <a:lnTo>
                    <a:pt x="329" y="694"/>
                  </a:lnTo>
                  <a:lnTo>
                    <a:pt x="327" y="694"/>
                  </a:lnTo>
                  <a:lnTo>
                    <a:pt x="329" y="696"/>
                  </a:lnTo>
                  <a:lnTo>
                    <a:pt x="327" y="697"/>
                  </a:lnTo>
                  <a:lnTo>
                    <a:pt x="326" y="696"/>
                  </a:lnTo>
                  <a:lnTo>
                    <a:pt x="327" y="694"/>
                  </a:lnTo>
                  <a:lnTo>
                    <a:pt x="326" y="692"/>
                  </a:lnTo>
                  <a:lnTo>
                    <a:pt x="327" y="692"/>
                  </a:lnTo>
                  <a:lnTo>
                    <a:pt x="327" y="694"/>
                  </a:lnTo>
                  <a:close/>
                  <a:moveTo>
                    <a:pt x="326" y="689"/>
                  </a:moveTo>
                  <a:lnTo>
                    <a:pt x="326" y="692"/>
                  </a:lnTo>
                  <a:lnTo>
                    <a:pt x="326" y="689"/>
                  </a:lnTo>
                  <a:close/>
                  <a:moveTo>
                    <a:pt x="304" y="690"/>
                  </a:moveTo>
                  <a:lnTo>
                    <a:pt x="305" y="690"/>
                  </a:lnTo>
                  <a:lnTo>
                    <a:pt x="305" y="694"/>
                  </a:lnTo>
                  <a:lnTo>
                    <a:pt x="307" y="694"/>
                  </a:lnTo>
                  <a:lnTo>
                    <a:pt x="309" y="696"/>
                  </a:lnTo>
                  <a:lnTo>
                    <a:pt x="304" y="696"/>
                  </a:lnTo>
                  <a:lnTo>
                    <a:pt x="304" y="697"/>
                  </a:lnTo>
                  <a:lnTo>
                    <a:pt x="300" y="699"/>
                  </a:lnTo>
                  <a:lnTo>
                    <a:pt x="295" y="696"/>
                  </a:lnTo>
                  <a:lnTo>
                    <a:pt x="300" y="694"/>
                  </a:lnTo>
                  <a:lnTo>
                    <a:pt x="295" y="696"/>
                  </a:lnTo>
                  <a:lnTo>
                    <a:pt x="297" y="690"/>
                  </a:lnTo>
                  <a:lnTo>
                    <a:pt x="304" y="690"/>
                  </a:lnTo>
                  <a:close/>
                  <a:moveTo>
                    <a:pt x="295" y="690"/>
                  </a:moveTo>
                  <a:lnTo>
                    <a:pt x="295" y="692"/>
                  </a:lnTo>
                  <a:lnTo>
                    <a:pt x="293" y="694"/>
                  </a:lnTo>
                  <a:lnTo>
                    <a:pt x="292" y="692"/>
                  </a:lnTo>
                  <a:lnTo>
                    <a:pt x="293" y="689"/>
                  </a:lnTo>
                  <a:lnTo>
                    <a:pt x="295" y="690"/>
                  </a:lnTo>
                  <a:close/>
                  <a:moveTo>
                    <a:pt x="281" y="692"/>
                  </a:moveTo>
                  <a:lnTo>
                    <a:pt x="278" y="689"/>
                  </a:lnTo>
                  <a:lnTo>
                    <a:pt x="281" y="687"/>
                  </a:lnTo>
                  <a:lnTo>
                    <a:pt x="281" y="692"/>
                  </a:lnTo>
                  <a:close/>
                  <a:moveTo>
                    <a:pt x="152" y="479"/>
                  </a:moveTo>
                  <a:lnTo>
                    <a:pt x="153" y="479"/>
                  </a:lnTo>
                  <a:lnTo>
                    <a:pt x="153" y="480"/>
                  </a:lnTo>
                  <a:lnTo>
                    <a:pt x="150" y="480"/>
                  </a:lnTo>
                  <a:lnTo>
                    <a:pt x="152" y="479"/>
                  </a:lnTo>
                  <a:close/>
                  <a:moveTo>
                    <a:pt x="155" y="479"/>
                  </a:moveTo>
                  <a:lnTo>
                    <a:pt x="157" y="479"/>
                  </a:lnTo>
                  <a:lnTo>
                    <a:pt x="157" y="482"/>
                  </a:lnTo>
                  <a:lnTo>
                    <a:pt x="155" y="482"/>
                  </a:lnTo>
                  <a:lnTo>
                    <a:pt x="155" y="479"/>
                  </a:lnTo>
                  <a:close/>
                  <a:moveTo>
                    <a:pt x="63" y="474"/>
                  </a:moveTo>
                  <a:lnTo>
                    <a:pt x="63" y="475"/>
                  </a:lnTo>
                  <a:lnTo>
                    <a:pt x="63" y="474"/>
                  </a:lnTo>
                  <a:close/>
                  <a:moveTo>
                    <a:pt x="176" y="463"/>
                  </a:moveTo>
                  <a:lnTo>
                    <a:pt x="179" y="463"/>
                  </a:lnTo>
                  <a:lnTo>
                    <a:pt x="177" y="463"/>
                  </a:lnTo>
                  <a:lnTo>
                    <a:pt x="172" y="465"/>
                  </a:lnTo>
                  <a:lnTo>
                    <a:pt x="174" y="467"/>
                  </a:lnTo>
                  <a:lnTo>
                    <a:pt x="170" y="468"/>
                  </a:lnTo>
                  <a:lnTo>
                    <a:pt x="167" y="467"/>
                  </a:lnTo>
                  <a:lnTo>
                    <a:pt x="170" y="463"/>
                  </a:lnTo>
                  <a:lnTo>
                    <a:pt x="176" y="463"/>
                  </a:lnTo>
                  <a:close/>
                  <a:moveTo>
                    <a:pt x="170" y="460"/>
                  </a:moveTo>
                  <a:lnTo>
                    <a:pt x="169" y="462"/>
                  </a:lnTo>
                  <a:lnTo>
                    <a:pt x="164" y="463"/>
                  </a:lnTo>
                  <a:lnTo>
                    <a:pt x="170" y="460"/>
                  </a:lnTo>
                  <a:close/>
                  <a:moveTo>
                    <a:pt x="61" y="433"/>
                  </a:moveTo>
                  <a:lnTo>
                    <a:pt x="66" y="434"/>
                  </a:lnTo>
                  <a:lnTo>
                    <a:pt x="63" y="438"/>
                  </a:lnTo>
                  <a:lnTo>
                    <a:pt x="59" y="436"/>
                  </a:lnTo>
                  <a:lnTo>
                    <a:pt x="59" y="433"/>
                  </a:lnTo>
                  <a:lnTo>
                    <a:pt x="61" y="433"/>
                  </a:lnTo>
                  <a:close/>
                  <a:moveTo>
                    <a:pt x="232" y="376"/>
                  </a:moveTo>
                  <a:lnTo>
                    <a:pt x="235" y="376"/>
                  </a:lnTo>
                  <a:lnTo>
                    <a:pt x="235" y="378"/>
                  </a:lnTo>
                  <a:lnTo>
                    <a:pt x="232" y="378"/>
                  </a:lnTo>
                  <a:lnTo>
                    <a:pt x="232" y="376"/>
                  </a:lnTo>
                  <a:close/>
                  <a:moveTo>
                    <a:pt x="346" y="357"/>
                  </a:moveTo>
                  <a:lnTo>
                    <a:pt x="350" y="357"/>
                  </a:lnTo>
                  <a:lnTo>
                    <a:pt x="350" y="359"/>
                  </a:lnTo>
                  <a:lnTo>
                    <a:pt x="346" y="359"/>
                  </a:lnTo>
                  <a:lnTo>
                    <a:pt x="346" y="357"/>
                  </a:lnTo>
                  <a:close/>
                  <a:moveTo>
                    <a:pt x="343" y="351"/>
                  </a:moveTo>
                  <a:lnTo>
                    <a:pt x="346" y="351"/>
                  </a:lnTo>
                  <a:lnTo>
                    <a:pt x="346" y="352"/>
                  </a:lnTo>
                  <a:lnTo>
                    <a:pt x="343" y="352"/>
                  </a:lnTo>
                  <a:lnTo>
                    <a:pt x="343" y="351"/>
                  </a:lnTo>
                  <a:close/>
                  <a:moveTo>
                    <a:pt x="346" y="347"/>
                  </a:moveTo>
                  <a:lnTo>
                    <a:pt x="348" y="347"/>
                  </a:lnTo>
                  <a:lnTo>
                    <a:pt x="348" y="349"/>
                  </a:lnTo>
                  <a:lnTo>
                    <a:pt x="346" y="349"/>
                  </a:lnTo>
                  <a:lnTo>
                    <a:pt x="346" y="347"/>
                  </a:lnTo>
                  <a:close/>
                  <a:moveTo>
                    <a:pt x="249" y="339"/>
                  </a:moveTo>
                  <a:lnTo>
                    <a:pt x="252" y="339"/>
                  </a:lnTo>
                  <a:lnTo>
                    <a:pt x="252" y="340"/>
                  </a:lnTo>
                  <a:lnTo>
                    <a:pt x="249" y="340"/>
                  </a:lnTo>
                  <a:lnTo>
                    <a:pt x="249" y="339"/>
                  </a:lnTo>
                  <a:close/>
                  <a:moveTo>
                    <a:pt x="242" y="339"/>
                  </a:moveTo>
                  <a:lnTo>
                    <a:pt x="244" y="340"/>
                  </a:lnTo>
                  <a:lnTo>
                    <a:pt x="246" y="339"/>
                  </a:lnTo>
                  <a:lnTo>
                    <a:pt x="246" y="345"/>
                  </a:lnTo>
                  <a:lnTo>
                    <a:pt x="242" y="342"/>
                  </a:lnTo>
                  <a:lnTo>
                    <a:pt x="244" y="342"/>
                  </a:lnTo>
                  <a:lnTo>
                    <a:pt x="242" y="339"/>
                  </a:lnTo>
                  <a:close/>
                  <a:moveTo>
                    <a:pt x="237" y="337"/>
                  </a:moveTo>
                  <a:lnTo>
                    <a:pt x="239" y="339"/>
                  </a:lnTo>
                  <a:lnTo>
                    <a:pt x="239" y="342"/>
                  </a:lnTo>
                  <a:lnTo>
                    <a:pt x="237" y="337"/>
                  </a:lnTo>
                  <a:close/>
                  <a:moveTo>
                    <a:pt x="351" y="337"/>
                  </a:moveTo>
                  <a:lnTo>
                    <a:pt x="353" y="339"/>
                  </a:lnTo>
                  <a:lnTo>
                    <a:pt x="348" y="342"/>
                  </a:lnTo>
                  <a:lnTo>
                    <a:pt x="345" y="340"/>
                  </a:lnTo>
                  <a:lnTo>
                    <a:pt x="345" y="344"/>
                  </a:lnTo>
                  <a:lnTo>
                    <a:pt x="343" y="342"/>
                  </a:lnTo>
                  <a:lnTo>
                    <a:pt x="343" y="335"/>
                  </a:lnTo>
                  <a:lnTo>
                    <a:pt x="348" y="337"/>
                  </a:lnTo>
                  <a:lnTo>
                    <a:pt x="350" y="335"/>
                  </a:lnTo>
                  <a:lnTo>
                    <a:pt x="351" y="337"/>
                  </a:lnTo>
                  <a:close/>
                  <a:moveTo>
                    <a:pt x="334" y="337"/>
                  </a:moveTo>
                  <a:lnTo>
                    <a:pt x="333" y="333"/>
                  </a:lnTo>
                  <a:lnTo>
                    <a:pt x="336" y="335"/>
                  </a:lnTo>
                  <a:lnTo>
                    <a:pt x="334" y="337"/>
                  </a:lnTo>
                  <a:close/>
                  <a:moveTo>
                    <a:pt x="326" y="330"/>
                  </a:moveTo>
                  <a:lnTo>
                    <a:pt x="329" y="335"/>
                  </a:lnTo>
                  <a:lnTo>
                    <a:pt x="322" y="332"/>
                  </a:lnTo>
                  <a:lnTo>
                    <a:pt x="317" y="330"/>
                  </a:lnTo>
                  <a:lnTo>
                    <a:pt x="326" y="330"/>
                  </a:lnTo>
                  <a:close/>
                  <a:moveTo>
                    <a:pt x="343" y="327"/>
                  </a:moveTo>
                  <a:lnTo>
                    <a:pt x="346" y="332"/>
                  </a:lnTo>
                  <a:lnTo>
                    <a:pt x="346" y="333"/>
                  </a:lnTo>
                  <a:lnTo>
                    <a:pt x="348" y="337"/>
                  </a:lnTo>
                  <a:lnTo>
                    <a:pt x="339" y="333"/>
                  </a:lnTo>
                  <a:lnTo>
                    <a:pt x="341" y="328"/>
                  </a:lnTo>
                  <a:lnTo>
                    <a:pt x="343" y="327"/>
                  </a:lnTo>
                  <a:close/>
                  <a:moveTo>
                    <a:pt x="181" y="325"/>
                  </a:moveTo>
                  <a:lnTo>
                    <a:pt x="182" y="327"/>
                  </a:lnTo>
                  <a:lnTo>
                    <a:pt x="179" y="328"/>
                  </a:lnTo>
                  <a:lnTo>
                    <a:pt x="179" y="327"/>
                  </a:lnTo>
                  <a:lnTo>
                    <a:pt x="181" y="325"/>
                  </a:lnTo>
                  <a:close/>
                  <a:moveTo>
                    <a:pt x="339" y="323"/>
                  </a:moveTo>
                  <a:lnTo>
                    <a:pt x="343" y="327"/>
                  </a:lnTo>
                  <a:lnTo>
                    <a:pt x="339" y="328"/>
                  </a:lnTo>
                  <a:lnTo>
                    <a:pt x="339" y="332"/>
                  </a:lnTo>
                  <a:lnTo>
                    <a:pt x="339" y="333"/>
                  </a:lnTo>
                  <a:lnTo>
                    <a:pt x="343" y="335"/>
                  </a:lnTo>
                  <a:lnTo>
                    <a:pt x="341" y="342"/>
                  </a:lnTo>
                  <a:lnTo>
                    <a:pt x="339" y="339"/>
                  </a:lnTo>
                  <a:lnTo>
                    <a:pt x="338" y="337"/>
                  </a:lnTo>
                  <a:lnTo>
                    <a:pt x="338" y="335"/>
                  </a:lnTo>
                  <a:lnTo>
                    <a:pt x="333" y="332"/>
                  </a:lnTo>
                  <a:lnTo>
                    <a:pt x="334" y="325"/>
                  </a:lnTo>
                  <a:lnTo>
                    <a:pt x="339" y="323"/>
                  </a:lnTo>
                  <a:close/>
                  <a:moveTo>
                    <a:pt x="176" y="321"/>
                  </a:moveTo>
                  <a:lnTo>
                    <a:pt x="177" y="321"/>
                  </a:lnTo>
                  <a:lnTo>
                    <a:pt x="177" y="323"/>
                  </a:lnTo>
                  <a:lnTo>
                    <a:pt x="176" y="323"/>
                  </a:lnTo>
                  <a:lnTo>
                    <a:pt x="176" y="321"/>
                  </a:lnTo>
                  <a:close/>
                  <a:moveTo>
                    <a:pt x="177" y="320"/>
                  </a:moveTo>
                  <a:lnTo>
                    <a:pt x="181" y="320"/>
                  </a:lnTo>
                  <a:lnTo>
                    <a:pt x="177" y="320"/>
                  </a:lnTo>
                  <a:close/>
                  <a:moveTo>
                    <a:pt x="537" y="315"/>
                  </a:moveTo>
                  <a:lnTo>
                    <a:pt x="537" y="311"/>
                  </a:lnTo>
                  <a:lnTo>
                    <a:pt x="537" y="310"/>
                  </a:lnTo>
                  <a:lnTo>
                    <a:pt x="537" y="315"/>
                  </a:lnTo>
                  <a:close/>
                  <a:moveTo>
                    <a:pt x="140" y="303"/>
                  </a:moveTo>
                  <a:lnTo>
                    <a:pt x="148" y="304"/>
                  </a:lnTo>
                  <a:lnTo>
                    <a:pt x="153" y="303"/>
                  </a:lnTo>
                  <a:lnTo>
                    <a:pt x="158" y="306"/>
                  </a:lnTo>
                  <a:lnTo>
                    <a:pt x="165" y="304"/>
                  </a:lnTo>
                  <a:lnTo>
                    <a:pt x="165" y="306"/>
                  </a:lnTo>
                  <a:lnTo>
                    <a:pt x="167" y="304"/>
                  </a:lnTo>
                  <a:lnTo>
                    <a:pt x="170" y="306"/>
                  </a:lnTo>
                  <a:lnTo>
                    <a:pt x="177" y="306"/>
                  </a:lnTo>
                  <a:lnTo>
                    <a:pt x="182" y="308"/>
                  </a:lnTo>
                  <a:lnTo>
                    <a:pt x="184" y="306"/>
                  </a:lnTo>
                  <a:lnTo>
                    <a:pt x="184" y="310"/>
                  </a:lnTo>
                  <a:lnTo>
                    <a:pt x="186" y="310"/>
                  </a:lnTo>
                  <a:lnTo>
                    <a:pt x="191" y="306"/>
                  </a:lnTo>
                  <a:lnTo>
                    <a:pt x="198" y="308"/>
                  </a:lnTo>
                  <a:lnTo>
                    <a:pt x="199" y="308"/>
                  </a:lnTo>
                  <a:lnTo>
                    <a:pt x="205" y="308"/>
                  </a:lnTo>
                  <a:lnTo>
                    <a:pt x="210" y="310"/>
                  </a:lnTo>
                  <a:lnTo>
                    <a:pt x="213" y="308"/>
                  </a:lnTo>
                  <a:lnTo>
                    <a:pt x="220" y="308"/>
                  </a:lnTo>
                  <a:lnTo>
                    <a:pt x="225" y="310"/>
                  </a:lnTo>
                  <a:lnTo>
                    <a:pt x="227" y="308"/>
                  </a:lnTo>
                  <a:lnTo>
                    <a:pt x="230" y="311"/>
                  </a:lnTo>
                  <a:lnTo>
                    <a:pt x="237" y="311"/>
                  </a:lnTo>
                  <a:lnTo>
                    <a:pt x="242" y="315"/>
                  </a:lnTo>
                  <a:lnTo>
                    <a:pt x="247" y="316"/>
                  </a:lnTo>
                  <a:lnTo>
                    <a:pt x="252" y="316"/>
                  </a:lnTo>
                  <a:lnTo>
                    <a:pt x="256" y="315"/>
                  </a:lnTo>
                  <a:lnTo>
                    <a:pt x="263" y="315"/>
                  </a:lnTo>
                  <a:lnTo>
                    <a:pt x="264" y="316"/>
                  </a:lnTo>
                  <a:lnTo>
                    <a:pt x="273" y="318"/>
                  </a:lnTo>
                  <a:lnTo>
                    <a:pt x="283" y="318"/>
                  </a:lnTo>
                  <a:lnTo>
                    <a:pt x="288" y="318"/>
                  </a:lnTo>
                  <a:lnTo>
                    <a:pt x="295" y="320"/>
                  </a:lnTo>
                  <a:lnTo>
                    <a:pt x="297" y="318"/>
                  </a:lnTo>
                  <a:lnTo>
                    <a:pt x="305" y="323"/>
                  </a:lnTo>
                  <a:lnTo>
                    <a:pt x="309" y="323"/>
                  </a:lnTo>
                  <a:lnTo>
                    <a:pt x="310" y="325"/>
                  </a:lnTo>
                  <a:lnTo>
                    <a:pt x="307" y="327"/>
                  </a:lnTo>
                  <a:lnTo>
                    <a:pt x="304" y="330"/>
                  </a:lnTo>
                  <a:lnTo>
                    <a:pt x="298" y="328"/>
                  </a:lnTo>
                  <a:lnTo>
                    <a:pt x="293" y="330"/>
                  </a:lnTo>
                  <a:lnTo>
                    <a:pt x="288" y="328"/>
                  </a:lnTo>
                  <a:lnTo>
                    <a:pt x="287" y="328"/>
                  </a:lnTo>
                  <a:lnTo>
                    <a:pt x="288" y="330"/>
                  </a:lnTo>
                  <a:lnTo>
                    <a:pt x="288" y="332"/>
                  </a:lnTo>
                  <a:lnTo>
                    <a:pt x="285" y="330"/>
                  </a:lnTo>
                  <a:lnTo>
                    <a:pt x="278" y="335"/>
                  </a:lnTo>
                  <a:lnTo>
                    <a:pt x="276" y="333"/>
                  </a:lnTo>
                  <a:lnTo>
                    <a:pt x="268" y="335"/>
                  </a:lnTo>
                  <a:lnTo>
                    <a:pt x="263" y="332"/>
                  </a:lnTo>
                  <a:lnTo>
                    <a:pt x="268" y="337"/>
                  </a:lnTo>
                  <a:lnTo>
                    <a:pt x="268" y="339"/>
                  </a:lnTo>
                  <a:lnTo>
                    <a:pt x="263" y="335"/>
                  </a:lnTo>
                  <a:lnTo>
                    <a:pt x="259" y="337"/>
                  </a:lnTo>
                  <a:lnTo>
                    <a:pt x="259" y="339"/>
                  </a:lnTo>
                  <a:lnTo>
                    <a:pt x="252" y="335"/>
                  </a:lnTo>
                  <a:lnTo>
                    <a:pt x="251" y="337"/>
                  </a:lnTo>
                  <a:lnTo>
                    <a:pt x="244" y="333"/>
                  </a:lnTo>
                  <a:lnTo>
                    <a:pt x="235" y="337"/>
                  </a:lnTo>
                  <a:lnTo>
                    <a:pt x="234" y="340"/>
                  </a:lnTo>
                  <a:lnTo>
                    <a:pt x="232" y="337"/>
                  </a:lnTo>
                  <a:lnTo>
                    <a:pt x="230" y="339"/>
                  </a:lnTo>
                  <a:lnTo>
                    <a:pt x="230" y="335"/>
                  </a:lnTo>
                  <a:lnTo>
                    <a:pt x="228" y="335"/>
                  </a:lnTo>
                  <a:lnTo>
                    <a:pt x="227" y="333"/>
                  </a:lnTo>
                  <a:lnTo>
                    <a:pt x="223" y="335"/>
                  </a:lnTo>
                  <a:lnTo>
                    <a:pt x="220" y="333"/>
                  </a:lnTo>
                  <a:lnTo>
                    <a:pt x="211" y="332"/>
                  </a:lnTo>
                  <a:lnTo>
                    <a:pt x="206" y="328"/>
                  </a:lnTo>
                  <a:lnTo>
                    <a:pt x="199" y="328"/>
                  </a:lnTo>
                  <a:lnTo>
                    <a:pt x="199" y="327"/>
                  </a:lnTo>
                  <a:lnTo>
                    <a:pt x="196" y="325"/>
                  </a:lnTo>
                  <a:lnTo>
                    <a:pt x="193" y="321"/>
                  </a:lnTo>
                  <a:lnTo>
                    <a:pt x="191" y="321"/>
                  </a:lnTo>
                  <a:lnTo>
                    <a:pt x="193" y="323"/>
                  </a:lnTo>
                  <a:lnTo>
                    <a:pt x="191" y="325"/>
                  </a:lnTo>
                  <a:lnTo>
                    <a:pt x="187" y="320"/>
                  </a:lnTo>
                  <a:lnTo>
                    <a:pt x="186" y="320"/>
                  </a:lnTo>
                  <a:lnTo>
                    <a:pt x="187" y="321"/>
                  </a:lnTo>
                  <a:lnTo>
                    <a:pt x="184" y="320"/>
                  </a:lnTo>
                  <a:lnTo>
                    <a:pt x="182" y="321"/>
                  </a:lnTo>
                  <a:lnTo>
                    <a:pt x="182" y="318"/>
                  </a:lnTo>
                  <a:lnTo>
                    <a:pt x="174" y="320"/>
                  </a:lnTo>
                  <a:lnTo>
                    <a:pt x="177" y="316"/>
                  </a:lnTo>
                  <a:lnTo>
                    <a:pt x="174" y="315"/>
                  </a:lnTo>
                  <a:lnTo>
                    <a:pt x="174" y="316"/>
                  </a:lnTo>
                  <a:lnTo>
                    <a:pt x="170" y="313"/>
                  </a:lnTo>
                  <a:lnTo>
                    <a:pt x="164" y="315"/>
                  </a:lnTo>
                  <a:lnTo>
                    <a:pt x="164" y="313"/>
                  </a:lnTo>
                  <a:lnTo>
                    <a:pt x="160" y="313"/>
                  </a:lnTo>
                  <a:lnTo>
                    <a:pt x="162" y="313"/>
                  </a:lnTo>
                  <a:lnTo>
                    <a:pt x="157" y="315"/>
                  </a:lnTo>
                  <a:lnTo>
                    <a:pt x="157" y="313"/>
                  </a:lnTo>
                  <a:lnTo>
                    <a:pt x="152" y="313"/>
                  </a:lnTo>
                  <a:lnTo>
                    <a:pt x="150" y="310"/>
                  </a:lnTo>
                  <a:lnTo>
                    <a:pt x="145" y="313"/>
                  </a:lnTo>
                  <a:lnTo>
                    <a:pt x="145" y="310"/>
                  </a:lnTo>
                  <a:lnTo>
                    <a:pt x="145" y="313"/>
                  </a:lnTo>
                  <a:lnTo>
                    <a:pt x="140" y="311"/>
                  </a:lnTo>
                  <a:lnTo>
                    <a:pt x="140" y="306"/>
                  </a:lnTo>
                  <a:lnTo>
                    <a:pt x="136" y="308"/>
                  </a:lnTo>
                  <a:lnTo>
                    <a:pt x="136" y="304"/>
                  </a:lnTo>
                  <a:lnTo>
                    <a:pt x="133" y="303"/>
                  </a:lnTo>
                  <a:lnTo>
                    <a:pt x="140" y="303"/>
                  </a:lnTo>
                  <a:close/>
                  <a:moveTo>
                    <a:pt x="532" y="303"/>
                  </a:moveTo>
                  <a:lnTo>
                    <a:pt x="532" y="306"/>
                  </a:lnTo>
                  <a:lnTo>
                    <a:pt x="529" y="304"/>
                  </a:lnTo>
                  <a:lnTo>
                    <a:pt x="529" y="299"/>
                  </a:lnTo>
                  <a:lnTo>
                    <a:pt x="532" y="303"/>
                  </a:lnTo>
                  <a:close/>
                  <a:moveTo>
                    <a:pt x="97" y="286"/>
                  </a:moveTo>
                  <a:lnTo>
                    <a:pt x="102" y="289"/>
                  </a:lnTo>
                  <a:lnTo>
                    <a:pt x="104" y="287"/>
                  </a:lnTo>
                  <a:lnTo>
                    <a:pt x="106" y="289"/>
                  </a:lnTo>
                  <a:lnTo>
                    <a:pt x="109" y="287"/>
                  </a:lnTo>
                  <a:lnTo>
                    <a:pt x="107" y="291"/>
                  </a:lnTo>
                  <a:lnTo>
                    <a:pt x="111" y="291"/>
                  </a:lnTo>
                  <a:lnTo>
                    <a:pt x="112" y="289"/>
                  </a:lnTo>
                  <a:lnTo>
                    <a:pt x="114" y="292"/>
                  </a:lnTo>
                  <a:lnTo>
                    <a:pt x="114" y="287"/>
                  </a:lnTo>
                  <a:lnTo>
                    <a:pt x="116" y="289"/>
                  </a:lnTo>
                  <a:lnTo>
                    <a:pt x="119" y="287"/>
                  </a:lnTo>
                  <a:lnTo>
                    <a:pt x="121" y="289"/>
                  </a:lnTo>
                  <a:lnTo>
                    <a:pt x="124" y="287"/>
                  </a:lnTo>
                  <a:lnTo>
                    <a:pt x="123" y="291"/>
                  </a:lnTo>
                  <a:lnTo>
                    <a:pt x="119" y="292"/>
                  </a:lnTo>
                  <a:lnTo>
                    <a:pt x="112" y="294"/>
                  </a:lnTo>
                  <a:lnTo>
                    <a:pt x="111" y="292"/>
                  </a:lnTo>
                  <a:lnTo>
                    <a:pt x="107" y="294"/>
                  </a:lnTo>
                  <a:lnTo>
                    <a:pt x="104" y="291"/>
                  </a:lnTo>
                  <a:lnTo>
                    <a:pt x="104" y="292"/>
                  </a:lnTo>
                  <a:lnTo>
                    <a:pt x="97" y="291"/>
                  </a:lnTo>
                  <a:lnTo>
                    <a:pt x="95" y="291"/>
                  </a:lnTo>
                  <a:lnTo>
                    <a:pt x="95" y="289"/>
                  </a:lnTo>
                  <a:lnTo>
                    <a:pt x="97" y="286"/>
                  </a:lnTo>
                  <a:close/>
                  <a:moveTo>
                    <a:pt x="51" y="614"/>
                  </a:moveTo>
                  <a:lnTo>
                    <a:pt x="59" y="612"/>
                  </a:lnTo>
                  <a:lnTo>
                    <a:pt x="63" y="603"/>
                  </a:lnTo>
                  <a:lnTo>
                    <a:pt x="68" y="602"/>
                  </a:lnTo>
                  <a:lnTo>
                    <a:pt x="73" y="600"/>
                  </a:lnTo>
                  <a:lnTo>
                    <a:pt x="75" y="600"/>
                  </a:lnTo>
                  <a:lnTo>
                    <a:pt x="75" y="596"/>
                  </a:lnTo>
                  <a:lnTo>
                    <a:pt x="71" y="595"/>
                  </a:lnTo>
                  <a:lnTo>
                    <a:pt x="80" y="595"/>
                  </a:lnTo>
                  <a:lnTo>
                    <a:pt x="80" y="593"/>
                  </a:lnTo>
                  <a:lnTo>
                    <a:pt x="85" y="591"/>
                  </a:lnTo>
                  <a:lnTo>
                    <a:pt x="87" y="588"/>
                  </a:lnTo>
                  <a:lnTo>
                    <a:pt x="87" y="595"/>
                  </a:lnTo>
                  <a:lnTo>
                    <a:pt x="90" y="590"/>
                  </a:lnTo>
                  <a:lnTo>
                    <a:pt x="94" y="586"/>
                  </a:lnTo>
                  <a:lnTo>
                    <a:pt x="102" y="573"/>
                  </a:lnTo>
                  <a:lnTo>
                    <a:pt x="106" y="567"/>
                  </a:lnTo>
                  <a:lnTo>
                    <a:pt x="112" y="561"/>
                  </a:lnTo>
                  <a:lnTo>
                    <a:pt x="99" y="555"/>
                  </a:lnTo>
                  <a:lnTo>
                    <a:pt x="90" y="552"/>
                  </a:lnTo>
                  <a:lnTo>
                    <a:pt x="80" y="549"/>
                  </a:lnTo>
                  <a:lnTo>
                    <a:pt x="61" y="544"/>
                  </a:lnTo>
                  <a:lnTo>
                    <a:pt x="39" y="535"/>
                  </a:lnTo>
                  <a:lnTo>
                    <a:pt x="49" y="520"/>
                  </a:lnTo>
                  <a:lnTo>
                    <a:pt x="49" y="514"/>
                  </a:lnTo>
                  <a:lnTo>
                    <a:pt x="46" y="511"/>
                  </a:lnTo>
                  <a:lnTo>
                    <a:pt x="41" y="451"/>
                  </a:lnTo>
                  <a:lnTo>
                    <a:pt x="34" y="409"/>
                  </a:lnTo>
                  <a:lnTo>
                    <a:pt x="37" y="409"/>
                  </a:lnTo>
                  <a:lnTo>
                    <a:pt x="39" y="407"/>
                  </a:lnTo>
                  <a:lnTo>
                    <a:pt x="41" y="414"/>
                  </a:lnTo>
                  <a:lnTo>
                    <a:pt x="42" y="424"/>
                  </a:lnTo>
                  <a:lnTo>
                    <a:pt x="41" y="431"/>
                  </a:lnTo>
                  <a:lnTo>
                    <a:pt x="42" y="441"/>
                  </a:lnTo>
                  <a:lnTo>
                    <a:pt x="41" y="443"/>
                  </a:lnTo>
                  <a:lnTo>
                    <a:pt x="42" y="446"/>
                  </a:lnTo>
                  <a:lnTo>
                    <a:pt x="42" y="450"/>
                  </a:lnTo>
                  <a:lnTo>
                    <a:pt x="42" y="453"/>
                  </a:lnTo>
                  <a:lnTo>
                    <a:pt x="46" y="458"/>
                  </a:lnTo>
                  <a:lnTo>
                    <a:pt x="44" y="460"/>
                  </a:lnTo>
                  <a:lnTo>
                    <a:pt x="46" y="462"/>
                  </a:lnTo>
                  <a:lnTo>
                    <a:pt x="46" y="467"/>
                  </a:lnTo>
                  <a:lnTo>
                    <a:pt x="54" y="468"/>
                  </a:lnTo>
                  <a:lnTo>
                    <a:pt x="56" y="463"/>
                  </a:lnTo>
                  <a:lnTo>
                    <a:pt x="58" y="465"/>
                  </a:lnTo>
                  <a:lnTo>
                    <a:pt x="61" y="463"/>
                  </a:lnTo>
                  <a:lnTo>
                    <a:pt x="59" y="462"/>
                  </a:lnTo>
                  <a:lnTo>
                    <a:pt x="59" y="460"/>
                  </a:lnTo>
                  <a:lnTo>
                    <a:pt x="63" y="460"/>
                  </a:lnTo>
                  <a:lnTo>
                    <a:pt x="61" y="455"/>
                  </a:lnTo>
                  <a:lnTo>
                    <a:pt x="63" y="456"/>
                  </a:lnTo>
                  <a:lnTo>
                    <a:pt x="65" y="456"/>
                  </a:lnTo>
                  <a:lnTo>
                    <a:pt x="65" y="465"/>
                  </a:lnTo>
                  <a:lnTo>
                    <a:pt x="63" y="465"/>
                  </a:lnTo>
                  <a:lnTo>
                    <a:pt x="65" y="470"/>
                  </a:lnTo>
                  <a:lnTo>
                    <a:pt x="61" y="472"/>
                  </a:lnTo>
                  <a:lnTo>
                    <a:pt x="59" y="475"/>
                  </a:lnTo>
                  <a:lnTo>
                    <a:pt x="59" y="477"/>
                  </a:lnTo>
                  <a:lnTo>
                    <a:pt x="63" y="482"/>
                  </a:lnTo>
                  <a:lnTo>
                    <a:pt x="59" y="480"/>
                  </a:lnTo>
                  <a:lnTo>
                    <a:pt x="59" y="484"/>
                  </a:lnTo>
                  <a:lnTo>
                    <a:pt x="58" y="485"/>
                  </a:lnTo>
                  <a:lnTo>
                    <a:pt x="63" y="485"/>
                  </a:lnTo>
                  <a:lnTo>
                    <a:pt x="66" y="489"/>
                  </a:lnTo>
                  <a:lnTo>
                    <a:pt x="65" y="494"/>
                  </a:lnTo>
                  <a:lnTo>
                    <a:pt x="66" y="497"/>
                  </a:lnTo>
                  <a:lnTo>
                    <a:pt x="66" y="494"/>
                  </a:lnTo>
                  <a:lnTo>
                    <a:pt x="68" y="497"/>
                  </a:lnTo>
                  <a:lnTo>
                    <a:pt x="66" y="499"/>
                  </a:lnTo>
                  <a:lnTo>
                    <a:pt x="75" y="503"/>
                  </a:lnTo>
                  <a:lnTo>
                    <a:pt x="71" y="499"/>
                  </a:lnTo>
                  <a:lnTo>
                    <a:pt x="77" y="499"/>
                  </a:lnTo>
                  <a:lnTo>
                    <a:pt x="77" y="497"/>
                  </a:lnTo>
                  <a:lnTo>
                    <a:pt x="78" y="497"/>
                  </a:lnTo>
                  <a:lnTo>
                    <a:pt x="78" y="499"/>
                  </a:lnTo>
                  <a:lnTo>
                    <a:pt x="77" y="499"/>
                  </a:lnTo>
                  <a:lnTo>
                    <a:pt x="75" y="504"/>
                  </a:lnTo>
                  <a:lnTo>
                    <a:pt x="78" y="508"/>
                  </a:lnTo>
                  <a:lnTo>
                    <a:pt x="83" y="511"/>
                  </a:lnTo>
                  <a:lnTo>
                    <a:pt x="90" y="509"/>
                  </a:lnTo>
                  <a:lnTo>
                    <a:pt x="95" y="516"/>
                  </a:lnTo>
                  <a:lnTo>
                    <a:pt x="100" y="514"/>
                  </a:lnTo>
                  <a:lnTo>
                    <a:pt x="111" y="514"/>
                  </a:lnTo>
                  <a:lnTo>
                    <a:pt x="119" y="516"/>
                  </a:lnTo>
                  <a:lnTo>
                    <a:pt x="123" y="518"/>
                  </a:lnTo>
                  <a:lnTo>
                    <a:pt x="133" y="514"/>
                  </a:lnTo>
                  <a:lnTo>
                    <a:pt x="138" y="514"/>
                  </a:lnTo>
                  <a:lnTo>
                    <a:pt x="141" y="513"/>
                  </a:lnTo>
                  <a:lnTo>
                    <a:pt x="148" y="506"/>
                  </a:lnTo>
                  <a:lnTo>
                    <a:pt x="148" y="501"/>
                  </a:lnTo>
                  <a:lnTo>
                    <a:pt x="152" y="499"/>
                  </a:lnTo>
                  <a:lnTo>
                    <a:pt x="153" y="494"/>
                  </a:lnTo>
                  <a:lnTo>
                    <a:pt x="155" y="492"/>
                  </a:lnTo>
                  <a:lnTo>
                    <a:pt x="165" y="489"/>
                  </a:lnTo>
                  <a:lnTo>
                    <a:pt x="174" y="482"/>
                  </a:lnTo>
                  <a:lnTo>
                    <a:pt x="174" y="484"/>
                  </a:lnTo>
                  <a:lnTo>
                    <a:pt x="177" y="484"/>
                  </a:lnTo>
                  <a:lnTo>
                    <a:pt x="170" y="479"/>
                  </a:lnTo>
                  <a:lnTo>
                    <a:pt x="170" y="477"/>
                  </a:lnTo>
                  <a:lnTo>
                    <a:pt x="174" y="475"/>
                  </a:lnTo>
                  <a:lnTo>
                    <a:pt x="176" y="477"/>
                  </a:lnTo>
                  <a:lnTo>
                    <a:pt x="176" y="475"/>
                  </a:lnTo>
                  <a:lnTo>
                    <a:pt x="177" y="474"/>
                  </a:lnTo>
                  <a:lnTo>
                    <a:pt x="176" y="477"/>
                  </a:lnTo>
                  <a:lnTo>
                    <a:pt x="177" y="477"/>
                  </a:lnTo>
                  <a:lnTo>
                    <a:pt x="182" y="474"/>
                  </a:lnTo>
                  <a:lnTo>
                    <a:pt x="181" y="472"/>
                  </a:lnTo>
                  <a:lnTo>
                    <a:pt x="187" y="468"/>
                  </a:lnTo>
                  <a:lnTo>
                    <a:pt x="189" y="467"/>
                  </a:lnTo>
                  <a:lnTo>
                    <a:pt x="191" y="467"/>
                  </a:lnTo>
                  <a:lnTo>
                    <a:pt x="194" y="463"/>
                  </a:lnTo>
                  <a:lnTo>
                    <a:pt x="196" y="465"/>
                  </a:lnTo>
                  <a:lnTo>
                    <a:pt x="198" y="465"/>
                  </a:lnTo>
                  <a:lnTo>
                    <a:pt x="196" y="465"/>
                  </a:lnTo>
                  <a:lnTo>
                    <a:pt x="194" y="462"/>
                  </a:lnTo>
                  <a:lnTo>
                    <a:pt x="194" y="460"/>
                  </a:lnTo>
                  <a:lnTo>
                    <a:pt x="198" y="460"/>
                  </a:lnTo>
                  <a:lnTo>
                    <a:pt x="196" y="460"/>
                  </a:lnTo>
                  <a:lnTo>
                    <a:pt x="194" y="460"/>
                  </a:lnTo>
                  <a:lnTo>
                    <a:pt x="194" y="456"/>
                  </a:lnTo>
                  <a:lnTo>
                    <a:pt x="193" y="458"/>
                  </a:lnTo>
                  <a:lnTo>
                    <a:pt x="193" y="455"/>
                  </a:lnTo>
                  <a:lnTo>
                    <a:pt x="191" y="455"/>
                  </a:lnTo>
                  <a:lnTo>
                    <a:pt x="194" y="453"/>
                  </a:lnTo>
                  <a:lnTo>
                    <a:pt x="196" y="448"/>
                  </a:lnTo>
                  <a:lnTo>
                    <a:pt x="198" y="446"/>
                  </a:lnTo>
                  <a:lnTo>
                    <a:pt x="196" y="443"/>
                  </a:lnTo>
                  <a:lnTo>
                    <a:pt x="198" y="441"/>
                  </a:lnTo>
                  <a:lnTo>
                    <a:pt x="201" y="443"/>
                  </a:lnTo>
                  <a:lnTo>
                    <a:pt x="199" y="441"/>
                  </a:lnTo>
                  <a:lnTo>
                    <a:pt x="205" y="438"/>
                  </a:lnTo>
                  <a:lnTo>
                    <a:pt x="203" y="434"/>
                  </a:lnTo>
                  <a:lnTo>
                    <a:pt x="205" y="433"/>
                  </a:lnTo>
                  <a:lnTo>
                    <a:pt x="206" y="434"/>
                  </a:lnTo>
                  <a:lnTo>
                    <a:pt x="210" y="431"/>
                  </a:lnTo>
                  <a:lnTo>
                    <a:pt x="217" y="431"/>
                  </a:lnTo>
                  <a:lnTo>
                    <a:pt x="218" y="427"/>
                  </a:lnTo>
                  <a:lnTo>
                    <a:pt x="225" y="427"/>
                  </a:lnTo>
                  <a:lnTo>
                    <a:pt x="230" y="424"/>
                  </a:lnTo>
                  <a:lnTo>
                    <a:pt x="234" y="417"/>
                  </a:lnTo>
                  <a:lnTo>
                    <a:pt x="237" y="407"/>
                  </a:lnTo>
                  <a:lnTo>
                    <a:pt x="239" y="409"/>
                  </a:lnTo>
                  <a:lnTo>
                    <a:pt x="235" y="407"/>
                  </a:lnTo>
                  <a:lnTo>
                    <a:pt x="239" y="400"/>
                  </a:lnTo>
                  <a:lnTo>
                    <a:pt x="244" y="395"/>
                  </a:lnTo>
                  <a:lnTo>
                    <a:pt x="242" y="393"/>
                  </a:lnTo>
                  <a:lnTo>
                    <a:pt x="244" y="392"/>
                  </a:lnTo>
                  <a:lnTo>
                    <a:pt x="242" y="383"/>
                  </a:lnTo>
                  <a:lnTo>
                    <a:pt x="249" y="376"/>
                  </a:lnTo>
                  <a:lnTo>
                    <a:pt x="254" y="374"/>
                  </a:lnTo>
                  <a:lnTo>
                    <a:pt x="257" y="376"/>
                  </a:lnTo>
                  <a:lnTo>
                    <a:pt x="264" y="373"/>
                  </a:lnTo>
                  <a:lnTo>
                    <a:pt x="266" y="376"/>
                  </a:lnTo>
                  <a:lnTo>
                    <a:pt x="273" y="374"/>
                  </a:lnTo>
                  <a:lnTo>
                    <a:pt x="271" y="376"/>
                  </a:lnTo>
                  <a:lnTo>
                    <a:pt x="273" y="380"/>
                  </a:lnTo>
                  <a:lnTo>
                    <a:pt x="275" y="378"/>
                  </a:lnTo>
                  <a:lnTo>
                    <a:pt x="275" y="383"/>
                  </a:lnTo>
                  <a:lnTo>
                    <a:pt x="276" y="380"/>
                  </a:lnTo>
                  <a:lnTo>
                    <a:pt x="280" y="380"/>
                  </a:lnTo>
                  <a:lnTo>
                    <a:pt x="281" y="381"/>
                  </a:lnTo>
                  <a:lnTo>
                    <a:pt x="281" y="383"/>
                  </a:lnTo>
                  <a:lnTo>
                    <a:pt x="281" y="381"/>
                  </a:lnTo>
                  <a:lnTo>
                    <a:pt x="283" y="381"/>
                  </a:lnTo>
                  <a:lnTo>
                    <a:pt x="287" y="378"/>
                  </a:lnTo>
                  <a:lnTo>
                    <a:pt x="292" y="380"/>
                  </a:lnTo>
                  <a:lnTo>
                    <a:pt x="292" y="383"/>
                  </a:lnTo>
                  <a:lnTo>
                    <a:pt x="293" y="378"/>
                  </a:lnTo>
                  <a:lnTo>
                    <a:pt x="298" y="376"/>
                  </a:lnTo>
                  <a:lnTo>
                    <a:pt x="300" y="378"/>
                  </a:lnTo>
                  <a:lnTo>
                    <a:pt x="300" y="373"/>
                  </a:lnTo>
                  <a:lnTo>
                    <a:pt x="298" y="371"/>
                  </a:lnTo>
                  <a:lnTo>
                    <a:pt x="302" y="373"/>
                  </a:lnTo>
                  <a:lnTo>
                    <a:pt x="300" y="371"/>
                  </a:lnTo>
                  <a:lnTo>
                    <a:pt x="304" y="371"/>
                  </a:lnTo>
                  <a:lnTo>
                    <a:pt x="304" y="373"/>
                  </a:lnTo>
                  <a:lnTo>
                    <a:pt x="307" y="371"/>
                  </a:lnTo>
                  <a:lnTo>
                    <a:pt x="312" y="373"/>
                  </a:lnTo>
                  <a:lnTo>
                    <a:pt x="316" y="364"/>
                  </a:lnTo>
                  <a:lnTo>
                    <a:pt x="317" y="368"/>
                  </a:lnTo>
                  <a:lnTo>
                    <a:pt x="317" y="366"/>
                  </a:lnTo>
                  <a:lnTo>
                    <a:pt x="324" y="368"/>
                  </a:lnTo>
                  <a:lnTo>
                    <a:pt x="324" y="364"/>
                  </a:lnTo>
                  <a:lnTo>
                    <a:pt x="329" y="362"/>
                  </a:lnTo>
                  <a:lnTo>
                    <a:pt x="331" y="364"/>
                  </a:lnTo>
                  <a:lnTo>
                    <a:pt x="333" y="362"/>
                  </a:lnTo>
                  <a:lnTo>
                    <a:pt x="334" y="364"/>
                  </a:lnTo>
                  <a:lnTo>
                    <a:pt x="339" y="362"/>
                  </a:lnTo>
                  <a:lnTo>
                    <a:pt x="343" y="364"/>
                  </a:lnTo>
                  <a:lnTo>
                    <a:pt x="341" y="362"/>
                  </a:lnTo>
                  <a:lnTo>
                    <a:pt x="343" y="359"/>
                  </a:lnTo>
                  <a:lnTo>
                    <a:pt x="345" y="359"/>
                  </a:lnTo>
                  <a:lnTo>
                    <a:pt x="346" y="357"/>
                  </a:lnTo>
                  <a:lnTo>
                    <a:pt x="346" y="359"/>
                  </a:lnTo>
                  <a:lnTo>
                    <a:pt x="348" y="359"/>
                  </a:lnTo>
                  <a:lnTo>
                    <a:pt x="350" y="356"/>
                  </a:lnTo>
                  <a:lnTo>
                    <a:pt x="355" y="356"/>
                  </a:lnTo>
                  <a:lnTo>
                    <a:pt x="348" y="356"/>
                  </a:lnTo>
                  <a:lnTo>
                    <a:pt x="350" y="352"/>
                  </a:lnTo>
                  <a:lnTo>
                    <a:pt x="348" y="352"/>
                  </a:lnTo>
                  <a:lnTo>
                    <a:pt x="345" y="351"/>
                  </a:lnTo>
                  <a:lnTo>
                    <a:pt x="345" y="349"/>
                  </a:lnTo>
                  <a:lnTo>
                    <a:pt x="348" y="349"/>
                  </a:lnTo>
                  <a:lnTo>
                    <a:pt x="348" y="351"/>
                  </a:lnTo>
                  <a:lnTo>
                    <a:pt x="350" y="351"/>
                  </a:lnTo>
                  <a:lnTo>
                    <a:pt x="348" y="347"/>
                  </a:lnTo>
                  <a:lnTo>
                    <a:pt x="346" y="345"/>
                  </a:lnTo>
                  <a:lnTo>
                    <a:pt x="345" y="342"/>
                  </a:lnTo>
                  <a:lnTo>
                    <a:pt x="348" y="344"/>
                  </a:lnTo>
                  <a:lnTo>
                    <a:pt x="353" y="339"/>
                  </a:lnTo>
                  <a:lnTo>
                    <a:pt x="351" y="335"/>
                  </a:lnTo>
                  <a:lnTo>
                    <a:pt x="350" y="335"/>
                  </a:lnTo>
                  <a:lnTo>
                    <a:pt x="348" y="337"/>
                  </a:lnTo>
                  <a:lnTo>
                    <a:pt x="346" y="333"/>
                  </a:lnTo>
                  <a:lnTo>
                    <a:pt x="348" y="332"/>
                  </a:lnTo>
                  <a:lnTo>
                    <a:pt x="341" y="321"/>
                  </a:lnTo>
                  <a:lnTo>
                    <a:pt x="348" y="320"/>
                  </a:lnTo>
                  <a:lnTo>
                    <a:pt x="353" y="320"/>
                  </a:lnTo>
                  <a:lnTo>
                    <a:pt x="351" y="318"/>
                  </a:lnTo>
                  <a:lnTo>
                    <a:pt x="360" y="315"/>
                  </a:lnTo>
                  <a:lnTo>
                    <a:pt x="362" y="315"/>
                  </a:lnTo>
                  <a:lnTo>
                    <a:pt x="363" y="313"/>
                  </a:lnTo>
                  <a:lnTo>
                    <a:pt x="370" y="310"/>
                  </a:lnTo>
                  <a:lnTo>
                    <a:pt x="372" y="308"/>
                  </a:lnTo>
                  <a:lnTo>
                    <a:pt x="380" y="303"/>
                  </a:lnTo>
                  <a:lnTo>
                    <a:pt x="384" y="301"/>
                  </a:lnTo>
                  <a:lnTo>
                    <a:pt x="392" y="298"/>
                  </a:lnTo>
                  <a:lnTo>
                    <a:pt x="394" y="298"/>
                  </a:lnTo>
                  <a:lnTo>
                    <a:pt x="399" y="294"/>
                  </a:lnTo>
                  <a:lnTo>
                    <a:pt x="404" y="291"/>
                  </a:lnTo>
                  <a:lnTo>
                    <a:pt x="411" y="289"/>
                  </a:lnTo>
                  <a:lnTo>
                    <a:pt x="411" y="287"/>
                  </a:lnTo>
                  <a:lnTo>
                    <a:pt x="416" y="287"/>
                  </a:lnTo>
                  <a:lnTo>
                    <a:pt x="423" y="286"/>
                  </a:lnTo>
                  <a:lnTo>
                    <a:pt x="430" y="286"/>
                  </a:lnTo>
                  <a:lnTo>
                    <a:pt x="430" y="287"/>
                  </a:lnTo>
                  <a:lnTo>
                    <a:pt x="435" y="286"/>
                  </a:lnTo>
                  <a:lnTo>
                    <a:pt x="437" y="291"/>
                  </a:lnTo>
                  <a:lnTo>
                    <a:pt x="435" y="291"/>
                  </a:lnTo>
                  <a:lnTo>
                    <a:pt x="438" y="292"/>
                  </a:lnTo>
                  <a:lnTo>
                    <a:pt x="438" y="294"/>
                  </a:lnTo>
                  <a:lnTo>
                    <a:pt x="437" y="292"/>
                  </a:lnTo>
                  <a:lnTo>
                    <a:pt x="437" y="294"/>
                  </a:lnTo>
                  <a:lnTo>
                    <a:pt x="438" y="296"/>
                  </a:lnTo>
                  <a:lnTo>
                    <a:pt x="440" y="294"/>
                  </a:lnTo>
                  <a:lnTo>
                    <a:pt x="445" y="299"/>
                  </a:lnTo>
                  <a:lnTo>
                    <a:pt x="452" y="303"/>
                  </a:lnTo>
                  <a:lnTo>
                    <a:pt x="457" y="304"/>
                  </a:lnTo>
                  <a:lnTo>
                    <a:pt x="464" y="306"/>
                  </a:lnTo>
                  <a:lnTo>
                    <a:pt x="474" y="311"/>
                  </a:lnTo>
                  <a:lnTo>
                    <a:pt x="483" y="315"/>
                  </a:lnTo>
                  <a:lnTo>
                    <a:pt x="483" y="316"/>
                  </a:lnTo>
                  <a:lnTo>
                    <a:pt x="485" y="316"/>
                  </a:lnTo>
                  <a:lnTo>
                    <a:pt x="490" y="318"/>
                  </a:lnTo>
                  <a:lnTo>
                    <a:pt x="496" y="320"/>
                  </a:lnTo>
                  <a:lnTo>
                    <a:pt x="498" y="320"/>
                  </a:lnTo>
                  <a:lnTo>
                    <a:pt x="507" y="321"/>
                  </a:lnTo>
                  <a:lnTo>
                    <a:pt x="508" y="321"/>
                  </a:lnTo>
                  <a:lnTo>
                    <a:pt x="517" y="323"/>
                  </a:lnTo>
                  <a:lnTo>
                    <a:pt x="520" y="325"/>
                  </a:lnTo>
                  <a:lnTo>
                    <a:pt x="524" y="327"/>
                  </a:lnTo>
                  <a:lnTo>
                    <a:pt x="531" y="332"/>
                  </a:lnTo>
                  <a:lnTo>
                    <a:pt x="532" y="332"/>
                  </a:lnTo>
                  <a:lnTo>
                    <a:pt x="532" y="333"/>
                  </a:lnTo>
                  <a:lnTo>
                    <a:pt x="537" y="340"/>
                  </a:lnTo>
                  <a:lnTo>
                    <a:pt x="546" y="345"/>
                  </a:lnTo>
                  <a:lnTo>
                    <a:pt x="549" y="345"/>
                  </a:lnTo>
                  <a:lnTo>
                    <a:pt x="551" y="345"/>
                  </a:lnTo>
                  <a:lnTo>
                    <a:pt x="558" y="347"/>
                  </a:lnTo>
                  <a:lnTo>
                    <a:pt x="561" y="347"/>
                  </a:lnTo>
                  <a:lnTo>
                    <a:pt x="568" y="351"/>
                  </a:lnTo>
                  <a:lnTo>
                    <a:pt x="577" y="354"/>
                  </a:lnTo>
                  <a:lnTo>
                    <a:pt x="580" y="356"/>
                  </a:lnTo>
                  <a:lnTo>
                    <a:pt x="585" y="359"/>
                  </a:lnTo>
                  <a:lnTo>
                    <a:pt x="592" y="364"/>
                  </a:lnTo>
                  <a:lnTo>
                    <a:pt x="597" y="366"/>
                  </a:lnTo>
                  <a:lnTo>
                    <a:pt x="606" y="368"/>
                  </a:lnTo>
                  <a:lnTo>
                    <a:pt x="604" y="369"/>
                  </a:lnTo>
                  <a:lnTo>
                    <a:pt x="606" y="368"/>
                  </a:lnTo>
                  <a:lnTo>
                    <a:pt x="609" y="369"/>
                  </a:lnTo>
                  <a:lnTo>
                    <a:pt x="616" y="373"/>
                  </a:lnTo>
                  <a:lnTo>
                    <a:pt x="619" y="376"/>
                  </a:lnTo>
                  <a:lnTo>
                    <a:pt x="625" y="380"/>
                  </a:lnTo>
                  <a:lnTo>
                    <a:pt x="631" y="383"/>
                  </a:lnTo>
                  <a:lnTo>
                    <a:pt x="635" y="385"/>
                  </a:lnTo>
                  <a:lnTo>
                    <a:pt x="636" y="385"/>
                  </a:lnTo>
                  <a:lnTo>
                    <a:pt x="638" y="385"/>
                  </a:lnTo>
                  <a:lnTo>
                    <a:pt x="640" y="386"/>
                  </a:lnTo>
                  <a:lnTo>
                    <a:pt x="640" y="385"/>
                  </a:lnTo>
                  <a:lnTo>
                    <a:pt x="647" y="390"/>
                  </a:lnTo>
                  <a:lnTo>
                    <a:pt x="652" y="393"/>
                  </a:lnTo>
                  <a:lnTo>
                    <a:pt x="659" y="395"/>
                  </a:lnTo>
                  <a:lnTo>
                    <a:pt x="667" y="395"/>
                  </a:lnTo>
                  <a:lnTo>
                    <a:pt x="674" y="395"/>
                  </a:lnTo>
                  <a:lnTo>
                    <a:pt x="679" y="393"/>
                  </a:lnTo>
                  <a:lnTo>
                    <a:pt x="689" y="393"/>
                  </a:lnTo>
                  <a:lnTo>
                    <a:pt x="691" y="390"/>
                  </a:lnTo>
                  <a:lnTo>
                    <a:pt x="694" y="388"/>
                  </a:lnTo>
                  <a:lnTo>
                    <a:pt x="696" y="390"/>
                  </a:lnTo>
                  <a:lnTo>
                    <a:pt x="698" y="392"/>
                  </a:lnTo>
                  <a:lnTo>
                    <a:pt x="698" y="390"/>
                  </a:lnTo>
                  <a:lnTo>
                    <a:pt x="700" y="388"/>
                  </a:lnTo>
                  <a:lnTo>
                    <a:pt x="700" y="395"/>
                  </a:lnTo>
                  <a:lnTo>
                    <a:pt x="705" y="395"/>
                  </a:lnTo>
                  <a:lnTo>
                    <a:pt x="706" y="400"/>
                  </a:lnTo>
                  <a:lnTo>
                    <a:pt x="712" y="398"/>
                  </a:lnTo>
                  <a:lnTo>
                    <a:pt x="713" y="400"/>
                  </a:lnTo>
                  <a:lnTo>
                    <a:pt x="717" y="402"/>
                  </a:lnTo>
                  <a:lnTo>
                    <a:pt x="717" y="403"/>
                  </a:lnTo>
                  <a:lnTo>
                    <a:pt x="722" y="403"/>
                  </a:lnTo>
                  <a:lnTo>
                    <a:pt x="722" y="405"/>
                  </a:lnTo>
                  <a:lnTo>
                    <a:pt x="724" y="403"/>
                  </a:lnTo>
                  <a:lnTo>
                    <a:pt x="725" y="405"/>
                  </a:lnTo>
                  <a:lnTo>
                    <a:pt x="725" y="402"/>
                  </a:lnTo>
                  <a:lnTo>
                    <a:pt x="724" y="398"/>
                  </a:lnTo>
                  <a:lnTo>
                    <a:pt x="734" y="400"/>
                  </a:lnTo>
                  <a:lnTo>
                    <a:pt x="737" y="402"/>
                  </a:lnTo>
                  <a:lnTo>
                    <a:pt x="741" y="402"/>
                  </a:lnTo>
                  <a:lnTo>
                    <a:pt x="741" y="403"/>
                  </a:lnTo>
                  <a:lnTo>
                    <a:pt x="744" y="402"/>
                  </a:lnTo>
                  <a:lnTo>
                    <a:pt x="746" y="403"/>
                  </a:lnTo>
                  <a:lnTo>
                    <a:pt x="749" y="403"/>
                  </a:lnTo>
                  <a:lnTo>
                    <a:pt x="753" y="405"/>
                  </a:lnTo>
                  <a:lnTo>
                    <a:pt x="754" y="403"/>
                  </a:lnTo>
                  <a:lnTo>
                    <a:pt x="758" y="407"/>
                  </a:lnTo>
                  <a:lnTo>
                    <a:pt x="766" y="409"/>
                  </a:lnTo>
                  <a:lnTo>
                    <a:pt x="771" y="414"/>
                  </a:lnTo>
                  <a:lnTo>
                    <a:pt x="770" y="412"/>
                  </a:lnTo>
                  <a:lnTo>
                    <a:pt x="766" y="415"/>
                  </a:lnTo>
                  <a:lnTo>
                    <a:pt x="768" y="417"/>
                  </a:lnTo>
                  <a:lnTo>
                    <a:pt x="766" y="419"/>
                  </a:lnTo>
                  <a:lnTo>
                    <a:pt x="768" y="421"/>
                  </a:lnTo>
                  <a:lnTo>
                    <a:pt x="764" y="421"/>
                  </a:lnTo>
                  <a:lnTo>
                    <a:pt x="764" y="424"/>
                  </a:lnTo>
                  <a:lnTo>
                    <a:pt x="766" y="426"/>
                  </a:lnTo>
                  <a:lnTo>
                    <a:pt x="770" y="426"/>
                  </a:lnTo>
                  <a:lnTo>
                    <a:pt x="766" y="422"/>
                  </a:lnTo>
                  <a:lnTo>
                    <a:pt x="773" y="426"/>
                  </a:lnTo>
                  <a:lnTo>
                    <a:pt x="775" y="424"/>
                  </a:lnTo>
                  <a:lnTo>
                    <a:pt x="776" y="422"/>
                  </a:lnTo>
                  <a:lnTo>
                    <a:pt x="778" y="422"/>
                  </a:lnTo>
                  <a:lnTo>
                    <a:pt x="787" y="424"/>
                  </a:lnTo>
                  <a:lnTo>
                    <a:pt x="790" y="424"/>
                  </a:lnTo>
                  <a:lnTo>
                    <a:pt x="792" y="426"/>
                  </a:lnTo>
                  <a:lnTo>
                    <a:pt x="792" y="424"/>
                  </a:lnTo>
                  <a:lnTo>
                    <a:pt x="802" y="422"/>
                  </a:lnTo>
                  <a:lnTo>
                    <a:pt x="802" y="450"/>
                  </a:lnTo>
                  <a:lnTo>
                    <a:pt x="802" y="455"/>
                  </a:lnTo>
                  <a:lnTo>
                    <a:pt x="802" y="474"/>
                  </a:lnTo>
                  <a:lnTo>
                    <a:pt x="802" y="480"/>
                  </a:lnTo>
                  <a:lnTo>
                    <a:pt x="802" y="497"/>
                  </a:lnTo>
                  <a:lnTo>
                    <a:pt x="802" y="520"/>
                  </a:lnTo>
                  <a:lnTo>
                    <a:pt x="802" y="532"/>
                  </a:lnTo>
                  <a:lnTo>
                    <a:pt x="800" y="581"/>
                  </a:lnTo>
                  <a:lnTo>
                    <a:pt x="800" y="590"/>
                  </a:lnTo>
                  <a:lnTo>
                    <a:pt x="800" y="607"/>
                  </a:lnTo>
                  <a:lnTo>
                    <a:pt x="800" y="610"/>
                  </a:lnTo>
                  <a:lnTo>
                    <a:pt x="800" y="656"/>
                  </a:lnTo>
                  <a:lnTo>
                    <a:pt x="800" y="667"/>
                  </a:lnTo>
                  <a:lnTo>
                    <a:pt x="800" y="672"/>
                  </a:lnTo>
                  <a:lnTo>
                    <a:pt x="799" y="699"/>
                  </a:lnTo>
                  <a:lnTo>
                    <a:pt x="799" y="707"/>
                  </a:lnTo>
                  <a:lnTo>
                    <a:pt x="799" y="726"/>
                  </a:lnTo>
                  <a:lnTo>
                    <a:pt x="799" y="743"/>
                  </a:lnTo>
                  <a:lnTo>
                    <a:pt x="797" y="807"/>
                  </a:lnTo>
                  <a:lnTo>
                    <a:pt x="797" y="865"/>
                  </a:lnTo>
                  <a:lnTo>
                    <a:pt x="797" y="866"/>
                  </a:lnTo>
                  <a:lnTo>
                    <a:pt x="797" y="868"/>
                  </a:lnTo>
                  <a:lnTo>
                    <a:pt x="800" y="868"/>
                  </a:lnTo>
                  <a:lnTo>
                    <a:pt x="799" y="870"/>
                  </a:lnTo>
                  <a:lnTo>
                    <a:pt x="795" y="868"/>
                  </a:lnTo>
                  <a:lnTo>
                    <a:pt x="792" y="868"/>
                  </a:lnTo>
                  <a:lnTo>
                    <a:pt x="792" y="871"/>
                  </a:lnTo>
                  <a:lnTo>
                    <a:pt x="794" y="873"/>
                  </a:lnTo>
                  <a:lnTo>
                    <a:pt x="788" y="875"/>
                  </a:lnTo>
                  <a:lnTo>
                    <a:pt x="794" y="877"/>
                  </a:lnTo>
                  <a:lnTo>
                    <a:pt x="788" y="878"/>
                  </a:lnTo>
                  <a:lnTo>
                    <a:pt x="790" y="880"/>
                  </a:lnTo>
                  <a:lnTo>
                    <a:pt x="790" y="882"/>
                  </a:lnTo>
                  <a:lnTo>
                    <a:pt x="787" y="880"/>
                  </a:lnTo>
                  <a:lnTo>
                    <a:pt x="788" y="883"/>
                  </a:lnTo>
                  <a:lnTo>
                    <a:pt x="787" y="885"/>
                  </a:lnTo>
                  <a:lnTo>
                    <a:pt x="790" y="883"/>
                  </a:lnTo>
                  <a:lnTo>
                    <a:pt x="790" y="887"/>
                  </a:lnTo>
                  <a:lnTo>
                    <a:pt x="792" y="889"/>
                  </a:lnTo>
                  <a:lnTo>
                    <a:pt x="787" y="890"/>
                  </a:lnTo>
                  <a:lnTo>
                    <a:pt x="787" y="895"/>
                  </a:lnTo>
                  <a:lnTo>
                    <a:pt x="788" y="897"/>
                  </a:lnTo>
                  <a:lnTo>
                    <a:pt x="783" y="897"/>
                  </a:lnTo>
                  <a:lnTo>
                    <a:pt x="782" y="899"/>
                  </a:lnTo>
                  <a:lnTo>
                    <a:pt x="785" y="899"/>
                  </a:lnTo>
                  <a:lnTo>
                    <a:pt x="783" y="900"/>
                  </a:lnTo>
                  <a:lnTo>
                    <a:pt x="776" y="902"/>
                  </a:lnTo>
                  <a:lnTo>
                    <a:pt x="782" y="904"/>
                  </a:lnTo>
                  <a:lnTo>
                    <a:pt x="778" y="907"/>
                  </a:lnTo>
                  <a:lnTo>
                    <a:pt x="780" y="907"/>
                  </a:lnTo>
                  <a:lnTo>
                    <a:pt x="778" y="909"/>
                  </a:lnTo>
                  <a:lnTo>
                    <a:pt x="780" y="911"/>
                  </a:lnTo>
                  <a:lnTo>
                    <a:pt x="776" y="911"/>
                  </a:lnTo>
                  <a:lnTo>
                    <a:pt x="776" y="916"/>
                  </a:lnTo>
                  <a:lnTo>
                    <a:pt x="783" y="919"/>
                  </a:lnTo>
                  <a:lnTo>
                    <a:pt x="780" y="924"/>
                  </a:lnTo>
                  <a:lnTo>
                    <a:pt x="782" y="926"/>
                  </a:lnTo>
                  <a:lnTo>
                    <a:pt x="785" y="928"/>
                  </a:lnTo>
                  <a:lnTo>
                    <a:pt x="783" y="930"/>
                  </a:lnTo>
                  <a:lnTo>
                    <a:pt x="785" y="935"/>
                  </a:lnTo>
                  <a:lnTo>
                    <a:pt x="788" y="935"/>
                  </a:lnTo>
                  <a:lnTo>
                    <a:pt x="790" y="933"/>
                  </a:lnTo>
                  <a:lnTo>
                    <a:pt x="788" y="936"/>
                  </a:lnTo>
                  <a:lnTo>
                    <a:pt x="790" y="938"/>
                  </a:lnTo>
                  <a:lnTo>
                    <a:pt x="792" y="936"/>
                  </a:lnTo>
                  <a:lnTo>
                    <a:pt x="794" y="938"/>
                  </a:lnTo>
                  <a:lnTo>
                    <a:pt x="795" y="936"/>
                  </a:lnTo>
                  <a:lnTo>
                    <a:pt x="799" y="936"/>
                  </a:lnTo>
                  <a:lnTo>
                    <a:pt x="799" y="948"/>
                  </a:lnTo>
                  <a:lnTo>
                    <a:pt x="795" y="1027"/>
                  </a:lnTo>
                  <a:lnTo>
                    <a:pt x="795" y="1034"/>
                  </a:lnTo>
                  <a:lnTo>
                    <a:pt x="795" y="1042"/>
                  </a:lnTo>
                  <a:lnTo>
                    <a:pt x="794" y="1164"/>
                  </a:lnTo>
                  <a:lnTo>
                    <a:pt x="794" y="1206"/>
                  </a:lnTo>
                  <a:lnTo>
                    <a:pt x="792" y="1203"/>
                  </a:lnTo>
                  <a:lnTo>
                    <a:pt x="792" y="1205"/>
                  </a:lnTo>
                  <a:lnTo>
                    <a:pt x="790" y="1203"/>
                  </a:lnTo>
                  <a:lnTo>
                    <a:pt x="782" y="1199"/>
                  </a:lnTo>
                  <a:lnTo>
                    <a:pt x="776" y="1199"/>
                  </a:lnTo>
                  <a:lnTo>
                    <a:pt x="773" y="1196"/>
                  </a:lnTo>
                  <a:lnTo>
                    <a:pt x="768" y="1191"/>
                  </a:lnTo>
                  <a:lnTo>
                    <a:pt x="764" y="1186"/>
                  </a:lnTo>
                  <a:lnTo>
                    <a:pt x="758" y="1177"/>
                  </a:lnTo>
                  <a:lnTo>
                    <a:pt x="749" y="1172"/>
                  </a:lnTo>
                  <a:lnTo>
                    <a:pt x="744" y="1167"/>
                  </a:lnTo>
                  <a:lnTo>
                    <a:pt x="741" y="1160"/>
                  </a:lnTo>
                  <a:lnTo>
                    <a:pt x="734" y="1152"/>
                  </a:lnTo>
                  <a:lnTo>
                    <a:pt x="730" y="1143"/>
                  </a:lnTo>
                  <a:lnTo>
                    <a:pt x="727" y="1140"/>
                  </a:lnTo>
                  <a:lnTo>
                    <a:pt x="722" y="1134"/>
                  </a:lnTo>
                  <a:lnTo>
                    <a:pt x="718" y="1131"/>
                  </a:lnTo>
                  <a:lnTo>
                    <a:pt x="715" y="1126"/>
                  </a:lnTo>
                  <a:lnTo>
                    <a:pt x="712" y="1124"/>
                  </a:lnTo>
                  <a:lnTo>
                    <a:pt x="703" y="1119"/>
                  </a:lnTo>
                  <a:lnTo>
                    <a:pt x="700" y="1112"/>
                  </a:lnTo>
                  <a:lnTo>
                    <a:pt x="693" y="1109"/>
                  </a:lnTo>
                  <a:lnTo>
                    <a:pt x="688" y="1105"/>
                  </a:lnTo>
                  <a:lnTo>
                    <a:pt x="679" y="1100"/>
                  </a:lnTo>
                  <a:lnTo>
                    <a:pt x="672" y="1093"/>
                  </a:lnTo>
                  <a:lnTo>
                    <a:pt x="671" y="1092"/>
                  </a:lnTo>
                  <a:lnTo>
                    <a:pt x="667" y="1083"/>
                  </a:lnTo>
                  <a:lnTo>
                    <a:pt x="674" y="1080"/>
                  </a:lnTo>
                  <a:lnTo>
                    <a:pt x="679" y="1080"/>
                  </a:lnTo>
                  <a:lnTo>
                    <a:pt x="683" y="1076"/>
                  </a:lnTo>
                  <a:lnTo>
                    <a:pt x="683" y="1073"/>
                  </a:lnTo>
                  <a:lnTo>
                    <a:pt x="679" y="1068"/>
                  </a:lnTo>
                  <a:lnTo>
                    <a:pt x="681" y="1059"/>
                  </a:lnTo>
                  <a:lnTo>
                    <a:pt x="681" y="1061"/>
                  </a:lnTo>
                  <a:lnTo>
                    <a:pt x="679" y="1071"/>
                  </a:lnTo>
                  <a:lnTo>
                    <a:pt x="681" y="1076"/>
                  </a:lnTo>
                  <a:lnTo>
                    <a:pt x="674" y="1078"/>
                  </a:lnTo>
                  <a:lnTo>
                    <a:pt x="669" y="1082"/>
                  </a:lnTo>
                  <a:lnTo>
                    <a:pt x="657" y="1082"/>
                  </a:lnTo>
                  <a:lnTo>
                    <a:pt x="654" y="1082"/>
                  </a:lnTo>
                  <a:lnTo>
                    <a:pt x="650" y="1082"/>
                  </a:lnTo>
                  <a:lnTo>
                    <a:pt x="643" y="1082"/>
                  </a:lnTo>
                  <a:lnTo>
                    <a:pt x="640" y="1082"/>
                  </a:lnTo>
                  <a:lnTo>
                    <a:pt x="638" y="1082"/>
                  </a:lnTo>
                  <a:lnTo>
                    <a:pt x="631" y="1083"/>
                  </a:lnTo>
                  <a:lnTo>
                    <a:pt x="623" y="1085"/>
                  </a:lnTo>
                  <a:lnTo>
                    <a:pt x="623" y="1087"/>
                  </a:lnTo>
                  <a:lnTo>
                    <a:pt x="614" y="1090"/>
                  </a:lnTo>
                  <a:lnTo>
                    <a:pt x="613" y="1090"/>
                  </a:lnTo>
                  <a:lnTo>
                    <a:pt x="607" y="1092"/>
                  </a:lnTo>
                  <a:lnTo>
                    <a:pt x="597" y="1093"/>
                  </a:lnTo>
                  <a:lnTo>
                    <a:pt x="594" y="1093"/>
                  </a:lnTo>
                  <a:lnTo>
                    <a:pt x="585" y="1090"/>
                  </a:lnTo>
                  <a:lnTo>
                    <a:pt x="584" y="1087"/>
                  </a:lnTo>
                  <a:lnTo>
                    <a:pt x="580" y="1080"/>
                  </a:lnTo>
                  <a:lnTo>
                    <a:pt x="575" y="1082"/>
                  </a:lnTo>
                  <a:lnTo>
                    <a:pt x="568" y="1083"/>
                  </a:lnTo>
                  <a:lnTo>
                    <a:pt x="565" y="1085"/>
                  </a:lnTo>
                  <a:lnTo>
                    <a:pt x="563" y="1085"/>
                  </a:lnTo>
                  <a:lnTo>
                    <a:pt x="561" y="1085"/>
                  </a:lnTo>
                  <a:lnTo>
                    <a:pt x="561" y="1083"/>
                  </a:lnTo>
                  <a:lnTo>
                    <a:pt x="560" y="1085"/>
                  </a:lnTo>
                  <a:lnTo>
                    <a:pt x="561" y="1083"/>
                  </a:lnTo>
                  <a:lnTo>
                    <a:pt x="561" y="1085"/>
                  </a:lnTo>
                  <a:lnTo>
                    <a:pt x="561" y="1087"/>
                  </a:lnTo>
                  <a:lnTo>
                    <a:pt x="556" y="1090"/>
                  </a:lnTo>
                  <a:lnTo>
                    <a:pt x="551" y="1093"/>
                  </a:lnTo>
                  <a:lnTo>
                    <a:pt x="549" y="1093"/>
                  </a:lnTo>
                  <a:lnTo>
                    <a:pt x="553" y="1097"/>
                  </a:lnTo>
                  <a:lnTo>
                    <a:pt x="553" y="1107"/>
                  </a:lnTo>
                  <a:lnTo>
                    <a:pt x="549" y="1109"/>
                  </a:lnTo>
                  <a:lnTo>
                    <a:pt x="544" y="1107"/>
                  </a:lnTo>
                  <a:lnTo>
                    <a:pt x="541" y="1097"/>
                  </a:lnTo>
                  <a:lnTo>
                    <a:pt x="536" y="1092"/>
                  </a:lnTo>
                  <a:lnTo>
                    <a:pt x="534" y="1083"/>
                  </a:lnTo>
                  <a:lnTo>
                    <a:pt x="536" y="1080"/>
                  </a:lnTo>
                  <a:lnTo>
                    <a:pt x="544" y="1078"/>
                  </a:lnTo>
                  <a:lnTo>
                    <a:pt x="541" y="1073"/>
                  </a:lnTo>
                  <a:lnTo>
                    <a:pt x="544" y="1066"/>
                  </a:lnTo>
                  <a:lnTo>
                    <a:pt x="543" y="1061"/>
                  </a:lnTo>
                  <a:lnTo>
                    <a:pt x="544" y="1058"/>
                  </a:lnTo>
                  <a:lnTo>
                    <a:pt x="553" y="1054"/>
                  </a:lnTo>
                  <a:lnTo>
                    <a:pt x="556" y="1053"/>
                  </a:lnTo>
                  <a:lnTo>
                    <a:pt x="556" y="1049"/>
                  </a:lnTo>
                  <a:lnTo>
                    <a:pt x="556" y="1041"/>
                  </a:lnTo>
                  <a:lnTo>
                    <a:pt x="560" y="1034"/>
                  </a:lnTo>
                  <a:lnTo>
                    <a:pt x="561" y="1025"/>
                  </a:lnTo>
                  <a:lnTo>
                    <a:pt x="566" y="1020"/>
                  </a:lnTo>
                  <a:lnTo>
                    <a:pt x="566" y="1015"/>
                  </a:lnTo>
                  <a:lnTo>
                    <a:pt x="561" y="1012"/>
                  </a:lnTo>
                  <a:lnTo>
                    <a:pt x="549" y="1012"/>
                  </a:lnTo>
                  <a:lnTo>
                    <a:pt x="548" y="1006"/>
                  </a:lnTo>
                  <a:lnTo>
                    <a:pt x="544" y="996"/>
                  </a:lnTo>
                  <a:lnTo>
                    <a:pt x="544" y="993"/>
                  </a:lnTo>
                  <a:lnTo>
                    <a:pt x="539" y="988"/>
                  </a:lnTo>
                  <a:lnTo>
                    <a:pt x="531" y="984"/>
                  </a:lnTo>
                  <a:lnTo>
                    <a:pt x="527" y="981"/>
                  </a:lnTo>
                  <a:lnTo>
                    <a:pt x="524" y="981"/>
                  </a:lnTo>
                  <a:lnTo>
                    <a:pt x="517" y="977"/>
                  </a:lnTo>
                  <a:lnTo>
                    <a:pt x="515" y="974"/>
                  </a:lnTo>
                  <a:lnTo>
                    <a:pt x="517" y="972"/>
                  </a:lnTo>
                  <a:lnTo>
                    <a:pt x="520" y="974"/>
                  </a:lnTo>
                  <a:lnTo>
                    <a:pt x="527" y="974"/>
                  </a:lnTo>
                  <a:lnTo>
                    <a:pt x="536" y="974"/>
                  </a:lnTo>
                  <a:lnTo>
                    <a:pt x="544" y="972"/>
                  </a:lnTo>
                  <a:lnTo>
                    <a:pt x="555" y="977"/>
                  </a:lnTo>
                  <a:lnTo>
                    <a:pt x="558" y="977"/>
                  </a:lnTo>
                  <a:lnTo>
                    <a:pt x="565" y="979"/>
                  </a:lnTo>
                  <a:lnTo>
                    <a:pt x="570" y="977"/>
                  </a:lnTo>
                  <a:lnTo>
                    <a:pt x="575" y="977"/>
                  </a:lnTo>
                  <a:lnTo>
                    <a:pt x="578" y="976"/>
                  </a:lnTo>
                  <a:lnTo>
                    <a:pt x="584" y="967"/>
                  </a:lnTo>
                  <a:lnTo>
                    <a:pt x="585" y="976"/>
                  </a:lnTo>
                  <a:lnTo>
                    <a:pt x="587" y="977"/>
                  </a:lnTo>
                  <a:lnTo>
                    <a:pt x="592" y="976"/>
                  </a:lnTo>
                  <a:lnTo>
                    <a:pt x="597" y="977"/>
                  </a:lnTo>
                  <a:lnTo>
                    <a:pt x="606" y="977"/>
                  </a:lnTo>
                  <a:lnTo>
                    <a:pt x="607" y="974"/>
                  </a:lnTo>
                  <a:lnTo>
                    <a:pt x="604" y="972"/>
                  </a:lnTo>
                  <a:lnTo>
                    <a:pt x="601" y="974"/>
                  </a:lnTo>
                  <a:lnTo>
                    <a:pt x="597" y="969"/>
                  </a:lnTo>
                  <a:lnTo>
                    <a:pt x="602" y="964"/>
                  </a:lnTo>
                  <a:lnTo>
                    <a:pt x="601" y="962"/>
                  </a:lnTo>
                  <a:lnTo>
                    <a:pt x="597" y="955"/>
                  </a:lnTo>
                  <a:lnTo>
                    <a:pt x="592" y="955"/>
                  </a:lnTo>
                  <a:lnTo>
                    <a:pt x="587" y="952"/>
                  </a:lnTo>
                  <a:lnTo>
                    <a:pt x="584" y="952"/>
                  </a:lnTo>
                  <a:lnTo>
                    <a:pt x="582" y="952"/>
                  </a:lnTo>
                  <a:lnTo>
                    <a:pt x="584" y="948"/>
                  </a:lnTo>
                  <a:lnTo>
                    <a:pt x="578" y="945"/>
                  </a:lnTo>
                  <a:lnTo>
                    <a:pt x="572" y="945"/>
                  </a:lnTo>
                  <a:lnTo>
                    <a:pt x="568" y="941"/>
                  </a:lnTo>
                  <a:lnTo>
                    <a:pt x="563" y="938"/>
                  </a:lnTo>
                  <a:lnTo>
                    <a:pt x="556" y="931"/>
                  </a:lnTo>
                  <a:lnTo>
                    <a:pt x="551" y="930"/>
                  </a:lnTo>
                  <a:lnTo>
                    <a:pt x="549" y="924"/>
                  </a:lnTo>
                  <a:lnTo>
                    <a:pt x="548" y="924"/>
                  </a:lnTo>
                  <a:lnTo>
                    <a:pt x="546" y="923"/>
                  </a:lnTo>
                  <a:lnTo>
                    <a:pt x="541" y="924"/>
                  </a:lnTo>
                  <a:lnTo>
                    <a:pt x="536" y="923"/>
                  </a:lnTo>
                  <a:lnTo>
                    <a:pt x="536" y="918"/>
                  </a:lnTo>
                  <a:lnTo>
                    <a:pt x="536" y="912"/>
                  </a:lnTo>
                  <a:lnTo>
                    <a:pt x="534" y="912"/>
                  </a:lnTo>
                  <a:lnTo>
                    <a:pt x="532" y="909"/>
                  </a:lnTo>
                  <a:lnTo>
                    <a:pt x="525" y="906"/>
                  </a:lnTo>
                  <a:lnTo>
                    <a:pt x="519" y="902"/>
                  </a:lnTo>
                  <a:lnTo>
                    <a:pt x="517" y="899"/>
                  </a:lnTo>
                  <a:lnTo>
                    <a:pt x="514" y="897"/>
                  </a:lnTo>
                  <a:lnTo>
                    <a:pt x="508" y="892"/>
                  </a:lnTo>
                  <a:lnTo>
                    <a:pt x="507" y="889"/>
                  </a:lnTo>
                  <a:lnTo>
                    <a:pt x="500" y="883"/>
                  </a:lnTo>
                  <a:lnTo>
                    <a:pt x="496" y="880"/>
                  </a:lnTo>
                  <a:lnTo>
                    <a:pt x="495" y="878"/>
                  </a:lnTo>
                  <a:lnTo>
                    <a:pt x="493" y="878"/>
                  </a:lnTo>
                  <a:lnTo>
                    <a:pt x="488" y="873"/>
                  </a:lnTo>
                  <a:lnTo>
                    <a:pt x="488" y="870"/>
                  </a:lnTo>
                  <a:lnTo>
                    <a:pt x="490" y="868"/>
                  </a:lnTo>
                  <a:lnTo>
                    <a:pt x="486" y="865"/>
                  </a:lnTo>
                  <a:lnTo>
                    <a:pt x="485" y="858"/>
                  </a:lnTo>
                  <a:lnTo>
                    <a:pt x="483" y="851"/>
                  </a:lnTo>
                  <a:lnTo>
                    <a:pt x="486" y="851"/>
                  </a:lnTo>
                  <a:lnTo>
                    <a:pt x="481" y="842"/>
                  </a:lnTo>
                  <a:lnTo>
                    <a:pt x="479" y="841"/>
                  </a:lnTo>
                  <a:lnTo>
                    <a:pt x="481" y="837"/>
                  </a:lnTo>
                  <a:lnTo>
                    <a:pt x="478" y="837"/>
                  </a:lnTo>
                  <a:lnTo>
                    <a:pt x="474" y="829"/>
                  </a:lnTo>
                  <a:lnTo>
                    <a:pt x="471" y="824"/>
                  </a:lnTo>
                  <a:lnTo>
                    <a:pt x="473" y="822"/>
                  </a:lnTo>
                  <a:lnTo>
                    <a:pt x="471" y="822"/>
                  </a:lnTo>
                  <a:lnTo>
                    <a:pt x="467" y="819"/>
                  </a:lnTo>
                  <a:lnTo>
                    <a:pt x="467" y="815"/>
                  </a:lnTo>
                  <a:lnTo>
                    <a:pt x="471" y="810"/>
                  </a:lnTo>
                  <a:lnTo>
                    <a:pt x="466" y="808"/>
                  </a:lnTo>
                  <a:lnTo>
                    <a:pt x="459" y="808"/>
                  </a:lnTo>
                  <a:lnTo>
                    <a:pt x="457" y="805"/>
                  </a:lnTo>
                  <a:lnTo>
                    <a:pt x="457" y="800"/>
                  </a:lnTo>
                  <a:lnTo>
                    <a:pt x="466" y="795"/>
                  </a:lnTo>
                  <a:lnTo>
                    <a:pt x="466" y="793"/>
                  </a:lnTo>
                  <a:lnTo>
                    <a:pt x="466" y="789"/>
                  </a:lnTo>
                  <a:lnTo>
                    <a:pt x="461" y="796"/>
                  </a:lnTo>
                  <a:lnTo>
                    <a:pt x="454" y="796"/>
                  </a:lnTo>
                  <a:lnTo>
                    <a:pt x="449" y="800"/>
                  </a:lnTo>
                  <a:lnTo>
                    <a:pt x="447" y="798"/>
                  </a:lnTo>
                  <a:lnTo>
                    <a:pt x="444" y="789"/>
                  </a:lnTo>
                  <a:lnTo>
                    <a:pt x="444" y="783"/>
                  </a:lnTo>
                  <a:lnTo>
                    <a:pt x="445" y="778"/>
                  </a:lnTo>
                  <a:lnTo>
                    <a:pt x="449" y="774"/>
                  </a:lnTo>
                  <a:lnTo>
                    <a:pt x="449" y="772"/>
                  </a:lnTo>
                  <a:lnTo>
                    <a:pt x="440" y="769"/>
                  </a:lnTo>
                  <a:lnTo>
                    <a:pt x="433" y="764"/>
                  </a:lnTo>
                  <a:lnTo>
                    <a:pt x="426" y="757"/>
                  </a:lnTo>
                  <a:lnTo>
                    <a:pt x="426" y="754"/>
                  </a:lnTo>
                  <a:lnTo>
                    <a:pt x="423" y="752"/>
                  </a:lnTo>
                  <a:lnTo>
                    <a:pt x="416" y="755"/>
                  </a:lnTo>
                  <a:lnTo>
                    <a:pt x="411" y="754"/>
                  </a:lnTo>
                  <a:lnTo>
                    <a:pt x="413" y="750"/>
                  </a:lnTo>
                  <a:lnTo>
                    <a:pt x="420" y="745"/>
                  </a:lnTo>
                  <a:lnTo>
                    <a:pt x="413" y="748"/>
                  </a:lnTo>
                  <a:lnTo>
                    <a:pt x="411" y="752"/>
                  </a:lnTo>
                  <a:lnTo>
                    <a:pt x="408" y="752"/>
                  </a:lnTo>
                  <a:lnTo>
                    <a:pt x="408" y="754"/>
                  </a:lnTo>
                  <a:lnTo>
                    <a:pt x="406" y="754"/>
                  </a:lnTo>
                  <a:lnTo>
                    <a:pt x="406" y="748"/>
                  </a:lnTo>
                  <a:lnTo>
                    <a:pt x="411" y="745"/>
                  </a:lnTo>
                  <a:lnTo>
                    <a:pt x="406" y="743"/>
                  </a:lnTo>
                  <a:lnTo>
                    <a:pt x="401" y="738"/>
                  </a:lnTo>
                  <a:lnTo>
                    <a:pt x="403" y="731"/>
                  </a:lnTo>
                  <a:lnTo>
                    <a:pt x="401" y="733"/>
                  </a:lnTo>
                  <a:lnTo>
                    <a:pt x="399" y="735"/>
                  </a:lnTo>
                  <a:lnTo>
                    <a:pt x="397" y="735"/>
                  </a:lnTo>
                  <a:lnTo>
                    <a:pt x="396" y="735"/>
                  </a:lnTo>
                  <a:lnTo>
                    <a:pt x="387" y="731"/>
                  </a:lnTo>
                  <a:lnTo>
                    <a:pt x="386" y="730"/>
                  </a:lnTo>
                  <a:lnTo>
                    <a:pt x="387" y="726"/>
                  </a:lnTo>
                  <a:lnTo>
                    <a:pt x="392" y="726"/>
                  </a:lnTo>
                  <a:lnTo>
                    <a:pt x="392" y="728"/>
                  </a:lnTo>
                  <a:lnTo>
                    <a:pt x="392" y="726"/>
                  </a:lnTo>
                  <a:lnTo>
                    <a:pt x="396" y="726"/>
                  </a:lnTo>
                  <a:lnTo>
                    <a:pt x="396" y="725"/>
                  </a:lnTo>
                  <a:lnTo>
                    <a:pt x="386" y="726"/>
                  </a:lnTo>
                  <a:lnTo>
                    <a:pt x="387" y="723"/>
                  </a:lnTo>
                  <a:lnTo>
                    <a:pt x="386" y="718"/>
                  </a:lnTo>
                  <a:lnTo>
                    <a:pt x="389" y="713"/>
                  </a:lnTo>
                  <a:lnTo>
                    <a:pt x="394" y="713"/>
                  </a:lnTo>
                  <a:lnTo>
                    <a:pt x="392" y="707"/>
                  </a:lnTo>
                  <a:lnTo>
                    <a:pt x="394" y="704"/>
                  </a:lnTo>
                  <a:lnTo>
                    <a:pt x="389" y="707"/>
                  </a:lnTo>
                  <a:lnTo>
                    <a:pt x="387" y="709"/>
                  </a:lnTo>
                  <a:lnTo>
                    <a:pt x="391" y="711"/>
                  </a:lnTo>
                  <a:lnTo>
                    <a:pt x="389" y="711"/>
                  </a:lnTo>
                  <a:lnTo>
                    <a:pt x="386" y="718"/>
                  </a:lnTo>
                  <a:lnTo>
                    <a:pt x="386" y="723"/>
                  </a:lnTo>
                  <a:lnTo>
                    <a:pt x="379" y="728"/>
                  </a:lnTo>
                  <a:lnTo>
                    <a:pt x="374" y="721"/>
                  </a:lnTo>
                  <a:lnTo>
                    <a:pt x="374" y="719"/>
                  </a:lnTo>
                  <a:lnTo>
                    <a:pt x="377" y="714"/>
                  </a:lnTo>
                  <a:lnTo>
                    <a:pt x="384" y="711"/>
                  </a:lnTo>
                  <a:lnTo>
                    <a:pt x="386" y="709"/>
                  </a:lnTo>
                  <a:lnTo>
                    <a:pt x="384" y="707"/>
                  </a:lnTo>
                  <a:lnTo>
                    <a:pt x="382" y="707"/>
                  </a:lnTo>
                  <a:lnTo>
                    <a:pt x="382" y="709"/>
                  </a:lnTo>
                  <a:lnTo>
                    <a:pt x="374" y="714"/>
                  </a:lnTo>
                  <a:lnTo>
                    <a:pt x="372" y="723"/>
                  </a:lnTo>
                  <a:lnTo>
                    <a:pt x="370" y="725"/>
                  </a:lnTo>
                  <a:lnTo>
                    <a:pt x="368" y="723"/>
                  </a:lnTo>
                  <a:lnTo>
                    <a:pt x="372" y="716"/>
                  </a:lnTo>
                  <a:lnTo>
                    <a:pt x="370" y="711"/>
                  </a:lnTo>
                  <a:lnTo>
                    <a:pt x="374" y="709"/>
                  </a:lnTo>
                  <a:lnTo>
                    <a:pt x="374" y="702"/>
                  </a:lnTo>
                  <a:lnTo>
                    <a:pt x="379" y="702"/>
                  </a:lnTo>
                  <a:lnTo>
                    <a:pt x="375" y="697"/>
                  </a:lnTo>
                  <a:lnTo>
                    <a:pt x="375" y="696"/>
                  </a:lnTo>
                  <a:lnTo>
                    <a:pt x="374" y="697"/>
                  </a:lnTo>
                  <a:lnTo>
                    <a:pt x="374" y="699"/>
                  </a:lnTo>
                  <a:lnTo>
                    <a:pt x="375" y="701"/>
                  </a:lnTo>
                  <a:lnTo>
                    <a:pt x="372" y="701"/>
                  </a:lnTo>
                  <a:lnTo>
                    <a:pt x="372" y="702"/>
                  </a:lnTo>
                  <a:lnTo>
                    <a:pt x="367" y="704"/>
                  </a:lnTo>
                  <a:lnTo>
                    <a:pt x="365" y="709"/>
                  </a:lnTo>
                  <a:lnTo>
                    <a:pt x="362" y="711"/>
                  </a:lnTo>
                  <a:lnTo>
                    <a:pt x="360" y="714"/>
                  </a:lnTo>
                  <a:lnTo>
                    <a:pt x="356" y="711"/>
                  </a:lnTo>
                  <a:lnTo>
                    <a:pt x="353" y="713"/>
                  </a:lnTo>
                  <a:lnTo>
                    <a:pt x="348" y="709"/>
                  </a:lnTo>
                  <a:lnTo>
                    <a:pt x="350" y="704"/>
                  </a:lnTo>
                  <a:lnTo>
                    <a:pt x="345" y="706"/>
                  </a:lnTo>
                  <a:lnTo>
                    <a:pt x="345" y="709"/>
                  </a:lnTo>
                  <a:lnTo>
                    <a:pt x="341" y="711"/>
                  </a:lnTo>
                  <a:lnTo>
                    <a:pt x="339" y="707"/>
                  </a:lnTo>
                  <a:lnTo>
                    <a:pt x="334" y="706"/>
                  </a:lnTo>
                  <a:lnTo>
                    <a:pt x="336" y="702"/>
                  </a:lnTo>
                  <a:lnTo>
                    <a:pt x="336" y="697"/>
                  </a:lnTo>
                  <a:lnTo>
                    <a:pt x="338" y="694"/>
                  </a:lnTo>
                  <a:lnTo>
                    <a:pt x="336" y="697"/>
                  </a:lnTo>
                  <a:lnTo>
                    <a:pt x="334" y="702"/>
                  </a:lnTo>
                  <a:lnTo>
                    <a:pt x="333" y="706"/>
                  </a:lnTo>
                  <a:lnTo>
                    <a:pt x="331" y="706"/>
                  </a:lnTo>
                  <a:lnTo>
                    <a:pt x="327" y="702"/>
                  </a:lnTo>
                  <a:lnTo>
                    <a:pt x="329" y="701"/>
                  </a:lnTo>
                  <a:lnTo>
                    <a:pt x="331" y="696"/>
                  </a:lnTo>
                  <a:lnTo>
                    <a:pt x="333" y="696"/>
                  </a:lnTo>
                  <a:lnTo>
                    <a:pt x="331" y="694"/>
                  </a:lnTo>
                  <a:lnTo>
                    <a:pt x="333" y="690"/>
                  </a:lnTo>
                  <a:lnTo>
                    <a:pt x="329" y="694"/>
                  </a:lnTo>
                  <a:lnTo>
                    <a:pt x="327" y="692"/>
                  </a:lnTo>
                  <a:lnTo>
                    <a:pt x="326" y="687"/>
                  </a:lnTo>
                  <a:lnTo>
                    <a:pt x="326" y="690"/>
                  </a:lnTo>
                  <a:lnTo>
                    <a:pt x="327" y="694"/>
                  </a:lnTo>
                  <a:lnTo>
                    <a:pt x="324" y="696"/>
                  </a:lnTo>
                  <a:lnTo>
                    <a:pt x="327" y="697"/>
                  </a:lnTo>
                  <a:lnTo>
                    <a:pt x="327" y="701"/>
                  </a:lnTo>
                  <a:lnTo>
                    <a:pt x="322" y="701"/>
                  </a:lnTo>
                  <a:lnTo>
                    <a:pt x="322" y="699"/>
                  </a:lnTo>
                  <a:lnTo>
                    <a:pt x="321" y="699"/>
                  </a:lnTo>
                  <a:lnTo>
                    <a:pt x="321" y="697"/>
                  </a:lnTo>
                  <a:lnTo>
                    <a:pt x="322" y="697"/>
                  </a:lnTo>
                  <a:lnTo>
                    <a:pt x="321" y="697"/>
                  </a:lnTo>
                  <a:lnTo>
                    <a:pt x="321" y="699"/>
                  </a:lnTo>
                  <a:lnTo>
                    <a:pt x="322" y="699"/>
                  </a:lnTo>
                  <a:lnTo>
                    <a:pt x="321" y="701"/>
                  </a:lnTo>
                  <a:lnTo>
                    <a:pt x="322" y="701"/>
                  </a:lnTo>
                  <a:lnTo>
                    <a:pt x="317" y="702"/>
                  </a:lnTo>
                  <a:lnTo>
                    <a:pt x="310" y="697"/>
                  </a:lnTo>
                  <a:lnTo>
                    <a:pt x="319" y="692"/>
                  </a:lnTo>
                  <a:lnTo>
                    <a:pt x="321" y="689"/>
                  </a:lnTo>
                  <a:lnTo>
                    <a:pt x="319" y="692"/>
                  </a:lnTo>
                  <a:lnTo>
                    <a:pt x="317" y="690"/>
                  </a:lnTo>
                  <a:lnTo>
                    <a:pt x="319" y="692"/>
                  </a:lnTo>
                  <a:lnTo>
                    <a:pt x="310" y="694"/>
                  </a:lnTo>
                  <a:lnTo>
                    <a:pt x="312" y="692"/>
                  </a:lnTo>
                  <a:lnTo>
                    <a:pt x="310" y="692"/>
                  </a:lnTo>
                  <a:lnTo>
                    <a:pt x="309" y="694"/>
                  </a:lnTo>
                  <a:lnTo>
                    <a:pt x="307" y="692"/>
                  </a:lnTo>
                  <a:lnTo>
                    <a:pt x="305" y="692"/>
                  </a:lnTo>
                  <a:lnTo>
                    <a:pt x="305" y="690"/>
                  </a:lnTo>
                  <a:lnTo>
                    <a:pt x="305" y="689"/>
                  </a:lnTo>
                  <a:lnTo>
                    <a:pt x="305" y="690"/>
                  </a:lnTo>
                  <a:lnTo>
                    <a:pt x="304" y="687"/>
                  </a:lnTo>
                  <a:lnTo>
                    <a:pt x="302" y="689"/>
                  </a:lnTo>
                  <a:lnTo>
                    <a:pt x="295" y="689"/>
                  </a:lnTo>
                  <a:lnTo>
                    <a:pt x="293" y="687"/>
                  </a:lnTo>
                  <a:lnTo>
                    <a:pt x="295" y="685"/>
                  </a:lnTo>
                  <a:lnTo>
                    <a:pt x="293" y="685"/>
                  </a:lnTo>
                  <a:lnTo>
                    <a:pt x="292" y="685"/>
                  </a:lnTo>
                  <a:lnTo>
                    <a:pt x="290" y="694"/>
                  </a:lnTo>
                  <a:lnTo>
                    <a:pt x="283" y="690"/>
                  </a:lnTo>
                  <a:lnTo>
                    <a:pt x="281" y="685"/>
                  </a:lnTo>
                  <a:lnTo>
                    <a:pt x="278" y="689"/>
                  </a:lnTo>
                  <a:lnTo>
                    <a:pt x="278" y="687"/>
                  </a:lnTo>
                  <a:lnTo>
                    <a:pt x="275" y="689"/>
                  </a:lnTo>
                  <a:lnTo>
                    <a:pt x="276" y="689"/>
                  </a:lnTo>
                  <a:lnTo>
                    <a:pt x="268" y="685"/>
                  </a:lnTo>
                  <a:lnTo>
                    <a:pt x="268" y="684"/>
                  </a:lnTo>
                  <a:lnTo>
                    <a:pt x="264" y="684"/>
                  </a:lnTo>
                  <a:lnTo>
                    <a:pt x="264" y="682"/>
                  </a:lnTo>
                  <a:lnTo>
                    <a:pt x="261" y="680"/>
                  </a:lnTo>
                  <a:lnTo>
                    <a:pt x="263" y="678"/>
                  </a:lnTo>
                  <a:lnTo>
                    <a:pt x="263" y="677"/>
                  </a:lnTo>
                  <a:lnTo>
                    <a:pt x="261" y="678"/>
                  </a:lnTo>
                  <a:lnTo>
                    <a:pt x="259" y="680"/>
                  </a:lnTo>
                  <a:lnTo>
                    <a:pt x="256" y="678"/>
                  </a:lnTo>
                  <a:lnTo>
                    <a:pt x="254" y="675"/>
                  </a:lnTo>
                  <a:lnTo>
                    <a:pt x="252" y="677"/>
                  </a:lnTo>
                  <a:lnTo>
                    <a:pt x="249" y="675"/>
                  </a:lnTo>
                  <a:lnTo>
                    <a:pt x="251" y="673"/>
                  </a:lnTo>
                  <a:lnTo>
                    <a:pt x="247" y="673"/>
                  </a:lnTo>
                  <a:lnTo>
                    <a:pt x="242" y="670"/>
                  </a:lnTo>
                  <a:lnTo>
                    <a:pt x="239" y="670"/>
                  </a:lnTo>
                  <a:lnTo>
                    <a:pt x="239" y="668"/>
                  </a:lnTo>
                  <a:lnTo>
                    <a:pt x="235" y="670"/>
                  </a:lnTo>
                  <a:lnTo>
                    <a:pt x="228" y="670"/>
                  </a:lnTo>
                  <a:lnTo>
                    <a:pt x="225" y="667"/>
                  </a:lnTo>
                  <a:lnTo>
                    <a:pt x="225" y="668"/>
                  </a:lnTo>
                  <a:lnTo>
                    <a:pt x="217" y="665"/>
                  </a:lnTo>
                  <a:lnTo>
                    <a:pt x="220" y="660"/>
                  </a:lnTo>
                  <a:lnTo>
                    <a:pt x="217" y="661"/>
                  </a:lnTo>
                  <a:lnTo>
                    <a:pt x="215" y="663"/>
                  </a:lnTo>
                  <a:lnTo>
                    <a:pt x="213" y="663"/>
                  </a:lnTo>
                  <a:lnTo>
                    <a:pt x="215" y="665"/>
                  </a:lnTo>
                  <a:lnTo>
                    <a:pt x="210" y="660"/>
                  </a:lnTo>
                  <a:lnTo>
                    <a:pt x="206" y="660"/>
                  </a:lnTo>
                  <a:lnTo>
                    <a:pt x="208" y="656"/>
                  </a:lnTo>
                  <a:lnTo>
                    <a:pt x="205" y="660"/>
                  </a:lnTo>
                  <a:lnTo>
                    <a:pt x="199" y="655"/>
                  </a:lnTo>
                  <a:lnTo>
                    <a:pt x="203" y="656"/>
                  </a:lnTo>
                  <a:lnTo>
                    <a:pt x="201" y="655"/>
                  </a:lnTo>
                  <a:lnTo>
                    <a:pt x="196" y="653"/>
                  </a:lnTo>
                  <a:lnTo>
                    <a:pt x="194" y="651"/>
                  </a:lnTo>
                  <a:lnTo>
                    <a:pt x="189" y="648"/>
                  </a:lnTo>
                  <a:lnTo>
                    <a:pt x="182" y="648"/>
                  </a:lnTo>
                  <a:lnTo>
                    <a:pt x="176" y="648"/>
                  </a:lnTo>
                  <a:lnTo>
                    <a:pt x="172" y="648"/>
                  </a:lnTo>
                  <a:lnTo>
                    <a:pt x="167" y="649"/>
                  </a:lnTo>
                  <a:lnTo>
                    <a:pt x="165" y="648"/>
                  </a:lnTo>
                  <a:lnTo>
                    <a:pt x="165" y="649"/>
                  </a:lnTo>
                  <a:lnTo>
                    <a:pt x="160" y="648"/>
                  </a:lnTo>
                  <a:lnTo>
                    <a:pt x="152" y="646"/>
                  </a:lnTo>
                  <a:lnTo>
                    <a:pt x="145" y="644"/>
                  </a:lnTo>
                  <a:lnTo>
                    <a:pt x="136" y="643"/>
                  </a:lnTo>
                  <a:lnTo>
                    <a:pt x="131" y="643"/>
                  </a:lnTo>
                  <a:lnTo>
                    <a:pt x="131" y="641"/>
                  </a:lnTo>
                  <a:lnTo>
                    <a:pt x="123" y="643"/>
                  </a:lnTo>
                  <a:lnTo>
                    <a:pt x="124" y="641"/>
                  </a:lnTo>
                  <a:lnTo>
                    <a:pt x="123" y="641"/>
                  </a:lnTo>
                  <a:lnTo>
                    <a:pt x="121" y="643"/>
                  </a:lnTo>
                  <a:lnTo>
                    <a:pt x="116" y="643"/>
                  </a:lnTo>
                  <a:lnTo>
                    <a:pt x="106" y="646"/>
                  </a:lnTo>
                  <a:lnTo>
                    <a:pt x="106" y="644"/>
                  </a:lnTo>
                  <a:lnTo>
                    <a:pt x="106" y="646"/>
                  </a:lnTo>
                  <a:lnTo>
                    <a:pt x="104" y="644"/>
                  </a:lnTo>
                  <a:lnTo>
                    <a:pt x="95" y="639"/>
                  </a:lnTo>
                  <a:lnTo>
                    <a:pt x="95" y="637"/>
                  </a:lnTo>
                  <a:lnTo>
                    <a:pt x="95" y="639"/>
                  </a:lnTo>
                  <a:lnTo>
                    <a:pt x="92" y="639"/>
                  </a:lnTo>
                  <a:lnTo>
                    <a:pt x="88" y="636"/>
                  </a:lnTo>
                  <a:lnTo>
                    <a:pt x="90" y="634"/>
                  </a:lnTo>
                  <a:lnTo>
                    <a:pt x="85" y="634"/>
                  </a:lnTo>
                  <a:lnTo>
                    <a:pt x="83" y="631"/>
                  </a:lnTo>
                  <a:lnTo>
                    <a:pt x="83" y="632"/>
                  </a:lnTo>
                  <a:lnTo>
                    <a:pt x="75" y="627"/>
                  </a:lnTo>
                  <a:lnTo>
                    <a:pt x="73" y="626"/>
                  </a:lnTo>
                  <a:lnTo>
                    <a:pt x="78" y="629"/>
                  </a:lnTo>
                  <a:lnTo>
                    <a:pt x="82" y="629"/>
                  </a:lnTo>
                  <a:lnTo>
                    <a:pt x="78" y="629"/>
                  </a:lnTo>
                  <a:lnTo>
                    <a:pt x="73" y="624"/>
                  </a:lnTo>
                  <a:lnTo>
                    <a:pt x="73" y="626"/>
                  </a:lnTo>
                  <a:lnTo>
                    <a:pt x="68" y="620"/>
                  </a:lnTo>
                  <a:lnTo>
                    <a:pt x="59" y="620"/>
                  </a:lnTo>
                  <a:lnTo>
                    <a:pt x="59" y="617"/>
                  </a:lnTo>
                  <a:lnTo>
                    <a:pt x="56" y="619"/>
                  </a:lnTo>
                  <a:lnTo>
                    <a:pt x="51" y="614"/>
                  </a:lnTo>
                  <a:close/>
                  <a:moveTo>
                    <a:pt x="275" y="263"/>
                  </a:moveTo>
                  <a:lnTo>
                    <a:pt x="276" y="263"/>
                  </a:lnTo>
                  <a:lnTo>
                    <a:pt x="276" y="269"/>
                  </a:lnTo>
                  <a:lnTo>
                    <a:pt x="275" y="263"/>
                  </a:lnTo>
                  <a:close/>
                  <a:moveTo>
                    <a:pt x="252" y="267"/>
                  </a:moveTo>
                  <a:lnTo>
                    <a:pt x="252" y="263"/>
                  </a:lnTo>
                  <a:lnTo>
                    <a:pt x="254" y="262"/>
                  </a:lnTo>
                  <a:lnTo>
                    <a:pt x="252" y="267"/>
                  </a:lnTo>
                  <a:close/>
                  <a:moveTo>
                    <a:pt x="275" y="258"/>
                  </a:moveTo>
                  <a:lnTo>
                    <a:pt x="276" y="258"/>
                  </a:lnTo>
                  <a:lnTo>
                    <a:pt x="276" y="260"/>
                  </a:lnTo>
                  <a:lnTo>
                    <a:pt x="275" y="260"/>
                  </a:lnTo>
                  <a:lnTo>
                    <a:pt x="275" y="258"/>
                  </a:lnTo>
                  <a:close/>
                  <a:moveTo>
                    <a:pt x="230" y="258"/>
                  </a:moveTo>
                  <a:lnTo>
                    <a:pt x="228" y="262"/>
                  </a:lnTo>
                  <a:lnTo>
                    <a:pt x="225" y="260"/>
                  </a:lnTo>
                  <a:lnTo>
                    <a:pt x="230" y="258"/>
                  </a:lnTo>
                  <a:close/>
                  <a:moveTo>
                    <a:pt x="266" y="258"/>
                  </a:moveTo>
                  <a:lnTo>
                    <a:pt x="268" y="260"/>
                  </a:lnTo>
                  <a:lnTo>
                    <a:pt x="263" y="258"/>
                  </a:lnTo>
                  <a:lnTo>
                    <a:pt x="266" y="258"/>
                  </a:lnTo>
                  <a:close/>
                  <a:moveTo>
                    <a:pt x="242" y="257"/>
                  </a:moveTo>
                  <a:lnTo>
                    <a:pt x="244" y="258"/>
                  </a:lnTo>
                  <a:lnTo>
                    <a:pt x="242" y="258"/>
                  </a:lnTo>
                  <a:lnTo>
                    <a:pt x="239" y="260"/>
                  </a:lnTo>
                  <a:lnTo>
                    <a:pt x="242" y="257"/>
                  </a:lnTo>
                  <a:close/>
                  <a:moveTo>
                    <a:pt x="257" y="258"/>
                  </a:moveTo>
                  <a:lnTo>
                    <a:pt x="254" y="257"/>
                  </a:lnTo>
                  <a:lnTo>
                    <a:pt x="256" y="255"/>
                  </a:lnTo>
                  <a:lnTo>
                    <a:pt x="257" y="258"/>
                  </a:lnTo>
                  <a:close/>
                  <a:moveTo>
                    <a:pt x="275" y="253"/>
                  </a:moveTo>
                  <a:lnTo>
                    <a:pt x="276" y="257"/>
                  </a:lnTo>
                  <a:lnTo>
                    <a:pt x="275" y="258"/>
                  </a:lnTo>
                  <a:lnTo>
                    <a:pt x="273" y="255"/>
                  </a:lnTo>
                  <a:lnTo>
                    <a:pt x="275" y="253"/>
                  </a:lnTo>
                  <a:close/>
                  <a:moveTo>
                    <a:pt x="278" y="248"/>
                  </a:moveTo>
                  <a:lnTo>
                    <a:pt x="276" y="250"/>
                  </a:lnTo>
                  <a:lnTo>
                    <a:pt x="275" y="251"/>
                  </a:lnTo>
                  <a:lnTo>
                    <a:pt x="275" y="250"/>
                  </a:lnTo>
                  <a:lnTo>
                    <a:pt x="276" y="250"/>
                  </a:lnTo>
                  <a:lnTo>
                    <a:pt x="275" y="246"/>
                  </a:lnTo>
                  <a:lnTo>
                    <a:pt x="278" y="248"/>
                  </a:lnTo>
                  <a:close/>
                  <a:moveTo>
                    <a:pt x="77" y="236"/>
                  </a:moveTo>
                  <a:lnTo>
                    <a:pt x="77" y="231"/>
                  </a:lnTo>
                  <a:lnTo>
                    <a:pt x="78" y="233"/>
                  </a:lnTo>
                  <a:lnTo>
                    <a:pt x="77" y="236"/>
                  </a:lnTo>
                  <a:close/>
                  <a:moveTo>
                    <a:pt x="66" y="222"/>
                  </a:moveTo>
                  <a:lnTo>
                    <a:pt x="71" y="222"/>
                  </a:lnTo>
                  <a:lnTo>
                    <a:pt x="77" y="228"/>
                  </a:lnTo>
                  <a:lnTo>
                    <a:pt x="77" y="231"/>
                  </a:lnTo>
                  <a:lnTo>
                    <a:pt x="75" y="233"/>
                  </a:lnTo>
                  <a:lnTo>
                    <a:pt x="75" y="240"/>
                  </a:lnTo>
                  <a:lnTo>
                    <a:pt x="78" y="236"/>
                  </a:lnTo>
                  <a:lnTo>
                    <a:pt x="78" y="233"/>
                  </a:lnTo>
                  <a:lnTo>
                    <a:pt x="82" y="233"/>
                  </a:lnTo>
                  <a:lnTo>
                    <a:pt x="82" y="240"/>
                  </a:lnTo>
                  <a:lnTo>
                    <a:pt x="78" y="246"/>
                  </a:lnTo>
                  <a:lnTo>
                    <a:pt x="70" y="246"/>
                  </a:lnTo>
                  <a:lnTo>
                    <a:pt x="66" y="246"/>
                  </a:lnTo>
                  <a:lnTo>
                    <a:pt x="63" y="243"/>
                  </a:lnTo>
                  <a:lnTo>
                    <a:pt x="65" y="241"/>
                  </a:lnTo>
                  <a:lnTo>
                    <a:pt x="63" y="241"/>
                  </a:lnTo>
                  <a:lnTo>
                    <a:pt x="59" y="234"/>
                  </a:lnTo>
                  <a:lnTo>
                    <a:pt x="58" y="231"/>
                  </a:lnTo>
                  <a:lnTo>
                    <a:pt x="61" y="228"/>
                  </a:lnTo>
                  <a:lnTo>
                    <a:pt x="58" y="228"/>
                  </a:lnTo>
                  <a:lnTo>
                    <a:pt x="59" y="226"/>
                  </a:lnTo>
                  <a:lnTo>
                    <a:pt x="65" y="222"/>
                  </a:lnTo>
                  <a:lnTo>
                    <a:pt x="66" y="222"/>
                  </a:lnTo>
                  <a:close/>
                  <a:moveTo>
                    <a:pt x="143" y="224"/>
                  </a:moveTo>
                  <a:lnTo>
                    <a:pt x="145" y="226"/>
                  </a:lnTo>
                  <a:lnTo>
                    <a:pt x="143" y="226"/>
                  </a:lnTo>
                  <a:lnTo>
                    <a:pt x="141" y="222"/>
                  </a:lnTo>
                  <a:lnTo>
                    <a:pt x="143" y="224"/>
                  </a:lnTo>
                  <a:close/>
                  <a:moveTo>
                    <a:pt x="131" y="185"/>
                  </a:moveTo>
                  <a:lnTo>
                    <a:pt x="133" y="188"/>
                  </a:lnTo>
                  <a:lnTo>
                    <a:pt x="136" y="187"/>
                  </a:lnTo>
                  <a:lnTo>
                    <a:pt x="138" y="188"/>
                  </a:lnTo>
                  <a:lnTo>
                    <a:pt x="140" y="188"/>
                  </a:lnTo>
                  <a:lnTo>
                    <a:pt x="141" y="190"/>
                  </a:lnTo>
                  <a:lnTo>
                    <a:pt x="143" y="188"/>
                  </a:lnTo>
                  <a:lnTo>
                    <a:pt x="148" y="192"/>
                  </a:lnTo>
                  <a:lnTo>
                    <a:pt x="150" y="190"/>
                  </a:lnTo>
                  <a:lnTo>
                    <a:pt x="155" y="190"/>
                  </a:lnTo>
                  <a:lnTo>
                    <a:pt x="155" y="195"/>
                  </a:lnTo>
                  <a:lnTo>
                    <a:pt x="158" y="190"/>
                  </a:lnTo>
                  <a:lnTo>
                    <a:pt x="160" y="190"/>
                  </a:lnTo>
                  <a:lnTo>
                    <a:pt x="165" y="193"/>
                  </a:lnTo>
                  <a:lnTo>
                    <a:pt x="165" y="197"/>
                  </a:lnTo>
                  <a:lnTo>
                    <a:pt x="169" y="195"/>
                  </a:lnTo>
                  <a:lnTo>
                    <a:pt x="174" y="199"/>
                  </a:lnTo>
                  <a:lnTo>
                    <a:pt x="176" y="199"/>
                  </a:lnTo>
                  <a:lnTo>
                    <a:pt x="181" y="193"/>
                  </a:lnTo>
                  <a:lnTo>
                    <a:pt x="186" y="195"/>
                  </a:lnTo>
                  <a:lnTo>
                    <a:pt x="193" y="202"/>
                  </a:lnTo>
                  <a:lnTo>
                    <a:pt x="194" y="205"/>
                  </a:lnTo>
                  <a:lnTo>
                    <a:pt x="196" y="205"/>
                  </a:lnTo>
                  <a:lnTo>
                    <a:pt x="199" y="207"/>
                  </a:lnTo>
                  <a:lnTo>
                    <a:pt x="206" y="210"/>
                  </a:lnTo>
                  <a:lnTo>
                    <a:pt x="208" y="214"/>
                  </a:lnTo>
                  <a:lnTo>
                    <a:pt x="210" y="214"/>
                  </a:lnTo>
                  <a:lnTo>
                    <a:pt x="208" y="217"/>
                  </a:lnTo>
                  <a:lnTo>
                    <a:pt x="210" y="217"/>
                  </a:lnTo>
                  <a:lnTo>
                    <a:pt x="215" y="221"/>
                  </a:lnTo>
                  <a:lnTo>
                    <a:pt x="215" y="226"/>
                  </a:lnTo>
                  <a:lnTo>
                    <a:pt x="222" y="229"/>
                  </a:lnTo>
                  <a:lnTo>
                    <a:pt x="223" y="236"/>
                  </a:lnTo>
                  <a:lnTo>
                    <a:pt x="227" y="236"/>
                  </a:lnTo>
                  <a:lnTo>
                    <a:pt x="234" y="233"/>
                  </a:lnTo>
                  <a:lnTo>
                    <a:pt x="239" y="234"/>
                  </a:lnTo>
                  <a:lnTo>
                    <a:pt x="239" y="236"/>
                  </a:lnTo>
                  <a:lnTo>
                    <a:pt x="242" y="240"/>
                  </a:lnTo>
                  <a:lnTo>
                    <a:pt x="247" y="238"/>
                  </a:lnTo>
                  <a:lnTo>
                    <a:pt x="249" y="240"/>
                  </a:lnTo>
                  <a:lnTo>
                    <a:pt x="249" y="241"/>
                  </a:lnTo>
                  <a:lnTo>
                    <a:pt x="240" y="246"/>
                  </a:lnTo>
                  <a:lnTo>
                    <a:pt x="232" y="251"/>
                  </a:lnTo>
                  <a:lnTo>
                    <a:pt x="223" y="251"/>
                  </a:lnTo>
                  <a:lnTo>
                    <a:pt x="222" y="255"/>
                  </a:lnTo>
                  <a:lnTo>
                    <a:pt x="211" y="253"/>
                  </a:lnTo>
                  <a:lnTo>
                    <a:pt x="208" y="248"/>
                  </a:lnTo>
                  <a:lnTo>
                    <a:pt x="203" y="248"/>
                  </a:lnTo>
                  <a:lnTo>
                    <a:pt x="196" y="248"/>
                  </a:lnTo>
                  <a:lnTo>
                    <a:pt x="191" y="251"/>
                  </a:lnTo>
                  <a:lnTo>
                    <a:pt x="186" y="250"/>
                  </a:lnTo>
                  <a:lnTo>
                    <a:pt x="179" y="243"/>
                  </a:lnTo>
                  <a:lnTo>
                    <a:pt x="182" y="241"/>
                  </a:lnTo>
                  <a:lnTo>
                    <a:pt x="182" y="234"/>
                  </a:lnTo>
                  <a:lnTo>
                    <a:pt x="179" y="229"/>
                  </a:lnTo>
                  <a:lnTo>
                    <a:pt x="177" y="222"/>
                  </a:lnTo>
                  <a:lnTo>
                    <a:pt x="176" y="217"/>
                  </a:lnTo>
                  <a:lnTo>
                    <a:pt x="176" y="216"/>
                  </a:lnTo>
                  <a:lnTo>
                    <a:pt x="172" y="207"/>
                  </a:lnTo>
                  <a:lnTo>
                    <a:pt x="169" y="207"/>
                  </a:lnTo>
                  <a:lnTo>
                    <a:pt x="170" y="204"/>
                  </a:lnTo>
                  <a:lnTo>
                    <a:pt x="167" y="207"/>
                  </a:lnTo>
                  <a:lnTo>
                    <a:pt x="165" y="210"/>
                  </a:lnTo>
                  <a:lnTo>
                    <a:pt x="160" y="217"/>
                  </a:lnTo>
                  <a:lnTo>
                    <a:pt x="157" y="212"/>
                  </a:lnTo>
                  <a:lnTo>
                    <a:pt x="152" y="210"/>
                  </a:lnTo>
                  <a:lnTo>
                    <a:pt x="150" y="207"/>
                  </a:lnTo>
                  <a:lnTo>
                    <a:pt x="141" y="202"/>
                  </a:lnTo>
                  <a:lnTo>
                    <a:pt x="141" y="200"/>
                  </a:lnTo>
                  <a:lnTo>
                    <a:pt x="140" y="200"/>
                  </a:lnTo>
                  <a:lnTo>
                    <a:pt x="143" y="207"/>
                  </a:lnTo>
                  <a:lnTo>
                    <a:pt x="145" y="205"/>
                  </a:lnTo>
                  <a:lnTo>
                    <a:pt x="147" y="210"/>
                  </a:lnTo>
                  <a:lnTo>
                    <a:pt x="148" y="210"/>
                  </a:lnTo>
                  <a:lnTo>
                    <a:pt x="148" y="216"/>
                  </a:lnTo>
                  <a:lnTo>
                    <a:pt x="147" y="214"/>
                  </a:lnTo>
                  <a:lnTo>
                    <a:pt x="145" y="212"/>
                  </a:lnTo>
                  <a:lnTo>
                    <a:pt x="145" y="209"/>
                  </a:lnTo>
                  <a:lnTo>
                    <a:pt x="141" y="209"/>
                  </a:lnTo>
                  <a:lnTo>
                    <a:pt x="141" y="207"/>
                  </a:lnTo>
                  <a:lnTo>
                    <a:pt x="135" y="202"/>
                  </a:lnTo>
                  <a:lnTo>
                    <a:pt x="131" y="197"/>
                  </a:lnTo>
                  <a:lnTo>
                    <a:pt x="131" y="193"/>
                  </a:lnTo>
                  <a:lnTo>
                    <a:pt x="126" y="187"/>
                  </a:lnTo>
                  <a:lnTo>
                    <a:pt x="131" y="185"/>
                  </a:lnTo>
                  <a:close/>
                  <a:moveTo>
                    <a:pt x="114" y="158"/>
                  </a:moveTo>
                  <a:lnTo>
                    <a:pt x="118" y="158"/>
                  </a:lnTo>
                  <a:lnTo>
                    <a:pt x="118" y="159"/>
                  </a:lnTo>
                  <a:lnTo>
                    <a:pt x="114" y="159"/>
                  </a:lnTo>
                  <a:lnTo>
                    <a:pt x="114" y="158"/>
                  </a:lnTo>
                  <a:close/>
                  <a:moveTo>
                    <a:pt x="0" y="14"/>
                  </a:moveTo>
                  <a:lnTo>
                    <a:pt x="0" y="12"/>
                  </a:lnTo>
                  <a:lnTo>
                    <a:pt x="0" y="9"/>
                  </a:lnTo>
                  <a:lnTo>
                    <a:pt x="0" y="14"/>
                  </a:lnTo>
                  <a:close/>
                  <a:moveTo>
                    <a:pt x="3" y="0"/>
                  </a:moveTo>
                  <a:lnTo>
                    <a:pt x="5" y="0"/>
                  </a:lnTo>
                  <a:lnTo>
                    <a:pt x="5" y="2"/>
                  </a:lnTo>
                  <a:lnTo>
                    <a:pt x="3" y="2"/>
                  </a:lnTo>
                  <a:lnTo>
                    <a:pt x="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1" name="Freeform 58"/>
            <p:cNvSpPr>
              <a:spLocks noEditPoints="1"/>
            </p:cNvSpPr>
            <p:nvPr/>
          </p:nvSpPr>
          <p:spPr bwMode="gray">
            <a:xfrm>
              <a:off x="5419229" y="4924165"/>
              <a:ext cx="766157" cy="224375"/>
            </a:xfrm>
            <a:custGeom>
              <a:avLst/>
              <a:gdLst>
                <a:gd name="T0" fmla="*/ 407 w 420"/>
                <a:gd name="T1" fmla="*/ 68 h 123"/>
                <a:gd name="T2" fmla="*/ 256 w 420"/>
                <a:gd name="T3" fmla="*/ 63 h 123"/>
                <a:gd name="T4" fmla="*/ 386 w 420"/>
                <a:gd name="T5" fmla="*/ 60 h 123"/>
                <a:gd name="T6" fmla="*/ 116 w 420"/>
                <a:gd name="T7" fmla="*/ 53 h 123"/>
                <a:gd name="T8" fmla="*/ 232 w 420"/>
                <a:gd name="T9" fmla="*/ 54 h 123"/>
                <a:gd name="T10" fmla="*/ 217 w 420"/>
                <a:gd name="T11" fmla="*/ 49 h 123"/>
                <a:gd name="T12" fmla="*/ 127 w 420"/>
                <a:gd name="T13" fmla="*/ 41 h 123"/>
                <a:gd name="T14" fmla="*/ 418 w 420"/>
                <a:gd name="T15" fmla="*/ 37 h 123"/>
                <a:gd name="T16" fmla="*/ 147 w 420"/>
                <a:gd name="T17" fmla="*/ 36 h 123"/>
                <a:gd name="T18" fmla="*/ 28 w 420"/>
                <a:gd name="T19" fmla="*/ 32 h 123"/>
                <a:gd name="T20" fmla="*/ 104 w 420"/>
                <a:gd name="T21" fmla="*/ 24 h 123"/>
                <a:gd name="T22" fmla="*/ 99 w 420"/>
                <a:gd name="T23" fmla="*/ 24 h 123"/>
                <a:gd name="T24" fmla="*/ 96 w 420"/>
                <a:gd name="T25" fmla="*/ 61 h 123"/>
                <a:gd name="T26" fmla="*/ 82 w 420"/>
                <a:gd name="T27" fmla="*/ 92 h 123"/>
                <a:gd name="T28" fmla="*/ 89 w 420"/>
                <a:gd name="T29" fmla="*/ 95 h 123"/>
                <a:gd name="T30" fmla="*/ 77 w 420"/>
                <a:gd name="T31" fmla="*/ 87 h 123"/>
                <a:gd name="T32" fmla="*/ 67 w 420"/>
                <a:gd name="T33" fmla="*/ 97 h 123"/>
                <a:gd name="T34" fmla="*/ 48 w 420"/>
                <a:gd name="T35" fmla="*/ 97 h 123"/>
                <a:gd name="T36" fmla="*/ 29 w 420"/>
                <a:gd name="T37" fmla="*/ 92 h 123"/>
                <a:gd name="T38" fmla="*/ 9 w 420"/>
                <a:gd name="T39" fmla="*/ 89 h 123"/>
                <a:gd name="T40" fmla="*/ 17 w 420"/>
                <a:gd name="T41" fmla="*/ 77 h 123"/>
                <a:gd name="T42" fmla="*/ 29 w 420"/>
                <a:gd name="T43" fmla="*/ 70 h 123"/>
                <a:gd name="T44" fmla="*/ 36 w 420"/>
                <a:gd name="T45" fmla="*/ 34 h 123"/>
                <a:gd name="T46" fmla="*/ 220 w 420"/>
                <a:gd name="T47" fmla="*/ 13 h 123"/>
                <a:gd name="T48" fmla="*/ 208 w 420"/>
                <a:gd name="T49" fmla="*/ 7 h 123"/>
                <a:gd name="T50" fmla="*/ 395 w 420"/>
                <a:gd name="T51" fmla="*/ 12 h 123"/>
                <a:gd name="T52" fmla="*/ 232 w 420"/>
                <a:gd name="T53" fmla="*/ 3 h 123"/>
                <a:gd name="T54" fmla="*/ 280 w 420"/>
                <a:gd name="T55" fmla="*/ 19 h 123"/>
                <a:gd name="T56" fmla="*/ 308 w 420"/>
                <a:gd name="T57" fmla="*/ 29 h 123"/>
                <a:gd name="T58" fmla="*/ 343 w 420"/>
                <a:gd name="T59" fmla="*/ 36 h 123"/>
                <a:gd name="T60" fmla="*/ 345 w 420"/>
                <a:gd name="T61" fmla="*/ 46 h 123"/>
                <a:gd name="T62" fmla="*/ 367 w 420"/>
                <a:gd name="T63" fmla="*/ 24 h 123"/>
                <a:gd name="T64" fmla="*/ 384 w 420"/>
                <a:gd name="T65" fmla="*/ 46 h 123"/>
                <a:gd name="T66" fmla="*/ 384 w 420"/>
                <a:gd name="T67" fmla="*/ 61 h 123"/>
                <a:gd name="T68" fmla="*/ 401 w 420"/>
                <a:gd name="T69" fmla="*/ 56 h 123"/>
                <a:gd name="T70" fmla="*/ 401 w 420"/>
                <a:gd name="T71" fmla="*/ 73 h 123"/>
                <a:gd name="T72" fmla="*/ 369 w 420"/>
                <a:gd name="T73" fmla="*/ 70 h 123"/>
                <a:gd name="T74" fmla="*/ 343 w 420"/>
                <a:gd name="T75" fmla="*/ 78 h 123"/>
                <a:gd name="T76" fmla="*/ 364 w 420"/>
                <a:gd name="T77" fmla="*/ 90 h 123"/>
                <a:gd name="T78" fmla="*/ 326 w 420"/>
                <a:gd name="T79" fmla="*/ 90 h 123"/>
                <a:gd name="T80" fmla="*/ 313 w 420"/>
                <a:gd name="T81" fmla="*/ 70 h 123"/>
                <a:gd name="T82" fmla="*/ 302 w 420"/>
                <a:gd name="T83" fmla="*/ 72 h 123"/>
                <a:gd name="T84" fmla="*/ 270 w 420"/>
                <a:gd name="T85" fmla="*/ 90 h 123"/>
                <a:gd name="T86" fmla="*/ 229 w 420"/>
                <a:gd name="T87" fmla="*/ 99 h 123"/>
                <a:gd name="T88" fmla="*/ 185 w 420"/>
                <a:gd name="T89" fmla="*/ 116 h 123"/>
                <a:gd name="T90" fmla="*/ 133 w 420"/>
                <a:gd name="T91" fmla="*/ 116 h 123"/>
                <a:gd name="T92" fmla="*/ 111 w 420"/>
                <a:gd name="T93" fmla="*/ 101 h 123"/>
                <a:gd name="T94" fmla="*/ 116 w 420"/>
                <a:gd name="T95" fmla="*/ 82 h 123"/>
                <a:gd name="T96" fmla="*/ 120 w 420"/>
                <a:gd name="T97" fmla="*/ 51 h 123"/>
                <a:gd name="T98" fmla="*/ 154 w 420"/>
                <a:gd name="T99" fmla="*/ 34 h 123"/>
                <a:gd name="T100" fmla="*/ 198 w 420"/>
                <a:gd name="T101" fmla="*/ 39 h 123"/>
                <a:gd name="T102" fmla="*/ 215 w 420"/>
                <a:gd name="T103" fmla="*/ 53 h 123"/>
                <a:gd name="T104" fmla="*/ 231 w 420"/>
                <a:gd name="T105" fmla="*/ 66 h 123"/>
                <a:gd name="T106" fmla="*/ 249 w 420"/>
                <a:gd name="T107" fmla="*/ 78 h 123"/>
                <a:gd name="T108" fmla="*/ 285 w 420"/>
                <a:gd name="T109" fmla="*/ 70 h 123"/>
                <a:gd name="T110" fmla="*/ 290 w 420"/>
                <a:gd name="T111" fmla="*/ 60 h 123"/>
                <a:gd name="T112" fmla="*/ 258 w 420"/>
                <a:gd name="T113" fmla="*/ 44 h 123"/>
                <a:gd name="T114" fmla="*/ 231 w 420"/>
                <a:gd name="T115"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0" h="123">
                  <a:moveTo>
                    <a:pt x="12" y="78"/>
                  </a:moveTo>
                  <a:lnTo>
                    <a:pt x="14" y="80"/>
                  </a:lnTo>
                  <a:lnTo>
                    <a:pt x="10" y="78"/>
                  </a:lnTo>
                  <a:lnTo>
                    <a:pt x="12" y="77"/>
                  </a:lnTo>
                  <a:lnTo>
                    <a:pt x="12" y="78"/>
                  </a:lnTo>
                  <a:close/>
                  <a:moveTo>
                    <a:pt x="407" y="68"/>
                  </a:moveTo>
                  <a:lnTo>
                    <a:pt x="408" y="68"/>
                  </a:lnTo>
                  <a:lnTo>
                    <a:pt x="407" y="72"/>
                  </a:lnTo>
                  <a:lnTo>
                    <a:pt x="405" y="70"/>
                  </a:lnTo>
                  <a:lnTo>
                    <a:pt x="407" y="68"/>
                  </a:lnTo>
                  <a:close/>
                  <a:moveTo>
                    <a:pt x="256" y="63"/>
                  </a:moveTo>
                  <a:lnTo>
                    <a:pt x="260" y="65"/>
                  </a:lnTo>
                  <a:lnTo>
                    <a:pt x="261" y="65"/>
                  </a:lnTo>
                  <a:lnTo>
                    <a:pt x="261" y="72"/>
                  </a:lnTo>
                  <a:lnTo>
                    <a:pt x="258" y="72"/>
                  </a:lnTo>
                  <a:lnTo>
                    <a:pt x="260" y="66"/>
                  </a:lnTo>
                  <a:lnTo>
                    <a:pt x="255" y="68"/>
                  </a:lnTo>
                  <a:lnTo>
                    <a:pt x="258" y="66"/>
                  </a:lnTo>
                  <a:lnTo>
                    <a:pt x="255" y="65"/>
                  </a:lnTo>
                  <a:lnTo>
                    <a:pt x="256" y="63"/>
                  </a:lnTo>
                  <a:lnTo>
                    <a:pt x="255" y="63"/>
                  </a:lnTo>
                  <a:lnTo>
                    <a:pt x="256" y="63"/>
                  </a:lnTo>
                  <a:close/>
                  <a:moveTo>
                    <a:pt x="241" y="58"/>
                  </a:moveTo>
                  <a:lnTo>
                    <a:pt x="241" y="60"/>
                  </a:lnTo>
                  <a:lnTo>
                    <a:pt x="241" y="58"/>
                  </a:lnTo>
                  <a:close/>
                  <a:moveTo>
                    <a:pt x="403" y="58"/>
                  </a:moveTo>
                  <a:lnTo>
                    <a:pt x="403" y="60"/>
                  </a:lnTo>
                  <a:lnTo>
                    <a:pt x="403" y="58"/>
                  </a:lnTo>
                  <a:close/>
                  <a:moveTo>
                    <a:pt x="386" y="56"/>
                  </a:moveTo>
                  <a:lnTo>
                    <a:pt x="386" y="60"/>
                  </a:lnTo>
                  <a:lnTo>
                    <a:pt x="386" y="56"/>
                  </a:lnTo>
                  <a:close/>
                  <a:moveTo>
                    <a:pt x="234" y="54"/>
                  </a:moveTo>
                  <a:lnTo>
                    <a:pt x="236" y="54"/>
                  </a:lnTo>
                  <a:lnTo>
                    <a:pt x="236" y="56"/>
                  </a:lnTo>
                  <a:lnTo>
                    <a:pt x="234" y="56"/>
                  </a:lnTo>
                  <a:lnTo>
                    <a:pt x="234" y="54"/>
                  </a:lnTo>
                  <a:close/>
                  <a:moveTo>
                    <a:pt x="116" y="53"/>
                  </a:moveTo>
                  <a:lnTo>
                    <a:pt x="113" y="56"/>
                  </a:lnTo>
                  <a:lnTo>
                    <a:pt x="113" y="54"/>
                  </a:lnTo>
                  <a:lnTo>
                    <a:pt x="116" y="53"/>
                  </a:lnTo>
                  <a:close/>
                  <a:moveTo>
                    <a:pt x="121" y="49"/>
                  </a:moveTo>
                  <a:lnTo>
                    <a:pt x="125" y="49"/>
                  </a:lnTo>
                  <a:lnTo>
                    <a:pt x="123" y="51"/>
                  </a:lnTo>
                  <a:lnTo>
                    <a:pt x="121" y="51"/>
                  </a:lnTo>
                  <a:lnTo>
                    <a:pt x="121" y="49"/>
                  </a:lnTo>
                  <a:close/>
                  <a:moveTo>
                    <a:pt x="227" y="46"/>
                  </a:moveTo>
                  <a:lnTo>
                    <a:pt x="229" y="49"/>
                  </a:lnTo>
                  <a:lnTo>
                    <a:pt x="231" y="49"/>
                  </a:lnTo>
                  <a:lnTo>
                    <a:pt x="229" y="53"/>
                  </a:lnTo>
                  <a:lnTo>
                    <a:pt x="232" y="54"/>
                  </a:lnTo>
                  <a:lnTo>
                    <a:pt x="232" y="58"/>
                  </a:lnTo>
                  <a:lnTo>
                    <a:pt x="226" y="53"/>
                  </a:lnTo>
                  <a:lnTo>
                    <a:pt x="226" y="48"/>
                  </a:lnTo>
                  <a:lnTo>
                    <a:pt x="227" y="46"/>
                  </a:lnTo>
                  <a:close/>
                  <a:moveTo>
                    <a:pt x="219" y="43"/>
                  </a:moveTo>
                  <a:lnTo>
                    <a:pt x="222" y="44"/>
                  </a:lnTo>
                  <a:lnTo>
                    <a:pt x="222" y="51"/>
                  </a:lnTo>
                  <a:lnTo>
                    <a:pt x="220" y="51"/>
                  </a:lnTo>
                  <a:lnTo>
                    <a:pt x="219" y="53"/>
                  </a:lnTo>
                  <a:lnTo>
                    <a:pt x="217" y="49"/>
                  </a:lnTo>
                  <a:lnTo>
                    <a:pt x="219" y="49"/>
                  </a:lnTo>
                  <a:lnTo>
                    <a:pt x="217" y="48"/>
                  </a:lnTo>
                  <a:lnTo>
                    <a:pt x="219" y="48"/>
                  </a:lnTo>
                  <a:lnTo>
                    <a:pt x="217" y="46"/>
                  </a:lnTo>
                  <a:lnTo>
                    <a:pt x="219" y="43"/>
                  </a:lnTo>
                  <a:close/>
                  <a:moveTo>
                    <a:pt x="135" y="39"/>
                  </a:moveTo>
                  <a:lnTo>
                    <a:pt x="135" y="43"/>
                  </a:lnTo>
                  <a:lnTo>
                    <a:pt x="125" y="43"/>
                  </a:lnTo>
                  <a:lnTo>
                    <a:pt x="121" y="43"/>
                  </a:lnTo>
                  <a:lnTo>
                    <a:pt x="127" y="41"/>
                  </a:lnTo>
                  <a:lnTo>
                    <a:pt x="132" y="41"/>
                  </a:lnTo>
                  <a:lnTo>
                    <a:pt x="135" y="39"/>
                  </a:lnTo>
                  <a:close/>
                  <a:moveTo>
                    <a:pt x="219" y="39"/>
                  </a:moveTo>
                  <a:lnTo>
                    <a:pt x="220" y="39"/>
                  </a:lnTo>
                  <a:lnTo>
                    <a:pt x="220" y="43"/>
                  </a:lnTo>
                  <a:lnTo>
                    <a:pt x="219" y="43"/>
                  </a:lnTo>
                  <a:lnTo>
                    <a:pt x="219" y="39"/>
                  </a:lnTo>
                  <a:close/>
                  <a:moveTo>
                    <a:pt x="413" y="37"/>
                  </a:moveTo>
                  <a:lnTo>
                    <a:pt x="415" y="39"/>
                  </a:lnTo>
                  <a:lnTo>
                    <a:pt x="418" y="37"/>
                  </a:lnTo>
                  <a:lnTo>
                    <a:pt x="420" y="41"/>
                  </a:lnTo>
                  <a:lnTo>
                    <a:pt x="418" y="41"/>
                  </a:lnTo>
                  <a:lnTo>
                    <a:pt x="418" y="44"/>
                  </a:lnTo>
                  <a:lnTo>
                    <a:pt x="417" y="41"/>
                  </a:lnTo>
                  <a:lnTo>
                    <a:pt x="413" y="46"/>
                  </a:lnTo>
                  <a:lnTo>
                    <a:pt x="413" y="43"/>
                  </a:lnTo>
                  <a:lnTo>
                    <a:pt x="412" y="41"/>
                  </a:lnTo>
                  <a:lnTo>
                    <a:pt x="412" y="37"/>
                  </a:lnTo>
                  <a:lnTo>
                    <a:pt x="413" y="37"/>
                  </a:lnTo>
                  <a:close/>
                  <a:moveTo>
                    <a:pt x="147" y="36"/>
                  </a:moveTo>
                  <a:lnTo>
                    <a:pt x="144" y="39"/>
                  </a:lnTo>
                  <a:lnTo>
                    <a:pt x="139" y="41"/>
                  </a:lnTo>
                  <a:lnTo>
                    <a:pt x="140" y="37"/>
                  </a:lnTo>
                  <a:lnTo>
                    <a:pt x="144" y="37"/>
                  </a:lnTo>
                  <a:lnTo>
                    <a:pt x="145" y="36"/>
                  </a:lnTo>
                  <a:lnTo>
                    <a:pt x="147" y="36"/>
                  </a:lnTo>
                  <a:close/>
                  <a:moveTo>
                    <a:pt x="28" y="31"/>
                  </a:moveTo>
                  <a:lnTo>
                    <a:pt x="29" y="31"/>
                  </a:lnTo>
                  <a:lnTo>
                    <a:pt x="29" y="32"/>
                  </a:lnTo>
                  <a:lnTo>
                    <a:pt x="28" y="32"/>
                  </a:lnTo>
                  <a:lnTo>
                    <a:pt x="28" y="31"/>
                  </a:lnTo>
                  <a:close/>
                  <a:moveTo>
                    <a:pt x="26" y="31"/>
                  </a:moveTo>
                  <a:lnTo>
                    <a:pt x="26" y="32"/>
                  </a:lnTo>
                  <a:lnTo>
                    <a:pt x="26" y="31"/>
                  </a:lnTo>
                  <a:close/>
                  <a:moveTo>
                    <a:pt x="109" y="29"/>
                  </a:moveTo>
                  <a:lnTo>
                    <a:pt x="109" y="31"/>
                  </a:lnTo>
                  <a:lnTo>
                    <a:pt x="106" y="27"/>
                  </a:lnTo>
                  <a:lnTo>
                    <a:pt x="108" y="25"/>
                  </a:lnTo>
                  <a:lnTo>
                    <a:pt x="109" y="29"/>
                  </a:lnTo>
                  <a:close/>
                  <a:moveTo>
                    <a:pt x="104" y="24"/>
                  </a:moveTo>
                  <a:lnTo>
                    <a:pt x="108" y="24"/>
                  </a:lnTo>
                  <a:lnTo>
                    <a:pt x="108" y="25"/>
                  </a:lnTo>
                  <a:lnTo>
                    <a:pt x="104" y="25"/>
                  </a:lnTo>
                  <a:lnTo>
                    <a:pt x="104" y="24"/>
                  </a:lnTo>
                  <a:close/>
                  <a:moveTo>
                    <a:pt x="67" y="15"/>
                  </a:moveTo>
                  <a:lnTo>
                    <a:pt x="77" y="17"/>
                  </a:lnTo>
                  <a:lnTo>
                    <a:pt x="82" y="20"/>
                  </a:lnTo>
                  <a:lnTo>
                    <a:pt x="86" y="20"/>
                  </a:lnTo>
                  <a:lnTo>
                    <a:pt x="94" y="22"/>
                  </a:lnTo>
                  <a:lnTo>
                    <a:pt x="99" y="24"/>
                  </a:lnTo>
                  <a:lnTo>
                    <a:pt x="108" y="31"/>
                  </a:lnTo>
                  <a:lnTo>
                    <a:pt x="108" y="34"/>
                  </a:lnTo>
                  <a:lnTo>
                    <a:pt x="106" y="43"/>
                  </a:lnTo>
                  <a:lnTo>
                    <a:pt x="101" y="48"/>
                  </a:lnTo>
                  <a:lnTo>
                    <a:pt x="101" y="49"/>
                  </a:lnTo>
                  <a:lnTo>
                    <a:pt x="103" y="48"/>
                  </a:lnTo>
                  <a:lnTo>
                    <a:pt x="103" y="49"/>
                  </a:lnTo>
                  <a:lnTo>
                    <a:pt x="101" y="53"/>
                  </a:lnTo>
                  <a:lnTo>
                    <a:pt x="101" y="56"/>
                  </a:lnTo>
                  <a:lnTo>
                    <a:pt x="96" y="61"/>
                  </a:lnTo>
                  <a:lnTo>
                    <a:pt x="96" y="65"/>
                  </a:lnTo>
                  <a:lnTo>
                    <a:pt x="91" y="70"/>
                  </a:lnTo>
                  <a:lnTo>
                    <a:pt x="87" y="77"/>
                  </a:lnTo>
                  <a:lnTo>
                    <a:pt x="87" y="80"/>
                  </a:lnTo>
                  <a:lnTo>
                    <a:pt x="82" y="82"/>
                  </a:lnTo>
                  <a:lnTo>
                    <a:pt x="80" y="85"/>
                  </a:lnTo>
                  <a:lnTo>
                    <a:pt x="79" y="87"/>
                  </a:lnTo>
                  <a:lnTo>
                    <a:pt x="80" y="87"/>
                  </a:lnTo>
                  <a:lnTo>
                    <a:pt x="80" y="90"/>
                  </a:lnTo>
                  <a:lnTo>
                    <a:pt x="82" y="92"/>
                  </a:lnTo>
                  <a:lnTo>
                    <a:pt x="82" y="89"/>
                  </a:lnTo>
                  <a:lnTo>
                    <a:pt x="84" y="90"/>
                  </a:lnTo>
                  <a:lnTo>
                    <a:pt x="84" y="89"/>
                  </a:lnTo>
                  <a:lnTo>
                    <a:pt x="86" y="90"/>
                  </a:lnTo>
                  <a:lnTo>
                    <a:pt x="86" y="94"/>
                  </a:lnTo>
                  <a:lnTo>
                    <a:pt x="86" y="92"/>
                  </a:lnTo>
                  <a:lnTo>
                    <a:pt x="89" y="92"/>
                  </a:lnTo>
                  <a:lnTo>
                    <a:pt x="89" y="94"/>
                  </a:lnTo>
                  <a:lnTo>
                    <a:pt x="92" y="92"/>
                  </a:lnTo>
                  <a:lnTo>
                    <a:pt x="89" y="95"/>
                  </a:lnTo>
                  <a:lnTo>
                    <a:pt x="82" y="99"/>
                  </a:lnTo>
                  <a:lnTo>
                    <a:pt x="84" y="97"/>
                  </a:lnTo>
                  <a:lnTo>
                    <a:pt x="82" y="94"/>
                  </a:lnTo>
                  <a:lnTo>
                    <a:pt x="80" y="99"/>
                  </a:lnTo>
                  <a:lnTo>
                    <a:pt x="79" y="97"/>
                  </a:lnTo>
                  <a:lnTo>
                    <a:pt x="80" y="99"/>
                  </a:lnTo>
                  <a:lnTo>
                    <a:pt x="74" y="99"/>
                  </a:lnTo>
                  <a:lnTo>
                    <a:pt x="72" y="99"/>
                  </a:lnTo>
                  <a:lnTo>
                    <a:pt x="77" y="89"/>
                  </a:lnTo>
                  <a:lnTo>
                    <a:pt x="77" y="87"/>
                  </a:lnTo>
                  <a:lnTo>
                    <a:pt x="74" y="90"/>
                  </a:lnTo>
                  <a:lnTo>
                    <a:pt x="72" y="89"/>
                  </a:lnTo>
                  <a:lnTo>
                    <a:pt x="70" y="92"/>
                  </a:lnTo>
                  <a:lnTo>
                    <a:pt x="69" y="92"/>
                  </a:lnTo>
                  <a:lnTo>
                    <a:pt x="67" y="92"/>
                  </a:lnTo>
                  <a:lnTo>
                    <a:pt x="70" y="97"/>
                  </a:lnTo>
                  <a:lnTo>
                    <a:pt x="69" y="104"/>
                  </a:lnTo>
                  <a:lnTo>
                    <a:pt x="67" y="104"/>
                  </a:lnTo>
                  <a:lnTo>
                    <a:pt x="65" y="101"/>
                  </a:lnTo>
                  <a:lnTo>
                    <a:pt x="67" y="97"/>
                  </a:lnTo>
                  <a:lnTo>
                    <a:pt x="63" y="99"/>
                  </a:lnTo>
                  <a:lnTo>
                    <a:pt x="62" y="97"/>
                  </a:lnTo>
                  <a:lnTo>
                    <a:pt x="62" y="101"/>
                  </a:lnTo>
                  <a:lnTo>
                    <a:pt x="60" y="97"/>
                  </a:lnTo>
                  <a:lnTo>
                    <a:pt x="60" y="99"/>
                  </a:lnTo>
                  <a:lnTo>
                    <a:pt x="55" y="95"/>
                  </a:lnTo>
                  <a:lnTo>
                    <a:pt x="55" y="99"/>
                  </a:lnTo>
                  <a:lnTo>
                    <a:pt x="51" y="97"/>
                  </a:lnTo>
                  <a:lnTo>
                    <a:pt x="50" y="99"/>
                  </a:lnTo>
                  <a:lnTo>
                    <a:pt x="48" y="97"/>
                  </a:lnTo>
                  <a:lnTo>
                    <a:pt x="46" y="99"/>
                  </a:lnTo>
                  <a:lnTo>
                    <a:pt x="46" y="97"/>
                  </a:lnTo>
                  <a:lnTo>
                    <a:pt x="45" y="99"/>
                  </a:lnTo>
                  <a:lnTo>
                    <a:pt x="41" y="97"/>
                  </a:lnTo>
                  <a:lnTo>
                    <a:pt x="39" y="92"/>
                  </a:lnTo>
                  <a:lnTo>
                    <a:pt x="31" y="94"/>
                  </a:lnTo>
                  <a:lnTo>
                    <a:pt x="31" y="97"/>
                  </a:lnTo>
                  <a:lnTo>
                    <a:pt x="28" y="95"/>
                  </a:lnTo>
                  <a:lnTo>
                    <a:pt x="26" y="94"/>
                  </a:lnTo>
                  <a:lnTo>
                    <a:pt x="29" y="92"/>
                  </a:lnTo>
                  <a:lnTo>
                    <a:pt x="28" y="90"/>
                  </a:lnTo>
                  <a:lnTo>
                    <a:pt x="22" y="92"/>
                  </a:lnTo>
                  <a:lnTo>
                    <a:pt x="24" y="95"/>
                  </a:lnTo>
                  <a:lnTo>
                    <a:pt x="22" y="97"/>
                  </a:lnTo>
                  <a:lnTo>
                    <a:pt x="24" y="97"/>
                  </a:lnTo>
                  <a:lnTo>
                    <a:pt x="22" y="97"/>
                  </a:lnTo>
                  <a:lnTo>
                    <a:pt x="16" y="94"/>
                  </a:lnTo>
                  <a:lnTo>
                    <a:pt x="14" y="89"/>
                  </a:lnTo>
                  <a:lnTo>
                    <a:pt x="12" y="90"/>
                  </a:lnTo>
                  <a:lnTo>
                    <a:pt x="9" y="89"/>
                  </a:lnTo>
                  <a:lnTo>
                    <a:pt x="0" y="87"/>
                  </a:lnTo>
                  <a:lnTo>
                    <a:pt x="0" y="80"/>
                  </a:lnTo>
                  <a:lnTo>
                    <a:pt x="4" y="75"/>
                  </a:lnTo>
                  <a:lnTo>
                    <a:pt x="5" y="75"/>
                  </a:lnTo>
                  <a:lnTo>
                    <a:pt x="7" y="80"/>
                  </a:lnTo>
                  <a:lnTo>
                    <a:pt x="9" y="78"/>
                  </a:lnTo>
                  <a:lnTo>
                    <a:pt x="9" y="80"/>
                  </a:lnTo>
                  <a:lnTo>
                    <a:pt x="10" y="82"/>
                  </a:lnTo>
                  <a:lnTo>
                    <a:pt x="14" y="80"/>
                  </a:lnTo>
                  <a:lnTo>
                    <a:pt x="17" y="77"/>
                  </a:lnTo>
                  <a:lnTo>
                    <a:pt x="21" y="77"/>
                  </a:lnTo>
                  <a:lnTo>
                    <a:pt x="22" y="78"/>
                  </a:lnTo>
                  <a:lnTo>
                    <a:pt x="26" y="75"/>
                  </a:lnTo>
                  <a:lnTo>
                    <a:pt x="28" y="77"/>
                  </a:lnTo>
                  <a:lnTo>
                    <a:pt x="26" y="80"/>
                  </a:lnTo>
                  <a:lnTo>
                    <a:pt x="29" y="82"/>
                  </a:lnTo>
                  <a:lnTo>
                    <a:pt x="28" y="80"/>
                  </a:lnTo>
                  <a:lnTo>
                    <a:pt x="31" y="77"/>
                  </a:lnTo>
                  <a:lnTo>
                    <a:pt x="28" y="77"/>
                  </a:lnTo>
                  <a:lnTo>
                    <a:pt x="29" y="70"/>
                  </a:lnTo>
                  <a:lnTo>
                    <a:pt x="29" y="68"/>
                  </a:lnTo>
                  <a:lnTo>
                    <a:pt x="31" y="63"/>
                  </a:lnTo>
                  <a:lnTo>
                    <a:pt x="29" y="56"/>
                  </a:lnTo>
                  <a:lnTo>
                    <a:pt x="29" y="51"/>
                  </a:lnTo>
                  <a:lnTo>
                    <a:pt x="26" y="48"/>
                  </a:lnTo>
                  <a:lnTo>
                    <a:pt x="26" y="39"/>
                  </a:lnTo>
                  <a:lnTo>
                    <a:pt x="29" y="37"/>
                  </a:lnTo>
                  <a:lnTo>
                    <a:pt x="34" y="36"/>
                  </a:lnTo>
                  <a:lnTo>
                    <a:pt x="34" y="32"/>
                  </a:lnTo>
                  <a:lnTo>
                    <a:pt x="36" y="34"/>
                  </a:lnTo>
                  <a:lnTo>
                    <a:pt x="43" y="31"/>
                  </a:lnTo>
                  <a:lnTo>
                    <a:pt x="45" y="25"/>
                  </a:lnTo>
                  <a:lnTo>
                    <a:pt x="51" y="20"/>
                  </a:lnTo>
                  <a:lnTo>
                    <a:pt x="57" y="19"/>
                  </a:lnTo>
                  <a:lnTo>
                    <a:pt x="62" y="15"/>
                  </a:lnTo>
                  <a:lnTo>
                    <a:pt x="67" y="15"/>
                  </a:lnTo>
                  <a:close/>
                  <a:moveTo>
                    <a:pt x="212" y="7"/>
                  </a:moveTo>
                  <a:lnTo>
                    <a:pt x="220" y="7"/>
                  </a:lnTo>
                  <a:lnTo>
                    <a:pt x="224" y="10"/>
                  </a:lnTo>
                  <a:lnTo>
                    <a:pt x="220" y="13"/>
                  </a:lnTo>
                  <a:lnTo>
                    <a:pt x="215" y="17"/>
                  </a:lnTo>
                  <a:lnTo>
                    <a:pt x="214" y="20"/>
                  </a:lnTo>
                  <a:lnTo>
                    <a:pt x="212" y="22"/>
                  </a:lnTo>
                  <a:lnTo>
                    <a:pt x="210" y="29"/>
                  </a:lnTo>
                  <a:lnTo>
                    <a:pt x="203" y="36"/>
                  </a:lnTo>
                  <a:lnTo>
                    <a:pt x="198" y="32"/>
                  </a:lnTo>
                  <a:lnTo>
                    <a:pt x="202" y="22"/>
                  </a:lnTo>
                  <a:lnTo>
                    <a:pt x="198" y="20"/>
                  </a:lnTo>
                  <a:lnTo>
                    <a:pt x="198" y="12"/>
                  </a:lnTo>
                  <a:lnTo>
                    <a:pt x="208" y="7"/>
                  </a:lnTo>
                  <a:lnTo>
                    <a:pt x="212" y="7"/>
                  </a:lnTo>
                  <a:close/>
                  <a:moveTo>
                    <a:pt x="190" y="5"/>
                  </a:moveTo>
                  <a:lnTo>
                    <a:pt x="191" y="5"/>
                  </a:lnTo>
                  <a:lnTo>
                    <a:pt x="186" y="7"/>
                  </a:lnTo>
                  <a:lnTo>
                    <a:pt x="186" y="8"/>
                  </a:lnTo>
                  <a:lnTo>
                    <a:pt x="183" y="8"/>
                  </a:lnTo>
                  <a:lnTo>
                    <a:pt x="190" y="5"/>
                  </a:lnTo>
                  <a:close/>
                  <a:moveTo>
                    <a:pt x="388" y="5"/>
                  </a:moveTo>
                  <a:lnTo>
                    <a:pt x="391" y="5"/>
                  </a:lnTo>
                  <a:lnTo>
                    <a:pt x="395" y="12"/>
                  </a:lnTo>
                  <a:lnTo>
                    <a:pt x="395" y="17"/>
                  </a:lnTo>
                  <a:lnTo>
                    <a:pt x="391" y="20"/>
                  </a:lnTo>
                  <a:lnTo>
                    <a:pt x="386" y="20"/>
                  </a:lnTo>
                  <a:lnTo>
                    <a:pt x="381" y="17"/>
                  </a:lnTo>
                  <a:lnTo>
                    <a:pt x="381" y="12"/>
                  </a:lnTo>
                  <a:lnTo>
                    <a:pt x="383" y="8"/>
                  </a:lnTo>
                  <a:lnTo>
                    <a:pt x="388" y="5"/>
                  </a:lnTo>
                  <a:close/>
                  <a:moveTo>
                    <a:pt x="229" y="2"/>
                  </a:moveTo>
                  <a:lnTo>
                    <a:pt x="232" y="2"/>
                  </a:lnTo>
                  <a:lnTo>
                    <a:pt x="232" y="3"/>
                  </a:lnTo>
                  <a:lnTo>
                    <a:pt x="229" y="3"/>
                  </a:lnTo>
                  <a:lnTo>
                    <a:pt x="229" y="2"/>
                  </a:lnTo>
                  <a:close/>
                  <a:moveTo>
                    <a:pt x="255" y="0"/>
                  </a:moveTo>
                  <a:lnTo>
                    <a:pt x="256" y="2"/>
                  </a:lnTo>
                  <a:lnTo>
                    <a:pt x="261" y="0"/>
                  </a:lnTo>
                  <a:lnTo>
                    <a:pt x="267" y="2"/>
                  </a:lnTo>
                  <a:lnTo>
                    <a:pt x="270" y="2"/>
                  </a:lnTo>
                  <a:lnTo>
                    <a:pt x="278" y="5"/>
                  </a:lnTo>
                  <a:lnTo>
                    <a:pt x="278" y="13"/>
                  </a:lnTo>
                  <a:lnTo>
                    <a:pt x="280" y="19"/>
                  </a:lnTo>
                  <a:lnTo>
                    <a:pt x="287" y="24"/>
                  </a:lnTo>
                  <a:lnTo>
                    <a:pt x="289" y="29"/>
                  </a:lnTo>
                  <a:lnTo>
                    <a:pt x="292" y="31"/>
                  </a:lnTo>
                  <a:lnTo>
                    <a:pt x="294" y="29"/>
                  </a:lnTo>
                  <a:lnTo>
                    <a:pt x="294" y="32"/>
                  </a:lnTo>
                  <a:lnTo>
                    <a:pt x="299" y="34"/>
                  </a:lnTo>
                  <a:lnTo>
                    <a:pt x="301" y="32"/>
                  </a:lnTo>
                  <a:lnTo>
                    <a:pt x="301" y="31"/>
                  </a:lnTo>
                  <a:lnTo>
                    <a:pt x="304" y="31"/>
                  </a:lnTo>
                  <a:lnTo>
                    <a:pt x="308" y="29"/>
                  </a:lnTo>
                  <a:lnTo>
                    <a:pt x="308" y="25"/>
                  </a:lnTo>
                  <a:lnTo>
                    <a:pt x="313" y="22"/>
                  </a:lnTo>
                  <a:lnTo>
                    <a:pt x="316" y="19"/>
                  </a:lnTo>
                  <a:lnTo>
                    <a:pt x="319" y="19"/>
                  </a:lnTo>
                  <a:lnTo>
                    <a:pt x="323" y="20"/>
                  </a:lnTo>
                  <a:lnTo>
                    <a:pt x="331" y="20"/>
                  </a:lnTo>
                  <a:lnTo>
                    <a:pt x="338" y="24"/>
                  </a:lnTo>
                  <a:lnTo>
                    <a:pt x="343" y="31"/>
                  </a:lnTo>
                  <a:lnTo>
                    <a:pt x="343" y="34"/>
                  </a:lnTo>
                  <a:lnTo>
                    <a:pt x="343" y="36"/>
                  </a:lnTo>
                  <a:lnTo>
                    <a:pt x="343" y="37"/>
                  </a:lnTo>
                  <a:lnTo>
                    <a:pt x="342" y="39"/>
                  </a:lnTo>
                  <a:lnTo>
                    <a:pt x="343" y="44"/>
                  </a:lnTo>
                  <a:lnTo>
                    <a:pt x="340" y="48"/>
                  </a:lnTo>
                  <a:lnTo>
                    <a:pt x="342" y="51"/>
                  </a:lnTo>
                  <a:lnTo>
                    <a:pt x="338" y="54"/>
                  </a:lnTo>
                  <a:lnTo>
                    <a:pt x="342" y="54"/>
                  </a:lnTo>
                  <a:lnTo>
                    <a:pt x="342" y="51"/>
                  </a:lnTo>
                  <a:lnTo>
                    <a:pt x="345" y="49"/>
                  </a:lnTo>
                  <a:lnTo>
                    <a:pt x="345" y="46"/>
                  </a:lnTo>
                  <a:lnTo>
                    <a:pt x="347" y="44"/>
                  </a:lnTo>
                  <a:lnTo>
                    <a:pt x="345" y="44"/>
                  </a:lnTo>
                  <a:lnTo>
                    <a:pt x="347" y="41"/>
                  </a:lnTo>
                  <a:lnTo>
                    <a:pt x="343" y="39"/>
                  </a:lnTo>
                  <a:lnTo>
                    <a:pt x="345" y="37"/>
                  </a:lnTo>
                  <a:lnTo>
                    <a:pt x="345" y="36"/>
                  </a:lnTo>
                  <a:lnTo>
                    <a:pt x="348" y="31"/>
                  </a:lnTo>
                  <a:lnTo>
                    <a:pt x="352" y="25"/>
                  </a:lnTo>
                  <a:lnTo>
                    <a:pt x="359" y="22"/>
                  </a:lnTo>
                  <a:lnTo>
                    <a:pt x="367" y="24"/>
                  </a:lnTo>
                  <a:lnTo>
                    <a:pt x="376" y="25"/>
                  </a:lnTo>
                  <a:lnTo>
                    <a:pt x="381" y="25"/>
                  </a:lnTo>
                  <a:lnTo>
                    <a:pt x="379" y="34"/>
                  </a:lnTo>
                  <a:lnTo>
                    <a:pt x="383" y="37"/>
                  </a:lnTo>
                  <a:lnTo>
                    <a:pt x="384" y="43"/>
                  </a:lnTo>
                  <a:lnTo>
                    <a:pt x="386" y="41"/>
                  </a:lnTo>
                  <a:lnTo>
                    <a:pt x="384" y="44"/>
                  </a:lnTo>
                  <a:lnTo>
                    <a:pt x="386" y="43"/>
                  </a:lnTo>
                  <a:lnTo>
                    <a:pt x="386" y="44"/>
                  </a:lnTo>
                  <a:lnTo>
                    <a:pt x="384" y="46"/>
                  </a:lnTo>
                  <a:lnTo>
                    <a:pt x="386" y="46"/>
                  </a:lnTo>
                  <a:lnTo>
                    <a:pt x="384" y="49"/>
                  </a:lnTo>
                  <a:lnTo>
                    <a:pt x="386" y="51"/>
                  </a:lnTo>
                  <a:lnTo>
                    <a:pt x="383" y="53"/>
                  </a:lnTo>
                  <a:lnTo>
                    <a:pt x="383" y="56"/>
                  </a:lnTo>
                  <a:lnTo>
                    <a:pt x="381" y="58"/>
                  </a:lnTo>
                  <a:lnTo>
                    <a:pt x="383" y="60"/>
                  </a:lnTo>
                  <a:lnTo>
                    <a:pt x="381" y="58"/>
                  </a:lnTo>
                  <a:lnTo>
                    <a:pt x="383" y="58"/>
                  </a:lnTo>
                  <a:lnTo>
                    <a:pt x="384" y="61"/>
                  </a:lnTo>
                  <a:lnTo>
                    <a:pt x="384" y="65"/>
                  </a:lnTo>
                  <a:lnTo>
                    <a:pt x="389" y="66"/>
                  </a:lnTo>
                  <a:lnTo>
                    <a:pt x="391" y="65"/>
                  </a:lnTo>
                  <a:lnTo>
                    <a:pt x="395" y="65"/>
                  </a:lnTo>
                  <a:lnTo>
                    <a:pt x="393" y="61"/>
                  </a:lnTo>
                  <a:lnTo>
                    <a:pt x="396" y="61"/>
                  </a:lnTo>
                  <a:lnTo>
                    <a:pt x="398" y="60"/>
                  </a:lnTo>
                  <a:lnTo>
                    <a:pt x="398" y="58"/>
                  </a:lnTo>
                  <a:lnTo>
                    <a:pt x="400" y="56"/>
                  </a:lnTo>
                  <a:lnTo>
                    <a:pt x="401" y="56"/>
                  </a:lnTo>
                  <a:lnTo>
                    <a:pt x="400" y="58"/>
                  </a:lnTo>
                  <a:lnTo>
                    <a:pt x="401" y="60"/>
                  </a:lnTo>
                  <a:lnTo>
                    <a:pt x="403" y="63"/>
                  </a:lnTo>
                  <a:lnTo>
                    <a:pt x="401" y="63"/>
                  </a:lnTo>
                  <a:lnTo>
                    <a:pt x="401" y="65"/>
                  </a:lnTo>
                  <a:lnTo>
                    <a:pt x="400" y="65"/>
                  </a:lnTo>
                  <a:lnTo>
                    <a:pt x="398" y="65"/>
                  </a:lnTo>
                  <a:lnTo>
                    <a:pt x="400" y="66"/>
                  </a:lnTo>
                  <a:lnTo>
                    <a:pt x="398" y="70"/>
                  </a:lnTo>
                  <a:lnTo>
                    <a:pt x="401" y="73"/>
                  </a:lnTo>
                  <a:lnTo>
                    <a:pt x="398" y="75"/>
                  </a:lnTo>
                  <a:lnTo>
                    <a:pt x="400" y="77"/>
                  </a:lnTo>
                  <a:lnTo>
                    <a:pt x="396" y="77"/>
                  </a:lnTo>
                  <a:lnTo>
                    <a:pt x="396" y="80"/>
                  </a:lnTo>
                  <a:lnTo>
                    <a:pt x="393" y="77"/>
                  </a:lnTo>
                  <a:lnTo>
                    <a:pt x="391" y="80"/>
                  </a:lnTo>
                  <a:lnTo>
                    <a:pt x="384" y="77"/>
                  </a:lnTo>
                  <a:lnTo>
                    <a:pt x="376" y="78"/>
                  </a:lnTo>
                  <a:lnTo>
                    <a:pt x="374" y="75"/>
                  </a:lnTo>
                  <a:lnTo>
                    <a:pt x="369" y="70"/>
                  </a:lnTo>
                  <a:lnTo>
                    <a:pt x="366" y="72"/>
                  </a:lnTo>
                  <a:lnTo>
                    <a:pt x="366" y="73"/>
                  </a:lnTo>
                  <a:lnTo>
                    <a:pt x="367" y="73"/>
                  </a:lnTo>
                  <a:lnTo>
                    <a:pt x="362" y="77"/>
                  </a:lnTo>
                  <a:lnTo>
                    <a:pt x="357" y="73"/>
                  </a:lnTo>
                  <a:lnTo>
                    <a:pt x="354" y="73"/>
                  </a:lnTo>
                  <a:lnTo>
                    <a:pt x="354" y="75"/>
                  </a:lnTo>
                  <a:lnTo>
                    <a:pt x="352" y="72"/>
                  </a:lnTo>
                  <a:lnTo>
                    <a:pt x="347" y="78"/>
                  </a:lnTo>
                  <a:lnTo>
                    <a:pt x="343" y="78"/>
                  </a:lnTo>
                  <a:lnTo>
                    <a:pt x="347" y="80"/>
                  </a:lnTo>
                  <a:lnTo>
                    <a:pt x="347" y="82"/>
                  </a:lnTo>
                  <a:lnTo>
                    <a:pt x="350" y="80"/>
                  </a:lnTo>
                  <a:lnTo>
                    <a:pt x="360" y="82"/>
                  </a:lnTo>
                  <a:lnTo>
                    <a:pt x="369" y="80"/>
                  </a:lnTo>
                  <a:lnTo>
                    <a:pt x="371" y="84"/>
                  </a:lnTo>
                  <a:lnTo>
                    <a:pt x="374" y="84"/>
                  </a:lnTo>
                  <a:lnTo>
                    <a:pt x="374" y="87"/>
                  </a:lnTo>
                  <a:lnTo>
                    <a:pt x="372" y="89"/>
                  </a:lnTo>
                  <a:lnTo>
                    <a:pt x="364" y="90"/>
                  </a:lnTo>
                  <a:lnTo>
                    <a:pt x="362" y="89"/>
                  </a:lnTo>
                  <a:lnTo>
                    <a:pt x="360" y="90"/>
                  </a:lnTo>
                  <a:lnTo>
                    <a:pt x="357" y="87"/>
                  </a:lnTo>
                  <a:lnTo>
                    <a:pt x="354" y="87"/>
                  </a:lnTo>
                  <a:lnTo>
                    <a:pt x="350" y="85"/>
                  </a:lnTo>
                  <a:lnTo>
                    <a:pt x="348" y="85"/>
                  </a:lnTo>
                  <a:lnTo>
                    <a:pt x="347" y="84"/>
                  </a:lnTo>
                  <a:lnTo>
                    <a:pt x="337" y="87"/>
                  </a:lnTo>
                  <a:lnTo>
                    <a:pt x="333" y="90"/>
                  </a:lnTo>
                  <a:lnTo>
                    <a:pt x="326" y="90"/>
                  </a:lnTo>
                  <a:lnTo>
                    <a:pt x="323" y="94"/>
                  </a:lnTo>
                  <a:lnTo>
                    <a:pt x="316" y="95"/>
                  </a:lnTo>
                  <a:lnTo>
                    <a:pt x="308" y="92"/>
                  </a:lnTo>
                  <a:lnTo>
                    <a:pt x="306" y="87"/>
                  </a:lnTo>
                  <a:lnTo>
                    <a:pt x="306" y="84"/>
                  </a:lnTo>
                  <a:lnTo>
                    <a:pt x="304" y="82"/>
                  </a:lnTo>
                  <a:lnTo>
                    <a:pt x="309" y="80"/>
                  </a:lnTo>
                  <a:lnTo>
                    <a:pt x="311" y="75"/>
                  </a:lnTo>
                  <a:lnTo>
                    <a:pt x="311" y="72"/>
                  </a:lnTo>
                  <a:lnTo>
                    <a:pt x="313" y="70"/>
                  </a:lnTo>
                  <a:lnTo>
                    <a:pt x="311" y="68"/>
                  </a:lnTo>
                  <a:lnTo>
                    <a:pt x="311" y="63"/>
                  </a:lnTo>
                  <a:lnTo>
                    <a:pt x="308" y="63"/>
                  </a:lnTo>
                  <a:lnTo>
                    <a:pt x="309" y="61"/>
                  </a:lnTo>
                  <a:lnTo>
                    <a:pt x="308" y="60"/>
                  </a:lnTo>
                  <a:lnTo>
                    <a:pt x="309" y="61"/>
                  </a:lnTo>
                  <a:lnTo>
                    <a:pt x="306" y="65"/>
                  </a:lnTo>
                  <a:lnTo>
                    <a:pt x="309" y="70"/>
                  </a:lnTo>
                  <a:lnTo>
                    <a:pt x="306" y="72"/>
                  </a:lnTo>
                  <a:lnTo>
                    <a:pt x="302" y="72"/>
                  </a:lnTo>
                  <a:lnTo>
                    <a:pt x="299" y="77"/>
                  </a:lnTo>
                  <a:lnTo>
                    <a:pt x="294" y="78"/>
                  </a:lnTo>
                  <a:lnTo>
                    <a:pt x="294" y="82"/>
                  </a:lnTo>
                  <a:lnTo>
                    <a:pt x="290" y="82"/>
                  </a:lnTo>
                  <a:lnTo>
                    <a:pt x="290" y="85"/>
                  </a:lnTo>
                  <a:lnTo>
                    <a:pt x="287" y="85"/>
                  </a:lnTo>
                  <a:lnTo>
                    <a:pt x="282" y="92"/>
                  </a:lnTo>
                  <a:lnTo>
                    <a:pt x="275" y="94"/>
                  </a:lnTo>
                  <a:lnTo>
                    <a:pt x="272" y="92"/>
                  </a:lnTo>
                  <a:lnTo>
                    <a:pt x="270" y="90"/>
                  </a:lnTo>
                  <a:lnTo>
                    <a:pt x="265" y="92"/>
                  </a:lnTo>
                  <a:lnTo>
                    <a:pt x="261" y="92"/>
                  </a:lnTo>
                  <a:lnTo>
                    <a:pt x="258" y="97"/>
                  </a:lnTo>
                  <a:lnTo>
                    <a:pt x="255" y="97"/>
                  </a:lnTo>
                  <a:lnTo>
                    <a:pt x="253" y="97"/>
                  </a:lnTo>
                  <a:lnTo>
                    <a:pt x="246" y="102"/>
                  </a:lnTo>
                  <a:lnTo>
                    <a:pt x="241" y="101"/>
                  </a:lnTo>
                  <a:lnTo>
                    <a:pt x="238" y="97"/>
                  </a:lnTo>
                  <a:lnTo>
                    <a:pt x="232" y="101"/>
                  </a:lnTo>
                  <a:lnTo>
                    <a:pt x="229" y="99"/>
                  </a:lnTo>
                  <a:lnTo>
                    <a:pt x="224" y="99"/>
                  </a:lnTo>
                  <a:lnTo>
                    <a:pt x="220" y="102"/>
                  </a:lnTo>
                  <a:lnTo>
                    <a:pt x="214" y="106"/>
                  </a:lnTo>
                  <a:lnTo>
                    <a:pt x="212" y="107"/>
                  </a:lnTo>
                  <a:lnTo>
                    <a:pt x="207" y="109"/>
                  </a:lnTo>
                  <a:lnTo>
                    <a:pt x="205" y="109"/>
                  </a:lnTo>
                  <a:lnTo>
                    <a:pt x="200" y="111"/>
                  </a:lnTo>
                  <a:lnTo>
                    <a:pt x="195" y="113"/>
                  </a:lnTo>
                  <a:lnTo>
                    <a:pt x="190" y="114"/>
                  </a:lnTo>
                  <a:lnTo>
                    <a:pt x="185" y="116"/>
                  </a:lnTo>
                  <a:lnTo>
                    <a:pt x="181" y="114"/>
                  </a:lnTo>
                  <a:lnTo>
                    <a:pt x="179" y="116"/>
                  </a:lnTo>
                  <a:lnTo>
                    <a:pt x="173" y="114"/>
                  </a:lnTo>
                  <a:lnTo>
                    <a:pt x="164" y="111"/>
                  </a:lnTo>
                  <a:lnTo>
                    <a:pt x="161" y="113"/>
                  </a:lnTo>
                  <a:lnTo>
                    <a:pt x="157" y="119"/>
                  </a:lnTo>
                  <a:lnTo>
                    <a:pt x="147" y="121"/>
                  </a:lnTo>
                  <a:lnTo>
                    <a:pt x="144" y="121"/>
                  </a:lnTo>
                  <a:lnTo>
                    <a:pt x="142" y="123"/>
                  </a:lnTo>
                  <a:lnTo>
                    <a:pt x="133" y="116"/>
                  </a:lnTo>
                  <a:lnTo>
                    <a:pt x="125" y="116"/>
                  </a:lnTo>
                  <a:lnTo>
                    <a:pt x="121" y="114"/>
                  </a:lnTo>
                  <a:lnTo>
                    <a:pt x="115" y="113"/>
                  </a:lnTo>
                  <a:lnTo>
                    <a:pt x="108" y="109"/>
                  </a:lnTo>
                  <a:lnTo>
                    <a:pt x="109" y="106"/>
                  </a:lnTo>
                  <a:lnTo>
                    <a:pt x="108" y="106"/>
                  </a:lnTo>
                  <a:lnTo>
                    <a:pt x="106" y="104"/>
                  </a:lnTo>
                  <a:lnTo>
                    <a:pt x="109" y="104"/>
                  </a:lnTo>
                  <a:lnTo>
                    <a:pt x="109" y="101"/>
                  </a:lnTo>
                  <a:lnTo>
                    <a:pt x="111" y="101"/>
                  </a:lnTo>
                  <a:lnTo>
                    <a:pt x="108" y="99"/>
                  </a:lnTo>
                  <a:lnTo>
                    <a:pt x="109" y="95"/>
                  </a:lnTo>
                  <a:lnTo>
                    <a:pt x="111" y="95"/>
                  </a:lnTo>
                  <a:lnTo>
                    <a:pt x="109" y="94"/>
                  </a:lnTo>
                  <a:lnTo>
                    <a:pt x="113" y="92"/>
                  </a:lnTo>
                  <a:lnTo>
                    <a:pt x="113" y="89"/>
                  </a:lnTo>
                  <a:lnTo>
                    <a:pt x="115" y="87"/>
                  </a:lnTo>
                  <a:lnTo>
                    <a:pt x="118" y="89"/>
                  </a:lnTo>
                  <a:lnTo>
                    <a:pt x="118" y="87"/>
                  </a:lnTo>
                  <a:lnTo>
                    <a:pt x="116" y="82"/>
                  </a:lnTo>
                  <a:lnTo>
                    <a:pt x="115" y="82"/>
                  </a:lnTo>
                  <a:lnTo>
                    <a:pt x="116" y="80"/>
                  </a:lnTo>
                  <a:lnTo>
                    <a:pt x="113" y="77"/>
                  </a:lnTo>
                  <a:lnTo>
                    <a:pt x="115" y="75"/>
                  </a:lnTo>
                  <a:lnTo>
                    <a:pt x="115" y="70"/>
                  </a:lnTo>
                  <a:lnTo>
                    <a:pt x="111" y="68"/>
                  </a:lnTo>
                  <a:lnTo>
                    <a:pt x="113" y="66"/>
                  </a:lnTo>
                  <a:lnTo>
                    <a:pt x="116" y="60"/>
                  </a:lnTo>
                  <a:lnTo>
                    <a:pt x="121" y="56"/>
                  </a:lnTo>
                  <a:lnTo>
                    <a:pt x="120" y="51"/>
                  </a:lnTo>
                  <a:lnTo>
                    <a:pt x="123" y="54"/>
                  </a:lnTo>
                  <a:lnTo>
                    <a:pt x="132" y="53"/>
                  </a:lnTo>
                  <a:lnTo>
                    <a:pt x="133" y="51"/>
                  </a:lnTo>
                  <a:lnTo>
                    <a:pt x="135" y="51"/>
                  </a:lnTo>
                  <a:lnTo>
                    <a:pt x="140" y="46"/>
                  </a:lnTo>
                  <a:lnTo>
                    <a:pt x="142" y="49"/>
                  </a:lnTo>
                  <a:lnTo>
                    <a:pt x="145" y="43"/>
                  </a:lnTo>
                  <a:lnTo>
                    <a:pt x="152" y="39"/>
                  </a:lnTo>
                  <a:lnTo>
                    <a:pt x="152" y="37"/>
                  </a:lnTo>
                  <a:lnTo>
                    <a:pt x="154" y="34"/>
                  </a:lnTo>
                  <a:lnTo>
                    <a:pt x="159" y="34"/>
                  </a:lnTo>
                  <a:lnTo>
                    <a:pt x="161" y="32"/>
                  </a:lnTo>
                  <a:lnTo>
                    <a:pt x="166" y="37"/>
                  </a:lnTo>
                  <a:lnTo>
                    <a:pt x="169" y="37"/>
                  </a:lnTo>
                  <a:lnTo>
                    <a:pt x="171" y="39"/>
                  </a:lnTo>
                  <a:lnTo>
                    <a:pt x="181" y="43"/>
                  </a:lnTo>
                  <a:lnTo>
                    <a:pt x="188" y="46"/>
                  </a:lnTo>
                  <a:lnTo>
                    <a:pt x="193" y="39"/>
                  </a:lnTo>
                  <a:lnTo>
                    <a:pt x="193" y="36"/>
                  </a:lnTo>
                  <a:lnTo>
                    <a:pt x="198" y="39"/>
                  </a:lnTo>
                  <a:lnTo>
                    <a:pt x="208" y="37"/>
                  </a:lnTo>
                  <a:lnTo>
                    <a:pt x="210" y="41"/>
                  </a:lnTo>
                  <a:lnTo>
                    <a:pt x="208" y="44"/>
                  </a:lnTo>
                  <a:lnTo>
                    <a:pt x="210" y="49"/>
                  </a:lnTo>
                  <a:lnTo>
                    <a:pt x="212" y="49"/>
                  </a:lnTo>
                  <a:lnTo>
                    <a:pt x="210" y="41"/>
                  </a:lnTo>
                  <a:lnTo>
                    <a:pt x="212" y="41"/>
                  </a:lnTo>
                  <a:lnTo>
                    <a:pt x="215" y="43"/>
                  </a:lnTo>
                  <a:lnTo>
                    <a:pt x="217" y="44"/>
                  </a:lnTo>
                  <a:lnTo>
                    <a:pt x="215" y="53"/>
                  </a:lnTo>
                  <a:lnTo>
                    <a:pt x="217" y="56"/>
                  </a:lnTo>
                  <a:lnTo>
                    <a:pt x="224" y="58"/>
                  </a:lnTo>
                  <a:lnTo>
                    <a:pt x="226" y="56"/>
                  </a:lnTo>
                  <a:lnTo>
                    <a:pt x="229" y="56"/>
                  </a:lnTo>
                  <a:lnTo>
                    <a:pt x="227" y="60"/>
                  </a:lnTo>
                  <a:lnTo>
                    <a:pt x="231" y="60"/>
                  </a:lnTo>
                  <a:lnTo>
                    <a:pt x="232" y="61"/>
                  </a:lnTo>
                  <a:lnTo>
                    <a:pt x="231" y="65"/>
                  </a:lnTo>
                  <a:lnTo>
                    <a:pt x="234" y="65"/>
                  </a:lnTo>
                  <a:lnTo>
                    <a:pt x="231" y="66"/>
                  </a:lnTo>
                  <a:lnTo>
                    <a:pt x="231" y="68"/>
                  </a:lnTo>
                  <a:lnTo>
                    <a:pt x="232" y="68"/>
                  </a:lnTo>
                  <a:lnTo>
                    <a:pt x="232" y="73"/>
                  </a:lnTo>
                  <a:lnTo>
                    <a:pt x="238" y="77"/>
                  </a:lnTo>
                  <a:lnTo>
                    <a:pt x="241" y="75"/>
                  </a:lnTo>
                  <a:lnTo>
                    <a:pt x="243" y="75"/>
                  </a:lnTo>
                  <a:lnTo>
                    <a:pt x="244" y="73"/>
                  </a:lnTo>
                  <a:lnTo>
                    <a:pt x="248" y="73"/>
                  </a:lnTo>
                  <a:lnTo>
                    <a:pt x="248" y="75"/>
                  </a:lnTo>
                  <a:lnTo>
                    <a:pt x="249" y="78"/>
                  </a:lnTo>
                  <a:lnTo>
                    <a:pt x="251" y="75"/>
                  </a:lnTo>
                  <a:lnTo>
                    <a:pt x="255" y="77"/>
                  </a:lnTo>
                  <a:lnTo>
                    <a:pt x="255" y="78"/>
                  </a:lnTo>
                  <a:lnTo>
                    <a:pt x="256" y="78"/>
                  </a:lnTo>
                  <a:lnTo>
                    <a:pt x="260" y="75"/>
                  </a:lnTo>
                  <a:lnTo>
                    <a:pt x="261" y="75"/>
                  </a:lnTo>
                  <a:lnTo>
                    <a:pt x="265" y="70"/>
                  </a:lnTo>
                  <a:lnTo>
                    <a:pt x="270" y="68"/>
                  </a:lnTo>
                  <a:lnTo>
                    <a:pt x="277" y="66"/>
                  </a:lnTo>
                  <a:lnTo>
                    <a:pt x="285" y="70"/>
                  </a:lnTo>
                  <a:lnTo>
                    <a:pt x="287" y="68"/>
                  </a:lnTo>
                  <a:lnTo>
                    <a:pt x="287" y="66"/>
                  </a:lnTo>
                  <a:lnTo>
                    <a:pt x="290" y="68"/>
                  </a:lnTo>
                  <a:lnTo>
                    <a:pt x="290" y="66"/>
                  </a:lnTo>
                  <a:lnTo>
                    <a:pt x="292" y="68"/>
                  </a:lnTo>
                  <a:lnTo>
                    <a:pt x="292" y="66"/>
                  </a:lnTo>
                  <a:lnTo>
                    <a:pt x="294" y="66"/>
                  </a:lnTo>
                  <a:lnTo>
                    <a:pt x="296" y="65"/>
                  </a:lnTo>
                  <a:lnTo>
                    <a:pt x="294" y="60"/>
                  </a:lnTo>
                  <a:lnTo>
                    <a:pt x="290" y="60"/>
                  </a:lnTo>
                  <a:lnTo>
                    <a:pt x="289" y="54"/>
                  </a:lnTo>
                  <a:lnTo>
                    <a:pt x="285" y="54"/>
                  </a:lnTo>
                  <a:lnTo>
                    <a:pt x="284" y="58"/>
                  </a:lnTo>
                  <a:lnTo>
                    <a:pt x="282" y="53"/>
                  </a:lnTo>
                  <a:lnTo>
                    <a:pt x="277" y="51"/>
                  </a:lnTo>
                  <a:lnTo>
                    <a:pt x="277" y="48"/>
                  </a:lnTo>
                  <a:lnTo>
                    <a:pt x="273" y="49"/>
                  </a:lnTo>
                  <a:lnTo>
                    <a:pt x="270" y="43"/>
                  </a:lnTo>
                  <a:lnTo>
                    <a:pt x="263" y="44"/>
                  </a:lnTo>
                  <a:lnTo>
                    <a:pt x="258" y="44"/>
                  </a:lnTo>
                  <a:lnTo>
                    <a:pt x="256" y="43"/>
                  </a:lnTo>
                  <a:lnTo>
                    <a:pt x="249" y="39"/>
                  </a:lnTo>
                  <a:lnTo>
                    <a:pt x="243" y="34"/>
                  </a:lnTo>
                  <a:lnTo>
                    <a:pt x="239" y="34"/>
                  </a:lnTo>
                  <a:lnTo>
                    <a:pt x="239" y="31"/>
                  </a:lnTo>
                  <a:lnTo>
                    <a:pt x="232" y="24"/>
                  </a:lnTo>
                  <a:lnTo>
                    <a:pt x="224" y="17"/>
                  </a:lnTo>
                  <a:lnTo>
                    <a:pt x="226" y="15"/>
                  </a:lnTo>
                  <a:lnTo>
                    <a:pt x="227" y="7"/>
                  </a:lnTo>
                  <a:lnTo>
                    <a:pt x="231" y="8"/>
                  </a:lnTo>
                  <a:lnTo>
                    <a:pt x="236" y="3"/>
                  </a:lnTo>
                  <a:lnTo>
                    <a:pt x="241" y="5"/>
                  </a:lnTo>
                  <a:lnTo>
                    <a:pt x="246" y="2"/>
                  </a:lnTo>
                  <a:lnTo>
                    <a:pt x="255"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2" name="Freeform 59"/>
            <p:cNvSpPr>
              <a:spLocks noEditPoints="1"/>
            </p:cNvSpPr>
            <p:nvPr/>
          </p:nvSpPr>
          <p:spPr bwMode="gray">
            <a:xfrm>
              <a:off x="5118238" y="4916868"/>
              <a:ext cx="277276" cy="171473"/>
            </a:xfrm>
            <a:custGeom>
              <a:avLst/>
              <a:gdLst>
                <a:gd name="T0" fmla="*/ 123 w 152"/>
                <a:gd name="T1" fmla="*/ 76 h 94"/>
                <a:gd name="T2" fmla="*/ 119 w 152"/>
                <a:gd name="T3" fmla="*/ 79 h 94"/>
                <a:gd name="T4" fmla="*/ 128 w 152"/>
                <a:gd name="T5" fmla="*/ 74 h 94"/>
                <a:gd name="T6" fmla="*/ 138 w 152"/>
                <a:gd name="T7" fmla="*/ 81 h 94"/>
                <a:gd name="T8" fmla="*/ 141 w 152"/>
                <a:gd name="T9" fmla="*/ 86 h 94"/>
                <a:gd name="T10" fmla="*/ 129 w 152"/>
                <a:gd name="T11" fmla="*/ 89 h 94"/>
                <a:gd name="T12" fmla="*/ 121 w 152"/>
                <a:gd name="T13" fmla="*/ 82 h 94"/>
                <a:gd name="T14" fmla="*/ 128 w 152"/>
                <a:gd name="T15" fmla="*/ 74 h 94"/>
                <a:gd name="T16" fmla="*/ 123 w 152"/>
                <a:gd name="T17" fmla="*/ 74 h 94"/>
                <a:gd name="T18" fmla="*/ 121 w 152"/>
                <a:gd name="T19" fmla="*/ 72 h 94"/>
                <a:gd name="T20" fmla="*/ 99 w 152"/>
                <a:gd name="T21" fmla="*/ 4 h 94"/>
                <a:gd name="T22" fmla="*/ 107 w 152"/>
                <a:gd name="T23" fmla="*/ 7 h 94"/>
                <a:gd name="T24" fmla="*/ 114 w 152"/>
                <a:gd name="T25" fmla="*/ 9 h 94"/>
                <a:gd name="T26" fmla="*/ 126 w 152"/>
                <a:gd name="T27" fmla="*/ 16 h 94"/>
                <a:gd name="T28" fmla="*/ 138 w 152"/>
                <a:gd name="T29" fmla="*/ 26 h 94"/>
                <a:gd name="T30" fmla="*/ 143 w 152"/>
                <a:gd name="T31" fmla="*/ 31 h 94"/>
                <a:gd name="T32" fmla="*/ 152 w 152"/>
                <a:gd name="T33" fmla="*/ 41 h 94"/>
                <a:gd name="T34" fmla="*/ 143 w 152"/>
                <a:gd name="T35" fmla="*/ 48 h 94"/>
                <a:gd name="T36" fmla="*/ 136 w 152"/>
                <a:gd name="T37" fmla="*/ 55 h 94"/>
                <a:gd name="T38" fmla="*/ 128 w 152"/>
                <a:gd name="T39" fmla="*/ 55 h 94"/>
                <a:gd name="T40" fmla="*/ 119 w 152"/>
                <a:gd name="T41" fmla="*/ 62 h 94"/>
                <a:gd name="T42" fmla="*/ 104 w 152"/>
                <a:gd name="T43" fmla="*/ 67 h 94"/>
                <a:gd name="T44" fmla="*/ 99 w 152"/>
                <a:gd name="T45" fmla="*/ 77 h 94"/>
                <a:gd name="T46" fmla="*/ 97 w 152"/>
                <a:gd name="T47" fmla="*/ 81 h 94"/>
                <a:gd name="T48" fmla="*/ 97 w 152"/>
                <a:gd name="T49" fmla="*/ 81 h 94"/>
                <a:gd name="T50" fmla="*/ 94 w 152"/>
                <a:gd name="T51" fmla="*/ 82 h 94"/>
                <a:gd name="T52" fmla="*/ 88 w 152"/>
                <a:gd name="T53" fmla="*/ 82 h 94"/>
                <a:gd name="T54" fmla="*/ 92 w 152"/>
                <a:gd name="T55" fmla="*/ 88 h 94"/>
                <a:gd name="T56" fmla="*/ 95 w 152"/>
                <a:gd name="T57" fmla="*/ 89 h 94"/>
                <a:gd name="T58" fmla="*/ 88 w 152"/>
                <a:gd name="T59" fmla="*/ 94 h 94"/>
                <a:gd name="T60" fmla="*/ 76 w 152"/>
                <a:gd name="T61" fmla="*/ 94 h 94"/>
                <a:gd name="T62" fmla="*/ 83 w 152"/>
                <a:gd name="T63" fmla="*/ 86 h 94"/>
                <a:gd name="T64" fmla="*/ 87 w 152"/>
                <a:gd name="T65" fmla="*/ 84 h 94"/>
                <a:gd name="T66" fmla="*/ 87 w 152"/>
                <a:gd name="T67" fmla="*/ 79 h 94"/>
                <a:gd name="T68" fmla="*/ 80 w 152"/>
                <a:gd name="T69" fmla="*/ 70 h 94"/>
                <a:gd name="T70" fmla="*/ 66 w 152"/>
                <a:gd name="T71" fmla="*/ 57 h 94"/>
                <a:gd name="T72" fmla="*/ 49 w 152"/>
                <a:gd name="T73" fmla="*/ 45 h 94"/>
                <a:gd name="T74" fmla="*/ 44 w 152"/>
                <a:gd name="T75" fmla="*/ 43 h 94"/>
                <a:gd name="T76" fmla="*/ 30 w 152"/>
                <a:gd name="T77" fmla="*/ 41 h 94"/>
                <a:gd name="T78" fmla="*/ 20 w 152"/>
                <a:gd name="T79" fmla="*/ 41 h 94"/>
                <a:gd name="T80" fmla="*/ 17 w 152"/>
                <a:gd name="T81" fmla="*/ 41 h 94"/>
                <a:gd name="T82" fmla="*/ 10 w 152"/>
                <a:gd name="T83" fmla="*/ 33 h 94"/>
                <a:gd name="T84" fmla="*/ 5 w 152"/>
                <a:gd name="T85" fmla="*/ 26 h 94"/>
                <a:gd name="T86" fmla="*/ 0 w 152"/>
                <a:gd name="T87" fmla="*/ 12 h 94"/>
                <a:gd name="T88" fmla="*/ 3 w 152"/>
                <a:gd name="T89" fmla="*/ 12 h 94"/>
                <a:gd name="T90" fmla="*/ 0 w 152"/>
                <a:gd name="T91" fmla="*/ 7 h 94"/>
                <a:gd name="T92" fmla="*/ 6 w 152"/>
                <a:gd name="T93" fmla="*/ 4 h 94"/>
                <a:gd name="T94" fmla="*/ 10 w 152"/>
                <a:gd name="T95" fmla="*/ 12 h 94"/>
                <a:gd name="T96" fmla="*/ 15 w 152"/>
                <a:gd name="T97" fmla="*/ 11 h 94"/>
                <a:gd name="T98" fmla="*/ 18 w 152"/>
                <a:gd name="T99" fmla="*/ 7 h 94"/>
                <a:gd name="T100" fmla="*/ 22 w 152"/>
                <a:gd name="T101" fmla="*/ 7 h 94"/>
                <a:gd name="T102" fmla="*/ 30 w 152"/>
                <a:gd name="T103" fmla="*/ 11 h 94"/>
                <a:gd name="T104" fmla="*/ 34 w 152"/>
                <a:gd name="T105" fmla="*/ 11 h 94"/>
                <a:gd name="T106" fmla="*/ 46 w 152"/>
                <a:gd name="T107" fmla="*/ 16 h 94"/>
                <a:gd name="T108" fmla="*/ 56 w 152"/>
                <a:gd name="T109" fmla="*/ 16 h 94"/>
                <a:gd name="T110" fmla="*/ 68 w 152"/>
                <a:gd name="T111" fmla="*/ 14 h 94"/>
                <a:gd name="T112" fmla="*/ 76 w 152"/>
                <a:gd name="T113" fmla="*/ 6 h 94"/>
                <a:gd name="T114" fmla="*/ 90 w 152"/>
                <a:gd name="T11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94">
                  <a:moveTo>
                    <a:pt x="119" y="76"/>
                  </a:moveTo>
                  <a:lnTo>
                    <a:pt x="123" y="76"/>
                  </a:lnTo>
                  <a:lnTo>
                    <a:pt x="123" y="79"/>
                  </a:lnTo>
                  <a:lnTo>
                    <a:pt x="119" y="79"/>
                  </a:lnTo>
                  <a:lnTo>
                    <a:pt x="119" y="76"/>
                  </a:lnTo>
                  <a:close/>
                  <a:moveTo>
                    <a:pt x="128" y="74"/>
                  </a:moveTo>
                  <a:lnTo>
                    <a:pt x="135" y="74"/>
                  </a:lnTo>
                  <a:lnTo>
                    <a:pt x="138" y="81"/>
                  </a:lnTo>
                  <a:lnTo>
                    <a:pt x="141" y="84"/>
                  </a:lnTo>
                  <a:lnTo>
                    <a:pt x="141" y="86"/>
                  </a:lnTo>
                  <a:lnTo>
                    <a:pt x="138" y="91"/>
                  </a:lnTo>
                  <a:lnTo>
                    <a:pt x="129" y="89"/>
                  </a:lnTo>
                  <a:lnTo>
                    <a:pt x="124" y="82"/>
                  </a:lnTo>
                  <a:lnTo>
                    <a:pt x="121" y="82"/>
                  </a:lnTo>
                  <a:lnTo>
                    <a:pt x="121" y="79"/>
                  </a:lnTo>
                  <a:lnTo>
                    <a:pt x="128" y="74"/>
                  </a:lnTo>
                  <a:close/>
                  <a:moveTo>
                    <a:pt x="121" y="72"/>
                  </a:moveTo>
                  <a:lnTo>
                    <a:pt x="123" y="74"/>
                  </a:lnTo>
                  <a:lnTo>
                    <a:pt x="117" y="76"/>
                  </a:lnTo>
                  <a:lnTo>
                    <a:pt x="121" y="72"/>
                  </a:lnTo>
                  <a:close/>
                  <a:moveTo>
                    <a:pt x="90" y="0"/>
                  </a:moveTo>
                  <a:lnTo>
                    <a:pt x="99" y="4"/>
                  </a:lnTo>
                  <a:lnTo>
                    <a:pt x="102" y="6"/>
                  </a:lnTo>
                  <a:lnTo>
                    <a:pt x="107" y="7"/>
                  </a:lnTo>
                  <a:lnTo>
                    <a:pt x="111" y="9"/>
                  </a:lnTo>
                  <a:lnTo>
                    <a:pt x="114" y="9"/>
                  </a:lnTo>
                  <a:lnTo>
                    <a:pt x="121" y="12"/>
                  </a:lnTo>
                  <a:lnTo>
                    <a:pt x="126" y="16"/>
                  </a:lnTo>
                  <a:lnTo>
                    <a:pt x="135" y="21"/>
                  </a:lnTo>
                  <a:lnTo>
                    <a:pt x="138" y="26"/>
                  </a:lnTo>
                  <a:lnTo>
                    <a:pt x="141" y="29"/>
                  </a:lnTo>
                  <a:lnTo>
                    <a:pt x="143" y="31"/>
                  </a:lnTo>
                  <a:lnTo>
                    <a:pt x="150" y="36"/>
                  </a:lnTo>
                  <a:lnTo>
                    <a:pt x="152" y="41"/>
                  </a:lnTo>
                  <a:lnTo>
                    <a:pt x="148" y="47"/>
                  </a:lnTo>
                  <a:lnTo>
                    <a:pt x="143" y="48"/>
                  </a:lnTo>
                  <a:lnTo>
                    <a:pt x="140" y="53"/>
                  </a:lnTo>
                  <a:lnTo>
                    <a:pt x="136" y="55"/>
                  </a:lnTo>
                  <a:lnTo>
                    <a:pt x="131" y="53"/>
                  </a:lnTo>
                  <a:lnTo>
                    <a:pt x="128" y="55"/>
                  </a:lnTo>
                  <a:lnTo>
                    <a:pt x="128" y="58"/>
                  </a:lnTo>
                  <a:lnTo>
                    <a:pt x="119" y="62"/>
                  </a:lnTo>
                  <a:lnTo>
                    <a:pt x="109" y="64"/>
                  </a:lnTo>
                  <a:lnTo>
                    <a:pt x="104" y="67"/>
                  </a:lnTo>
                  <a:lnTo>
                    <a:pt x="99" y="72"/>
                  </a:lnTo>
                  <a:lnTo>
                    <a:pt x="99" y="77"/>
                  </a:lnTo>
                  <a:lnTo>
                    <a:pt x="94" y="79"/>
                  </a:lnTo>
                  <a:lnTo>
                    <a:pt x="97" y="81"/>
                  </a:lnTo>
                  <a:lnTo>
                    <a:pt x="95" y="81"/>
                  </a:lnTo>
                  <a:lnTo>
                    <a:pt x="97" y="81"/>
                  </a:lnTo>
                  <a:lnTo>
                    <a:pt x="95" y="82"/>
                  </a:lnTo>
                  <a:lnTo>
                    <a:pt x="94" y="82"/>
                  </a:lnTo>
                  <a:lnTo>
                    <a:pt x="94" y="81"/>
                  </a:lnTo>
                  <a:lnTo>
                    <a:pt x="88" y="82"/>
                  </a:lnTo>
                  <a:lnTo>
                    <a:pt x="88" y="84"/>
                  </a:lnTo>
                  <a:lnTo>
                    <a:pt x="92" y="88"/>
                  </a:lnTo>
                  <a:lnTo>
                    <a:pt x="94" y="84"/>
                  </a:lnTo>
                  <a:lnTo>
                    <a:pt x="95" y="89"/>
                  </a:lnTo>
                  <a:lnTo>
                    <a:pt x="94" y="93"/>
                  </a:lnTo>
                  <a:lnTo>
                    <a:pt x="88" y="94"/>
                  </a:lnTo>
                  <a:lnTo>
                    <a:pt x="82" y="94"/>
                  </a:lnTo>
                  <a:lnTo>
                    <a:pt x="76" y="94"/>
                  </a:lnTo>
                  <a:lnTo>
                    <a:pt x="76" y="91"/>
                  </a:lnTo>
                  <a:lnTo>
                    <a:pt x="83" y="86"/>
                  </a:lnTo>
                  <a:lnTo>
                    <a:pt x="87" y="86"/>
                  </a:lnTo>
                  <a:lnTo>
                    <a:pt x="87" y="84"/>
                  </a:lnTo>
                  <a:lnTo>
                    <a:pt x="85" y="82"/>
                  </a:lnTo>
                  <a:lnTo>
                    <a:pt x="87" y="79"/>
                  </a:lnTo>
                  <a:lnTo>
                    <a:pt x="83" y="74"/>
                  </a:lnTo>
                  <a:lnTo>
                    <a:pt x="80" y="70"/>
                  </a:lnTo>
                  <a:lnTo>
                    <a:pt x="75" y="64"/>
                  </a:lnTo>
                  <a:lnTo>
                    <a:pt x="66" y="57"/>
                  </a:lnTo>
                  <a:lnTo>
                    <a:pt x="59" y="50"/>
                  </a:lnTo>
                  <a:lnTo>
                    <a:pt x="49" y="45"/>
                  </a:lnTo>
                  <a:lnTo>
                    <a:pt x="46" y="45"/>
                  </a:lnTo>
                  <a:lnTo>
                    <a:pt x="44" y="43"/>
                  </a:lnTo>
                  <a:lnTo>
                    <a:pt x="35" y="40"/>
                  </a:lnTo>
                  <a:lnTo>
                    <a:pt x="30" y="41"/>
                  </a:lnTo>
                  <a:lnTo>
                    <a:pt x="24" y="41"/>
                  </a:lnTo>
                  <a:lnTo>
                    <a:pt x="20" y="41"/>
                  </a:lnTo>
                  <a:lnTo>
                    <a:pt x="22" y="40"/>
                  </a:lnTo>
                  <a:lnTo>
                    <a:pt x="17" y="41"/>
                  </a:lnTo>
                  <a:lnTo>
                    <a:pt x="13" y="35"/>
                  </a:lnTo>
                  <a:lnTo>
                    <a:pt x="10" y="33"/>
                  </a:lnTo>
                  <a:lnTo>
                    <a:pt x="10" y="29"/>
                  </a:lnTo>
                  <a:lnTo>
                    <a:pt x="5" y="26"/>
                  </a:lnTo>
                  <a:lnTo>
                    <a:pt x="1" y="19"/>
                  </a:lnTo>
                  <a:lnTo>
                    <a:pt x="0" y="12"/>
                  </a:lnTo>
                  <a:lnTo>
                    <a:pt x="1" y="14"/>
                  </a:lnTo>
                  <a:lnTo>
                    <a:pt x="3" y="12"/>
                  </a:lnTo>
                  <a:lnTo>
                    <a:pt x="1" y="12"/>
                  </a:lnTo>
                  <a:lnTo>
                    <a:pt x="0" y="7"/>
                  </a:lnTo>
                  <a:lnTo>
                    <a:pt x="0" y="4"/>
                  </a:lnTo>
                  <a:lnTo>
                    <a:pt x="6" y="4"/>
                  </a:lnTo>
                  <a:lnTo>
                    <a:pt x="10" y="9"/>
                  </a:lnTo>
                  <a:lnTo>
                    <a:pt x="10" y="12"/>
                  </a:lnTo>
                  <a:lnTo>
                    <a:pt x="15" y="9"/>
                  </a:lnTo>
                  <a:lnTo>
                    <a:pt x="15" y="11"/>
                  </a:lnTo>
                  <a:lnTo>
                    <a:pt x="17" y="7"/>
                  </a:lnTo>
                  <a:lnTo>
                    <a:pt x="18" y="7"/>
                  </a:lnTo>
                  <a:lnTo>
                    <a:pt x="18" y="9"/>
                  </a:lnTo>
                  <a:lnTo>
                    <a:pt x="22" y="7"/>
                  </a:lnTo>
                  <a:lnTo>
                    <a:pt x="27" y="11"/>
                  </a:lnTo>
                  <a:lnTo>
                    <a:pt x="30" y="11"/>
                  </a:lnTo>
                  <a:lnTo>
                    <a:pt x="32" y="12"/>
                  </a:lnTo>
                  <a:lnTo>
                    <a:pt x="34" y="11"/>
                  </a:lnTo>
                  <a:lnTo>
                    <a:pt x="37" y="14"/>
                  </a:lnTo>
                  <a:lnTo>
                    <a:pt x="46" y="16"/>
                  </a:lnTo>
                  <a:lnTo>
                    <a:pt x="51" y="17"/>
                  </a:lnTo>
                  <a:lnTo>
                    <a:pt x="56" y="16"/>
                  </a:lnTo>
                  <a:lnTo>
                    <a:pt x="63" y="16"/>
                  </a:lnTo>
                  <a:lnTo>
                    <a:pt x="68" y="14"/>
                  </a:lnTo>
                  <a:lnTo>
                    <a:pt x="73" y="11"/>
                  </a:lnTo>
                  <a:lnTo>
                    <a:pt x="76" y="6"/>
                  </a:lnTo>
                  <a:lnTo>
                    <a:pt x="82" y="2"/>
                  </a:lnTo>
                  <a:lnTo>
                    <a:pt x="9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3" name="Freeform 60"/>
            <p:cNvSpPr>
              <a:spLocks noEditPoints="1"/>
            </p:cNvSpPr>
            <p:nvPr/>
          </p:nvSpPr>
          <p:spPr bwMode="gray">
            <a:xfrm>
              <a:off x="4348433" y="4256514"/>
              <a:ext cx="1171126" cy="820882"/>
            </a:xfrm>
            <a:custGeom>
              <a:avLst/>
              <a:gdLst>
                <a:gd name="T0" fmla="*/ 213 w 642"/>
                <a:gd name="T1" fmla="*/ 407 h 450"/>
                <a:gd name="T2" fmla="*/ 365 w 642"/>
                <a:gd name="T3" fmla="*/ 263 h 450"/>
                <a:gd name="T4" fmla="*/ 444 w 642"/>
                <a:gd name="T5" fmla="*/ 255 h 450"/>
                <a:gd name="T6" fmla="*/ 580 w 642"/>
                <a:gd name="T7" fmla="*/ 257 h 450"/>
                <a:gd name="T8" fmla="*/ 597 w 642"/>
                <a:gd name="T9" fmla="*/ 251 h 450"/>
                <a:gd name="T10" fmla="*/ 379 w 642"/>
                <a:gd name="T11" fmla="*/ 248 h 450"/>
                <a:gd name="T12" fmla="*/ 403 w 642"/>
                <a:gd name="T13" fmla="*/ 246 h 450"/>
                <a:gd name="T14" fmla="*/ 565 w 642"/>
                <a:gd name="T15" fmla="*/ 241 h 450"/>
                <a:gd name="T16" fmla="*/ 548 w 642"/>
                <a:gd name="T17" fmla="*/ 236 h 450"/>
                <a:gd name="T18" fmla="*/ 539 w 642"/>
                <a:gd name="T19" fmla="*/ 231 h 450"/>
                <a:gd name="T20" fmla="*/ 562 w 642"/>
                <a:gd name="T21" fmla="*/ 234 h 450"/>
                <a:gd name="T22" fmla="*/ 586 w 642"/>
                <a:gd name="T23" fmla="*/ 231 h 450"/>
                <a:gd name="T24" fmla="*/ 377 w 642"/>
                <a:gd name="T25" fmla="*/ 226 h 450"/>
                <a:gd name="T26" fmla="*/ 355 w 642"/>
                <a:gd name="T27" fmla="*/ 246 h 450"/>
                <a:gd name="T28" fmla="*/ 312 w 642"/>
                <a:gd name="T29" fmla="*/ 265 h 450"/>
                <a:gd name="T30" fmla="*/ 263 w 642"/>
                <a:gd name="T31" fmla="*/ 263 h 450"/>
                <a:gd name="T32" fmla="*/ 212 w 642"/>
                <a:gd name="T33" fmla="*/ 245 h 450"/>
                <a:gd name="T34" fmla="*/ 265 w 642"/>
                <a:gd name="T35" fmla="*/ 222 h 450"/>
                <a:gd name="T36" fmla="*/ 333 w 642"/>
                <a:gd name="T37" fmla="*/ 221 h 450"/>
                <a:gd name="T38" fmla="*/ 557 w 642"/>
                <a:gd name="T39" fmla="*/ 224 h 450"/>
                <a:gd name="T40" fmla="*/ 539 w 642"/>
                <a:gd name="T41" fmla="*/ 229 h 450"/>
                <a:gd name="T42" fmla="*/ 538 w 642"/>
                <a:gd name="T43" fmla="*/ 233 h 450"/>
                <a:gd name="T44" fmla="*/ 519 w 642"/>
                <a:gd name="T45" fmla="*/ 233 h 450"/>
                <a:gd name="T46" fmla="*/ 516 w 642"/>
                <a:gd name="T47" fmla="*/ 222 h 450"/>
                <a:gd name="T48" fmla="*/ 20 w 642"/>
                <a:gd name="T49" fmla="*/ 357 h 450"/>
                <a:gd name="T50" fmla="*/ 43 w 642"/>
                <a:gd name="T51" fmla="*/ 349 h 450"/>
                <a:gd name="T52" fmla="*/ 34 w 642"/>
                <a:gd name="T53" fmla="*/ 316 h 450"/>
                <a:gd name="T54" fmla="*/ 32 w 642"/>
                <a:gd name="T55" fmla="*/ 267 h 450"/>
                <a:gd name="T56" fmla="*/ 67 w 642"/>
                <a:gd name="T57" fmla="*/ 277 h 450"/>
                <a:gd name="T58" fmla="*/ 70 w 642"/>
                <a:gd name="T59" fmla="*/ 265 h 450"/>
                <a:gd name="T60" fmla="*/ 87 w 642"/>
                <a:gd name="T61" fmla="*/ 243 h 450"/>
                <a:gd name="T62" fmla="*/ 94 w 642"/>
                <a:gd name="T63" fmla="*/ 209 h 450"/>
                <a:gd name="T64" fmla="*/ 135 w 642"/>
                <a:gd name="T65" fmla="*/ 217 h 450"/>
                <a:gd name="T66" fmla="*/ 196 w 642"/>
                <a:gd name="T67" fmla="*/ 221 h 450"/>
                <a:gd name="T68" fmla="*/ 205 w 642"/>
                <a:gd name="T69" fmla="*/ 234 h 450"/>
                <a:gd name="T70" fmla="*/ 215 w 642"/>
                <a:gd name="T71" fmla="*/ 258 h 450"/>
                <a:gd name="T72" fmla="*/ 232 w 642"/>
                <a:gd name="T73" fmla="*/ 292 h 450"/>
                <a:gd name="T74" fmla="*/ 254 w 642"/>
                <a:gd name="T75" fmla="*/ 313 h 450"/>
                <a:gd name="T76" fmla="*/ 292 w 642"/>
                <a:gd name="T77" fmla="*/ 328 h 450"/>
                <a:gd name="T78" fmla="*/ 347 w 642"/>
                <a:gd name="T79" fmla="*/ 323 h 450"/>
                <a:gd name="T80" fmla="*/ 394 w 642"/>
                <a:gd name="T81" fmla="*/ 321 h 450"/>
                <a:gd name="T82" fmla="*/ 422 w 642"/>
                <a:gd name="T83" fmla="*/ 359 h 450"/>
                <a:gd name="T84" fmla="*/ 415 w 642"/>
                <a:gd name="T85" fmla="*/ 409 h 450"/>
                <a:gd name="T86" fmla="*/ 439 w 642"/>
                <a:gd name="T87" fmla="*/ 448 h 450"/>
                <a:gd name="T88" fmla="*/ 403 w 642"/>
                <a:gd name="T89" fmla="*/ 427 h 450"/>
                <a:gd name="T90" fmla="*/ 370 w 642"/>
                <a:gd name="T91" fmla="*/ 426 h 450"/>
                <a:gd name="T92" fmla="*/ 355 w 642"/>
                <a:gd name="T93" fmla="*/ 422 h 450"/>
                <a:gd name="T94" fmla="*/ 336 w 642"/>
                <a:gd name="T95" fmla="*/ 414 h 450"/>
                <a:gd name="T96" fmla="*/ 307 w 642"/>
                <a:gd name="T97" fmla="*/ 400 h 450"/>
                <a:gd name="T98" fmla="*/ 242 w 642"/>
                <a:gd name="T99" fmla="*/ 402 h 450"/>
                <a:gd name="T100" fmla="*/ 225 w 642"/>
                <a:gd name="T101" fmla="*/ 403 h 450"/>
                <a:gd name="T102" fmla="*/ 176 w 642"/>
                <a:gd name="T103" fmla="*/ 400 h 450"/>
                <a:gd name="T104" fmla="*/ 147 w 642"/>
                <a:gd name="T105" fmla="*/ 395 h 450"/>
                <a:gd name="T106" fmla="*/ 106 w 642"/>
                <a:gd name="T107" fmla="*/ 386 h 450"/>
                <a:gd name="T108" fmla="*/ 97 w 642"/>
                <a:gd name="T109" fmla="*/ 400 h 450"/>
                <a:gd name="T110" fmla="*/ 79 w 642"/>
                <a:gd name="T111" fmla="*/ 397 h 450"/>
                <a:gd name="T112" fmla="*/ 61 w 642"/>
                <a:gd name="T113" fmla="*/ 388 h 450"/>
                <a:gd name="T114" fmla="*/ 29 w 642"/>
                <a:gd name="T115" fmla="*/ 390 h 450"/>
                <a:gd name="T116" fmla="*/ 0 w 642"/>
                <a:gd name="T117" fmla="*/ 381 h 450"/>
                <a:gd name="T118" fmla="*/ 207 w 642"/>
                <a:gd name="T119" fmla="*/ 98 h 450"/>
                <a:gd name="T120" fmla="*/ 422 w 642"/>
                <a:gd name="T121" fmla="*/ 60 h 450"/>
                <a:gd name="T122" fmla="*/ 423 w 642"/>
                <a:gd name="T123" fmla="*/ 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450">
                  <a:moveTo>
                    <a:pt x="287" y="409"/>
                  </a:moveTo>
                  <a:lnTo>
                    <a:pt x="297" y="410"/>
                  </a:lnTo>
                  <a:lnTo>
                    <a:pt x="299" y="412"/>
                  </a:lnTo>
                  <a:lnTo>
                    <a:pt x="300" y="412"/>
                  </a:lnTo>
                  <a:lnTo>
                    <a:pt x="299" y="415"/>
                  </a:lnTo>
                  <a:lnTo>
                    <a:pt x="287" y="415"/>
                  </a:lnTo>
                  <a:lnTo>
                    <a:pt x="285" y="415"/>
                  </a:lnTo>
                  <a:lnTo>
                    <a:pt x="282" y="414"/>
                  </a:lnTo>
                  <a:lnTo>
                    <a:pt x="285" y="409"/>
                  </a:lnTo>
                  <a:lnTo>
                    <a:pt x="287" y="409"/>
                  </a:lnTo>
                  <a:close/>
                  <a:moveTo>
                    <a:pt x="213" y="407"/>
                  </a:moveTo>
                  <a:lnTo>
                    <a:pt x="215" y="407"/>
                  </a:lnTo>
                  <a:lnTo>
                    <a:pt x="215" y="410"/>
                  </a:lnTo>
                  <a:lnTo>
                    <a:pt x="212" y="410"/>
                  </a:lnTo>
                  <a:lnTo>
                    <a:pt x="213" y="407"/>
                  </a:lnTo>
                  <a:close/>
                  <a:moveTo>
                    <a:pt x="343" y="260"/>
                  </a:moveTo>
                  <a:lnTo>
                    <a:pt x="348" y="262"/>
                  </a:lnTo>
                  <a:lnTo>
                    <a:pt x="347" y="263"/>
                  </a:lnTo>
                  <a:lnTo>
                    <a:pt x="341" y="262"/>
                  </a:lnTo>
                  <a:lnTo>
                    <a:pt x="343" y="260"/>
                  </a:lnTo>
                  <a:close/>
                  <a:moveTo>
                    <a:pt x="362" y="257"/>
                  </a:moveTo>
                  <a:lnTo>
                    <a:pt x="365" y="263"/>
                  </a:lnTo>
                  <a:lnTo>
                    <a:pt x="362" y="260"/>
                  </a:lnTo>
                  <a:lnTo>
                    <a:pt x="357" y="260"/>
                  </a:lnTo>
                  <a:lnTo>
                    <a:pt x="357" y="258"/>
                  </a:lnTo>
                  <a:lnTo>
                    <a:pt x="362" y="257"/>
                  </a:lnTo>
                  <a:close/>
                  <a:moveTo>
                    <a:pt x="452" y="255"/>
                  </a:moveTo>
                  <a:lnTo>
                    <a:pt x="449" y="255"/>
                  </a:lnTo>
                  <a:lnTo>
                    <a:pt x="451" y="255"/>
                  </a:lnTo>
                  <a:lnTo>
                    <a:pt x="452" y="255"/>
                  </a:lnTo>
                  <a:close/>
                  <a:moveTo>
                    <a:pt x="440" y="251"/>
                  </a:moveTo>
                  <a:lnTo>
                    <a:pt x="444" y="251"/>
                  </a:lnTo>
                  <a:lnTo>
                    <a:pt x="444" y="255"/>
                  </a:lnTo>
                  <a:lnTo>
                    <a:pt x="442" y="255"/>
                  </a:lnTo>
                  <a:lnTo>
                    <a:pt x="437" y="253"/>
                  </a:lnTo>
                  <a:lnTo>
                    <a:pt x="428" y="255"/>
                  </a:lnTo>
                  <a:lnTo>
                    <a:pt x="427" y="253"/>
                  </a:lnTo>
                  <a:lnTo>
                    <a:pt x="434" y="251"/>
                  </a:lnTo>
                  <a:lnTo>
                    <a:pt x="440" y="251"/>
                  </a:lnTo>
                  <a:close/>
                  <a:moveTo>
                    <a:pt x="599" y="248"/>
                  </a:moveTo>
                  <a:lnTo>
                    <a:pt x="597" y="258"/>
                  </a:lnTo>
                  <a:lnTo>
                    <a:pt x="596" y="260"/>
                  </a:lnTo>
                  <a:lnTo>
                    <a:pt x="589" y="260"/>
                  </a:lnTo>
                  <a:lnTo>
                    <a:pt x="580" y="257"/>
                  </a:lnTo>
                  <a:lnTo>
                    <a:pt x="579" y="253"/>
                  </a:lnTo>
                  <a:lnTo>
                    <a:pt x="582" y="250"/>
                  </a:lnTo>
                  <a:lnTo>
                    <a:pt x="582" y="253"/>
                  </a:lnTo>
                  <a:lnTo>
                    <a:pt x="584" y="248"/>
                  </a:lnTo>
                  <a:lnTo>
                    <a:pt x="587" y="253"/>
                  </a:lnTo>
                  <a:lnTo>
                    <a:pt x="596" y="255"/>
                  </a:lnTo>
                  <a:lnTo>
                    <a:pt x="597" y="253"/>
                  </a:lnTo>
                  <a:lnTo>
                    <a:pt x="596" y="255"/>
                  </a:lnTo>
                  <a:lnTo>
                    <a:pt x="594" y="251"/>
                  </a:lnTo>
                  <a:lnTo>
                    <a:pt x="596" y="250"/>
                  </a:lnTo>
                  <a:lnTo>
                    <a:pt x="597" y="251"/>
                  </a:lnTo>
                  <a:lnTo>
                    <a:pt x="597" y="248"/>
                  </a:lnTo>
                  <a:lnTo>
                    <a:pt x="599" y="248"/>
                  </a:lnTo>
                  <a:close/>
                  <a:moveTo>
                    <a:pt x="572" y="243"/>
                  </a:moveTo>
                  <a:lnTo>
                    <a:pt x="575" y="243"/>
                  </a:lnTo>
                  <a:lnTo>
                    <a:pt x="575" y="245"/>
                  </a:lnTo>
                  <a:lnTo>
                    <a:pt x="572" y="245"/>
                  </a:lnTo>
                  <a:lnTo>
                    <a:pt x="572" y="243"/>
                  </a:lnTo>
                  <a:close/>
                  <a:moveTo>
                    <a:pt x="365" y="243"/>
                  </a:moveTo>
                  <a:lnTo>
                    <a:pt x="369" y="245"/>
                  </a:lnTo>
                  <a:lnTo>
                    <a:pt x="377" y="245"/>
                  </a:lnTo>
                  <a:lnTo>
                    <a:pt x="379" y="248"/>
                  </a:lnTo>
                  <a:lnTo>
                    <a:pt x="369" y="248"/>
                  </a:lnTo>
                  <a:lnTo>
                    <a:pt x="364" y="246"/>
                  </a:lnTo>
                  <a:lnTo>
                    <a:pt x="364" y="243"/>
                  </a:lnTo>
                  <a:lnTo>
                    <a:pt x="365" y="243"/>
                  </a:lnTo>
                  <a:close/>
                  <a:moveTo>
                    <a:pt x="411" y="243"/>
                  </a:moveTo>
                  <a:lnTo>
                    <a:pt x="415" y="246"/>
                  </a:lnTo>
                  <a:lnTo>
                    <a:pt x="420" y="255"/>
                  </a:lnTo>
                  <a:lnTo>
                    <a:pt x="417" y="257"/>
                  </a:lnTo>
                  <a:lnTo>
                    <a:pt x="408" y="255"/>
                  </a:lnTo>
                  <a:lnTo>
                    <a:pt x="405" y="248"/>
                  </a:lnTo>
                  <a:lnTo>
                    <a:pt x="403" y="246"/>
                  </a:lnTo>
                  <a:lnTo>
                    <a:pt x="406" y="243"/>
                  </a:lnTo>
                  <a:lnTo>
                    <a:pt x="411" y="243"/>
                  </a:lnTo>
                  <a:close/>
                  <a:moveTo>
                    <a:pt x="568" y="241"/>
                  </a:moveTo>
                  <a:lnTo>
                    <a:pt x="570" y="241"/>
                  </a:lnTo>
                  <a:lnTo>
                    <a:pt x="570" y="243"/>
                  </a:lnTo>
                  <a:lnTo>
                    <a:pt x="568" y="243"/>
                  </a:lnTo>
                  <a:lnTo>
                    <a:pt x="568" y="241"/>
                  </a:lnTo>
                  <a:close/>
                  <a:moveTo>
                    <a:pt x="567" y="241"/>
                  </a:moveTo>
                  <a:lnTo>
                    <a:pt x="565" y="243"/>
                  </a:lnTo>
                  <a:lnTo>
                    <a:pt x="563" y="243"/>
                  </a:lnTo>
                  <a:lnTo>
                    <a:pt x="565" y="241"/>
                  </a:lnTo>
                  <a:lnTo>
                    <a:pt x="562" y="241"/>
                  </a:lnTo>
                  <a:lnTo>
                    <a:pt x="562" y="239"/>
                  </a:lnTo>
                  <a:lnTo>
                    <a:pt x="567" y="241"/>
                  </a:lnTo>
                  <a:close/>
                  <a:moveTo>
                    <a:pt x="555" y="234"/>
                  </a:moveTo>
                  <a:lnTo>
                    <a:pt x="555" y="236"/>
                  </a:lnTo>
                  <a:lnTo>
                    <a:pt x="557" y="238"/>
                  </a:lnTo>
                  <a:lnTo>
                    <a:pt x="553" y="239"/>
                  </a:lnTo>
                  <a:lnTo>
                    <a:pt x="551" y="238"/>
                  </a:lnTo>
                  <a:lnTo>
                    <a:pt x="555" y="234"/>
                  </a:lnTo>
                  <a:close/>
                  <a:moveTo>
                    <a:pt x="546" y="233"/>
                  </a:moveTo>
                  <a:lnTo>
                    <a:pt x="548" y="236"/>
                  </a:lnTo>
                  <a:lnTo>
                    <a:pt x="541" y="234"/>
                  </a:lnTo>
                  <a:lnTo>
                    <a:pt x="541" y="233"/>
                  </a:lnTo>
                  <a:lnTo>
                    <a:pt x="546" y="233"/>
                  </a:lnTo>
                  <a:close/>
                  <a:moveTo>
                    <a:pt x="393" y="236"/>
                  </a:moveTo>
                  <a:lnTo>
                    <a:pt x="391" y="236"/>
                  </a:lnTo>
                  <a:lnTo>
                    <a:pt x="393" y="231"/>
                  </a:lnTo>
                  <a:lnTo>
                    <a:pt x="393" y="233"/>
                  </a:lnTo>
                  <a:lnTo>
                    <a:pt x="393" y="236"/>
                  </a:lnTo>
                  <a:close/>
                  <a:moveTo>
                    <a:pt x="539" y="231"/>
                  </a:moveTo>
                  <a:lnTo>
                    <a:pt x="539" y="233"/>
                  </a:lnTo>
                  <a:lnTo>
                    <a:pt x="539" y="231"/>
                  </a:lnTo>
                  <a:close/>
                  <a:moveTo>
                    <a:pt x="601" y="229"/>
                  </a:moveTo>
                  <a:lnTo>
                    <a:pt x="603" y="231"/>
                  </a:lnTo>
                  <a:lnTo>
                    <a:pt x="597" y="231"/>
                  </a:lnTo>
                  <a:lnTo>
                    <a:pt x="601" y="229"/>
                  </a:lnTo>
                  <a:close/>
                  <a:moveTo>
                    <a:pt x="562" y="229"/>
                  </a:moveTo>
                  <a:lnTo>
                    <a:pt x="568" y="231"/>
                  </a:lnTo>
                  <a:lnTo>
                    <a:pt x="570" y="234"/>
                  </a:lnTo>
                  <a:lnTo>
                    <a:pt x="572" y="236"/>
                  </a:lnTo>
                  <a:lnTo>
                    <a:pt x="568" y="234"/>
                  </a:lnTo>
                  <a:lnTo>
                    <a:pt x="567" y="236"/>
                  </a:lnTo>
                  <a:lnTo>
                    <a:pt x="562" y="234"/>
                  </a:lnTo>
                  <a:lnTo>
                    <a:pt x="562" y="233"/>
                  </a:lnTo>
                  <a:lnTo>
                    <a:pt x="558" y="231"/>
                  </a:lnTo>
                  <a:lnTo>
                    <a:pt x="560" y="231"/>
                  </a:lnTo>
                  <a:lnTo>
                    <a:pt x="560" y="227"/>
                  </a:lnTo>
                  <a:lnTo>
                    <a:pt x="562" y="229"/>
                  </a:lnTo>
                  <a:close/>
                  <a:moveTo>
                    <a:pt x="596" y="227"/>
                  </a:moveTo>
                  <a:lnTo>
                    <a:pt x="596" y="231"/>
                  </a:lnTo>
                  <a:lnTo>
                    <a:pt x="596" y="227"/>
                  </a:lnTo>
                  <a:close/>
                  <a:moveTo>
                    <a:pt x="584" y="229"/>
                  </a:moveTo>
                  <a:lnTo>
                    <a:pt x="586" y="229"/>
                  </a:lnTo>
                  <a:lnTo>
                    <a:pt x="586" y="231"/>
                  </a:lnTo>
                  <a:lnTo>
                    <a:pt x="584" y="231"/>
                  </a:lnTo>
                  <a:lnTo>
                    <a:pt x="584" y="229"/>
                  </a:lnTo>
                  <a:close/>
                  <a:moveTo>
                    <a:pt x="640" y="227"/>
                  </a:moveTo>
                  <a:lnTo>
                    <a:pt x="642" y="227"/>
                  </a:lnTo>
                  <a:lnTo>
                    <a:pt x="638" y="229"/>
                  </a:lnTo>
                  <a:lnTo>
                    <a:pt x="642" y="227"/>
                  </a:lnTo>
                  <a:lnTo>
                    <a:pt x="640" y="227"/>
                  </a:lnTo>
                  <a:close/>
                  <a:moveTo>
                    <a:pt x="360" y="219"/>
                  </a:moveTo>
                  <a:lnTo>
                    <a:pt x="367" y="221"/>
                  </a:lnTo>
                  <a:lnTo>
                    <a:pt x="370" y="222"/>
                  </a:lnTo>
                  <a:lnTo>
                    <a:pt x="377" y="226"/>
                  </a:lnTo>
                  <a:lnTo>
                    <a:pt x="382" y="227"/>
                  </a:lnTo>
                  <a:lnTo>
                    <a:pt x="386" y="233"/>
                  </a:lnTo>
                  <a:lnTo>
                    <a:pt x="382" y="233"/>
                  </a:lnTo>
                  <a:lnTo>
                    <a:pt x="377" y="236"/>
                  </a:lnTo>
                  <a:lnTo>
                    <a:pt x="367" y="238"/>
                  </a:lnTo>
                  <a:lnTo>
                    <a:pt x="364" y="239"/>
                  </a:lnTo>
                  <a:lnTo>
                    <a:pt x="360" y="238"/>
                  </a:lnTo>
                  <a:lnTo>
                    <a:pt x="365" y="241"/>
                  </a:lnTo>
                  <a:lnTo>
                    <a:pt x="364" y="243"/>
                  </a:lnTo>
                  <a:lnTo>
                    <a:pt x="360" y="241"/>
                  </a:lnTo>
                  <a:lnTo>
                    <a:pt x="355" y="246"/>
                  </a:lnTo>
                  <a:lnTo>
                    <a:pt x="357" y="248"/>
                  </a:lnTo>
                  <a:lnTo>
                    <a:pt x="358" y="251"/>
                  </a:lnTo>
                  <a:lnTo>
                    <a:pt x="348" y="251"/>
                  </a:lnTo>
                  <a:lnTo>
                    <a:pt x="347" y="250"/>
                  </a:lnTo>
                  <a:lnTo>
                    <a:pt x="340" y="250"/>
                  </a:lnTo>
                  <a:lnTo>
                    <a:pt x="333" y="248"/>
                  </a:lnTo>
                  <a:lnTo>
                    <a:pt x="329" y="251"/>
                  </a:lnTo>
                  <a:lnTo>
                    <a:pt x="323" y="251"/>
                  </a:lnTo>
                  <a:lnTo>
                    <a:pt x="319" y="255"/>
                  </a:lnTo>
                  <a:lnTo>
                    <a:pt x="318" y="263"/>
                  </a:lnTo>
                  <a:lnTo>
                    <a:pt x="312" y="265"/>
                  </a:lnTo>
                  <a:lnTo>
                    <a:pt x="311" y="263"/>
                  </a:lnTo>
                  <a:lnTo>
                    <a:pt x="307" y="262"/>
                  </a:lnTo>
                  <a:lnTo>
                    <a:pt x="302" y="262"/>
                  </a:lnTo>
                  <a:lnTo>
                    <a:pt x="294" y="262"/>
                  </a:lnTo>
                  <a:lnTo>
                    <a:pt x="290" y="262"/>
                  </a:lnTo>
                  <a:lnTo>
                    <a:pt x="282" y="262"/>
                  </a:lnTo>
                  <a:lnTo>
                    <a:pt x="271" y="263"/>
                  </a:lnTo>
                  <a:lnTo>
                    <a:pt x="270" y="260"/>
                  </a:lnTo>
                  <a:lnTo>
                    <a:pt x="268" y="262"/>
                  </a:lnTo>
                  <a:lnTo>
                    <a:pt x="270" y="262"/>
                  </a:lnTo>
                  <a:lnTo>
                    <a:pt x="263" y="263"/>
                  </a:lnTo>
                  <a:lnTo>
                    <a:pt x="259" y="262"/>
                  </a:lnTo>
                  <a:lnTo>
                    <a:pt x="253" y="260"/>
                  </a:lnTo>
                  <a:lnTo>
                    <a:pt x="248" y="260"/>
                  </a:lnTo>
                  <a:lnTo>
                    <a:pt x="239" y="257"/>
                  </a:lnTo>
                  <a:lnTo>
                    <a:pt x="236" y="255"/>
                  </a:lnTo>
                  <a:lnTo>
                    <a:pt x="224" y="255"/>
                  </a:lnTo>
                  <a:lnTo>
                    <a:pt x="219" y="257"/>
                  </a:lnTo>
                  <a:lnTo>
                    <a:pt x="213" y="253"/>
                  </a:lnTo>
                  <a:lnTo>
                    <a:pt x="215" y="246"/>
                  </a:lnTo>
                  <a:lnTo>
                    <a:pt x="213" y="246"/>
                  </a:lnTo>
                  <a:lnTo>
                    <a:pt x="212" y="245"/>
                  </a:lnTo>
                  <a:lnTo>
                    <a:pt x="213" y="239"/>
                  </a:lnTo>
                  <a:lnTo>
                    <a:pt x="219" y="239"/>
                  </a:lnTo>
                  <a:lnTo>
                    <a:pt x="224" y="236"/>
                  </a:lnTo>
                  <a:lnTo>
                    <a:pt x="230" y="227"/>
                  </a:lnTo>
                  <a:lnTo>
                    <a:pt x="230" y="224"/>
                  </a:lnTo>
                  <a:lnTo>
                    <a:pt x="232" y="226"/>
                  </a:lnTo>
                  <a:lnTo>
                    <a:pt x="236" y="222"/>
                  </a:lnTo>
                  <a:lnTo>
                    <a:pt x="237" y="222"/>
                  </a:lnTo>
                  <a:lnTo>
                    <a:pt x="248" y="222"/>
                  </a:lnTo>
                  <a:lnTo>
                    <a:pt x="256" y="221"/>
                  </a:lnTo>
                  <a:lnTo>
                    <a:pt x="265" y="222"/>
                  </a:lnTo>
                  <a:lnTo>
                    <a:pt x="266" y="222"/>
                  </a:lnTo>
                  <a:lnTo>
                    <a:pt x="275" y="222"/>
                  </a:lnTo>
                  <a:lnTo>
                    <a:pt x="278" y="222"/>
                  </a:lnTo>
                  <a:lnTo>
                    <a:pt x="288" y="222"/>
                  </a:lnTo>
                  <a:lnTo>
                    <a:pt x="290" y="222"/>
                  </a:lnTo>
                  <a:lnTo>
                    <a:pt x="294" y="222"/>
                  </a:lnTo>
                  <a:lnTo>
                    <a:pt x="302" y="222"/>
                  </a:lnTo>
                  <a:lnTo>
                    <a:pt x="312" y="222"/>
                  </a:lnTo>
                  <a:lnTo>
                    <a:pt x="323" y="222"/>
                  </a:lnTo>
                  <a:lnTo>
                    <a:pt x="326" y="222"/>
                  </a:lnTo>
                  <a:lnTo>
                    <a:pt x="333" y="221"/>
                  </a:lnTo>
                  <a:lnTo>
                    <a:pt x="338" y="222"/>
                  </a:lnTo>
                  <a:lnTo>
                    <a:pt x="347" y="222"/>
                  </a:lnTo>
                  <a:lnTo>
                    <a:pt x="353" y="221"/>
                  </a:lnTo>
                  <a:lnTo>
                    <a:pt x="360" y="219"/>
                  </a:lnTo>
                  <a:close/>
                  <a:moveTo>
                    <a:pt x="521" y="214"/>
                  </a:moveTo>
                  <a:lnTo>
                    <a:pt x="529" y="216"/>
                  </a:lnTo>
                  <a:lnTo>
                    <a:pt x="538" y="216"/>
                  </a:lnTo>
                  <a:lnTo>
                    <a:pt x="543" y="217"/>
                  </a:lnTo>
                  <a:lnTo>
                    <a:pt x="550" y="221"/>
                  </a:lnTo>
                  <a:lnTo>
                    <a:pt x="553" y="221"/>
                  </a:lnTo>
                  <a:lnTo>
                    <a:pt x="557" y="224"/>
                  </a:lnTo>
                  <a:lnTo>
                    <a:pt x="560" y="227"/>
                  </a:lnTo>
                  <a:lnTo>
                    <a:pt x="557" y="231"/>
                  </a:lnTo>
                  <a:lnTo>
                    <a:pt x="553" y="229"/>
                  </a:lnTo>
                  <a:lnTo>
                    <a:pt x="550" y="229"/>
                  </a:lnTo>
                  <a:lnTo>
                    <a:pt x="550" y="227"/>
                  </a:lnTo>
                  <a:lnTo>
                    <a:pt x="548" y="226"/>
                  </a:lnTo>
                  <a:lnTo>
                    <a:pt x="545" y="227"/>
                  </a:lnTo>
                  <a:lnTo>
                    <a:pt x="545" y="224"/>
                  </a:lnTo>
                  <a:lnTo>
                    <a:pt x="543" y="229"/>
                  </a:lnTo>
                  <a:lnTo>
                    <a:pt x="541" y="226"/>
                  </a:lnTo>
                  <a:lnTo>
                    <a:pt x="539" y="229"/>
                  </a:lnTo>
                  <a:lnTo>
                    <a:pt x="538" y="224"/>
                  </a:lnTo>
                  <a:lnTo>
                    <a:pt x="536" y="226"/>
                  </a:lnTo>
                  <a:lnTo>
                    <a:pt x="536" y="224"/>
                  </a:lnTo>
                  <a:lnTo>
                    <a:pt x="534" y="227"/>
                  </a:lnTo>
                  <a:lnTo>
                    <a:pt x="533" y="226"/>
                  </a:lnTo>
                  <a:lnTo>
                    <a:pt x="531" y="227"/>
                  </a:lnTo>
                  <a:lnTo>
                    <a:pt x="531" y="229"/>
                  </a:lnTo>
                  <a:lnTo>
                    <a:pt x="533" y="227"/>
                  </a:lnTo>
                  <a:lnTo>
                    <a:pt x="534" y="229"/>
                  </a:lnTo>
                  <a:lnTo>
                    <a:pt x="536" y="231"/>
                  </a:lnTo>
                  <a:lnTo>
                    <a:pt x="538" y="233"/>
                  </a:lnTo>
                  <a:lnTo>
                    <a:pt x="536" y="233"/>
                  </a:lnTo>
                  <a:lnTo>
                    <a:pt x="539" y="234"/>
                  </a:lnTo>
                  <a:lnTo>
                    <a:pt x="531" y="234"/>
                  </a:lnTo>
                  <a:lnTo>
                    <a:pt x="527" y="231"/>
                  </a:lnTo>
                  <a:lnTo>
                    <a:pt x="529" y="231"/>
                  </a:lnTo>
                  <a:lnTo>
                    <a:pt x="527" y="229"/>
                  </a:lnTo>
                  <a:lnTo>
                    <a:pt x="527" y="233"/>
                  </a:lnTo>
                  <a:lnTo>
                    <a:pt x="524" y="233"/>
                  </a:lnTo>
                  <a:lnTo>
                    <a:pt x="526" y="234"/>
                  </a:lnTo>
                  <a:lnTo>
                    <a:pt x="526" y="236"/>
                  </a:lnTo>
                  <a:lnTo>
                    <a:pt x="519" y="233"/>
                  </a:lnTo>
                  <a:lnTo>
                    <a:pt x="522" y="233"/>
                  </a:lnTo>
                  <a:lnTo>
                    <a:pt x="521" y="231"/>
                  </a:lnTo>
                  <a:lnTo>
                    <a:pt x="522" y="231"/>
                  </a:lnTo>
                  <a:lnTo>
                    <a:pt x="522" y="227"/>
                  </a:lnTo>
                  <a:lnTo>
                    <a:pt x="521" y="229"/>
                  </a:lnTo>
                  <a:lnTo>
                    <a:pt x="519" y="227"/>
                  </a:lnTo>
                  <a:lnTo>
                    <a:pt x="516" y="229"/>
                  </a:lnTo>
                  <a:lnTo>
                    <a:pt x="514" y="227"/>
                  </a:lnTo>
                  <a:lnTo>
                    <a:pt x="516" y="226"/>
                  </a:lnTo>
                  <a:lnTo>
                    <a:pt x="514" y="226"/>
                  </a:lnTo>
                  <a:lnTo>
                    <a:pt x="516" y="222"/>
                  </a:lnTo>
                  <a:lnTo>
                    <a:pt x="519" y="221"/>
                  </a:lnTo>
                  <a:lnTo>
                    <a:pt x="521" y="219"/>
                  </a:lnTo>
                  <a:lnTo>
                    <a:pt x="517" y="216"/>
                  </a:lnTo>
                  <a:lnTo>
                    <a:pt x="521" y="214"/>
                  </a:lnTo>
                  <a:close/>
                  <a:moveTo>
                    <a:pt x="0" y="381"/>
                  </a:moveTo>
                  <a:lnTo>
                    <a:pt x="0" y="371"/>
                  </a:lnTo>
                  <a:lnTo>
                    <a:pt x="5" y="362"/>
                  </a:lnTo>
                  <a:lnTo>
                    <a:pt x="15" y="366"/>
                  </a:lnTo>
                  <a:lnTo>
                    <a:pt x="20" y="362"/>
                  </a:lnTo>
                  <a:lnTo>
                    <a:pt x="19" y="359"/>
                  </a:lnTo>
                  <a:lnTo>
                    <a:pt x="20" y="357"/>
                  </a:lnTo>
                  <a:lnTo>
                    <a:pt x="22" y="359"/>
                  </a:lnTo>
                  <a:lnTo>
                    <a:pt x="22" y="362"/>
                  </a:lnTo>
                  <a:lnTo>
                    <a:pt x="27" y="362"/>
                  </a:lnTo>
                  <a:lnTo>
                    <a:pt x="27" y="357"/>
                  </a:lnTo>
                  <a:lnTo>
                    <a:pt x="26" y="352"/>
                  </a:lnTo>
                  <a:lnTo>
                    <a:pt x="29" y="350"/>
                  </a:lnTo>
                  <a:lnTo>
                    <a:pt x="29" y="347"/>
                  </a:lnTo>
                  <a:lnTo>
                    <a:pt x="32" y="345"/>
                  </a:lnTo>
                  <a:lnTo>
                    <a:pt x="34" y="347"/>
                  </a:lnTo>
                  <a:lnTo>
                    <a:pt x="38" y="347"/>
                  </a:lnTo>
                  <a:lnTo>
                    <a:pt x="43" y="349"/>
                  </a:lnTo>
                  <a:lnTo>
                    <a:pt x="46" y="344"/>
                  </a:lnTo>
                  <a:lnTo>
                    <a:pt x="48" y="339"/>
                  </a:lnTo>
                  <a:lnTo>
                    <a:pt x="49" y="339"/>
                  </a:lnTo>
                  <a:lnTo>
                    <a:pt x="48" y="332"/>
                  </a:lnTo>
                  <a:lnTo>
                    <a:pt x="46" y="330"/>
                  </a:lnTo>
                  <a:lnTo>
                    <a:pt x="46" y="325"/>
                  </a:lnTo>
                  <a:lnTo>
                    <a:pt x="44" y="323"/>
                  </a:lnTo>
                  <a:lnTo>
                    <a:pt x="41" y="325"/>
                  </a:lnTo>
                  <a:lnTo>
                    <a:pt x="38" y="321"/>
                  </a:lnTo>
                  <a:lnTo>
                    <a:pt x="34" y="321"/>
                  </a:lnTo>
                  <a:lnTo>
                    <a:pt x="34" y="316"/>
                  </a:lnTo>
                  <a:lnTo>
                    <a:pt x="36" y="309"/>
                  </a:lnTo>
                  <a:lnTo>
                    <a:pt x="31" y="303"/>
                  </a:lnTo>
                  <a:lnTo>
                    <a:pt x="31" y="296"/>
                  </a:lnTo>
                  <a:lnTo>
                    <a:pt x="27" y="294"/>
                  </a:lnTo>
                  <a:lnTo>
                    <a:pt x="26" y="286"/>
                  </a:lnTo>
                  <a:lnTo>
                    <a:pt x="29" y="279"/>
                  </a:lnTo>
                  <a:lnTo>
                    <a:pt x="29" y="275"/>
                  </a:lnTo>
                  <a:lnTo>
                    <a:pt x="31" y="274"/>
                  </a:lnTo>
                  <a:lnTo>
                    <a:pt x="27" y="270"/>
                  </a:lnTo>
                  <a:lnTo>
                    <a:pt x="29" y="267"/>
                  </a:lnTo>
                  <a:lnTo>
                    <a:pt x="32" y="267"/>
                  </a:lnTo>
                  <a:lnTo>
                    <a:pt x="38" y="265"/>
                  </a:lnTo>
                  <a:lnTo>
                    <a:pt x="41" y="270"/>
                  </a:lnTo>
                  <a:lnTo>
                    <a:pt x="46" y="270"/>
                  </a:lnTo>
                  <a:lnTo>
                    <a:pt x="53" y="274"/>
                  </a:lnTo>
                  <a:lnTo>
                    <a:pt x="53" y="275"/>
                  </a:lnTo>
                  <a:lnTo>
                    <a:pt x="61" y="277"/>
                  </a:lnTo>
                  <a:lnTo>
                    <a:pt x="67" y="280"/>
                  </a:lnTo>
                  <a:lnTo>
                    <a:pt x="67" y="277"/>
                  </a:lnTo>
                  <a:lnTo>
                    <a:pt x="65" y="279"/>
                  </a:lnTo>
                  <a:lnTo>
                    <a:pt x="65" y="277"/>
                  </a:lnTo>
                  <a:lnTo>
                    <a:pt x="67" y="277"/>
                  </a:lnTo>
                  <a:lnTo>
                    <a:pt x="65" y="275"/>
                  </a:lnTo>
                  <a:lnTo>
                    <a:pt x="67" y="274"/>
                  </a:lnTo>
                  <a:lnTo>
                    <a:pt x="63" y="272"/>
                  </a:lnTo>
                  <a:lnTo>
                    <a:pt x="65" y="270"/>
                  </a:lnTo>
                  <a:lnTo>
                    <a:pt x="65" y="267"/>
                  </a:lnTo>
                  <a:lnTo>
                    <a:pt x="67" y="268"/>
                  </a:lnTo>
                  <a:lnTo>
                    <a:pt x="67" y="265"/>
                  </a:lnTo>
                  <a:lnTo>
                    <a:pt x="67" y="267"/>
                  </a:lnTo>
                  <a:lnTo>
                    <a:pt x="68" y="265"/>
                  </a:lnTo>
                  <a:lnTo>
                    <a:pt x="70" y="267"/>
                  </a:lnTo>
                  <a:lnTo>
                    <a:pt x="70" y="265"/>
                  </a:lnTo>
                  <a:lnTo>
                    <a:pt x="72" y="265"/>
                  </a:lnTo>
                  <a:lnTo>
                    <a:pt x="77" y="262"/>
                  </a:lnTo>
                  <a:lnTo>
                    <a:pt x="80" y="260"/>
                  </a:lnTo>
                  <a:lnTo>
                    <a:pt x="80" y="258"/>
                  </a:lnTo>
                  <a:lnTo>
                    <a:pt x="82" y="258"/>
                  </a:lnTo>
                  <a:lnTo>
                    <a:pt x="82" y="255"/>
                  </a:lnTo>
                  <a:lnTo>
                    <a:pt x="85" y="251"/>
                  </a:lnTo>
                  <a:lnTo>
                    <a:pt x="84" y="251"/>
                  </a:lnTo>
                  <a:lnTo>
                    <a:pt x="87" y="248"/>
                  </a:lnTo>
                  <a:lnTo>
                    <a:pt x="85" y="245"/>
                  </a:lnTo>
                  <a:lnTo>
                    <a:pt x="87" y="243"/>
                  </a:lnTo>
                  <a:lnTo>
                    <a:pt x="85" y="239"/>
                  </a:lnTo>
                  <a:lnTo>
                    <a:pt x="87" y="234"/>
                  </a:lnTo>
                  <a:lnTo>
                    <a:pt x="80" y="229"/>
                  </a:lnTo>
                  <a:lnTo>
                    <a:pt x="82" y="226"/>
                  </a:lnTo>
                  <a:lnTo>
                    <a:pt x="85" y="224"/>
                  </a:lnTo>
                  <a:lnTo>
                    <a:pt x="84" y="222"/>
                  </a:lnTo>
                  <a:lnTo>
                    <a:pt x="85" y="221"/>
                  </a:lnTo>
                  <a:lnTo>
                    <a:pt x="85" y="214"/>
                  </a:lnTo>
                  <a:lnTo>
                    <a:pt x="90" y="214"/>
                  </a:lnTo>
                  <a:lnTo>
                    <a:pt x="92" y="207"/>
                  </a:lnTo>
                  <a:lnTo>
                    <a:pt x="94" y="209"/>
                  </a:lnTo>
                  <a:lnTo>
                    <a:pt x="96" y="205"/>
                  </a:lnTo>
                  <a:lnTo>
                    <a:pt x="97" y="207"/>
                  </a:lnTo>
                  <a:lnTo>
                    <a:pt x="104" y="209"/>
                  </a:lnTo>
                  <a:lnTo>
                    <a:pt x="113" y="212"/>
                  </a:lnTo>
                  <a:lnTo>
                    <a:pt x="118" y="210"/>
                  </a:lnTo>
                  <a:lnTo>
                    <a:pt x="119" y="209"/>
                  </a:lnTo>
                  <a:lnTo>
                    <a:pt x="119" y="210"/>
                  </a:lnTo>
                  <a:lnTo>
                    <a:pt x="128" y="207"/>
                  </a:lnTo>
                  <a:lnTo>
                    <a:pt x="130" y="209"/>
                  </a:lnTo>
                  <a:lnTo>
                    <a:pt x="130" y="210"/>
                  </a:lnTo>
                  <a:lnTo>
                    <a:pt x="135" y="217"/>
                  </a:lnTo>
                  <a:lnTo>
                    <a:pt x="137" y="221"/>
                  </a:lnTo>
                  <a:lnTo>
                    <a:pt x="147" y="224"/>
                  </a:lnTo>
                  <a:lnTo>
                    <a:pt x="152" y="222"/>
                  </a:lnTo>
                  <a:lnTo>
                    <a:pt x="159" y="221"/>
                  </a:lnTo>
                  <a:lnTo>
                    <a:pt x="164" y="221"/>
                  </a:lnTo>
                  <a:lnTo>
                    <a:pt x="171" y="219"/>
                  </a:lnTo>
                  <a:lnTo>
                    <a:pt x="178" y="221"/>
                  </a:lnTo>
                  <a:lnTo>
                    <a:pt x="183" y="219"/>
                  </a:lnTo>
                  <a:lnTo>
                    <a:pt x="188" y="222"/>
                  </a:lnTo>
                  <a:lnTo>
                    <a:pt x="193" y="224"/>
                  </a:lnTo>
                  <a:lnTo>
                    <a:pt x="196" y="221"/>
                  </a:lnTo>
                  <a:lnTo>
                    <a:pt x="195" y="219"/>
                  </a:lnTo>
                  <a:lnTo>
                    <a:pt x="196" y="219"/>
                  </a:lnTo>
                  <a:lnTo>
                    <a:pt x="196" y="216"/>
                  </a:lnTo>
                  <a:lnTo>
                    <a:pt x="200" y="217"/>
                  </a:lnTo>
                  <a:lnTo>
                    <a:pt x="201" y="222"/>
                  </a:lnTo>
                  <a:lnTo>
                    <a:pt x="203" y="222"/>
                  </a:lnTo>
                  <a:lnTo>
                    <a:pt x="205" y="224"/>
                  </a:lnTo>
                  <a:lnTo>
                    <a:pt x="205" y="226"/>
                  </a:lnTo>
                  <a:lnTo>
                    <a:pt x="203" y="224"/>
                  </a:lnTo>
                  <a:lnTo>
                    <a:pt x="203" y="229"/>
                  </a:lnTo>
                  <a:lnTo>
                    <a:pt x="205" y="234"/>
                  </a:lnTo>
                  <a:lnTo>
                    <a:pt x="210" y="238"/>
                  </a:lnTo>
                  <a:lnTo>
                    <a:pt x="210" y="243"/>
                  </a:lnTo>
                  <a:lnTo>
                    <a:pt x="208" y="243"/>
                  </a:lnTo>
                  <a:lnTo>
                    <a:pt x="207" y="250"/>
                  </a:lnTo>
                  <a:lnTo>
                    <a:pt x="207" y="251"/>
                  </a:lnTo>
                  <a:lnTo>
                    <a:pt x="210" y="251"/>
                  </a:lnTo>
                  <a:lnTo>
                    <a:pt x="212" y="255"/>
                  </a:lnTo>
                  <a:lnTo>
                    <a:pt x="210" y="260"/>
                  </a:lnTo>
                  <a:lnTo>
                    <a:pt x="212" y="262"/>
                  </a:lnTo>
                  <a:lnTo>
                    <a:pt x="217" y="263"/>
                  </a:lnTo>
                  <a:lnTo>
                    <a:pt x="215" y="258"/>
                  </a:lnTo>
                  <a:lnTo>
                    <a:pt x="217" y="260"/>
                  </a:lnTo>
                  <a:lnTo>
                    <a:pt x="219" y="260"/>
                  </a:lnTo>
                  <a:lnTo>
                    <a:pt x="219" y="258"/>
                  </a:lnTo>
                  <a:lnTo>
                    <a:pt x="224" y="258"/>
                  </a:lnTo>
                  <a:lnTo>
                    <a:pt x="227" y="267"/>
                  </a:lnTo>
                  <a:lnTo>
                    <a:pt x="232" y="268"/>
                  </a:lnTo>
                  <a:lnTo>
                    <a:pt x="232" y="272"/>
                  </a:lnTo>
                  <a:lnTo>
                    <a:pt x="230" y="277"/>
                  </a:lnTo>
                  <a:lnTo>
                    <a:pt x="232" y="275"/>
                  </a:lnTo>
                  <a:lnTo>
                    <a:pt x="230" y="284"/>
                  </a:lnTo>
                  <a:lnTo>
                    <a:pt x="232" y="292"/>
                  </a:lnTo>
                  <a:lnTo>
                    <a:pt x="229" y="292"/>
                  </a:lnTo>
                  <a:lnTo>
                    <a:pt x="236" y="299"/>
                  </a:lnTo>
                  <a:lnTo>
                    <a:pt x="236" y="304"/>
                  </a:lnTo>
                  <a:lnTo>
                    <a:pt x="234" y="303"/>
                  </a:lnTo>
                  <a:lnTo>
                    <a:pt x="234" y="304"/>
                  </a:lnTo>
                  <a:lnTo>
                    <a:pt x="232" y="304"/>
                  </a:lnTo>
                  <a:lnTo>
                    <a:pt x="236" y="306"/>
                  </a:lnTo>
                  <a:lnTo>
                    <a:pt x="239" y="311"/>
                  </a:lnTo>
                  <a:lnTo>
                    <a:pt x="246" y="311"/>
                  </a:lnTo>
                  <a:lnTo>
                    <a:pt x="249" y="315"/>
                  </a:lnTo>
                  <a:lnTo>
                    <a:pt x="254" y="313"/>
                  </a:lnTo>
                  <a:lnTo>
                    <a:pt x="261" y="320"/>
                  </a:lnTo>
                  <a:lnTo>
                    <a:pt x="263" y="320"/>
                  </a:lnTo>
                  <a:lnTo>
                    <a:pt x="263" y="321"/>
                  </a:lnTo>
                  <a:lnTo>
                    <a:pt x="268" y="323"/>
                  </a:lnTo>
                  <a:lnTo>
                    <a:pt x="271" y="323"/>
                  </a:lnTo>
                  <a:lnTo>
                    <a:pt x="273" y="325"/>
                  </a:lnTo>
                  <a:lnTo>
                    <a:pt x="277" y="323"/>
                  </a:lnTo>
                  <a:lnTo>
                    <a:pt x="282" y="325"/>
                  </a:lnTo>
                  <a:lnTo>
                    <a:pt x="285" y="330"/>
                  </a:lnTo>
                  <a:lnTo>
                    <a:pt x="287" y="327"/>
                  </a:lnTo>
                  <a:lnTo>
                    <a:pt x="292" y="328"/>
                  </a:lnTo>
                  <a:lnTo>
                    <a:pt x="297" y="323"/>
                  </a:lnTo>
                  <a:lnTo>
                    <a:pt x="304" y="323"/>
                  </a:lnTo>
                  <a:lnTo>
                    <a:pt x="309" y="320"/>
                  </a:lnTo>
                  <a:lnTo>
                    <a:pt x="316" y="321"/>
                  </a:lnTo>
                  <a:lnTo>
                    <a:pt x="319" y="320"/>
                  </a:lnTo>
                  <a:lnTo>
                    <a:pt x="324" y="321"/>
                  </a:lnTo>
                  <a:lnTo>
                    <a:pt x="328" y="321"/>
                  </a:lnTo>
                  <a:lnTo>
                    <a:pt x="331" y="323"/>
                  </a:lnTo>
                  <a:lnTo>
                    <a:pt x="336" y="320"/>
                  </a:lnTo>
                  <a:lnTo>
                    <a:pt x="341" y="323"/>
                  </a:lnTo>
                  <a:lnTo>
                    <a:pt x="347" y="323"/>
                  </a:lnTo>
                  <a:lnTo>
                    <a:pt x="352" y="318"/>
                  </a:lnTo>
                  <a:lnTo>
                    <a:pt x="355" y="316"/>
                  </a:lnTo>
                  <a:lnTo>
                    <a:pt x="362" y="320"/>
                  </a:lnTo>
                  <a:lnTo>
                    <a:pt x="364" y="316"/>
                  </a:lnTo>
                  <a:lnTo>
                    <a:pt x="365" y="316"/>
                  </a:lnTo>
                  <a:lnTo>
                    <a:pt x="367" y="313"/>
                  </a:lnTo>
                  <a:lnTo>
                    <a:pt x="374" y="308"/>
                  </a:lnTo>
                  <a:lnTo>
                    <a:pt x="377" y="311"/>
                  </a:lnTo>
                  <a:lnTo>
                    <a:pt x="382" y="320"/>
                  </a:lnTo>
                  <a:lnTo>
                    <a:pt x="394" y="320"/>
                  </a:lnTo>
                  <a:lnTo>
                    <a:pt x="394" y="321"/>
                  </a:lnTo>
                  <a:lnTo>
                    <a:pt x="399" y="320"/>
                  </a:lnTo>
                  <a:lnTo>
                    <a:pt x="406" y="325"/>
                  </a:lnTo>
                  <a:lnTo>
                    <a:pt x="410" y="327"/>
                  </a:lnTo>
                  <a:lnTo>
                    <a:pt x="415" y="325"/>
                  </a:lnTo>
                  <a:lnTo>
                    <a:pt x="423" y="330"/>
                  </a:lnTo>
                  <a:lnTo>
                    <a:pt x="427" y="335"/>
                  </a:lnTo>
                  <a:lnTo>
                    <a:pt x="425" y="342"/>
                  </a:lnTo>
                  <a:lnTo>
                    <a:pt x="420" y="345"/>
                  </a:lnTo>
                  <a:lnTo>
                    <a:pt x="422" y="356"/>
                  </a:lnTo>
                  <a:lnTo>
                    <a:pt x="422" y="357"/>
                  </a:lnTo>
                  <a:lnTo>
                    <a:pt x="422" y="359"/>
                  </a:lnTo>
                  <a:lnTo>
                    <a:pt x="422" y="362"/>
                  </a:lnTo>
                  <a:lnTo>
                    <a:pt x="418" y="369"/>
                  </a:lnTo>
                  <a:lnTo>
                    <a:pt x="415" y="379"/>
                  </a:lnTo>
                  <a:lnTo>
                    <a:pt x="417" y="383"/>
                  </a:lnTo>
                  <a:lnTo>
                    <a:pt x="413" y="388"/>
                  </a:lnTo>
                  <a:lnTo>
                    <a:pt x="413" y="395"/>
                  </a:lnTo>
                  <a:lnTo>
                    <a:pt x="410" y="405"/>
                  </a:lnTo>
                  <a:lnTo>
                    <a:pt x="413" y="414"/>
                  </a:lnTo>
                  <a:lnTo>
                    <a:pt x="411" y="419"/>
                  </a:lnTo>
                  <a:lnTo>
                    <a:pt x="415" y="419"/>
                  </a:lnTo>
                  <a:lnTo>
                    <a:pt x="415" y="409"/>
                  </a:lnTo>
                  <a:lnTo>
                    <a:pt x="417" y="409"/>
                  </a:lnTo>
                  <a:lnTo>
                    <a:pt x="418" y="417"/>
                  </a:lnTo>
                  <a:lnTo>
                    <a:pt x="418" y="424"/>
                  </a:lnTo>
                  <a:lnTo>
                    <a:pt x="422" y="431"/>
                  </a:lnTo>
                  <a:lnTo>
                    <a:pt x="423" y="432"/>
                  </a:lnTo>
                  <a:lnTo>
                    <a:pt x="427" y="429"/>
                  </a:lnTo>
                  <a:lnTo>
                    <a:pt x="430" y="432"/>
                  </a:lnTo>
                  <a:lnTo>
                    <a:pt x="437" y="434"/>
                  </a:lnTo>
                  <a:lnTo>
                    <a:pt x="442" y="441"/>
                  </a:lnTo>
                  <a:lnTo>
                    <a:pt x="440" y="444"/>
                  </a:lnTo>
                  <a:lnTo>
                    <a:pt x="439" y="448"/>
                  </a:lnTo>
                  <a:lnTo>
                    <a:pt x="434" y="450"/>
                  </a:lnTo>
                  <a:lnTo>
                    <a:pt x="430" y="448"/>
                  </a:lnTo>
                  <a:lnTo>
                    <a:pt x="423" y="446"/>
                  </a:lnTo>
                  <a:lnTo>
                    <a:pt x="413" y="444"/>
                  </a:lnTo>
                  <a:lnTo>
                    <a:pt x="411" y="444"/>
                  </a:lnTo>
                  <a:lnTo>
                    <a:pt x="415" y="439"/>
                  </a:lnTo>
                  <a:lnTo>
                    <a:pt x="413" y="436"/>
                  </a:lnTo>
                  <a:lnTo>
                    <a:pt x="408" y="429"/>
                  </a:lnTo>
                  <a:lnTo>
                    <a:pt x="398" y="427"/>
                  </a:lnTo>
                  <a:lnTo>
                    <a:pt x="398" y="426"/>
                  </a:lnTo>
                  <a:lnTo>
                    <a:pt x="403" y="427"/>
                  </a:lnTo>
                  <a:lnTo>
                    <a:pt x="399" y="426"/>
                  </a:lnTo>
                  <a:lnTo>
                    <a:pt x="396" y="427"/>
                  </a:lnTo>
                  <a:lnTo>
                    <a:pt x="396" y="432"/>
                  </a:lnTo>
                  <a:lnTo>
                    <a:pt x="386" y="429"/>
                  </a:lnTo>
                  <a:lnTo>
                    <a:pt x="381" y="429"/>
                  </a:lnTo>
                  <a:lnTo>
                    <a:pt x="379" y="431"/>
                  </a:lnTo>
                  <a:lnTo>
                    <a:pt x="377" y="431"/>
                  </a:lnTo>
                  <a:lnTo>
                    <a:pt x="376" y="432"/>
                  </a:lnTo>
                  <a:lnTo>
                    <a:pt x="374" y="431"/>
                  </a:lnTo>
                  <a:lnTo>
                    <a:pt x="372" y="427"/>
                  </a:lnTo>
                  <a:lnTo>
                    <a:pt x="370" y="426"/>
                  </a:lnTo>
                  <a:lnTo>
                    <a:pt x="369" y="426"/>
                  </a:lnTo>
                  <a:lnTo>
                    <a:pt x="369" y="429"/>
                  </a:lnTo>
                  <a:lnTo>
                    <a:pt x="369" y="427"/>
                  </a:lnTo>
                  <a:lnTo>
                    <a:pt x="365" y="429"/>
                  </a:lnTo>
                  <a:lnTo>
                    <a:pt x="364" y="427"/>
                  </a:lnTo>
                  <a:lnTo>
                    <a:pt x="365" y="426"/>
                  </a:lnTo>
                  <a:lnTo>
                    <a:pt x="365" y="422"/>
                  </a:lnTo>
                  <a:lnTo>
                    <a:pt x="360" y="422"/>
                  </a:lnTo>
                  <a:lnTo>
                    <a:pt x="360" y="424"/>
                  </a:lnTo>
                  <a:lnTo>
                    <a:pt x="358" y="424"/>
                  </a:lnTo>
                  <a:lnTo>
                    <a:pt x="355" y="422"/>
                  </a:lnTo>
                  <a:lnTo>
                    <a:pt x="350" y="422"/>
                  </a:lnTo>
                  <a:lnTo>
                    <a:pt x="350" y="419"/>
                  </a:lnTo>
                  <a:lnTo>
                    <a:pt x="347" y="422"/>
                  </a:lnTo>
                  <a:lnTo>
                    <a:pt x="347" y="415"/>
                  </a:lnTo>
                  <a:lnTo>
                    <a:pt x="345" y="414"/>
                  </a:lnTo>
                  <a:lnTo>
                    <a:pt x="341" y="415"/>
                  </a:lnTo>
                  <a:lnTo>
                    <a:pt x="340" y="417"/>
                  </a:lnTo>
                  <a:lnTo>
                    <a:pt x="338" y="419"/>
                  </a:lnTo>
                  <a:lnTo>
                    <a:pt x="338" y="417"/>
                  </a:lnTo>
                  <a:lnTo>
                    <a:pt x="335" y="419"/>
                  </a:lnTo>
                  <a:lnTo>
                    <a:pt x="336" y="414"/>
                  </a:lnTo>
                  <a:lnTo>
                    <a:pt x="335" y="414"/>
                  </a:lnTo>
                  <a:lnTo>
                    <a:pt x="333" y="415"/>
                  </a:lnTo>
                  <a:lnTo>
                    <a:pt x="331" y="414"/>
                  </a:lnTo>
                  <a:lnTo>
                    <a:pt x="328" y="414"/>
                  </a:lnTo>
                  <a:lnTo>
                    <a:pt x="326" y="410"/>
                  </a:lnTo>
                  <a:lnTo>
                    <a:pt x="323" y="407"/>
                  </a:lnTo>
                  <a:lnTo>
                    <a:pt x="319" y="409"/>
                  </a:lnTo>
                  <a:lnTo>
                    <a:pt x="318" y="407"/>
                  </a:lnTo>
                  <a:lnTo>
                    <a:pt x="316" y="407"/>
                  </a:lnTo>
                  <a:lnTo>
                    <a:pt x="309" y="405"/>
                  </a:lnTo>
                  <a:lnTo>
                    <a:pt x="307" y="400"/>
                  </a:lnTo>
                  <a:lnTo>
                    <a:pt x="300" y="402"/>
                  </a:lnTo>
                  <a:lnTo>
                    <a:pt x="297" y="403"/>
                  </a:lnTo>
                  <a:lnTo>
                    <a:pt x="292" y="397"/>
                  </a:lnTo>
                  <a:lnTo>
                    <a:pt x="287" y="391"/>
                  </a:lnTo>
                  <a:lnTo>
                    <a:pt x="278" y="390"/>
                  </a:lnTo>
                  <a:lnTo>
                    <a:pt x="270" y="390"/>
                  </a:lnTo>
                  <a:lnTo>
                    <a:pt x="265" y="390"/>
                  </a:lnTo>
                  <a:lnTo>
                    <a:pt x="259" y="390"/>
                  </a:lnTo>
                  <a:lnTo>
                    <a:pt x="258" y="391"/>
                  </a:lnTo>
                  <a:lnTo>
                    <a:pt x="248" y="395"/>
                  </a:lnTo>
                  <a:lnTo>
                    <a:pt x="242" y="402"/>
                  </a:lnTo>
                  <a:lnTo>
                    <a:pt x="239" y="403"/>
                  </a:lnTo>
                  <a:lnTo>
                    <a:pt x="237" y="400"/>
                  </a:lnTo>
                  <a:lnTo>
                    <a:pt x="237" y="403"/>
                  </a:lnTo>
                  <a:lnTo>
                    <a:pt x="236" y="403"/>
                  </a:lnTo>
                  <a:lnTo>
                    <a:pt x="234" y="402"/>
                  </a:lnTo>
                  <a:lnTo>
                    <a:pt x="232" y="403"/>
                  </a:lnTo>
                  <a:lnTo>
                    <a:pt x="232" y="400"/>
                  </a:lnTo>
                  <a:lnTo>
                    <a:pt x="230" y="402"/>
                  </a:lnTo>
                  <a:lnTo>
                    <a:pt x="230" y="400"/>
                  </a:lnTo>
                  <a:lnTo>
                    <a:pt x="227" y="403"/>
                  </a:lnTo>
                  <a:lnTo>
                    <a:pt x="225" y="403"/>
                  </a:lnTo>
                  <a:lnTo>
                    <a:pt x="224" y="402"/>
                  </a:lnTo>
                  <a:lnTo>
                    <a:pt x="220" y="407"/>
                  </a:lnTo>
                  <a:lnTo>
                    <a:pt x="215" y="405"/>
                  </a:lnTo>
                  <a:lnTo>
                    <a:pt x="208" y="409"/>
                  </a:lnTo>
                  <a:lnTo>
                    <a:pt x="207" y="407"/>
                  </a:lnTo>
                  <a:lnTo>
                    <a:pt x="205" y="407"/>
                  </a:lnTo>
                  <a:lnTo>
                    <a:pt x="196" y="403"/>
                  </a:lnTo>
                  <a:lnTo>
                    <a:pt x="193" y="403"/>
                  </a:lnTo>
                  <a:lnTo>
                    <a:pt x="184" y="403"/>
                  </a:lnTo>
                  <a:lnTo>
                    <a:pt x="181" y="402"/>
                  </a:lnTo>
                  <a:lnTo>
                    <a:pt x="176" y="400"/>
                  </a:lnTo>
                  <a:lnTo>
                    <a:pt x="174" y="397"/>
                  </a:lnTo>
                  <a:lnTo>
                    <a:pt x="172" y="397"/>
                  </a:lnTo>
                  <a:lnTo>
                    <a:pt x="171" y="395"/>
                  </a:lnTo>
                  <a:lnTo>
                    <a:pt x="169" y="397"/>
                  </a:lnTo>
                  <a:lnTo>
                    <a:pt x="166" y="395"/>
                  </a:lnTo>
                  <a:lnTo>
                    <a:pt x="162" y="397"/>
                  </a:lnTo>
                  <a:lnTo>
                    <a:pt x="157" y="397"/>
                  </a:lnTo>
                  <a:lnTo>
                    <a:pt x="157" y="395"/>
                  </a:lnTo>
                  <a:lnTo>
                    <a:pt x="149" y="395"/>
                  </a:lnTo>
                  <a:lnTo>
                    <a:pt x="149" y="393"/>
                  </a:lnTo>
                  <a:lnTo>
                    <a:pt x="147" y="395"/>
                  </a:lnTo>
                  <a:lnTo>
                    <a:pt x="143" y="393"/>
                  </a:lnTo>
                  <a:lnTo>
                    <a:pt x="135" y="393"/>
                  </a:lnTo>
                  <a:lnTo>
                    <a:pt x="128" y="388"/>
                  </a:lnTo>
                  <a:lnTo>
                    <a:pt x="125" y="388"/>
                  </a:lnTo>
                  <a:lnTo>
                    <a:pt x="123" y="390"/>
                  </a:lnTo>
                  <a:lnTo>
                    <a:pt x="123" y="391"/>
                  </a:lnTo>
                  <a:lnTo>
                    <a:pt x="119" y="391"/>
                  </a:lnTo>
                  <a:lnTo>
                    <a:pt x="111" y="386"/>
                  </a:lnTo>
                  <a:lnTo>
                    <a:pt x="113" y="390"/>
                  </a:lnTo>
                  <a:lnTo>
                    <a:pt x="108" y="388"/>
                  </a:lnTo>
                  <a:lnTo>
                    <a:pt x="106" y="386"/>
                  </a:lnTo>
                  <a:lnTo>
                    <a:pt x="104" y="386"/>
                  </a:lnTo>
                  <a:lnTo>
                    <a:pt x="102" y="393"/>
                  </a:lnTo>
                  <a:lnTo>
                    <a:pt x="104" y="395"/>
                  </a:lnTo>
                  <a:lnTo>
                    <a:pt x="101" y="397"/>
                  </a:lnTo>
                  <a:lnTo>
                    <a:pt x="99" y="395"/>
                  </a:lnTo>
                  <a:lnTo>
                    <a:pt x="101" y="391"/>
                  </a:lnTo>
                  <a:lnTo>
                    <a:pt x="99" y="390"/>
                  </a:lnTo>
                  <a:lnTo>
                    <a:pt x="96" y="390"/>
                  </a:lnTo>
                  <a:lnTo>
                    <a:pt x="97" y="393"/>
                  </a:lnTo>
                  <a:lnTo>
                    <a:pt x="94" y="395"/>
                  </a:lnTo>
                  <a:lnTo>
                    <a:pt x="97" y="400"/>
                  </a:lnTo>
                  <a:lnTo>
                    <a:pt x="96" y="400"/>
                  </a:lnTo>
                  <a:lnTo>
                    <a:pt x="94" y="400"/>
                  </a:lnTo>
                  <a:lnTo>
                    <a:pt x="90" y="398"/>
                  </a:lnTo>
                  <a:lnTo>
                    <a:pt x="89" y="398"/>
                  </a:lnTo>
                  <a:lnTo>
                    <a:pt x="87" y="397"/>
                  </a:lnTo>
                  <a:lnTo>
                    <a:pt x="85" y="398"/>
                  </a:lnTo>
                  <a:lnTo>
                    <a:pt x="87" y="397"/>
                  </a:lnTo>
                  <a:lnTo>
                    <a:pt x="85" y="393"/>
                  </a:lnTo>
                  <a:lnTo>
                    <a:pt x="84" y="397"/>
                  </a:lnTo>
                  <a:lnTo>
                    <a:pt x="82" y="393"/>
                  </a:lnTo>
                  <a:lnTo>
                    <a:pt x="79" y="397"/>
                  </a:lnTo>
                  <a:lnTo>
                    <a:pt x="80" y="393"/>
                  </a:lnTo>
                  <a:lnTo>
                    <a:pt x="77" y="391"/>
                  </a:lnTo>
                  <a:lnTo>
                    <a:pt x="75" y="393"/>
                  </a:lnTo>
                  <a:lnTo>
                    <a:pt x="75" y="395"/>
                  </a:lnTo>
                  <a:lnTo>
                    <a:pt x="68" y="393"/>
                  </a:lnTo>
                  <a:lnTo>
                    <a:pt x="68" y="391"/>
                  </a:lnTo>
                  <a:lnTo>
                    <a:pt x="65" y="393"/>
                  </a:lnTo>
                  <a:lnTo>
                    <a:pt x="65" y="390"/>
                  </a:lnTo>
                  <a:lnTo>
                    <a:pt x="65" y="388"/>
                  </a:lnTo>
                  <a:lnTo>
                    <a:pt x="61" y="386"/>
                  </a:lnTo>
                  <a:lnTo>
                    <a:pt x="61" y="388"/>
                  </a:lnTo>
                  <a:lnTo>
                    <a:pt x="56" y="388"/>
                  </a:lnTo>
                  <a:lnTo>
                    <a:pt x="56" y="386"/>
                  </a:lnTo>
                  <a:lnTo>
                    <a:pt x="49" y="388"/>
                  </a:lnTo>
                  <a:lnTo>
                    <a:pt x="48" y="386"/>
                  </a:lnTo>
                  <a:lnTo>
                    <a:pt x="46" y="386"/>
                  </a:lnTo>
                  <a:lnTo>
                    <a:pt x="46" y="388"/>
                  </a:lnTo>
                  <a:lnTo>
                    <a:pt x="43" y="385"/>
                  </a:lnTo>
                  <a:lnTo>
                    <a:pt x="38" y="388"/>
                  </a:lnTo>
                  <a:lnTo>
                    <a:pt x="38" y="386"/>
                  </a:lnTo>
                  <a:lnTo>
                    <a:pt x="34" y="388"/>
                  </a:lnTo>
                  <a:lnTo>
                    <a:pt x="29" y="390"/>
                  </a:lnTo>
                  <a:lnTo>
                    <a:pt x="27" y="388"/>
                  </a:lnTo>
                  <a:lnTo>
                    <a:pt x="27" y="386"/>
                  </a:lnTo>
                  <a:lnTo>
                    <a:pt x="22" y="385"/>
                  </a:lnTo>
                  <a:lnTo>
                    <a:pt x="24" y="383"/>
                  </a:lnTo>
                  <a:lnTo>
                    <a:pt x="22" y="381"/>
                  </a:lnTo>
                  <a:lnTo>
                    <a:pt x="20" y="381"/>
                  </a:lnTo>
                  <a:lnTo>
                    <a:pt x="20" y="385"/>
                  </a:lnTo>
                  <a:lnTo>
                    <a:pt x="15" y="386"/>
                  </a:lnTo>
                  <a:lnTo>
                    <a:pt x="10" y="386"/>
                  </a:lnTo>
                  <a:lnTo>
                    <a:pt x="7" y="383"/>
                  </a:lnTo>
                  <a:lnTo>
                    <a:pt x="0" y="381"/>
                  </a:lnTo>
                  <a:close/>
                  <a:moveTo>
                    <a:pt x="217" y="84"/>
                  </a:moveTo>
                  <a:lnTo>
                    <a:pt x="219" y="84"/>
                  </a:lnTo>
                  <a:lnTo>
                    <a:pt x="220" y="91"/>
                  </a:lnTo>
                  <a:lnTo>
                    <a:pt x="220" y="96"/>
                  </a:lnTo>
                  <a:lnTo>
                    <a:pt x="219" y="98"/>
                  </a:lnTo>
                  <a:lnTo>
                    <a:pt x="215" y="98"/>
                  </a:lnTo>
                  <a:lnTo>
                    <a:pt x="215" y="99"/>
                  </a:lnTo>
                  <a:lnTo>
                    <a:pt x="213" y="98"/>
                  </a:lnTo>
                  <a:lnTo>
                    <a:pt x="208" y="98"/>
                  </a:lnTo>
                  <a:lnTo>
                    <a:pt x="207" y="99"/>
                  </a:lnTo>
                  <a:lnTo>
                    <a:pt x="207" y="98"/>
                  </a:lnTo>
                  <a:lnTo>
                    <a:pt x="201" y="98"/>
                  </a:lnTo>
                  <a:lnTo>
                    <a:pt x="201" y="96"/>
                  </a:lnTo>
                  <a:lnTo>
                    <a:pt x="200" y="93"/>
                  </a:lnTo>
                  <a:lnTo>
                    <a:pt x="203" y="89"/>
                  </a:lnTo>
                  <a:lnTo>
                    <a:pt x="205" y="87"/>
                  </a:lnTo>
                  <a:lnTo>
                    <a:pt x="207" y="86"/>
                  </a:lnTo>
                  <a:lnTo>
                    <a:pt x="210" y="82"/>
                  </a:lnTo>
                  <a:lnTo>
                    <a:pt x="213" y="84"/>
                  </a:lnTo>
                  <a:lnTo>
                    <a:pt x="215" y="81"/>
                  </a:lnTo>
                  <a:lnTo>
                    <a:pt x="217" y="84"/>
                  </a:lnTo>
                  <a:close/>
                  <a:moveTo>
                    <a:pt x="422" y="60"/>
                  </a:moveTo>
                  <a:lnTo>
                    <a:pt x="422" y="62"/>
                  </a:lnTo>
                  <a:lnTo>
                    <a:pt x="425" y="62"/>
                  </a:lnTo>
                  <a:lnTo>
                    <a:pt x="427" y="64"/>
                  </a:lnTo>
                  <a:lnTo>
                    <a:pt x="423" y="65"/>
                  </a:lnTo>
                  <a:lnTo>
                    <a:pt x="418" y="64"/>
                  </a:lnTo>
                  <a:lnTo>
                    <a:pt x="418" y="60"/>
                  </a:lnTo>
                  <a:lnTo>
                    <a:pt x="422" y="60"/>
                  </a:lnTo>
                  <a:close/>
                  <a:moveTo>
                    <a:pt x="423" y="50"/>
                  </a:moveTo>
                  <a:lnTo>
                    <a:pt x="422" y="50"/>
                  </a:lnTo>
                  <a:lnTo>
                    <a:pt x="422" y="46"/>
                  </a:lnTo>
                  <a:lnTo>
                    <a:pt x="423" y="50"/>
                  </a:lnTo>
                  <a:close/>
                  <a:moveTo>
                    <a:pt x="444" y="7"/>
                  </a:moveTo>
                  <a:lnTo>
                    <a:pt x="442" y="7"/>
                  </a:lnTo>
                  <a:lnTo>
                    <a:pt x="442" y="4"/>
                  </a:lnTo>
                  <a:lnTo>
                    <a:pt x="446" y="0"/>
                  </a:lnTo>
                  <a:lnTo>
                    <a:pt x="444" y="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4" name="Freeform 61"/>
            <p:cNvSpPr>
              <a:spLocks noEditPoints="1"/>
            </p:cNvSpPr>
            <p:nvPr/>
          </p:nvSpPr>
          <p:spPr bwMode="gray">
            <a:xfrm>
              <a:off x="6096000" y="4854846"/>
              <a:ext cx="1362664" cy="707783"/>
            </a:xfrm>
            <a:custGeom>
              <a:avLst/>
              <a:gdLst>
                <a:gd name="T0" fmla="*/ 445 w 747"/>
                <a:gd name="T1" fmla="*/ 367 h 388"/>
                <a:gd name="T2" fmla="*/ 527 w 747"/>
                <a:gd name="T3" fmla="*/ 332 h 388"/>
                <a:gd name="T4" fmla="*/ 510 w 747"/>
                <a:gd name="T5" fmla="*/ 366 h 388"/>
                <a:gd name="T6" fmla="*/ 462 w 747"/>
                <a:gd name="T7" fmla="*/ 378 h 388"/>
                <a:gd name="T8" fmla="*/ 512 w 747"/>
                <a:gd name="T9" fmla="*/ 340 h 388"/>
                <a:gd name="T10" fmla="*/ 350 w 747"/>
                <a:gd name="T11" fmla="*/ 340 h 388"/>
                <a:gd name="T12" fmla="*/ 544 w 747"/>
                <a:gd name="T13" fmla="*/ 289 h 388"/>
                <a:gd name="T14" fmla="*/ 527 w 747"/>
                <a:gd name="T15" fmla="*/ 292 h 388"/>
                <a:gd name="T16" fmla="*/ 182 w 747"/>
                <a:gd name="T17" fmla="*/ 221 h 388"/>
                <a:gd name="T18" fmla="*/ 203 w 747"/>
                <a:gd name="T19" fmla="*/ 294 h 388"/>
                <a:gd name="T20" fmla="*/ 121 w 747"/>
                <a:gd name="T21" fmla="*/ 267 h 388"/>
                <a:gd name="T22" fmla="*/ 76 w 747"/>
                <a:gd name="T23" fmla="*/ 238 h 388"/>
                <a:gd name="T24" fmla="*/ 8 w 747"/>
                <a:gd name="T25" fmla="*/ 222 h 388"/>
                <a:gd name="T26" fmla="*/ 99 w 747"/>
                <a:gd name="T27" fmla="*/ 193 h 388"/>
                <a:gd name="T28" fmla="*/ 746 w 747"/>
                <a:gd name="T29" fmla="*/ 168 h 388"/>
                <a:gd name="T30" fmla="*/ 718 w 747"/>
                <a:gd name="T31" fmla="*/ 229 h 388"/>
                <a:gd name="T32" fmla="*/ 630 w 747"/>
                <a:gd name="T33" fmla="*/ 285 h 388"/>
                <a:gd name="T34" fmla="*/ 558 w 747"/>
                <a:gd name="T35" fmla="*/ 311 h 388"/>
                <a:gd name="T36" fmla="*/ 556 w 747"/>
                <a:gd name="T37" fmla="*/ 272 h 388"/>
                <a:gd name="T38" fmla="*/ 594 w 747"/>
                <a:gd name="T39" fmla="*/ 198 h 388"/>
                <a:gd name="T40" fmla="*/ 650 w 747"/>
                <a:gd name="T41" fmla="*/ 197 h 388"/>
                <a:gd name="T42" fmla="*/ 712 w 747"/>
                <a:gd name="T43" fmla="*/ 144 h 388"/>
                <a:gd name="T44" fmla="*/ 102 w 747"/>
                <a:gd name="T45" fmla="*/ 122 h 388"/>
                <a:gd name="T46" fmla="*/ 88 w 747"/>
                <a:gd name="T47" fmla="*/ 106 h 388"/>
                <a:gd name="T48" fmla="*/ 97 w 747"/>
                <a:gd name="T49" fmla="*/ 118 h 388"/>
                <a:gd name="T50" fmla="*/ 82 w 747"/>
                <a:gd name="T51" fmla="*/ 99 h 388"/>
                <a:gd name="T52" fmla="*/ 640 w 747"/>
                <a:gd name="T53" fmla="*/ 84 h 388"/>
                <a:gd name="T54" fmla="*/ 418 w 747"/>
                <a:gd name="T55" fmla="*/ 81 h 388"/>
                <a:gd name="T56" fmla="*/ 75 w 747"/>
                <a:gd name="T57" fmla="*/ 91 h 388"/>
                <a:gd name="T58" fmla="*/ 54 w 747"/>
                <a:gd name="T59" fmla="*/ 115 h 388"/>
                <a:gd name="T60" fmla="*/ 66 w 747"/>
                <a:gd name="T61" fmla="*/ 81 h 388"/>
                <a:gd name="T62" fmla="*/ 481 w 747"/>
                <a:gd name="T63" fmla="*/ 86 h 388"/>
                <a:gd name="T64" fmla="*/ 583 w 747"/>
                <a:gd name="T65" fmla="*/ 75 h 388"/>
                <a:gd name="T66" fmla="*/ 145 w 747"/>
                <a:gd name="T67" fmla="*/ 67 h 388"/>
                <a:gd name="T68" fmla="*/ 513 w 747"/>
                <a:gd name="T69" fmla="*/ 57 h 388"/>
                <a:gd name="T70" fmla="*/ 508 w 747"/>
                <a:gd name="T71" fmla="*/ 57 h 388"/>
                <a:gd name="T72" fmla="*/ 645 w 747"/>
                <a:gd name="T73" fmla="*/ 48 h 388"/>
                <a:gd name="T74" fmla="*/ 601 w 747"/>
                <a:gd name="T75" fmla="*/ 75 h 388"/>
                <a:gd name="T76" fmla="*/ 590 w 747"/>
                <a:gd name="T77" fmla="*/ 55 h 388"/>
                <a:gd name="T78" fmla="*/ 549 w 747"/>
                <a:gd name="T79" fmla="*/ 94 h 388"/>
                <a:gd name="T80" fmla="*/ 539 w 747"/>
                <a:gd name="T81" fmla="*/ 72 h 388"/>
                <a:gd name="T82" fmla="*/ 556 w 747"/>
                <a:gd name="T83" fmla="*/ 62 h 388"/>
                <a:gd name="T84" fmla="*/ 679 w 747"/>
                <a:gd name="T85" fmla="*/ 51 h 388"/>
                <a:gd name="T86" fmla="*/ 713 w 747"/>
                <a:gd name="T87" fmla="*/ 70 h 388"/>
                <a:gd name="T88" fmla="*/ 674 w 747"/>
                <a:gd name="T89" fmla="*/ 53 h 388"/>
                <a:gd name="T90" fmla="*/ 479 w 747"/>
                <a:gd name="T91" fmla="*/ 40 h 388"/>
                <a:gd name="T92" fmla="*/ 461 w 747"/>
                <a:gd name="T93" fmla="*/ 101 h 388"/>
                <a:gd name="T94" fmla="*/ 368 w 747"/>
                <a:gd name="T95" fmla="*/ 123 h 388"/>
                <a:gd name="T96" fmla="*/ 292 w 747"/>
                <a:gd name="T97" fmla="*/ 125 h 388"/>
                <a:gd name="T98" fmla="*/ 218 w 747"/>
                <a:gd name="T99" fmla="*/ 133 h 388"/>
                <a:gd name="T100" fmla="*/ 135 w 747"/>
                <a:gd name="T101" fmla="*/ 125 h 388"/>
                <a:gd name="T102" fmla="*/ 106 w 747"/>
                <a:gd name="T103" fmla="*/ 99 h 388"/>
                <a:gd name="T104" fmla="*/ 131 w 747"/>
                <a:gd name="T105" fmla="*/ 77 h 388"/>
                <a:gd name="T106" fmla="*/ 160 w 747"/>
                <a:gd name="T107" fmla="*/ 62 h 388"/>
                <a:gd name="T108" fmla="*/ 230 w 747"/>
                <a:gd name="T109" fmla="*/ 70 h 388"/>
                <a:gd name="T110" fmla="*/ 266 w 747"/>
                <a:gd name="T111" fmla="*/ 79 h 388"/>
                <a:gd name="T112" fmla="*/ 315 w 747"/>
                <a:gd name="T113" fmla="*/ 91 h 388"/>
                <a:gd name="T114" fmla="*/ 368 w 747"/>
                <a:gd name="T115" fmla="*/ 82 h 388"/>
                <a:gd name="T116" fmla="*/ 437 w 747"/>
                <a:gd name="T117" fmla="*/ 79 h 388"/>
                <a:gd name="T118" fmla="*/ 462 w 747"/>
                <a:gd name="T119" fmla="*/ 4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388">
                  <a:moveTo>
                    <a:pt x="467" y="383"/>
                  </a:moveTo>
                  <a:lnTo>
                    <a:pt x="469" y="385"/>
                  </a:lnTo>
                  <a:lnTo>
                    <a:pt x="469" y="388"/>
                  </a:lnTo>
                  <a:lnTo>
                    <a:pt x="464" y="383"/>
                  </a:lnTo>
                  <a:lnTo>
                    <a:pt x="467" y="383"/>
                  </a:lnTo>
                  <a:close/>
                  <a:moveTo>
                    <a:pt x="478" y="376"/>
                  </a:moveTo>
                  <a:lnTo>
                    <a:pt x="479" y="378"/>
                  </a:lnTo>
                  <a:lnTo>
                    <a:pt x="478" y="379"/>
                  </a:lnTo>
                  <a:lnTo>
                    <a:pt x="476" y="379"/>
                  </a:lnTo>
                  <a:lnTo>
                    <a:pt x="476" y="376"/>
                  </a:lnTo>
                  <a:lnTo>
                    <a:pt x="478" y="376"/>
                  </a:lnTo>
                  <a:close/>
                  <a:moveTo>
                    <a:pt x="481" y="376"/>
                  </a:moveTo>
                  <a:lnTo>
                    <a:pt x="483" y="376"/>
                  </a:lnTo>
                  <a:lnTo>
                    <a:pt x="483" y="378"/>
                  </a:lnTo>
                  <a:lnTo>
                    <a:pt x="481" y="378"/>
                  </a:lnTo>
                  <a:lnTo>
                    <a:pt x="481" y="376"/>
                  </a:lnTo>
                  <a:close/>
                  <a:moveTo>
                    <a:pt x="444" y="362"/>
                  </a:moveTo>
                  <a:lnTo>
                    <a:pt x="445" y="367"/>
                  </a:lnTo>
                  <a:lnTo>
                    <a:pt x="440" y="364"/>
                  </a:lnTo>
                  <a:lnTo>
                    <a:pt x="444" y="362"/>
                  </a:lnTo>
                  <a:close/>
                  <a:moveTo>
                    <a:pt x="457" y="359"/>
                  </a:moveTo>
                  <a:lnTo>
                    <a:pt x="457" y="361"/>
                  </a:lnTo>
                  <a:lnTo>
                    <a:pt x="454" y="361"/>
                  </a:lnTo>
                  <a:lnTo>
                    <a:pt x="457" y="359"/>
                  </a:lnTo>
                  <a:close/>
                  <a:moveTo>
                    <a:pt x="314" y="338"/>
                  </a:moveTo>
                  <a:lnTo>
                    <a:pt x="321" y="338"/>
                  </a:lnTo>
                  <a:lnTo>
                    <a:pt x="321" y="340"/>
                  </a:lnTo>
                  <a:lnTo>
                    <a:pt x="314" y="344"/>
                  </a:lnTo>
                  <a:lnTo>
                    <a:pt x="307" y="344"/>
                  </a:lnTo>
                  <a:lnTo>
                    <a:pt x="314" y="338"/>
                  </a:lnTo>
                  <a:close/>
                  <a:moveTo>
                    <a:pt x="531" y="320"/>
                  </a:moveTo>
                  <a:lnTo>
                    <a:pt x="534" y="323"/>
                  </a:lnTo>
                  <a:lnTo>
                    <a:pt x="532" y="323"/>
                  </a:lnTo>
                  <a:lnTo>
                    <a:pt x="529" y="325"/>
                  </a:lnTo>
                  <a:lnTo>
                    <a:pt x="532" y="328"/>
                  </a:lnTo>
                  <a:lnTo>
                    <a:pt x="527" y="332"/>
                  </a:lnTo>
                  <a:lnTo>
                    <a:pt x="532" y="328"/>
                  </a:lnTo>
                  <a:lnTo>
                    <a:pt x="532" y="326"/>
                  </a:lnTo>
                  <a:lnTo>
                    <a:pt x="536" y="326"/>
                  </a:lnTo>
                  <a:lnTo>
                    <a:pt x="536" y="328"/>
                  </a:lnTo>
                  <a:lnTo>
                    <a:pt x="529" y="333"/>
                  </a:lnTo>
                  <a:lnTo>
                    <a:pt x="527" y="332"/>
                  </a:lnTo>
                  <a:lnTo>
                    <a:pt x="529" y="335"/>
                  </a:lnTo>
                  <a:lnTo>
                    <a:pt x="525" y="337"/>
                  </a:lnTo>
                  <a:lnTo>
                    <a:pt x="534" y="340"/>
                  </a:lnTo>
                  <a:lnTo>
                    <a:pt x="534" y="345"/>
                  </a:lnTo>
                  <a:lnTo>
                    <a:pt x="532" y="347"/>
                  </a:lnTo>
                  <a:lnTo>
                    <a:pt x="532" y="349"/>
                  </a:lnTo>
                  <a:lnTo>
                    <a:pt x="524" y="349"/>
                  </a:lnTo>
                  <a:lnTo>
                    <a:pt x="519" y="354"/>
                  </a:lnTo>
                  <a:lnTo>
                    <a:pt x="513" y="356"/>
                  </a:lnTo>
                  <a:lnTo>
                    <a:pt x="512" y="357"/>
                  </a:lnTo>
                  <a:lnTo>
                    <a:pt x="512" y="361"/>
                  </a:lnTo>
                  <a:lnTo>
                    <a:pt x="510" y="366"/>
                  </a:lnTo>
                  <a:lnTo>
                    <a:pt x="508" y="366"/>
                  </a:lnTo>
                  <a:lnTo>
                    <a:pt x="507" y="367"/>
                  </a:lnTo>
                  <a:lnTo>
                    <a:pt x="500" y="364"/>
                  </a:lnTo>
                  <a:lnTo>
                    <a:pt x="493" y="369"/>
                  </a:lnTo>
                  <a:lnTo>
                    <a:pt x="491" y="369"/>
                  </a:lnTo>
                  <a:lnTo>
                    <a:pt x="490" y="371"/>
                  </a:lnTo>
                  <a:lnTo>
                    <a:pt x="490" y="369"/>
                  </a:lnTo>
                  <a:lnTo>
                    <a:pt x="479" y="371"/>
                  </a:lnTo>
                  <a:lnTo>
                    <a:pt x="478" y="373"/>
                  </a:lnTo>
                  <a:lnTo>
                    <a:pt x="479" y="376"/>
                  </a:lnTo>
                  <a:lnTo>
                    <a:pt x="478" y="376"/>
                  </a:lnTo>
                  <a:lnTo>
                    <a:pt x="473" y="378"/>
                  </a:lnTo>
                  <a:lnTo>
                    <a:pt x="473" y="376"/>
                  </a:lnTo>
                  <a:lnTo>
                    <a:pt x="471" y="378"/>
                  </a:lnTo>
                  <a:lnTo>
                    <a:pt x="471" y="376"/>
                  </a:lnTo>
                  <a:lnTo>
                    <a:pt x="467" y="376"/>
                  </a:lnTo>
                  <a:lnTo>
                    <a:pt x="464" y="379"/>
                  </a:lnTo>
                  <a:lnTo>
                    <a:pt x="462" y="378"/>
                  </a:lnTo>
                  <a:lnTo>
                    <a:pt x="462" y="369"/>
                  </a:lnTo>
                  <a:lnTo>
                    <a:pt x="459" y="362"/>
                  </a:lnTo>
                  <a:lnTo>
                    <a:pt x="461" y="361"/>
                  </a:lnTo>
                  <a:lnTo>
                    <a:pt x="462" y="359"/>
                  </a:lnTo>
                  <a:lnTo>
                    <a:pt x="464" y="361"/>
                  </a:lnTo>
                  <a:lnTo>
                    <a:pt x="462" y="359"/>
                  </a:lnTo>
                  <a:lnTo>
                    <a:pt x="471" y="357"/>
                  </a:lnTo>
                  <a:lnTo>
                    <a:pt x="476" y="356"/>
                  </a:lnTo>
                  <a:lnTo>
                    <a:pt x="478" y="356"/>
                  </a:lnTo>
                  <a:lnTo>
                    <a:pt x="486" y="354"/>
                  </a:lnTo>
                  <a:lnTo>
                    <a:pt x="488" y="354"/>
                  </a:lnTo>
                  <a:lnTo>
                    <a:pt x="491" y="350"/>
                  </a:lnTo>
                  <a:lnTo>
                    <a:pt x="496" y="347"/>
                  </a:lnTo>
                  <a:lnTo>
                    <a:pt x="498" y="344"/>
                  </a:lnTo>
                  <a:lnTo>
                    <a:pt x="502" y="345"/>
                  </a:lnTo>
                  <a:lnTo>
                    <a:pt x="505" y="344"/>
                  </a:lnTo>
                  <a:lnTo>
                    <a:pt x="507" y="338"/>
                  </a:lnTo>
                  <a:lnTo>
                    <a:pt x="512" y="340"/>
                  </a:lnTo>
                  <a:lnTo>
                    <a:pt x="517" y="338"/>
                  </a:lnTo>
                  <a:lnTo>
                    <a:pt x="520" y="338"/>
                  </a:lnTo>
                  <a:lnTo>
                    <a:pt x="520" y="337"/>
                  </a:lnTo>
                  <a:lnTo>
                    <a:pt x="517" y="337"/>
                  </a:lnTo>
                  <a:lnTo>
                    <a:pt x="513" y="338"/>
                  </a:lnTo>
                  <a:lnTo>
                    <a:pt x="508" y="337"/>
                  </a:lnTo>
                  <a:lnTo>
                    <a:pt x="515" y="330"/>
                  </a:lnTo>
                  <a:lnTo>
                    <a:pt x="519" y="328"/>
                  </a:lnTo>
                  <a:lnTo>
                    <a:pt x="527" y="325"/>
                  </a:lnTo>
                  <a:lnTo>
                    <a:pt x="529" y="318"/>
                  </a:lnTo>
                  <a:lnTo>
                    <a:pt x="531" y="320"/>
                  </a:lnTo>
                  <a:close/>
                  <a:moveTo>
                    <a:pt x="355" y="318"/>
                  </a:moveTo>
                  <a:lnTo>
                    <a:pt x="365" y="320"/>
                  </a:lnTo>
                  <a:lnTo>
                    <a:pt x="365" y="323"/>
                  </a:lnTo>
                  <a:lnTo>
                    <a:pt x="363" y="333"/>
                  </a:lnTo>
                  <a:lnTo>
                    <a:pt x="360" y="333"/>
                  </a:lnTo>
                  <a:lnTo>
                    <a:pt x="351" y="338"/>
                  </a:lnTo>
                  <a:lnTo>
                    <a:pt x="350" y="340"/>
                  </a:lnTo>
                  <a:lnTo>
                    <a:pt x="344" y="342"/>
                  </a:lnTo>
                  <a:lnTo>
                    <a:pt x="339" y="340"/>
                  </a:lnTo>
                  <a:lnTo>
                    <a:pt x="334" y="340"/>
                  </a:lnTo>
                  <a:lnTo>
                    <a:pt x="327" y="337"/>
                  </a:lnTo>
                  <a:lnTo>
                    <a:pt x="336" y="332"/>
                  </a:lnTo>
                  <a:lnTo>
                    <a:pt x="341" y="328"/>
                  </a:lnTo>
                  <a:lnTo>
                    <a:pt x="344" y="326"/>
                  </a:lnTo>
                  <a:lnTo>
                    <a:pt x="346" y="321"/>
                  </a:lnTo>
                  <a:lnTo>
                    <a:pt x="348" y="320"/>
                  </a:lnTo>
                  <a:lnTo>
                    <a:pt x="355" y="318"/>
                  </a:lnTo>
                  <a:close/>
                  <a:moveTo>
                    <a:pt x="152" y="303"/>
                  </a:moveTo>
                  <a:lnTo>
                    <a:pt x="150" y="306"/>
                  </a:lnTo>
                  <a:lnTo>
                    <a:pt x="146" y="304"/>
                  </a:lnTo>
                  <a:lnTo>
                    <a:pt x="152" y="303"/>
                  </a:lnTo>
                  <a:close/>
                  <a:moveTo>
                    <a:pt x="539" y="280"/>
                  </a:moveTo>
                  <a:lnTo>
                    <a:pt x="541" y="285"/>
                  </a:lnTo>
                  <a:lnTo>
                    <a:pt x="544" y="285"/>
                  </a:lnTo>
                  <a:lnTo>
                    <a:pt x="544" y="289"/>
                  </a:lnTo>
                  <a:lnTo>
                    <a:pt x="539" y="291"/>
                  </a:lnTo>
                  <a:lnTo>
                    <a:pt x="536" y="294"/>
                  </a:lnTo>
                  <a:lnTo>
                    <a:pt x="534" y="294"/>
                  </a:lnTo>
                  <a:lnTo>
                    <a:pt x="534" y="292"/>
                  </a:lnTo>
                  <a:lnTo>
                    <a:pt x="531" y="292"/>
                  </a:lnTo>
                  <a:lnTo>
                    <a:pt x="534" y="297"/>
                  </a:lnTo>
                  <a:lnTo>
                    <a:pt x="534" y="303"/>
                  </a:lnTo>
                  <a:lnTo>
                    <a:pt x="532" y="303"/>
                  </a:lnTo>
                  <a:lnTo>
                    <a:pt x="534" y="304"/>
                  </a:lnTo>
                  <a:lnTo>
                    <a:pt x="532" y="308"/>
                  </a:lnTo>
                  <a:lnTo>
                    <a:pt x="531" y="308"/>
                  </a:lnTo>
                  <a:lnTo>
                    <a:pt x="529" y="304"/>
                  </a:lnTo>
                  <a:lnTo>
                    <a:pt x="527" y="303"/>
                  </a:lnTo>
                  <a:lnTo>
                    <a:pt x="525" y="304"/>
                  </a:lnTo>
                  <a:lnTo>
                    <a:pt x="522" y="308"/>
                  </a:lnTo>
                  <a:lnTo>
                    <a:pt x="520" y="299"/>
                  </a:lnTo>
                  <a:lnTo>
                    <a:pt x="524" y="296"/>
                  </a:lnTo>
                  <a:lnTo>
                    <a:pt x="527" y="292"/>
                  </a:lnTo>
                  <a:lnTo>
                    <a:pt x="532" y="282"/>
                  </a:lnTo>
                  <a:lnTo>
                    <a:pt x="539" y="280"/>
                  </a:lnTo>
                  <a:close/>
                  <a:moveTo>
                    <a:pt x="121" y="181"/>
                  </a:moveTo>
                  <a:lnTo>
                    <a:pt x="123" y="185"/>
                  </a:lnTo>
                  <a:lnTo>
                    <a:pt x="128" y="193"/>
                  </a:lnTo>
                  <a:lnTo>
                    <a:pt x="131" y="195"/>
                  </a:lnTo>
                  <a:lnTo>
                    <a:pt x="138" y="204"/>
                  </a:lnTo>
                  <a:lnTo>
                    <a:pt x="143" y="205"/>
                  </a:lnTo>
                  <a:lnTo>
                    <a:pt x="150" y="204"/>
                  </a:lnTo>
                  <a:lnTo>
                    <a:pt x="153" y="205"/>
                  </a:lnTo>
                  <a:lnTo>
                    <a:pt x="155" y="210"/>
                  </a:lnTo>
                  <a:lnTo>
                    <a:pt x="155" y="219"/>
                  </a:lnTo>
                  <a:lnTo>
                    <a:pt x="157" y="224"/>
                  </a:lnTo>
                  <a:lnTo>
                    <a:pt x="164" y="224"/>
                  </a:lnTo>
                  <a:lnTo>
                    <a:pt x="165" y="227"/>
                  </a:lnTo>
                  <a:lnTo>
                    <a:pt x="170" y="224"/>
                  </a:lnTo>
                  <a:lnTo>
                    <a:pt x="174" y="224"/>
                  </a:lnTo>
                  <a:lnTo>
                    <a:pt x="182" y="221"/>
                  </a:lnTo>
                  <a:lnTo>
                    <a:pt x="187" y="229"/>
                  </a:lnTo>
                  <a:lnTo>
                    <a:pt x="193" y="229"/>
                  </a:lnTo>
                  <a:lnTo>
                    <a:pt x="198" y="234"/>
                  </a:lnTo>
                  <a:lnTo>
                    <a:pt x="199" y="239"/>
                  </a:lnTo>
                  <a:lnTo>
                    <a:pt x="201" y="241"/>
                  </a:lnTo>
                  <a:lnTo>
                    <a:pt x="203" y="246"/>
                  </a:lnTo>
                  <a:lnTo>
                    <a:pt x="208" y="255"/>
                  </a:lnTo>
                  <a:lnTo>
                    <a:pt x="216" y="258"/>
                  </a:lnTo>
                  <a:lnTo>
                    <a:pt x="220" y="260"/>
                  </a:lnTo>
                  <a:lnTo>
                    <a:pt x="227" y="268"/>
                  </a:lnTo>
                  <a:lnTo>
                    <a:pt x="228" y="274"/>
                  </a:lnTo>
                  <a:lnTo>
                    <a:pt x="225" y="279"/>
                  </a:lnTo>
                  <a:lnTo>
                    <a:pt x="227" y="277"/>
                  </a:lnTo>
                  <a:lnTo>
                    <a:pt x="223" y="282"/>
                  </a:lnTo>
                  <a:lnTo>
                    <a:pt x="218" y="284"/>
                  </a:lnTo>
                  <a:lnTo>
                    <a:pt x="215" y="289"/>
                  </a:lnTo>
                  <a:lnTo>
                    <a:pt x="208" y="294"/>
                  </a:lnTo>
                  <a:lnTo>
                    <a:pt x="203" y="294"/>
                  </a:lnTo>
                  <a:lnTo>
                    <a:pt x="199" y="297"/>
                  </a:lnTo>
                  <a:lnTo>
                    <a:pt x="191" y="296"/>
                  </a:lnTo>
                  <a:lnTo>
                    <a:pt x="184" y="299"/>
                  </a:lnTo>
                  <a:lnTo>
                    <a:pt x="181" y="304"/>
                  </a:lnTo>
                  <a:lnTo>
                    <a:pt x="174" y="299"/>
                  </a:lnTo>
                  <a:lnTo>
                    <a:pt x="169" y="297"/>
                  </a:lnTo>
                  <a:lnTo>
                    <a:pt x="162" y="297"/>
                  </a:lnTo>
                  <a:lnTo>
                    <a:pt x="155" y="296"/>
                  </a:lnTo>
                  <a:lnTo>
                    <a:pt x="152" y="297"/>
                  </a:lnTo>
                  <a:lnTo>
                    <a:pt x="148" y="294"/>
                  </a:lnTo>
                  <a:lnTo>
                    <a:pt x="146" y="296"/>
                  </a:lnTo>
                  <a:lnTo>
                    <a:pt x="140" y="287"/>
                  </a:lnTo>
                  <a:lnTo>
                    <a:pt x="136" y="289"/>
                  </a:lnTo>
                  <a:lnTo>
                    <a:pt x="131" y="282"/>
                  </a:lnTo>
                  <a:lnTo>
                    <a:pt x="128" y="282"/>
                  </a:lnTo>
                  <a:lnTo>
                    <a:pt x="129" y="277"/>
                  </a:lnTo>
                  <a:lnTo>
                    <a:pt x="126" y="272"/>
                  </a:lnTo>
                  <a:lnTo>
                    <a:pt x="121" y="267"/>
                  </a:lnTo>
                  <a:lnTo>
                    <a:pt x="121" y="263"/>
                  </a:lnTo>
                  <a:lnTo>
                    <a:pt x="116" y="263"/>
                  </a:lnTo>
                  <a:lnTo>
                    <a:pt x="116" y="262"/>
                  </a:lnTo>
                  <a:lnTo>
                    <a:pt x="112" y="262"/>
                  </a:lnTo>
                  <a:lnTo>
                    <a:pt x="109" y="256"/>
                  </a:lnTo>
                  <a:lnTo>
                    <a:pt x="100" y="258"/>
                  </a:lnTo>
                  <a:lnTo>
                    <a:pt x="99" y="255"/>
                  </a:lnTo>
                  <a:lnTo>
                    <a:pt x="90" y="248"/>
                  </a:lnTo>
                  <a:lnTo>
                    <a:pt x="88" y="248"/>
                  </a:lnTo>
                  <a:lnTo>
                    <a:pt x="88" y="246"/>
                  </a:lnTo>
                  <a:lnTo>
                    <a:pt x="90" y="244"/>
                  </a:lnTo>
                  <a:lnTo>
                    <a:pt x="88" y="241"/>
                  </a:lnTo>
                  <a:lnTo>
                    <a:pt x="85" y="239"/>
                  </a:lnTo>
                  <a:lnTo>
                    <a:pt x="85" y="243"/>
                  </a:lnTo>
                  <a:lnTo>
                    <a:pt x="82" y="243"/>
                  </a:lnTo>
                  <a:lnTo>
                    <a:pt x="82" y="238"/>
                  </a:lnTo>
                  <a:lnTo>
                    <a:pt x="78" y="241"/>
                  </a:lnTo>
                  <a:lnTo>
                    <a:pt x="76" y="238"/>
                  </a:lnTo>
                  <a:lnTo>
                    <a:pt x="73" y="239"/>
                  </a:lnTo>
                  <a:lnTo>
                    <a:pt x="73" y="238"/>
                  </a:lnTo>
                  <a:lnTo>
                    <a:pt x="70" y="239"/>
                  </a:lnTo>
                  <a:lnTo>
                    <a:pt x="63" y="236"/>
                  </a:lnTo>
                  <a:lnTo>
                    <a:pt x="58" y="238"/>
                  </a:lnTo>
                  <a:lnTo>
                    <a:pt x="56" y="241"/>
                  </a:lnTo>
                  <a:lnTo>
                    <a:pt x="54" y="243"/>
                  </a:lnTo>
                  <a:lnTo>
                    <a:pt x="49" y="238"/>
                  </a:lnTo>
                  <a:lnTo>
                    <a:pt x="46" y="239"/>
                  </a:lnTo>
                  <a:lnTo>
                    <a:pt x="44" y="236"/>
                  </a:lnTo>
                  <a:lnTo>
                    <a:pt x="34" y="236"/>
                  </a:lnTo>
                  <a:lnTo>
                    <a:pt x="30" y="238"/>
                  </a:lnTo>
                  <a:lnTo>
                    <a:pt x="29" y="236"/>
                  </a:lnTo>
                  <a:lnTo>
                    <a:pt x="22" y="234"/>
                  </a:lnTo>
                  <a:lnTo>
                    <a:pt x="20" y="233"/>
                  </a:lnTo>
                  <a:lnTo>
                    <a:pt x="18" y="233"/>
                  </a:lnTo>
                  <a:lnTo>
                    <a:pt x="10" y="227"/>
                  </a:lnTo>
                  <a:lnTo>
                    <a:pt x="8" y="222"/>
                  </a:lnTo>
                  <a:lnTo>
                    <a:pt x="6" y="222"/>
                  </a:lnTo>
                  <a:lnTo>
                    <a:pt x="5" y="219"/>
                  </a:lnTo>
                  <a:lnTo>
                    <a:pt x="0" y="214"/>
                  </a:lnTo>
                  <a:lnTo>
                    <a:pt x="3" y="205"/>
                  </a:lnTo>
                  <a:lnTo>
                    <a:pt x="12" y="198"/>
                  </a:lnTo>
                  <a:lnTo>
                    <a:pt x="20" y="197"/>
                  </a:lnTo>
                  <a:lnTo>
                    <a:pt x="29" y="192"/>
                  </a:lnTo>
                  <a:lnTo>
                    <a:pt x="30" y="192"/>
                  </a:lnTo>
                  <a:lnTo>
                    <a:pt x="34" y="193"/>
                  </a:lnTo>
                  <a:lnTo>
                    <a:pt x="44" y="190"/>
                  </a:lnTo>
                  <a:lnTo>
                    <a:pt x="47" y="192"/>
                  </a:lnTo>
                  <a:lnTo>
                    <a:pt x="54" y="193"/>
                  </a:lnTo>
                  <a:lnTo>
                    <a:pt x="65" y="190"/>
                  </a:lnTo>
                  <a:lnTo>
                    <a:pt x="73" y="192"/>
                  </a:lnTo>
                  <a:lnTo>
                    <a:pt x="78" y="188"/>
                  </a:lnTo>
                  <a:lnTo>
                    <a:pt x="83" y="188"/>
                  </a:lnTo>
                  <a:lnTo>
                    <a:pt x="90" y="193"/>
                  </a:lnTo>
                  <a:lnTo>
                    <a:pt x="99" y="193"/>
                  </a:lnTo>
                  <a:lnTo>
                    <a:pt x="102" y="195"/>
                  </a:lnTo>
                  <a:lnTo>
                    <a:pt x="109" y="190"/>
                  </a:lnTo>
                  <a:lnTo>
                    <a:pt x="114" y="186"/>
                  </a:lnTo>
                  <a:lnTo>
                    <a:pt x="119" y="180"/>
                  </a:lnTo>
                  <a:lnTo>
                    <a:pt x="121" y="181"/>
                  </a:lnTo>
                  <a:close/>
                  <a:moveTo>
                    <a:pt x="718" y="142"/>
                  </a:moveTo>
                  <a:lnTo>
                    <a:pt x="717" y="151"/>
                  </a:lnTo>
                  <a:lnTo>
                    <a:pt x="720" y="154"/>
                  </a:lnTo>
                  <a:lnTo>
                    <a:pt x="725" y="154"/>
                  </a:lnTo>
                  <a:lnTo>
                    <a:pt x="730" y="151"/>
                  </a:lnTo>
                  <a:lnTo>
                    <a:pt x="734" y="151"/>
                  </a:lnTo>
                  <a:lnTo>
                    <a:pt x="739" y="144"/>
                  </a:lnTo>
                  <a:lnTo>
                    <a:pt x="742" y="147"/>
                  </a:lnTo>
                  <a:lnTo>
                    <a:pt x="747" y="151"/>
                  </a:lnTo>
                  <a:lnTo>
                    <a:pt x="747" y="156"/>
                  </a:lnTo>
                  <a:lnTo>
                    <a:pt x="746" y="161"/>
                  </a:lnTo>
                  <a:lnTo>
                    <a:pt x="747" y="166"/>
                  </a:lnTo>
                  <a:lnTo>
                    <a:pt x="746" y="168"/>
                  </a:lnTo>
                  <a:lnTo>
                    <a:pt x="741" y="168"/>
                  </a:lnTo>
                  <a:lnTo>
                    <a:pt x="737" y="171"/>
                  </a:lnTo>
                  <a:lnTo>
                    <a:pt x="732" y="168"/>
                  </a:lnTo>
                  <a:lnTo>
                    <a:pt x="723" y="168"/>
                  </a:lnTo>
                  <a:lnTo>
                    <a:pt x="722" y="171"/>
                  </a:lnTo>
                  <a:lnTo>
                    <a:pt x="723" y="178"/>
                  </a:lnTo>
                  <a:lnTo>
                    <a:pt x="722" y="181"/>
                  </a:lnTo>
                  <a:lnTo>
                    <a:pt x="725" y="183"/>
                  </a:lnTo>
                  <a:lnTo>
                    <a:pt x="730" y="186"/>
                  </a:lnTo>
                  <a:lnTo>
                    <a:pt x="730" y="190"/>
                  </a:lnTo>
                  <a:lnTo>
                    <a:pt x="734" y="193"/>
                  </a:lnTo>
                  <a:lnTo>
                    <a:pt x="735" y="202"/>
                  </a:lnTo>
                  <a:lnTo>
                    <a:pt x="727" y="209"/>
                  </a:lnTo>
                  <a:lnTo>
                    <a:pt x="723" y="214"/>
                  </a:lnTo>
                  <a:lnTo>
                    <a:pt x="722" y="212"/>
                  </a:lnTo>
                  <a:lnTo>
                    <a:pt x="723" y="215"/>
                  </a:lnTo>
                  <a:lnTo>
                    <a:pt x="722" y="224"/>
                  </a:lnTo>
                  <a:lnTo>
                    <a:pt x="718" y="229"/>
                  </a:lnTo>
                  <a:lnTo>
                    <a:pt x="717" y="227"/>
                  </a:lnTo>
                  <a:lnTo>
                    <a:pt x="708" y="233"/>
                  </a:lnTo>
                  <a:lnTo>
                    <a:pt x="703" y="241"/>
                  </a:lnTo>
                  <a:lnTo>
                    <a:pt x="698" y="244"/>
                  </a:lnTo>
                  <a:lnTo>
                    <a:pt x="696" y="248"/>
                  </a:lnTo>
                  <a:lnTo>
                    <a:pt x="694" y="253"/>
                  </a:lnTo>
                  <a:lnTo>
                    <a:pt x="684" y="256"/>
                  </a:lnTo>
                  <a:lnTo>
                    <a:pt x="682" y="260"/>
                  </a:lnTo>
                  <a:lnTo>
                    <a:pt x="674" y="267"/>
                  </a:lnTo>
                  <a:lnTo>
                    <a:pt x="669" y="268"/>
                  </a:lnTo>
                  <a:lnTo>
                    <a:pt x="667" y="270"/>
                  </a:lnTo>
                  <a:lnTo>
                    <a:pt x="664" y="279"/>
                  </a:lnTo>
                  <a:lnTo>
                    <a:pt x="660" y="282"/>
                  </a:lnTo>
                  <a:lnTo>
                    <a:pt x="652" y="287"/>
                  </a:lnTo>
                  <a:lnTo>
                    <a:pt x="645" y="287"/>
                  </a:lnTo>
                  <a:lnTo>
                    <a:pt x="643" y="287"/>
                  </a:lnTo>
                  <a:lnTo>
                    <a:pt x="635" y="287"/>
                  </a:lnTo>
                  <a:lnTo>
                    <a:pt x="630" y="285"/>
                  </a:lnTo>
                  <a:lnTo>
                    <a:pt x="631" y="285"/>
                  </a:lnTo>
                  <a:lnTo>
                    <a:pt x="630" y="287"/>
                  </a:lnTo>
                  <a:lnTo>
                    <a:pt x="624" y="285"/>
                  </a:lnTo>
                  <a:lnTo>
                    <a:pt x="618" y="287"/>
                  </a:lnTo>
                  <a:lnTo>
                    <a:pt x="619" y="285"/>
                  </a:lnTo>
                  <a:lnTo>
                    <a:pt x="614" y="291"/>
                  </a:lnTo>
                  <a:lnTo>
                    <a:pt x="613" y="294"/>
                  </a:lnTo>
                  <a:lnTo>
                    <a:pt x="607" y="297"/>
                  </a:lnTo>
                  <a:lnTo>
                    <a:pt x="606" y="299"/>
                  </a:lnTo>
                  <a:lnTo>
                    <a:pt x="599" y="299"/>
                  </a:lnTo>
                  <a:lnTo>
                    <a:pt x="597" y="303"/>
                  </a:lnTo>
                  <a:lnTo>
                    <a:pt x="594" y="303"/>
                  </a:lnTo>
                  <a:lnTo>
                    <a:pt x="587" y="308"/>
                  </a:lnTo>
                  <a:lnTo>
                    <a:pt x="580" y="309"/>
                  </a:lnTo>
                  <a:lnTo>
                    <a:pt x="575" y="309"/>
                  </a:lnTo>
                  <a:lnTo>
                    <a:pt x="568" y="311"/>
                  </a:lnTo>
                  <a:lnTo>
                    <a:pt x="563" y="309"/>
                  </a:lnTo>
                  <a:lnTo>
                    <a:pt x="558" y="311"/>
                  </a:lnTo>
                  <a:lnTo>
                    <a:pt x="553" y="306"/>
                  </a:lnTo>
                  <a:lnTo>
                    <a:pt x="549" y="306"/>
                  </a:lnTo>
                  <a:lnTo>
                    <a:pt x="539" y="309"/>
                  </a:lnTo>
                  <a:lnTo>
                    <a:pt x="539" y="306"/>
                  </a:lnTo>
                  <a:lnTo>
                    <a:pt x="544" y="299"/>
                  </a:lnTo>
                  <a:lnTo>
                    <a:pt x="543" y="294"/>
                  </a:lnTo>
                  <a:lnTo>
                    <a:pt x="548" y="292"/>
                  </a:lnTo>
                  <a:lnTo>
                    <a:pt x="548" y="287"/>
                  </a:lnTo>
                  <a:lnTo>
                    <a:pt x="551" y="287"/>
                  </a:lnTo>
                  <a:lnTo>
                    <a:pt x="560" y="284"/>
                  </a:lnTo>
                  <a:lnTo>
                    <a:pt x="561" y="284"/>
                  </a:lnTo>
                  <a:lnTo>
                    <a:pt x="565" y="280"/>
                  </a:lnTo>
                  <a:lnTo>
                    <a:pt x="573" y="279"/>
                  </a:lnTo>
                  <a:lnTo>
                    <a:pt x="577" y="272"/>
                  </a:lnTo>
                  <a:lnTo>
                    <a:pt x="568" y="268"/>
                  </a:lnTo>
                  <a:lnTo>
                    <a:pt x="566" y="270"/>
                  </a:lnTo>
                  <a:lnTo>
                    <a:pt x="563" y="268"/>
                  </a:lnTo>
                  <a:lnTo>
                    <a:pt x="556" y="272"/>
                  </a:lnTo>
                  <a:lnTo>
                    <a:pt x="554" y="268"/>
                  </a:lnTo>
                  <a:lnTo>
                    <a:pt x="554" y="267"/>
                  </a:lnTo>
                  <a:lnTo>
                    <a:pt x="554" y="260"/>
                  </a:lnTo>
                  <a:lnTo>
                    <a:pt x="556" y="255"/>
                  </a:lnTo>
                  <a:lnTo>
                    <a:pt x="561" y="255"/>
                  </a:lnTo>
                  <a:lnTo>
                    <a:pt x="565" y="250"/>
                  </a:lnTo>
                  <a:lnTo>
                    <a:pt x="565" y="243"/>
                  </a:lnTo>
                  <a:lnTo>
                    <a:pt x="561" y="239"/>
                  </a:lnTo>
                  <a:lnTo>
                    <a:pt x="566" y="236"/>
                  </a:lnTo>
                  <a:lnTo>
                    <a:pt x="566" y="233"/>
                  </a:lnTo>
                  <a:lnTo>
                    <a:pt x="566" y="222"/>
                  </a:lnTo>
                  <a:lnTo>
                    <a:pt x="573" y="215"/>
                  </a:lnTo>
                  <a:lnTo>
                    <a:pt x="580" y="212"/>
                  </a:lnTo>
                  <a:lnTo>
                    <a:pt x="580" y="205"/>
                  </a:lnTo>
                  <a:lnTo>
                    <a:pt x="585" y="207"/>
                  </a:lnTo>
                  <a:lnTo>
                    <a:pt x="587" y="204"/>
                  </a:lnTo>
                  <a:lnTo>
                    <a:pt x="590" y="204"/>
                  </a:lnTo>
                  <a:lnTo>
                    <a:pt x="594" y="198"/>
                  </a:lnTo>
                  <a:lnTo>
                    <a:pt x="597" y="197"/>
                  </a:lnTo>
                  <a:lnTo>
                    <a:pt x="602" y="190"/>
                  </a:lnTo>
                  <a:lnTo>
                    <a:pt x="611" y="186"/>
                  </a:lnTo>
                  <a:lnTo>
                    <a:pt x="614" y="193"/>
                  </a:lnTo>
                  <a:lnTo>
                    <a:pt x="618" y="197"/>
                  </a:lnTo>
                  <a:lnTo>
                    <a:pt x="619" y="195"/>
                  </a:lnTo>
                  <a:lnTo>
                    <a:pt x="621" y="198"/>
                  </a:lnTo>
                  <a:lnTo>
                    <a:pt x="624" y="197"/>
                  </a:lnTo>
                  <a:lnTo>
                    <a:pt x="624" y="195"/>
                  </a:lnTo>
                  <a:lnTo>
                    <a:pt x="630" y="192"/>
                  </a:lnTo>
                  <a:lnTo>
                    <a:pt x="633" y="192"/>
                  </a:lnTo>
                  <a:lnTo>
                    <a:pt x="638" y="197"/>
                  </a:lnTo>
                  <a:lnTo>
                    <a:pt x="640" y="202"/>
                  </a:lnTo>
                  <a:lnTo>
                    <a:pt x="638" y="207"/>
                  </a:lnTo>
                  <a:lnTo>
                    <a:pt x="647" y="205"/>
                  </a:lnTo>
                  <a:lnTo>
                    <a:pt x="648" y="202"/>
                  </a:lnTo>
                  <a:lnTo>
                    <a:pt x="648" y="198"/>
                  </a:lnTo>
                  <a:lnTo>
                    <a:pt x="650" y="197"/>
                  </a:lnTo>
                  <a:lnTo>
                    <a:pt x="652" y="195"/>
                  </a:lnTo>
                  <a:lnTo>
                    <a:pt x="650" y="192"/>
                  </a:lnTo>
                  <a:lnTo>
                    <a:pt x="653" y="188"/>
                  </a:lnTo>
                  <a:lnTo>
                    <a:pt x="659" y="186"/>
                  </a:lnTo>
                  <a:lnTo>
                    <a:pt x="659" y="181"/>
                  </a:lnTo>
                  <a:lnTo>
                    <a:pt x="662" y="180"/>
                  </a:lnTo>
                  <a:lnTo>
                    <a:pt x="662" y="173"/>
                  </a:lnTo>
                  <a:lnTo>
                    <a:pt x="664" y="171"/>
                  </a:lnTo>
                  <a:lnTo>
                    <a:pt x="662" y="168"/>
                  </a:lnTo>
                  <a:lnTo>
                    <a:pt x="669" y="169"/>
                  </a:lnTo>
                  <a:lnTo>
                    <a:pt x="669" y="168"/>
                  </a:lnTo>
                  <a:lnTo>
                    <a:pt x="679" y="166"/>
                  </a:lnTo>
                  <a:lnTo>
                    <a:pt x="686" y="161"/>
                  </a:lnTo>
                  <a:lnTo>
                    <a:pt x="689" y="154"/>
                  </a:lnTo>
                  <a:lnTo>
                    <a:pt x="693" y="154"/>
                  </a:lnTo>
                  <a:lnTo>
                    <a:pt x="701" y="149"/>
                  </a:lnTo>
                  <a:lnTo>
                    <a:pt x="708" y="147"/>
                  </a:lnTo>
                  <a:lnTo>
                    <a:pt x="712" y="144"/>
                  </a:lnTo>
                  <a:lnTo>
                    <a:pt x="718" y="142"/>
                  </a:lnTo>
                  <a:close/>
                  <a:moveTo>
                    <a:pt x="164" y="135"/>
                  </a:moveTo>
                  <a:lnTo>
                    <a:pt x="160" y="137"/>
                  </a:lnTo>
                  <a:lnTo>
                    <a:pt x="158" y="135"/>
                  </a:lnTo>
                  <a:lnTo>
                    <a:pt x="162" y="132"/>
                  </a:lnTo>
                  <a:lnTo>
                    <a:pt x="165" y="133"/>
                  </a:lnTo>
                  <a:lnTo>
                    <a:pt x="164" y="135"/>
                  </a:lnTo>
                  <a:close/>
                  <a:moveTo>
                    <a:pt x="310" y="130"/>
                  </a:moveTo>
                  <a:lnTo>
                    <a:pt x="312" y="133"/>
                  </a:lnTo>
                  <a:lnTo>
                    <a:pt x="309" y="135"/>
                  </a:lnTo>
                  <a:lnTo>
                    <a:pt x="309" y="133"/>
                  </a:lnTo>
                  <a:lnTo>
                    <a:pt x="310" y="132"/>
                  </a:lnTo>
                  <a:lnTo>
                    <a:pt x="310" y="130"/>
                  </a:lnTo>
                  <a:close/>
                  <a:moveTo>
                    <a:pt x="102" y="122"/>
                  </a:moveTo>
                  <a:lnTo>
                    <a:pt x="106" y="123"/>
                  </a:lnTo>
                  <a:lnTo>
                    <a:pt x="104" y="127"/>
                  </a:lnTo>
                  <a:lnTo>
                    <a:pt x="100" y="125"/>
                  </a:lnTo>
                  <a:lnTo>
                    <a:pt x="102" y="122"/>
                  </a:lnTo>
                  <a:close/>
                  <a:moveTo>
                    <a:pt x="87" y="122"/>
                  </a:moveTo>
                  <a:lnTo>
                    <a:pt x="88" y="125"/>
                  </a:lnTo>
                  <a:lnTo>
                    <a:pt x="83" y="123"/>
                  </a:lnTo>
                  <a:lnTo>
                    <a:pt x="87" y="122"/>
                  </a:lnTo>
                  <a:close/>
                  <a:moveTo>
                    <a:pt x="59" y="116"/>
                  </a:moveTo>
                  <a:lnTo>
                    <a:pt x="59" y="118"/>
                  </a:lnTo>
                  <a:lnTo>
                    <a:pt x="59" y="116"/>
                  </a:lnTo>
                  <a:close/>
                  <a:moveTo>
                    <a:pt x="80" y="103"/>
                  </a:moveTo>
                  <a:lnTo>
                    <a:pt x="82" y="106"/>
                  </a:lnTo>
                  <a:lnTo>
                    <a:pt x="78" y="106"/>
                  </a:lnTo>
                  <a:lnTo>
                    <a:pt x="75" y="108"/>
                  </a:lnTo>
                  <a:lnTo>
                    <a:pt x="76" y="110"/>
                  </a:lnTo>
                  <a:lnTo>
                    <a:pt x="73" y="108"/>
                  </a:lnTo>
                  <a:lnTo>
                    <a:pt x="73" y="106"/>
                  </a:lnTo>
                  <a:lnTo>
                    <a:pt x="80" y="103"/>
                  </a:lnTo>
                  <a:close/>
                  <a:moveTo>
                    <a:pt x="87" y="101"/>
                  </a:moveTo>
                  <a:lnTo>
                    <a:pt x="88" y="101"/>
                  </a:lnTo>
                  <a:lnTo>
                    <a:pt x="88" y="106"/>
                  </a:lnTo>
                  <a:lnTo>
                    <a:pt x="90" y="110"/>
                  </a:lnTo>
                  <a:lnTo>
                    <a:pt x="90" y="108"/>
                  </a:lnTo>
                  <a:lnTo>
                    <a:pt x="90" y="110"/>
                  </a:lnTo>
                  <a:lnTo>
                    <a:pt x="94" y="108"/>
                  </a:lnTo>
                  <a:lnTo>
                    <a:pt x="92" y="104"/>
                  </a:lnTo>
                  <a:lnTo>
                    <a:pt x="94" y="106"/>
                  </a:lnTo>
                  <a:lnTo>
                    <a:pt x="95" y="101"/>
                  </a:lnTo>
                  <a:lnTo>
                    <a:pt x="99" y="103"/>
                  </a:lnTo>
                  <a:lnTo>
                    <a:pt x="104" y="101"/>
                  </a:lnTo>
                  <a:lnTo>
                    <a:pt x="106" y="103"/>
                  </a:lnTo>
                  <a:lnTo>
                    <a:pt x="104" y="106"/>
                  </a:lnTo>
                  <a:lnTo>
                    <a:pt x="100" y="106"/>
                  </a:lnTo>
                  <a:lnTo>
                    <a:pt x="99" y="111"/>
                  </a:lnTo>
                  <a:lnTo>
                    <a:pt x="95" y="111"/>
                  </a:lnTo>
                  <a:lnTo>
                    <a:pt x="94" y="108"/>
                  </a:lnTo>
                  <a:lnTo>
                    <a:pt x="92" y="113"/>
                  </a:lnTo>
                  <a:lnTo>
                    <a:pt x="95" y="116"/>
                  </a:lnTo>
                  <a:lnTo>
                    <a:pt x="97" y="118"/>
                  </a:lnTo>
                  <a:lnTo>
                    <a:pt x="95" y="118"/>
                  </a:lnTo>
                  <a:lnTo>
                    <a:pt x="97" y="120"/>
                  </a:lnTo>
                  <a:lnTo>
                    <a:pt x="92" y="125"/>
                  </a:lnTo>
                  <a:lnTo>
                    <a:pt x="90" y="125"/>
                  </a:lnTo>
                  <a:lnTo>
                    <a:pt x="87" y="120"/>
                  </a:lnTo>
                  <a:lnTo>
                    <a:pt x="83" y="122"/>
                  </a:lnTo>
                  <a:lnTo>
                    <a:pt x="82" y="118"/>
                  </a:lnTo>
                  <a:lnTo>
                    <a:pt x="82" y="115"/>
                  </a:lnTo>
                  <a:lnTo>
                    <a:pt x="85" y="116"/>
                  </a:lnTo>
                  <a:lnTo>
                    <a:pt x="82" y="115"/>
                  </a:lnTo>
                  <a:lnTo>
                    <a:pt x="85" y="115"/>
                  </a:lnTo>
                  <a:lnTo>
                    <a:pt x="83" y="111"/>
                  </a:lnTo>
                  <a:lnTo>
                    <a:pt x="88" y="111"/>
                  </a:lnTo>
                  <a:lnTo>
                    <a:pt x="87" y="108"/>
                  </a:lnTo>
                  <a:lnTo>
                    <a:pt x="87" y="110"/>
                  </a:lnTo>
                  <a:lnTo>
                    <a:pt x="83" y="110"/>
                  </a:lnTo>
                  <a:lnTo>
                    <a:pt x="85" y="106"/>
                  </a:lnTo>
                  <a:lnTo>
                    <a:pt x="82" y="99"/>
                  </a:lnTo>
                  <a:lnTo>
                    <a:pt x="87" y="101"/>
                  </a:lnTo>
                  <a:close/>
                  <a:moveTo>
                    <a:pt x="94" y="96"/>
                  </a:moveTo>
                  <a:lnTo>
                    <a:pt x="95" y="96"/>
                  </a:lnTo>
                  <a:lnTo>
                    <a:pt x="94" y="96"/>
                  </a:lnTo>
                  <a:close/>
                  <a:moveTo>
                    <a:pt x="88" y="92"/>
                  </a:moveTo>
                  <a:lnTo>
                    <a:pt x="87" y="96"/>
                  </a:lnTo>
                  <a:lnTo>
                    <a:pt x="87" y="91"/>
                  </a:lnTo>
                  <a:lnTo>
                    <a:pt x="88" y="92"/>
                  </a:lnTo>
                  <a:close/>
                  <a:moveTo>
                    <a:pt x="95" y="86"/>
                  </a:moveTo>
                  <a:lnTo>
                    <a:pt x="97" y="86"/>
                  </a:lnTo>
                  <a:lnTo>
                    <a:pt x="97" y="89"/>
                  </a:lnTo>
                  <a:lnTo>
                    <a:pt x="95" y="89"/>
                  </a:lnTo>
                  <a:lnTo>
                    <a:pt x="95" y="86"/>
                  </a:lnTo>
                  <a:close/>
                  <a:moveTo>
                    <a:pt x="640" y="84"/>
                  </a:moveTo>
                  <a:lnTo>
                    <a:pt x="642" y="84"/>
                  </a:lnTo>
                  <a:lnTo>
                    <a:pt x="642" y="86"/>
                  </a:lnTo>
                  <a:lnTo>
                    <a:pt x="640" y="86"/>
                  </a:lnTo>
                  <a:lnTo>
                    <a:pt x="640" y="84"/>
                  </a:lnTo>
                  <a:close/>
                  <a:moveTo>
                    <a:pt x="75" y="82"/>
                  </a:moveTo>
                  <a:lnTo>
                    <a:pt x="76" y="82"/>
                  </a:lnTo>
                  <a:lnTo>
                    <a:pt x="76" y="84"/>
                  </a:lnTo>
                  <a:lnTo>
                    <a:pt x="75" y="84"/>
                  </a:lnTo>
                  <a:lnTo>
                    <a:pt x="75" y="82"/>
                  </a:lnTo>
                  <a:close/>
                  <a:moveTo>
                    <a:pt x="421" y="82"/>
                  </a:moveTo>
                  <a:lnTo>
                    <a:pt x="421" y="84"/>
                  </a:lnTo>
                  <a:lnTo>
                    <a:pt x="418" y="84"/>
                  </a:lnTo>
                  <a:lnTo>
                    <a:pt x="421" y="82"/>
                  </a:lnTo>
                  <a:close/>
                  <a:moveTo>
                    <a:pt x="76" y="81"/>
                  </a:moveTo>
                  <a:lnTo>
                    <a:pt x="78" y="81"/>
                  </a:lnTo>
                  <a:lnTo>
                    <a:pt x="78" y="82"/>
                  </a:lnTo>
                  <a:lnTo>
                    <a:pt x="76" y="82"/>
                  </a:lnTo>
                  <a:lnTo>
                    <a:pt x="76" y="81"/>
                  </a:lnTo>
                  <a:close/>
                  <a:moveTo>
                    <a:pt x="413" y="79"/>
                  </a:moveTo>
                  <a:lnTo>
                    <a:pt x="416" y="81"/>
                  </a:lnTo>
                  <a:lnTo>
                    <a:pt x="418" y="79"/>
                  </a:lnTo>
                  <a:lnTo>
                    <a:pt x="418" y="81"/>
                  </a:lnTo>
                  <a:lnTo>
                    <a:pt x="414" y="87"/>
                  </a:lnTo>
                  <a:lnTo>
                    <a:pt x="409" y="86"/>
                  </a:lnTo>
                  <a:lnTo>
                    <a:pt x="408" y="82"/>
                  </a:lnTo>
                  <a:lnTo>
                    <a:pt x="408" y="79"/>
                  </a:lnTo>
                  <a:lnTo>
                    <a:pt x="413" y="79"/>
                  </a:lnTo>
                  <a:close/>
                  <a:moveTo>
                    <a:pt x="66" y="81"/>
                  </a:moveTo>
                  <a:lnTo>
                    <a:pt x="65" y="84"/>
                  </a:lnTo>
                  <a:lnTo>
                    <a:pt x="66" y="86"/>
                  </a:lnTo>
                  <a:lnTo>
                    <a:pt x="68" y="84"/>
                  </a:lnTo>
                  <a:lnTo>
                    <a:pt x="70" y="86"/>
                  </a:lnTo>
                  <a:lnTo>
                    <a:pt x="71" y="86"/>
                  </a:lnTo>
                  <a:lnTo>
                    <a:pt x="73" y="87"/>
                  </a:lnTo>
                  <a:lnTo>
                    <a:pt x="75" y="84"/>
                  </a:lnTo>
                  <a:lnTo>
                    <a:pt x="75" y="87"/>
                  </a:lnTo>
                  <a:lnTo>
                    <a:pt x="78" y="86"/>
                  </a:lnTo>
                  <a:lnTo>
                    <a:pt x="78" y="92"/>
                  </a:lnTo>
                  <a:lnTo>
                    <a:pt x="76" y="89"/>
                  </a:lnTo>
                  <a:lnTo>
                    <a:pt x="75" y="91"/>
                  </a:lnTo>
                  <a:lnTo>
                    <a:pt x="76" y="98"/>
                  </a:lnTo>
                  <a:lnTo>
                    <a:pt x="78" y="99"/>
                  </a:lnTo>
                  <a:lnTo>
                    <a:pt x="71" y="99"/>
                  </a:lnTo>
                  <a:lnTo>
                    <a:pt x="71" y="98"/>
                  </a:lnTo>
                  <a:lnTo>
                    <a:pt x="70" y="96"/>
                  </a:lnTo>
                  <a:lnTo>
                    <a:pt x="66" y="99"/>
                  </a:lnTo>
                  <a:lnTo>
                    <a:pt x="63" y="99"/>
                  </a:lnTo>
                  <a:lnTo>
                    <a:pt x="65" y="103"/>
                  </a:lnTo>
                  <a:lnTo>
                    <a:pt x="68" y="101"/>
                  </a:lnTo>
                  <a:lnTo>
                    <a:pt x="66" y="106"/>
                  </a:lnTo>
                  <a:lnTo>
                    <a:pt x="63" y="104"/>
                  </a:lnTo>
                  <a:lnTo>
                    <a:pt x="61" y="108"/>
                  </a:lnTo>
                  <a:lnTo>
                    <a:pt x="63" y="111"/>
                  </a:lnTo>
                  <a:lnTo>
                    <a:pt x="63" y="116"/>
                  </a:lnTo>
                  <a:lnTo>
                    <a:pt x="65" y="115"/>
                  </a:lnTo>
                  <a:lnTo>
                    <a:pt x="61" y="118"/>
                  </a:lnTo>
                  <a:lnTo>
                    <a:pt x="58" y="113"/>
                  </a:lnTo>
                  <a:lnTo>
                    <a:pt x="54" y="115"/>
                  </a:lnTo>
                  <a:lnTo>
                    <a:pt x="53" y="113"/>
                  </a:lnTo>
                  <a:lnTo>
                    <a:pt x="58" y="110"/>
                  </a:lnTo>
                  <a:lnTo>
                    <a:pt x="58" y="104"/>
                  </a:lnTo>
                  <a:lnTo>
                    <a:pt x="56" y="101"/>
                  </a:lnTo>
                  <a:lnTo>
                    <a:pt x="54" y="103"/>
                  </a:lnTo>
                  <a:lnTo>
                    <a:pt x="56" y="99"/>
                  </a:lnTo>
                  <a:lnTo>
                    <a:pt x="54" y="98"/>
                  </a:lnTo>
                  <a:lnTo>
                    <a:pt x="56" y="94"/>
                  </a:lnTo>
                  <a:lnTo>
                    <a:pt x="59" y="94"/>
                  </a:lnTo>
                  <a:lnTo>
                    <a:pt x="59" y="91"/>
                  </a:lnTo>
                  <a:lnTo>
                    <a:pt x="61" y="91"/>
                  </a:lnTo>
                  <a:lnTo>
                    <a:pt x="58" y="87"/>
                  </a:lnTo>
                  <a:lnTo>
                    <a:pt x="63" y="86"/>
                  </a:lnTo>
                  <a:lnTo>
                    <a:pt x="59" y="84"/>
                  </a:lnTo>
                  <a:lnTo>
                    <a:pt x="59" y="81"/>
                  </a:lnTo>
                  <a:lnTo>
                    <a:pt x="63" y="81"/>
                  </a:lnTo>
                  <a:lnTo>
                    <a:pt x="63" y="79"/>
                  </a:lnTo>
                  <a:lnTo>
                    <a:pt x="66" y="81"/>
                  </a:lnTo>
                  <a:close/>
                  <a:moveTo>
                    <a:pt x="592" y="79"/>
                  </a:moveTo>
                  <a:lnTo>
                    <a:pt x="594" y="79"/>
                  </a:lnTo>
                  <a:lnTo>
                    <a:pt x="594" y="81"/>
                  </a:lnTo>
                  <a:lnTo>
                    <a:pt x="592" y="81"/>
                  </a:lnTo>
                  <a:lnTo>
                    <a:pt x="592" y="79"/>
                  </a:lnTo>
                  <a:close/>
                  <a:moveTo>
                    <a:pt x="507" y="79"/>
                  </a:moveTo>
                  <a:lnTo>
                    <a:pt x="507" y="81"/>
                  </a:lnTo>
                  <a:lnTo>
                    <a:pt x="505" y="82"/>
                  </a:lnTo>
                  <a:lnTo>
                    <a:pt x="496" y="86"/>
                  </a:lnTo>
                  <a:lnTo>
                    <a:pt x="490" y="84"/>
                  </a:lnTo>
                  <a:lnTo>
                    <a:pt x="484" y="89"/>
                  </a:lnTo>
                  <a:lnTo>
                    <a:pt x="481" y="94"/>
                  </a:lnTo>
                  <a:lnTo>
                    <a:pt x="479" y="99"/>
                  </a:lnTo>
                  <a:lnTo>
                    <a:pt x="476" y="101"/>
                  </a:lnTo>
                  <a:lnTo>
                    <a:pt x="473" y="99"/>
                  </a:lnTo>
                  <a:lnTo>
                    <a:pt x="471" y="98"/>
                  </a:lnTo>
                  <a:lnTo>
                    <a:pt x="473" y="91"/>
                  </a:lnTo>
                  <a:lnTo>
                    <a:pt x="481" y="86"/>
                  </a:lnTo>
                  <a:lnTo>
                    <a:pt x="481" y="82"/>
                  </a:lnTo>
                  <a:lnTo>
                    <a:pt x="484" y="79"/>
                  </a:lnTo>
                  <a:lnTo>
                    <a:pt x="490" y="81"/>
                  </a:lnTo>
                  <a:lnTo>
                    <a:pt x="493" y="79"/>
                  </a:lnTo>
                  <a:lnTo>
                    <a:pt x="502" y="79"/>
                  </a:lnTo>
                  <a:lnTo>
                    <a:pt x="507" y="79"/>
                  </a:lnTo>
                  <a:close/>
                  <a:moveTo>
                    <a:pt x="428" y="77"/>
                  </a:moveTo>
                  <a:lnTo>
                    <a:pt x="430" y="77"/>
                  </a:lnTo>
                  <a:lnTo>
                    <a:pt x="430" y="79"/>
                  </a:lnTo>
                  <a:lnTo>
                    <a:pt x="426" y="79"/>
                  </a:lnTo>
                  <a:lnTo>
                    <a:pt x="428" y="77"/>
                  </a:lnTo>
                  <a:close/>
                  <a:moveTo>
                    <a:pt x="112" y="72"/>
                  </a:moveTo>
                  <a:lnTo>
                    <a:pt x="114" y="72"/>
                  </a:lnTo>
                  <a:lnTo>
                    <a:pt x="112" y="75"/>
                  </a:lnTo>
                  <a:lnTo>
                    <a:pt x="109" y="74"/>
                  </a:lnTo>
                  <a:lnTo>
                    <a:pt x="112" y="72"/>
                  </a:lnTo>
                  <a:close/>
                  <a:moveTo>
                    <a:pt x="587" y="75"/>
                  </a:moveTo>
                  <a:lnTo>
                    <a:pt x="583" y="75"/>
                  </a:lnTo>
                  <a:lnTo>
                    <a:pt x="585" y="70"/>
                  </a:lnTo>
                  <a:lnTo>
                    <a:pt x="587" y="72"/>
                  </a:lnTo>
                  <a:lnTo>
                    <a:pt x="587" y="75"/>
                  </a:lnTo>
                  <a:close/>
                  <a:moveTo>
                    <a:pt x="131" y="69"/>
                  </a:moveTo>
                  <a:lnTo>
                    <a:pt x="133" y="69"/>
                  </a:lnTo>
                  <a:lnTo>
                    <a:pt x="133" y="72"/>
                  </a:lnTo>
                  <a:lnTo>
                    <a:pt x="131" y="72"/>
                  </a:lnTo>
                  <a:lnTo>
                    <a:pt x="131" y="69"/>
                  </a:lnTo>
                  <a:close/>
                  <a:moveTo>
                    <a:pt x="601" y="70"/>
                  </a:moveTo>
                  <a:lnTo>
                    <a:pt x="599" y="74"/>
                  </a:lnTo>
                  <a:lnTo>
                    <a:pt x="595" y="72"/>
                  </a:lnTo>
                  <a:lnTo>
                    <a:pt x="597" y="70"/>
                  </a:lnTo>
                  <a:lnTo>
                    <a:pt x="601" y="70"/>
                  </a:lnTo>
                  <a:close/>
                  <a:moveTo>
                    <a:pt x="406" y="69"/>
                  </a:moveTo>
                  <a:lnTo>
                    <a:pt x="404" y="72"/>
                  </a:lnTo>
                  <a:lnTo>
                    <a:pt x="401" y="72"/>
                  </a:lnTo>
                  <a:lnTo>
                    <a:pt x="406" y="69"/>
                  </a:lnTo>
                  <a:close/>
                  <a:moveTo>
                    <a:pt x="145" y="67"/>
                  </a:moveTo>
                  <a:lnTo>
                    <a:pt x="146" y="69"/>
                  </a:lnTo>
                  <a:lnTo>
                    <a:pt x="143" y="69"/>
                  </a:lnTo>
                  <a:lnTo>
                    <a:pt x="145" y="67"/>
                  </a:lnTo>
                  <a:close/>
                  <a:moveTo>
                    <a:pt x="333" y="62"/>
                  </a:moveTo>
                  <a:lnTo>
                    <a:pt x="336" y="63"/>
                  </a:lnTo>
                  <a:lnTo>
                    <a:pt x="338" y="67"/>
                  </a:lnTo>
                  <a:lnTo>
                    <a:pt x="334" y="70"/>
                  </a:lnTo>
                  <a:lnTo>
                    <a:pt x="329" y="67"/>
                  </a:lnTo>
                  <a:lnTo>
                    <a:pt x="331" y="63"/>
                  </a:lnTo>
                  <a:lnTo>
                    <a:pt x="333" y="62"/>
                  </a:lnTo>
                  <a:close/>
                  <a:moveTo>
                    <a:pt x="650" y="60"/>
                  </a:moveTo>
                  <a:lnTo>
                    <a:pt x="652" y="62"/>
                  </a:lnTo>
                  <a:lnTo>
                    <a:pt x="650" y="65"/>
                  </a:lnTo>
                  <a:lnTo>
                    <a:pt x="647" y="65"/>
                  </a:lnTo>
                  <a:lnTo>
                    <a:pt x="645" y="63"/>
                  </a:lnTo>
                  <a:lnTo>
                    <a:pt x="650" y="60"/>
                  </a:lnTo>
                  <a:close/>
                  <a:moveTo>
                    <a:pt x="513" y="55"/>
                  </a:moveTo>
                  <a:lnTo>
                    <a:pt x="513" y="57"/>
                  </a:lnTo>
                  <a:lnTo>
                    <a:pt x="517" y="55"/>
                  </a:lnTo>
                  <a:lnTo>
                    <a:pt x="519" y="57"/>
                  </a:lnTo>
                  <a:lnTo>
                    <a:pt x="527" y="58"/>
                  </a:lnTo>
                  <a:lnTo>
                    <a:pt x="524" y="63"/>
                  </a:lnTo>
                  <a:lnTo>
                    <a:pt x="524" y="70"/>
                  </a:lnTo>
                  <a:lnTo>
                    <a:pt x="522" y="74"/>
                  </a:lnTo>
                  <a:lnTo>
                    <a:pt x="515" y="75"/>
                  </a:lnTo>
                  <a:lnTo>
                    <a:pt x="508" y="74"/>
                  </a:lnTo>
                  <a:lnTo>
                    <a:pt x="500" y="75"/>
                  </a:lnTo>
                  <a:lnTo>
                    <a:pt x="496" y="75"/>
                  </a:lnTo>
                  <a:lnTo>
                    <a:pt x="495" y="77"/>
                  </a:lnTo>
                  <a:lnTo>
                    <a:pt x="493" y="75"/>
                  </a:lnTo>
                  <a:lnTo>
                    <a:pt x="488" y="77"/>
                  </a:lnTo>
                  <a:lnTo>
                    <a:pt x="488" y="72"/>
                  </a:lnTo>
                  <a:lnTo>
                    <a:pt x="491" y="63"/>
                  </a:lnTo>
                  <a:lnTo>
                    <a:pt x="500" y="58"/>
                  </a:lnTo>
                  <a:lnTo>
                    <a:pt x="505" y="55"/>
                  </a:lnTo>
                  <a:lnTo>
                    <a:pt x="508" y="57"/>
                  </a:lnTo>
                  <a:lnTo>
                    <a:pt x="513" y="55"/>
                  </a:lnTo>
                  <a:close/>
                  <a:moveTo>
                    <a:pt x="616" y="53"/>
                  </a:moveTo>
                  <a:lnTo>
                    <a:pt x="618" y="53"/>
                  </a:lnTo>
                  <a:lnTo>
                    <a:pt x="618" y="55"/>
                  </a:lnTo>
                  <a:lnTo>
                    <a:pt x="616" y="55"/>
                  </a:lnTo>
                  <a:lnTo>
                    <a:pt x="616" y="53"/>
                  </a:lnTo>
                  <a:close/>
                  <a:moveTo>
                    <a:pt x="611" y="53"/>
                  </a:moveTo>
                  <a:lnTo>
                    <a:pt x="613" y="53"/>
                  </a:lnTo>
                  <a:lnTo>
                    <a:pt x="613" y="55"/>
                  </a:lnTo>
                  <a:lnTo>
                    <a:pt x="611" y="55"/>
                  </a:lnTo>
                  <a:lnTo>
                    <a:pt x="611" y="53"/>
                  </a:lnTo>
                  <a:close/>
                  <a:moveTo>
                    <a:pt x="650" y="51"/>
                  </a:moveTo>
                  <a:lnTo>
                    <a:pt x="652" y="51"/>
                  </a:lnTo>
                  <a:lnTo>
                    <a:pt x="652" y="55"/>
                  </a:lnTo>
                  <a:lnTo>
                    <a:pt x="650" y="55"/>
                  </a:lnTo>
                  <a:lnTo>
                    <a:pt x="650" y="51"/>
                  </a:lnTo>
                  <a:close/>
                  <a:moveTo>
                    <a:pt x="642" y="48"/>
                  </a:moveTo>
                  <a:lnTo>
                    <a:pt x="645" y="48"/>
                  </a:lnTo>
                  <a:lnTo>
                    <a:pt x="647" y="51"/>
                  </a:lnTo>
                  <a:lnTo>
                    <a:pt x="643" y="60"/>
                  </a:lnTo>
                  <a:lnTo>
                    <a:pt x="643" y="65"/>
                  </a:lnTo>
                  <a:lnTo>
                    <a:pt x="642" y="69"/>
                  </a:lnTo>
                  <a:lnTo>
                    <a:pt x="636" y="70"/>
                  </a:lnTo>
                  <a:lnTo>
                    <a:pt x="631" y="77"/>
                  </a:lnTo>
                  <a:lnTo>
                    <a:pt x="631" y="82"/>
                  </a:lnTo>
                  <a:lnTo>
                    <a:pt x="630" y="86"/>
                  </a:lnTo>
                  <a:lnTo>
                    <a:pt x="628" y="86"/>
                  </a:lnTo>
                  <a:lnTo>
                    <a:pt x="626" y="89"/>
                  </a:lnTo>
                  <a:lnTo>
                    <a:pt x="623" y="92"/>
                  </a:lnTo>
                  <a:lnTo>
                    <a:pt x="613" y="92"/>
                  </a:lnTo>
                  <a:lnTo>
                    <a:pt x="614" y="86"/>
                  </a:lnTo>
                  <a:lnTo>
                    <a:pt x="611" y="77"/>
                  </a:lnTo>
                  <a:lnTo>
                    <a:pt x="606" y="77"/>
                  </a:lnTo>
                  <a:lnTo>
                    <a:pt x="601" y="82"/>
                  </a:lnTo>
                  <a:lnTo>
                    <a:pt x="597" y="81"/>
                  </a:lnTo>
                  <a:lnTo>
                    <a:pt x="601" y="75"/>
                  </a:lnTo>
                  <a:lnTo>
                    <a:pt x="602" y="69"/>
                  </a:lnTo>
                  <a:lnTo>
                    <a:pt x="607" y="67"/>
                  </a:lnTo>
                  <a:lnTo>
                    <a:pt x="614" y="62"/>
                  </a:lnTo>
                  <a:lnTo>
                    <a:pt x="618" y="65"/>
                  </a:lnTo>
                  <a:lnTo>
                    <a:pt x="618" y="72"/>
                  </a:lnTo>
                  <a:lnTo>
                    <a:pt x="618" y="70"/>
                  </a:lnTo>
                  <a:lnTo>
                    <a:pt x="619" y="74"/>
                  </a:lnTo>
                  <a:lnTo>
                    <a:pt x="621" y="74"/>
                  </a:lnTo>
                  <a:lnTo>
                    <a:pt x="619" y="70"/>
                  </a:lnTo>
                  <a:lnTo>
                    <a:pt x="626" y="65"/>
                  </a:lnTo>
                  <a:lnTo>
                    <a:pt x="630" y="60"/>
                  </a:lnTo>
                  <a:lnTo>
                    <a:pt x="631" y="60"/>
                  </a:lnTo>
                  <a:lnTo>
                    <a:pt x="635" y="53"/>
                  </a:lnTo>
                  <a:lnTo>
                    <a:pt x="636" y="50"/>
                  </a:lnTo>
                  <a:lnTo>
                    <a:pt x="642" y="48"/>
                  </a:lnTo>
                  <a:close/>
                  <a:moveTo>
                    <a:pt x="582" y="48"/>
                  </a:moveTo>
                  <a:lnTo>
                    <a:pt x="589" y="51"/>
                  </a:lnTo>
                  <a:lnTo>
                    <a:pt x="590" y="55"/>
                  </a:lnTo>
                  <a:lnTo>
                    <a:pt x="590" y="53"/>
                  </a:lnTo>
                  <a:lnTo>
                    <a:pt x="595" y="53"/>
                  </a:lnTo>
                  <a:lnTo>
                    <a:pt x="597" y="57"/>
                  </a:lnTo>
                  <a:lnTo>
                    <a:pt x="589" y="60"/>
                  </a:lnTo>
                  <a:lnTo>
                    <a:pt x="587" y="62"/>
                  </a:lnTo>
                  <a:lnTo>
                    <a:pt x="583" y="60"/>
                  </a:lnTo>
                  <a:lnTo>
                    <a:pt x="578" y="62"/>
                  </a:lnTo>
                  <a:lnTo>
                    <a:pt x="575" y="69"/>
                  </a:lnTo>
                  <a:lnTo>
                    <a:pt x="572" y="74"/>
                  </a:lnTo>
                  <a:lnTo>
                    <a:pt x="568" y="79"/>
                  </a:lnTo>
                  <a:lnTo>
                    <a:pt x="565" y="79"/>
                  </a:lnTo>
                  <a:lnTo>
                    <a:pt x="565" y="75"/>
                  </a:lnTo>
                  <a:lnTo>
                    <a:pt x="561" y="75"/>
                  </a:lnTo>
                  <a:lnTo>
                    <a:pt x="560" y="77"/>
                  </a:lnTo>
                  <a:lnTo>
                    <a:pt x="553" y="84"/>
                  </a:lnTo>
                  <a:lnTo>
                    <a:pt x="558" y="91"/>
                  </a:lnTo>
                  <a:lnTo>
                    <a:pt x="553" y="96"/>
                  </a:lnTo>
                  <a:lnTo>
                    <a:pt x="549" y="94"/>
                  </a:lnTo>
                  <a:lnTo>
                    <a:pt x="546" y="89"/>
                  </a:lnTo>
                  <a:lnTo>
                    <a:pt x="541" y="91"/>
                  </a:lnTo>
                  <a:lnTo>
                    <a:pt x="537" y="96"/>
                  </a:lnTo>
                  <a:lnTo>
                    <a:pt x="534" y="98"/>
                  </a:lnTo>
                  <a:lnTo>
                    <a:pt x="529" y="94"/>
                  </a:lnTo>
                  <a:lnTo>
                    <a:pt x="529" y="92"/>
                  </a:lnTo>
                  <a:lnTo>
                    <a:pt x="525" y="91"/>
                  </a:lnTo>
                  <a:lnTo>
                    <a:pt x="522" y="92"/>
                  </a:lnTo>
                  <a:lnTo>
                    <a:pt x="515" y="92"/>
                  </a:lnTo>
                  <a:lnTo>
                    <a:pt x="513" y="94"/>
                  </a:lnTo>
                  <a:lnTo>
                    <a:pt x="513" y="91"/>
                  </a:lnTo>
                  <a:lnTo>
                    <a:pt x="512" y="91"/>
                  </a:lnTo>
                  <a:lnTo>
                    <a:pt x="512" y="89"/>
                  </a:lnTo>
                  <a:lnTo>
                    <a:pt x="515" y="89"/>
                  </a:lnTo>
                  <a:lnTo>
                    <a:pt x="524" y="82"/>
                  </a:lnTo>
                  <a:lnTo>
                    <a:pt x="527" y="75"/>
                  </a:lnTo>
                  <a:lnTo>
                    <a:pt x="534" y="72"/>
                  </a:lnTo>
                  <a:lnTo>
                    <a:pt x="539" y="72"/>
                  </a:lnTo>
                  <a:lnTo>
                    <a:pt x="544" y="67"/>
                  </a:lnTo>
                  <a:lnTo>
                    <a:pt x="537" y="62"/>
                  </a:lnTo>
                  <a:lnTo>
                    <a:pt x="529" y="63"/>
                  </a:lnTo>
                  <a:lnTo>
                    <a:pt x="532" y="58"/>
                  </a:lnTo>
                  <a:lnTo>
                    <a:pt x="536" y="57"/>
                  </a:lnTo>
                  <a:lnTo>
                    <a:pt x="537" y="60"/>
                  </a:lnTo>
                  <a:lnTo>
                    <a:pt x="543" y="60"/>
                  </a:lnTo>
                  <a:lnTo>
                    <a:pt x="546" y="57"/>
                  </a:lnTo>
                  <a:lnTo>
                    <a:pt x="554" y="57"/>
                  </a:lnTo>
                  <a:lnTo>
                    <a:pt x="551" y="63"/>
                  </a:lnTo>
                  <a:lnTo>
                    <a:pt x="548" y="69"/>
                  </a:lnTo>
                  <a:lnTo>
                    <a:pt x="546" y="70"/>
                  </a:lnTo>
                  <a:lnTo>
                    <a:pt x="549" y="69"/>
                  </a:lnTo>
                  <a:lnTo>
                    <a:pt x="554" y="72"/>
                  </a:lnTo>
                  <a:lnTo>
                    <a:pt x="558" y="67"/>
                  </a:lnTo>
                  <a:lnTo>
                    <a:pt x="558" y="65"/>
                  </a:lnTo>
                  <a:lnTo>
                    <a:pt x="556" y="65"/>
                  </a:lnTo>
                  <a:lnTo>
                    <a:pt x="556" y="62"/>
                  </a:lnTo>
                  <a:lnTo>
                    <a:pt x="560" y="62"/>
                  </a:lnTo>
                  <a:lnTo>
                    <a:pt x="560" y="65"/>
                  </a:lnTo>
                  <a:lnTo>
                    <a:pt x="563" y="62"/>
                  </a:lnTo>
                  <a:lnTo>
                    <a:pt x="563" y="57"/>
                  </a:lnTo>
                  <a:lnTo>
                    <a:pt x="560" y="57"/>
                  </a:lnTo>
                  <a:lnTo>
                    <a:pt x="560" y="53"/>
                  </a:lnTo>
                  <a:lnTo>
                    <a:pt x="565" y="53"/>
                  </a:lnTo>
                  <a:lnTo>
                    <a:pt x="566" y="55"/>
                  </a:lnTo>
                  <a:lnTo>
                    <a:pt x="565" y="58"/>
                  </a:lnTo>
                  <a:lnTo>
                    <a:pt x="570" y="58"/>
                  </a:lnTo>
                  <a:lnTo>
                    <a:pt x="573" y="57"/>
                  </a:lnTo>
                  <a:lnTo>
                    <a:pt x="572" y="53"/>
                  </a:lnTo>
                  <a:lnTo>
                    <a:pt x="573" y="53"/>
                  </a:lnTo>
                  <a:lnTo>
                    <a:pt x="582" y="48"/>
                  </a:lnTo>
                  <a:close/>
                  <a:moveTo>
                    <a:pt x="676" y="43"/>
                  </a:moveTo>
                  <a:lnTo>
                    <a:pt x="679" y="43"/>
                  </a:lnTo>
                  <a:lnTo>
                    <a:pt x="677" y="50"/>
                  </a:lnTo>
                  <a:lnTo>
                    <a:pt x="679" y="51"/>
                  </a:lnTo>
                  <a:lnTo>
                    <a:pt x="688" y="46"/>
                  </a:lnTo>
                  <a:lnTo>
                    <a:pt x="696" y="45"/>
                  </a:lnTo>
                  <a:lnTo>
                    <a:pt x="705" y="46"/>
                  </a:lnTo>
                  <a:lnTo>
                    <a:pt x="712" y="46"/>
                  </a:lnTo>
                  <a:lnTo>
                    <a:pt x="717" y="46"/>
                  </a:lnTo>
                  <a:lnTo>
                    <a:pt x="722" y="45"/>
                  </a:lnTo>
                  <a:lnTo>
                    <a:pt x="727" y="46"/>
                  </a:lnTo>
                  <a:lnTo>
                    <a:pt x="732" y="45"/>
                  </a:lnTo>
                  <a:lnTo>
                    <a:pt x="737" y="45"/>
                  </a:lnTo>
                  <a:lnTo>
                    <a:pt x="741" y="48"/>
                  </a:lnTo>
                  <a:lnTo>
                    <a:pt x="744" y="55"/>
                  </a:lnTo>
                  <a:lnTo>
                    <a:pt x="742" y="62"/>
                  </a:lnTo>
                  <a:lnTo>
                    <a:pt x="744" y="65"/>
                  </a:lnTo>
                  <a:lnTo>
                    <a:pt x="741" y="69"/>
                  </a:lnTo>
                  <a:lnTo>
                    <a:pt x="734" y="70"/>
                  </a:lnTo>
                  <a:lnTo>
                    <a:pt x="727" y="70"/>
                  </a:lnTo>
                  <a:lnTo>
                    <a:pt x="723" y="70"/>
                  </a:lnTo>
                  <a:lnTo>
                    <a:pt x="713" y="70"/>
                  </a:lnTo>
                  <a:lnTo>
                    <a:pt x="706" y="74"/>
                  </a:lnTo>
                  <a:lnTo>
                    <a:pt x="701" y="75"/>
                  </a:lnTo>
                  <a:lnTo>
                    <a:pt x="693" y="75"/>
                  </a:lnTo>
                  <a:lnTo>
                    <a:pt x="686" y="74"/>
                  </a:lnTo>
                  <a:lnTo>
                    <a:pt x="677" y="79"/>
                  </a:lnTo>
                  <a:lnTo>
                    <a:pt x="672" y="81"/>
                  </a:lnTo>
                  <a:lnTo>
                    <a:pt x="667" y="77"/>
                  </a:lnTo>
                  <a:lnTo>
                    <a:pt x="659" y="82"/>
                  </a:lnTo>
                  <a:lnTo>
                    <a:pt x="657" y="82"/>
                  </a:lnTo>
                  <a:lnTo>
                    <a:pt x="657" y="79"/>
                  </a:lnTo>
                  <a:lnTo>
                    <a:pt x="650" y="81"/>
                  </a:lnTo>
                  <a:lnTo>
                    <a:pt x="647" y="77"/>
                  </a:lnTo>
                  <a:lnTo>
                    <a:pt x="648" y="74"/>
                  </a:lnTo>
                  <a:lnTo>
                    <a:pt x="655" y="67"/>
                  </a:lnTo>
                  <a:lnTo>
                    <a:pt x="655" y="62"/>
                  </a:lnTo>
                  <a:lnTo>
                    <a:pt x="664" y="58"/>
                  </a:lnTo>
                  <a:lnTo>
                    <a:pt x="667" y="58"/>
                  </a:lnTo>
                  <a:lnTo>
                    <a:pt x="674" y="53"/>
                  </a:lnTo>
                  <a:lnTo>
                    <a:pt x="667" y="53"/>
                  </a:lnTo>
                  <a:lnTo>
                    <a:pt x="667" y="55"/>
                  </a:lnTo>
                  <a:lnTo>
                    <a:pt x="665" y="55"/>
                  </a:lnTo>
                  <a:lnTo>
                    <a:pt x="657" y="60"/>
                  </a:lnTo>
                  <a:lnTo>
                    <a:pt x="655" y="60"/>
                  </a:lnTo>
                  <a:lnTo>
                    <a:pt x="655" y="53"/>
                  </a:lnTo>
                  <a:lnTo>
                    <a:pt x="660" y="45"/>
                  </a:lnTo>
                  <a:lnTo>
                    <a:pt x="664" y="43"/>
                  </a:lnTo>
                  <a:lnTo>
                    <a:pt x="671" y="41"/>
                  </a:lnTo>
                  <a:lnTo>
                    <a:pt x="676" y="43"/>
                  </a:lnTo>
                  <a:close/>
                  <a:moveTo>
                    <a:pt x="380" y="40"/>
                  </a:moveTo>
                  <a:lnTo>
                    <a:pt x="384" y="40"/>
                  </a:lnTo>
                  <a:lnTo>
                    <a:pt x="384" y="41"/>
                  </a:lnTo>
                  <a:lnTo>
                    <a:pt x="380" y="41"/>
                  </a:lnTo>
                  <a:lnTo>
                    <a:pt x="380" y="40"/>
                  </a:lnTo>
                  <a:close/>
                  <a:moveTo>
                    <a:pt x="474" y="36"/>
                  </a:moveTo>
                  <a:lnTo>
                    <a:pt x="474" y="38"/>
                  </a:lnTo>
                  <a:lnTo>
                    <a:pt x="479" y="40"/>
                  </a:lnTo>
                  <a:lnTo>
                    <a:pt x="484" y="43"/>
                  </a:lnTo>
                  <a:lnTo>
                    <a:pt x="484" y="50"/>
                  </a:lnTo>
                  <a:lnTo>
                    <a:pt x="483" y="51"/>
                  </a:lnTo>
                  <a:lnTo>
                    <a:pt x="484" y="53"/>
                  </a:lnTo>
                  <a:lnTo>
                    <a:pt x="486" y="57"/>
                  </a:lnTo>
                  <a:lnTo>
                    <a:pt x="490" y="60"/>
                  </a:lnTo>
                  <a:lnTo>
                    <a:pt x="490" y="65"/>
                  </a:lnTo>
                  <a:lnTo>
                    <a:pt x="483" y="69"/>
                  </a:lnTo>
                  <a:lnTo>
                    <a:pt x="478" y="67"/>
                  </a:lnTo>
                  <a:lnTo>
                    <a:pt x="473" y="74"/>
                  </a:lnTo>
                  <a:lnTo>
                    <a:pt x="474" y="77"/>
                  </a:lnTo>
                  <a:lnTo>
                    <a:pt x="474" y="81"/>
                  </a:lnTo>
                  <a:lnTo>
                    <a:pt x="471" y="82"/>
                  </a:lnTo>
                  <a:lnTo>
                    <a:pt x="461" y="77"/>
                  </a:lnTo>
                  <a:lnTo>
                    <a:pt x="462" y="84"/>
                  </a:lnTo>
                  <a:lnTo>
                    <a:pt x="469" y="92"/>
                  </a:lnTo>
                  <a:lnTo>
                    <a:pt x="467" y="98"/>
                  </a:lnTo>
                  <a:lnTo>
                    <a:pt x="461" y="101"/>
                  </a:lnTo>
                  <a:lnTo>
                    <a:pt x="455" y="99"/>
                  </a:lnTo>
                  <a:lnTo>
                    <a:pt x="454" y="103"/>
                  </a:lnTo>
                  <a:lnTo>
                    <a:pt x="449" y="101"/>
                  </a:lnTo>
                  <a:lnTo>
                    <a:pt x="442" y="106"/>
                  </a:lnTo>
                  <a:lnTo>
                    <a:pt x="433" y="106"/>
                  </a:lnTo>
                  <a:lnTo>
                    <a:pt x="432" y="111"/>
                  </a:lnTo>
                  <a:lnTo>
                    <a:pt x="428" y="113"/>
                  </a:lnTo>
                  <a:lnTo>
                    <a:pt x="421" y="115"/>
                  </a:lnTo>
                  <a:lnTo>
                    <a:pt x="413" y="118"/>
                  </a:lnTo>
                  <a:lnTo>
                    <a:pt x="404" y="116"/>
                  </a:lnTo>
                  <a:lnTo>
                    <a:pt x="401" y="118"/>
                  </a:lnTo>
                  <a:lnTo>
                    <a:pt x="396" y="116"/>
                  </a:lnTo>
                  <a:lnTo>
                    <a:pt x="391" y="116"/>
                  </a:lnTo>
                  <a:lnTo>
                    <a:pt x="389" y="115"/>
                  </a:lnTo>
                  <a:lnTo>
                    <a:pt x="380" y="115"/>
                  </a:lnTo>
                  <a:lnTo>
                    <a:pt x="377" y="116"/>
                  </a:lnTo>
                  <a:lnTo>
                    <a:pt x="370" y="123"/>
                  </a:lnTo>
                  <a:lnTo>
                    <a:pt x="368" y="123"/>
                  </a:lnTo>
                  <a:lnTo>
                    <a:pt x="367" y="123"/>
                  </a:lnTo>
                  <a:lnTo>
                    <a:pt x="358" y="127"/>
                  </a:lnTo>
                  <a:lnTo>
                    <a:pt x="351" y="127"/>
                  </a:lnTo>
                  <a:lnTo>
                    <a:pt x="350" y="128"/>
                  </a:lnTo>
                  <a:lnTo>
                    <a:pt x="341" y="133"/>
                  </a:lnTo>
                  <a:lnTo>
                    <a:pt x="336" y="132"/>
                  </a:lnTo>
                  <a:lnTo>
                    <a:pt x="327" y="128"/>
                  </a:lnTo>
                  <a:lnTo>
                    <a:pt x="327" y="130"/>
                  </a:lnTo>
                  <a:lnTo>
                    <a:pt x="327" y="133"/>
                  </a:lnTo>
                  <a:lnTo>
                    <a:pt x="324" y="135"/>
                  </a:lnTo>
                  <a:lnTo>
                    <a:pt x="322" y="133"/>
                  </a:lnTo>
                  <a:lnTo>
                    <a:pt x="324" y="128"/>
                  </a:lnTo>
                  <a:lnTo>
                    <a:pt x="319" y="123"/>
                  </a:lnTo>
                  <a:lnTo>
                    <a:pt x="312" y="125"/>
                  </a:lnTo>
                  <a:lnTo>
                    <a:pt x="305" y="123"/>
                  </a:lnTo>
                  <a:lnTo>
                    <a:pt x="304" y="123"/>
                  </a:lnTo>
                  <a:lnTo>
                    <a:pt x="295" y="122"/>
                  </a:lnTo>
                  <a:lnTo>
                    <a:pt x="292" y="125"/>
                  </a:lnTo>
                  <a:lnTo>
                    <a:pt x="292" y="133"/>
                  </a:lnTo>
                  <a:lnTo>
                    <a:pt x="288" y="135"/>
                  </a:lnTo>
                  <a:lnTo>
                    <a:pt x="283" y="137"/>
                  </a:lnTo>
                  <a:lnTo>
                    <a:pt x="280" y="133"/>
                  </a:lnTo>
                  <a:lnTo>
                    <a:pt x="278" y="135"/>
                  </a:lnTo>
                  <a:lnTo>
                    <a:pt x="268" y="133"/>
                  </a:lnTo>
                  <a:lnTo>
                    <a:pt x="268" y="135"/>
                  </a:lnTo>
                  <a:lnTo>
                    <a:pt x="264" y="135"/>
                  </a:lnTo>
                  <a:lnTo>
                    <a:pt x="256" y="139"/>
                  </a:lnTo>
                  <a:lnTo>
                    <a:pt x="254" y="140"/>
                  </a:lnTo>
                  <a:lnTo>
                    <a:pt x="251" y="142"/>
                  </a:lnTo>
                  <a:lnTo>
                    <a:pt x="247" y="142"/>
                  </a:lnTo>
                  <a:lnTo>
                    <a:pt x="239" y="139"/>
                  </a:lnTo>
                  <a:lnTo>
                    <a:pt x="232" y="133"/>
                  </a:lnTo>
                  <a:lnTo>
                    <a:pt x="228" y="127"/>
                  </a:lnTo>
                  <a:lnTo>
                    <a:pt x="223" y="128"/>
                  </a:lnTo>
                  <a:lnTo>
                    <a:pt x="222" y="132"/>
                  </a:lnTo>
                  <a:lnTo>
                    <a:pt x="218" y="133"/>
                  </a:lnTo>
                  <a:lnTo>
                    <a:pt x="210" y="132"/>
                  </a:lnTo>
                  <a:lnTo>
                    <a:pt x="205" y="132"/>
                  </a:lnTo>
                  <a:lnTo>
                    <a:pt x="199" y="125"/>
                  </a:lnTo>
                  <a:lnTo>
                    <a:pt x="193" y="125"/>
                  </a:lnTo>
                  <a:lnTo>
                    <a:pt x="187" y="125"/>
                  </a:lnTo>
                  <a:lnTo>
                    <a:pt x="181" y="125"/>
                  </a:lnTo>
                  <a:lnTo>
                    <a:pt x="175" y="127"/>
                  </a:lnTo>
                  <a:lnTo>
                    <a:pt x="172" y="125"/>
                  </a:lnTo>
                  <a:lnTo>
                    <a:pt x="165" y="130"/>
                  </a:lnTo>
                  <a:lnTo>
                    <a:pt x="164" y="128"/>
                  </a:lnTo>
                  <a:lnTo>
                    <a:pt x="162" y="130"/>
                  </a:lnTo>
                  <a:lnTo>
                    <a:pt x="153" y="127"/>
                  </a:lnTo>
                  <a:lnTo>
                    <a:pt x="148" y="122"/>
                  </a:lnTo>
                  <a:lnTo>
                    <a:pt x="143" y="122"/>
                  </a:lnTo>
                  <a:lnTo>
                    <a:pt x="143" y="120"/>
                  </a:lnTo>
                  <a:lnTo>
                    <a:pt x="143" y="122"/>
                  </a:lnTo>
                  <a:lnTo>
                    <a:pt x="145" y="122"/>
                  </a:lnTo>
                  <a:lnTo>
                    <a:pt x="135" y="125"/>
                  </a:lnTo>
                  <a:lnTo>
                    <a:pt x="124" y="127"/>
                  </a:lnTo>
                  <a:lnTo>
                    <a:pt x="121" y="125"/>
                  </a:lnTo>
                  <a:lnTo>
                    <a:pt x="119" y="128"/>
                  </a:lnTo>
                  <a:lnTo>
                    <a:pt x="117" y="128"/>
                  </a:lnTo>
                  <a:lnTo>
                    <a:pt x="119" y="130"/>
                  </a:lnTo>
                  <a:lnTo>
                    <a:pt x="117" y="132"/>
                  </a:lnTo>
                  <a:lnTo>
                    <a:pt x="114" y="130"/>
                  </a:lnTo>
                  <a:lnTo>
                    <a:pt x="116" y="125"/>
                  </a:lnTo>
                  <a:lnTo>
                    <a:pt x="112" y="125"/>
                  </a:lnTo>
                  <a:lnTo>
                    <a:pt x="109" y="123"/>
                  </a:lnTo>
                  <a:lnTo>
                    <a:pt x="107" y="122"/>
                  </a:lnTo>
                  <a:lnTo>
                    <a:pt x="104" y="118"/>
                  </a:lnTo>
                  <a:lnTo>
                    <a:pt x="106" y="118"/>
                  </a:lnTo>
                  <a:lnTo>
                    <a:pt x="104" y="116"/>
                  </a:lnTo>
                  <a:lnTo>
                    <a:pt x="106" y="115"/>
                  </a:lnTo>
                  <a:lnTo>
                    <a:pt x="104" y="110"/>
                  </a:lnTo>
                  <a:lnTo>
                    <a:pt x="106" y="108"/>
                  </a:lnTo>
                  <a:lnTo>
                    <a:pt x="106" y="99"/>
                  </a:lnTo>
                  <a:lnTo>
                    <a:pt x="104" y="98"/>
                  </a:lnTo>
                  <a:lnTo>
                    <a:pt x="107" y="94"/>
                  </a:lnTo>
                  <a:lnTo>
                    <a:pt x="107" y="92"/>
                  </a:lnTo>
                  <a:lnTo>
                    <a:pt x="111" y="91"/>
                  </a:lnTo>
                  <a:lnTo>
                    <a:pt x="114" y="87"/>
                  </a:lnTo>
                  <a:lnTo>
                    <a:pt x="114" y="84"/>
                  </a:lnTo>
                  <a:lnTo>
                    <a:pt x="111" y="79"/>
                  </a:lnTo>
                  <a:lnTo>
                    <a:pt x="114" y="79"/>
                  </a:lnTo>
                  <a:lnTo>
                    <a:pt x="114" y="81"/>
                  </a:lnTo>
                  <a:lnTo>
                    <a:pt x="116" y="81"/>
                  </a:lnTo>
                  <a:lnTo>
                    <a:pt x="114" y="82"/>
                  </a:lnTo>
                  <a:lnTo>
                    <a:pt x="117" y="84"/>
                  </a:lnTo>
                  <a:lnTo>
                    <a:pt x="124" y="81"/>
                  </a:lnTo>
                  <a:lnTo>
                    <a:pt x="124" y="79"/>
                  </a:lnTo>
                  <a:lnTo>
                    <a:pt x="128" y="82"/>
                  </a:lnTo>
                  <a:lnTo>
                    <a:pt x="131" y="81"/>
                  </a:lnTo>
                  <a:lnTo>
                    <a:pt x="128" y="77"/>
                  </a:lnTo>
                  <a:lnTo>
                    <a:pt x="131" y="77"/>
                  </a:lnTo>
                  <a:lnTo>
                    <a:pt x="131" y="74"/>
                  </a:lnTo>
                  <a:lnTo>
                    <a:pt x="135" y="74"/>
                  </a:lnTo>
                  <a:lnTo>
                    <a:pt x="135" y="75"/>
                  </a:lnTo>
                  <a:lnTo>
                    <a:pt x="138" y="72"/>
                  </a:lnTo>
                  <a:lnTo>
                    <a:pt x="135" y="75"/>
                  </a:lnTo>
                  <a:lnTo>
                    <a:pt x="140" y="74"/>
                  </a:lnTo>
                  <a:lnTo>
                    <a:pt x="138" y="77"/>
                  </a:lnTo>
                  <a:lnTo>
                    <a:pt x="140" y="77"/>
                  </a:lnTo>
                  <a:lnTo>
                    <a:pt x="140" y="79"/>
                  </a:lnTo>
                  <a:lnTo>
                    <a:pt x="141" y="81"/>
                  </a:lnTo>
                  <a:lnTo>
                    <a:pt x="143" y="77"/>
                  </a:lnTo>
                  <a:lnTo>
                    <a:pt x="143" y="70"/>
                  </a:lnTo>
                  <a:lnTo>
                    <a:pt x="146" y="70"/>
                  </a:lnTo>
                  <a:lnTo>
                    <a:pt x="146" y="72"/>
                  </a:lnTo>
                  <a:lnTo>
                    <a:pt x="148" y="72"/>
                  </a:lnTo>
                  <a:lnTo>
                    <a:pt x="153" y="63"/>
                  </a:lnTo>
                  <a:lnTo>
                    <a:pt x="157" y="63"/>
                  </a:lnTo>
                  <a:lnTo>
                    <a:pt x="160" y="62"/>
                  </a:lnTo>
                  <a:lnTo>
                    <a:pt x="169" y="60"/>
                  </a:lnTo>
                  <a:lnTo>
                    <a:pt x="172" y="62"/>
                  </a:lnTo>
                  <a:lnTo>
                    <a:pt x="177" y="60"/>
                  </a:lnTo>
                  <a:lnTo>
                    <a:pt x="181" y="57"/>
                  </a:lnTo>
                  <a:lnTo>
                    <a:pt x="184" y="62"/>
                  </a:lnTo>
                  <a:lnTo>
                    <a:pt x="187" y="62"/>
                  </a:lnTo>
                  <a:lnTo>
                    <a:pt x="193" y="60"/>
                  </a:lnTo>
                  <a:lnTo>
                    <a:pt x="196" y="63"/>
                  </a:lnTo>
                  <a:lnTo>
                    <a:pt x="199" y="63"/>
                  </a:lnTo>
                  <a:lnTo>
                    <a:pt x="201" y="60"/>
                  </a:lnTo>
                  <a:lnTo>
                    <a:pt x="199" y="58"/>
                  </a:lnTo>
                  <a:lnTo>
                    <a:pt x="201" y="58"/>
                  </a:lnTo>
                  <a:lnTo>
                    <a:pt x="208" y="62"/>
                  </a:lnTo>
                  <a:lnTo>
                    <a:pt x="210" y="65"/>
                  </a:lnTo>
                  <a:lnTo>
                    <a:pt x="215" y="67"/>
                  </a:lnTo>
                  <a:lnTo>
                    <a:pt x="216" y="69"/>
                  </a:lnTo>
                  <a:lnTo>
                    <a:pt x="225" y="67"/>
                  </a:lnTo>
                  <a:lnTo>
                    <a:pt x="230" y="70"/>
                  </a:lnTo>
                  <a:lnTo>
                    <a:pt x="234" y="69"/>
                  </a:lnTo>
                  <a:lnTo>
                    <a:pt x="235" y="72"/>
                  </a:lnTo>
                  <a:lnTo>
                    <a:pt x="235" y="70"/>
                  </a:lnTo>
                  <a:lnTo>
                    <a:pt x="240" y="69"/>
                  </a:lnTo>
                  <a:lnTo>
                    <a:pt x="242" y="72"/>
                  </a:lnTo>
                  <a:lnTo>
                    <a:pt x="242" y="69"/>
                  </a:lnTo>
                  <a:lnTo>
                    <a:pt x="245" y="69"/>
                  </a:lnTo>
                  <a:lnTo>
                    <a:pt x="245" y="72"/>
                  </a:lnTo>
                  <a:lnTo>
                    <a:pt x="244" y="72"/>
                  </a:lnTo>
                  <a:lnTo>
                    <a:pt x="247" y="74"/>
                  </a:lnTo>
                  <a:lnTo>
                    <a:pt x="247" y="72"/>
                  </a:lnTo>
                  <a:lnTo>
                    <a:pt x="251" y="72"/>
                  </a:lnTo>
                  <a:lnTo>
                    <a:pt x="249" y="74"/>
                  </a:lnTo>
                  <a:lnTo>
                    <a:pt x="252" y="75"/>
                  </a:lnTo>
                  <a:lnTo>
                    <a:pt x="251" y="75"/>
                  </a:lnTo>
                  <a:lnTo>
                    <a:pt x="251" y="77"/>
                  </a:lnTo>
                  <a:lnTo>
                    <a:pt x="256" y="77"/>
                  </a:lnTo>
                  <a:lnTo>
                    <a:pt x="266" y="79"/>
                  </a:lnTo>
                  <a:lnTo>
                    <a:pt x="268" y="81"/>
                  </a:lnTo>
                  <a:lnTo>
                    <a:pt x="271" y="79"/>
                  </a:lnTo>
                  <a:lnTo>
                    <a:pt x="276" y="84"/>
                  </a:lnTo>
                  <a:lnTo>
                    <a:pt x="280" y="82"/>
                  </a:lnTo>
                  <a:lnTo>
                    <a:pt x="285" y="86"/>
                  </a:lnTo>
                  <a:lnTo>
                    <a:pt x="288" y="91"/>
                  </a:lnTo>
                  <a:lnTo>
                    <a:pt x="292" y="94"/>
                  </a:lnTo>
                  <a:lnTo>
                    <a:pt x="297" y="96"/>
                  </a:lnTo>
                  <a:lnTo>
                    <a:pt x="298" y="98"/>
                  </a:lnTo>
                  <a:lnTo>
                    <a:pt x="304" y="94"/>
                  </a:lnTo>
                  <a:lnTo>
                    <a:pt x="305" y="94"/>
                  </a:lnTo>
                  <a:lnTo>
                    <a:pt x="305" y="96"/>
                  </a:lnTo>
                  <a:lnTo>
                    <a:pt x="309" y="96"/>
                  </a:lnTo>
                  <a:lnTo>
                    <a:pt x="309" y="101"/>
                  </a:lnTo>
                  <a:lnTo>
                    <a:pt x="314" y="96"/>
                  </a:lnTo>
                  <a:lnTo>
                    <a:pt x="317" y="96"/>
                  </a:lnTo>
                  <a:lnTo>
                    <a:pt x="315" y="92"/>
                  </a:lnTo>
                  <a:lnTo>
                    <a:pt x="315" y="91"/>
                  </a:lnTo>
                  <a:lnTo>
                    <a:pt x="321" y="94"/>
                  </a:lnTo>
                  <a:lnTo>
                    <a:pt x="321" y="91"/>
                  </a:lnTo>
                  <a:lnTo>
                    <a:pt x="322" y="84"/>
                  </a:lnTo>
                  <a:lnTo>
                    <a:pt x="324" y="84"/>
                  </a:lnTo>
                  <a:lnTo>
                    <a:pt x="324" y="87"/>
                  </a:lnTo>
                  <a:lnTo>
                    <a:pt x="327" y="86"/>
                  </a:lnTo>
                  <a:lnTo>
                    <a:pt x="329" y="89"/>
                  </a:lnTo>
                  <a:lnTo>
                    <a:pt x="336" y="86"/>
                  </a:lnTo>
                  <a:lnTo>
                    <a:pt x="344" y="89"/>
                  </a:lnTo>
                  <a:lnTo>
                    <a:pt x="348" y="87"/>
                  </a:lnTo>
                  <a:lnTo>
                    <a:pt x="350" y="84"/>
                  </a:lnTo>
                  <a:lnTo>
                    <a:pt x="353" y="87"/>
                  </a:lnTo>
                  <a:lnTo>
                    <a:pt x="356" y="87"/>
                  </a:lnTo>
                  <a:lnTo>
                    <a:pt x="363" y="81"/>
                  </a:lnTo>
                  <a:lnTo>
                    <a:pt x="363" y="84"/>
                  </a:lnTo>
                  <a:lnTo>
                    <a:pt x="365" y="81"/>
                  </a:lnTo>
                  <a:lnTo>
                    <a:pt x="370" y="81"/>
                  </a:lnTo>
                  <a:lnTo>
                    <a:pt x="368" y="82"/>
                  </a:lnTo>
                  <a:lnTo>
                    <a:pt x="368" y="91"/>
                  </a:lnTo>
                  <a:lnTo>
                    <a:pt x="375" y="89"/>
                  </a:lnTo>
                  <a:lnTo>
                    <a:pt x="377" y="92"/>
                  </a:lnTo>
                  <a:lnTo>
                    <a:pt x="380" y="91"/>
                  </a:lnTo>
                  <a:lnTo>
                    <a:pt x="387" y="94"/>
                  </a:lnTo>
                  <a:lnTo>
                    <a:pt x="391" y="99"/>
                  </a:lnTo>
                  <a:lnTo>
                    <a:pt x="396" y="103"/>
                  </a:lnTo>
                  <a:lnTo>
                    <a:pt x="403" y="104"/>
                  </a:lnTo>
                  <a:lnTo>
                    <a:pt x="411" y="101"/>
                  </a:lnTo>
                  <a:lnTo>
                    <a:pt x="416" y="101"/>
                  </a:lnTo>
                  <a:lnTo>
                    <a:pt x="421" y="99"/>
                  </a:lnTo>
                  <a:lnTo>
                    <a:pt x="425" y="99"/>
                  </a:lnTo>
                  <a:lnTo>
                    <a:pt x="430" y="92"/>
                  </a:lnTo>
                  <a:lnTo>
                    <a:pt x="430" y="91"/>
                  </a:lnTo>
                  <a:lnTo>
                    <a:pt x="425" y="86"/>
                  </a:lnTo>
                  <a:lnTo>
                    <a:pt x="426" y="84"/>
                  </a:lnTo>
                  <a:lnTo>
                    <a:pt x="433" y="82"/>
                  </a:lnTo>
                  <a:lnTo>
                    <a:pt x="437" y="79"/>
                  </a:lnTo>
                  <a:lnTo>
                    <a:pt x="438" y="77"/>
                  </a:lnTo>
                  <a:lnTo>
                    <a:pt x="438" y="74"/>
                  </a:lnTo>
                  <a:lnTo>
                    <a:pt x="440" y="75"/>
                  </a:lnTo>
                  <a:lnTo>
                    <a:pt x="444" y="74"/>
                  </a:lnTo>
                  <a:lnTo>
                    <a:pt x="447" y="74"/>
                  </a:lnTo>
                  <a:lnTo>
                    <a:pt x="455" y="70"/>
                  </a:lnTo>
                  <a:lnTo>
                    <a:pt x="459" y="70"/>
                  </a:lnTo>
                  <a:lnTo>
                    <a:pt x="464" y="63"/>
                  </a:lnTo>
                  <a:lnTo>
                    <a:pt x="473" y="62"/>
                  </a:lnTo>
                  <a:lnTo>
                    <a:pt x="474" y="60"/>
                  </a:lnTo>
                  <a:lnTo>
                    <a:pt x="478" y="53"/>
                  </a:lnTo>
                  <a:lnTo>
                    <a:pt x="481" y="51"/>
                  </a:lnTo>
                  <a:lnTo>
                    <a:pt x="476" y="48"/>
                  </a:lnTo>
                  <a:lnTo>
                    <a:pt x="466" y="50"/>
                  </a:lnTo>
                  <a:lnTo>
                    <a:pt x="462" y="55"/>
                  </a:lnTo>
                  <a:lnTo>
                    <a:pt x="455" y="53"/>
                  </a:lnTo>
                  <a:lnTo>
                    <a:pt x="462" y="45"/>
                  </a:lnTo>
                  <a:lnTo>
                    <a:pt x="462" y="40"/>
                  </a:lnTo>
                  <a:lnTo>
                    <a:pt x="467" y="40"/>
                  </a:lnTo>
                  <a:lnTo>
                    <a:pt x="469" y="36"/>
                  </a:lnTo>
                  <a:lnTo>
                    <a:pt x="473" y="34"/>
                  </a:lnTo>
                  <a:lnTo>
                    <a:pt x="474" y="36"/>
                  </a:lnTo>
                  <a:close/>
                  <a:moveTo>
                    <a:pt x="558" y="0"/>
                  </a:moveTo>
                  <a:lnTo>
                    <a:pt x="560" y="0"/>
                  </a:lnTo>
                  <a:lnTo>
                    <a:pt x="560" y="4"/>
                  </a:lnTo>
                  <a:lnTo>
                    <a:pt x="556" y="2"/>
                  </a:lnTo>
                  <a:lnTo>
                    <a:pt x="558"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5" name="Freeform 62"/>
            <p:cNvSpPr>
              <a:spLocks noEditPoints="1"/>
            </p:cNvSpPr>
            <p:nvPr/>
          </p:nvSpPr>
          <p:spPr bwMode="gray">
            <a:xfrm>
              <a:off x="7580886" y="3753040"/>
              <a:ext cx="2008425" cy="1227676"/>
            </a:xfrm>
            <a:custGeom>
              <a:avLst/>
              <a:gdLst>
                <a:gd name="T0" fmla="*/ 365 w 1101"/>
                <a:gd name="T1" fmla="*/ 655 h 673"/>
                <a:gd name="T2" fmla="*/ 490 w 1101"/>
                <a:gd name="T3" fmla="*/ 657 h 673"/>
                <a:gd name="T4" fmla="*/ 633 w 1101"/>
                <a:gd name="T5" fmla="*/ 640 h 673"/>
                <a:gd name="T6" fmla="*/ 452 w 1101"/>
                <a:gd name="T7" fmla="*/ 613 h 673"/>
                <a:gd name="T8" fmla="*/ 632 w 1101"/>
                <a:gd name="T9" fmla="*/ 599 h 673"/>
                <a:gd name="T10" fmla="*/ 107 w 1101"/>
                <a:gd name="T11" fmla="*/ 579 h 673"/>
                <a:gd name="T12" fmla="*/ 7 w 1101"/>
                <a:gd name="T13" fmla="*/ 632 h 673"/>
                <a:gd name="T14" fmla="*/ 475 w 1101"/>
                <a:gd name="T15" fmla="*/ 577 h 673"/>
                <a:gd name="T16" fmla="*/ 625 w 1101"/>
                <a:gd name="T17" fmla="*/ 577 h 673"/>
                <a:gd name="T18" fmla="*/ 642 w 1101"/>
                <a:gd name="T19" fmla="*/ 568 h 673"/>
                <a:gd name="T20" fmla="*/ 340 w 1101"/>
                <a:gd name="T21" fmla="*/ 544 h 673"/>
                <a:gd name="T22" fmla="*/ 708 w 1101"/>
                <a:gd name="T23" fmla="*/ 553 h 673"/>
                <a:gd name="T24" fmla="*/ 667 w 1101"/>
                <a:gd name="T25" fmla="*/ 626 h 673"/>
                <a:gd name="T26" fmla="*/ 661 w 1101"/>
                <a:gd name="T27" fmla="*/ 597 h 673"/>
                <a:gd name="T28" fmla="*/ 693 w 1101"/>
                <a:gd name="T29" fmla="*/ 533 h 673"/>
                <a:gd name="T30" fmla="*/ 684 w 1101"/>
                <a:gd name="T31" fmla="*/ 522 h 673"/>
                <a:gd name="T32" fmla="*/ 741 w 1101"/>
                <a:gd name="T33" fmla="*/ 517 h 673"/>
                <a:gd name="T34" fmla="*/ 1070 w 1101"/>
                <a:gd name="T35" fmla="*/ 493 h 673"/>
                <a:gd name="T36" fmla="*/ 1048 w 1101"/>
                <a:gd name="T37" fmla="*/ 473 h 673"/>
                <a:gd name="T38" fmla="*/ 1084 w 1101"/>
                <a:gd name="T39" fmla="*/ 464 h 673"/>
                <a:gd name="T40" fmla="*/ 1062 w 1101"/>
                <a:gd name="T41" fmla="*/ 454 h 673"/>
                <a:gd name="T42" fmla="*/ 1070 w 1101"/>
                <a:gd name="T43" fmla="*/ 457 h 673"/>
                <a:gd name="T44" fmla="*/ 517 w 1101"/>
                <a:gd name="T45" fmla="*/ 430 h 673"/>
                <a:gd name="T46" fmla="*/ 1092 w 1101"/>
                <a:gd name="T47" fmla="*/ 428 h 673"/>
                <a:gd name="T48" fmla="*/ 1041 w 1101"/>
                <a:gd name="T49" fmla="*/ 423 h 673"/>
                <a:gd name="T50" fmla="*/ 1005 w 1101"/>
                <a:gd name="T51" fmla="*/ 411 h 673"/>
                <a:gd name="T52" fmla="*/ 1048 w 1101"/>
                <a:gd name="T53" fmla="*/ 471 h 673"/>
                <a:gd name="T54" fmla="*/ 1004 w 1101"/>
                <a:gd name="T55" fmla="*/ 451 h 673"/>
                <a:gd name="T56" fmla="*/ 1098 w 1101"/>
                <a:gd name="T57" fmla="*/ 410 h 673"/>
                <a:gd name="T58" fmla="*/ 1034 w 1101"/>
                <a:gd name="T59" fmla="*/ 432 h 673"/>
                <a:gd name="T60" fmla="*/ 1070 w 1101"/>
                <a:gd name="T61" fmla="*/ 387 h 673"/>
                <a:gd name="T62" fmla="*/ 1077 w 1101"/>
                <a:gd name="T63" fmla="*/ 428 h 673"/>
                <a:gd name="T64" fmla="*/ 1028 w 1101"/>
                <a:gd name="T65" fmla="*/ 399 h 673"/>
                <a:gd name="T66" fmla="*/ 826 w 1101"/>
                <a:gd name="T67" fmla="*/ 375 h 673"/>
                <a:gd name="T68" fmla="*/ 1021 w 1101"/>
                <a:gd name="T69" fmla="*/ 370 h 673"/>
                <a:gd name="T70" fmla="*/ 773 w 1101"/>
                <a:gd name="T71" fmla="*/ 360 h 673"/>
                <a:gd name="T72" fmla="*/ 845 w 1101"/>
                <a:gd name="T73" fmla="*/ 369 h 673"/>
                <a:gd name="T74" fmla="*/ 785 w 1101"/>
                <a:gd name="T75" fmla="*/ 341 h 673"/>
                <a:gd name="T76" fmla="*/ 1081 w 1101"/>
                <a:gd name="T77" fmla="*/ 353 h 673"/>
                <a:gd name="T78" fmla="*/ 1053 w 1101"/>
                <a:gd name="T79" fmla="*/ 338 h 673"/>
                <a:gd name="T80" fmla="*/ 1065 w 1101"/>
                <a:gd name="T81" fmla="*/ 384 h 673"/>
                <a:gd name="T82" fmla="*/ 1019 w 1101"/>
                <a:gd name="T83" fmla="*/ 358 h 673"/>
                <a:gd name="T84" fmla="*/ 847 w 1101"/>
                <a:gd name="T85" fmla="*/ 336 h 673"/>
                <a:gd name="T86" fmla="*/ 1074 w 1101"/>
                <a:gd name="T87" fmla="*/ 326 h 673"/>
                <a:gd name="T88" fmla="*/ 1057 w 1101"/>
                <a:gd name="T89" fmla="*/ 329 h 673"/>
                <a:gd name="T90" fmla="*/ 1063 w 1101"/>
                <a:gd name="T91" fmla="*/ 310 h 673"/>
                <a:gd name="T92" fmla="*/ 859 w 1101"/>
                <a:gd name="T93" fmla="*/ 374 h 673"/>
                <a:gd name="T94" fmla="*/ 478 w 1101"/>
                <a:gd name="T95" fmla="*/ 217 h 673"/>
                <a:gd name="T96" fmla="*/ 708 w 1101"/>
                <a:gd name="T97" fmla="*/ 201 h 673"/>
                <a:gd name="T98" fmla="*/ 181 w 1101"/>
                <a:gd name="T99" fmla="*/ 138 h 673"/>
                <a:gd name="T100" fmla="*/ 358 w 1101"/>
                <a:gd name="T101" fmla="*/ 97 h 673"/>
                <a:gd name="T102" fmla="*/ 287 w 1101"/>
                <a:gd name="T103" fmla="*/ 128 h 673"/>
                <a:gd name="T104" fmla="*/ 225 w 1101"/>
                <a:gd name="T105" fmla="*/ 73 h 673"/>
                <a:gd name="T106" fmla="*/ 145 w 1101"/>
                <a:gd name="T107" fmla="*/ 47 h 673"/>
                <a:gd name="T108" fmla="*/ 143 w 1101"/>
                <a:gd name="T109" fmla="*/ 126 h 673"/>
                <a:gd name="T110" fmla="*/ 46 w 1101"/>
                <a:gd name="T111" fmla="*/ 49 h 673"/>
                <a:gd name="T112" fmla="*/ 266 w 1101"/>
                <a:gd name="T113" fmla="*/ 25 h 673"/>
                <a:gd name="T114" fmla="*/ 585 w 1101"/>
                <a:gd name="T115" fmla="*/ 47 h 673"/>
                <a:gd name="T116" fmla="*/ 574 w 1101"/>
                <a:gd name="T117" fmla="*/ 117 h 673"/>
                <a:gd name="T118" fmla="*/ 416 w 1101"/>
                <a:gd name="T119" fmla="*/ 76 h 673"/>
                <a:gd name="T120" fmla="*/ 297 w 1101"/>
                <a:gd name="T121" fmla="*/ 56 h 673"/>
                <a:gd name="T122" fmla="*/ 276 w 1101"/>
                <a:gd name="T123" fmla="*/ 41 h 673"/>
                <a:gd name="T124" fmla="*/ 405 w 1101"/>
                <a:gd name="T125" fmla="*/ 2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1" h="673">
                  <a:moveTo>
                    <a:pt x="329" y="669"/>
                  </a:moveTo>
                  <a:lnTo>
                    <a:pt x="331" y="669"/>
                  </a:lnTo>
                  <a:lnTo>
                    <a:pt x="331" y="673"/>
                  </a:lnTo>
                  <a:lnTo>
                    <a:pt x="329" y="673"/>
                  </a:lnTo>
                  <a:lnTo>
                    <a:pt x="329" y="669"/>
                  </a:lnTo>
                  <a:close/>
                  <a:moveTo>
                    <a:pt x="294" y="655"/>
                  </a:moveTo>
                  <a:lnTo>
                    <a:pt x="299" y="657"/>
                  </a:lnTo>
                  <a:lnTo>
                    <a:pt x="299" y="664"/>
                  </a:lnTo>
                  <a:lnTo>
                    <a:pt x="288" y="664"/>
                  </a:lnTo>
                  <a:lnTo>
                    <a:pt x="280" y="662"/>
                  </a:lnTo>
                  <a:lnTo>
                    <a:pt x="282" y="655"/>
                  </a:lnTo>
                  <a:lnTo>
                    <a:pt x="290" y="657"/>
                  </a:lnTo>
                  <a:lnTo>
                    <a:pt x="294" y="655"/>
                  </a:lnTo>
                  <a:close/>
                  <a:moveTo>
                    <a:pt x="375" y="654"/>
                  </a:moveTo>
                  <a:lnTo>
                    <a:pt x="382" y="654"/>
                  </a:lnTo>
                  <a:lnTo>
                    <a:pt x="386" y="654"/>
                  </a:lnTo>
                  <a:lnTo>
                    <a:pt x="394" y="657"/>
                  </a:lnTo>
                  <a:lnTo>
                    <a:pt x="394" y="661"/>
                  </a:lnTo>
                  <a:lnTo>
                    <a:pt x="393" y="662"/>
                  </a:lnTo>
                  <a:lnTo>
                    <a:pt x="386" y="657"/>
                  </a:lnTo>
                  <a:lnTo>
                    <a:pt x="382" y="659"/>
                  </a:lnTo>
                  <a:lnTo>
                    <a:pt x="382" y="661"/>
                  </a:lnTo>
                  <a:lnTo>
                    <a:pt x="375" y="659"/>
                  </a:lnTo>
                  <a:lnTo>
                    <a:pt x="370" y="655"/>
                  </a:lnTo>
                  <a:lnTo>
                    <a:pt x="375" y="654"/>
                  </a:lnTo>
                  <a:close/>
                  <a:moveTo>
                    <a:pt x="353" y="650"/>
                  </a:moveTo>
                  <a:lnTo>
                    <a:pt x="357" y="654"/>
                  </a:lnTo>
                  <a:lnTo>
                    <a:pt x="353" y="654"/>
                  </a:lnTo>
                  <a:lnTo>
                    <a:pt x="353" y="650"/>
                  </a:lnTo>
                  <a:close/>
                  <a:moveTo>
                    <a:pt x="364" y="650"/>
                  </a:moveTo>
                  <a:lnTo>
                    <a:pt x="365" y="650"/>
                  </a:lnTo>
                  <a:lnTo>
                    <a:pt x="367" y="655"/>
                  </a:lnTo>
                  <a:lnTo>
                    <a:pt x="365" y="655"/>
                  </a:lnTo>
                  <a:lnTo>
                    <a:pt x="364" y="652"/>
                  </a:lnTo>
                  <a:lnTo>
                    <a:pt x="362" y="650"/>
                  </a:lnTo>
                  <a:lnTo>
                    <a:pt x="364" y="650"/>
                  </a:lnTo>
                  <a:close/>
                  <a:moveTo>
                    <a:pt x="236" y="650"/>
                  </a:moveTo>
                  <a:lnTo>
                    <a:pt x="241" y="654"/>
                  </a:lnTo>
                  <a:lnTo>
                    <a:pt x="241" y="657"/>
                  </a:lnTo>
                  <a:lnTo>
                    <a:pt x="237" y="657"/>
                  </a:lnTo>
                  <a:lnTo>
                    <a:pt x="229" y="661"/>
                  </a:lnTo>
                  <a:lnTo>
                    <a:pt x="224" y="657"/>
                  </a:lnTo>
                  <a:lnTo>
                    <a:pt x="232" y="650"/>
                  </a:lnTo>
                  <a:lnTo>
                    <a:pt x="236" y="650"/>
                  </a:lnTo>
                  <a:close/>
                  <a:moveTo>
                    <a:pt x="246" y="644"/>
                  </a:moveTo>
                  <a:lnTo>
                    <a:pt x="256" y="645"/>
                  </a:lnTo>
                  <a:lnTo>
                    <a:pt x="259" y="647"/>
                  </a:lnTo>
                  <a:lnTo>
                    <a:pt x="263" y="647"/>
                  </a:lnTo>
                  <a:lnTo>
                    <a:pt x="266" y="649"/>
                  </a:lnTo>
                  <a:lnTo>
                    <a:pt x="275" y="649"/>
                  </a:lnTo>
                  <a:lnTo>
                    <a:pt x="282" y="647"/>
                  </a:lnTo>
                  <a:lnTo>
                    <a:pt x="287" y="650"/>
                  </a:lnTo>
                  <a:lnTo>
                    <a:pt x="280" y="654"/>
                  </a:lnTo>
                  <a:lnTo>
                    <a:pt x="276" y="662"/>
                  </a:lnTo>
                  <a:lnTo>
                    <a:pt x="271" y="662"/>
                  </a:lnTo>
                  <a:lnTo>
                    <a:pt x="266" y="661"/>
                  </a:lnTo>
                  <a:lnTo>
                    <a:pt x="265" y="657"/>
                  </a:lnTo>
                  <a:lnTo>
                    <a:pt x="256" y="657"/>
                  </a:lnTo>
                  <a:lnTo>
                    <a:pt x="247" y="654"/>
                  </a:lnTo>
                  <a:lnTo>
                    <a:pt x="246" y="647"/>
                  </a:lnTo>
                  <a:lnTo>
                    <a:pt x="242" y="645"/>
                  </a:lnTo>
                  <a:lnTo>
                    <a:pt x="246" y="644"/>
                  </a:lnTo>
                  <a:close/>
                  <a:moveTo>
                    <a:pt x="502" y="642"/>
                  </a:moveTo>
                  <a:lnTo>
                    <a:pt x="500" y="647"/>
                  </a:lnTo>
                  <a:lnTo>
                    <a:pt x="497" y="649"/>
                  </a:lnTo>
                  <a:lnTo>
                    <a:pt x="490" y="657"/>
                  </a:lnTo>
                  <a:lnTo>
                    <a:pt x="488" y="657"/>
                  </a:lnTo>
                  <a:lnTo>
                    <a:pt x="492" y="649"/>
                  </a:lnTo>
                  <a:lnTo>
                    <a:pt x="498" y="645"/>
                  </a:lnTo>
                  <a:lnTo>
                    <a:pt x="502" y="642"/>
                  </a:lnTo>
                  <a:close/>
                  <a:moveTo>
                    <a:pt x="633" y="640"/>
                  </a:moveTo>
                  <a:lnTo>
                    <a:pt x="640" y="645"/>
                  </a:lnTo>
                  <a:lnTo>
                    <a:pt x="640" y="647"/>
                  </a:lnTo>
                  <a:lnTo>
                    <a:pt x="638" y="650"/>
                  </a:lnTo>
                  <a:lnTo>
                    <a:pt x="645" y="645"/>
                  </a:lnTo>
                  <a:lnTo>
                    <a:pt x="650" y="645"/>
                  </a:lnTo>
                  <a:lnTo>
                    <a:pt x="647" y="650"/>
                  </a:lnTo>
                  <a:lnTo>
                    <a:pt x="640" y="654"/>
                  </a:lnTo>
                  <a:lnTo>
                    <a:pt x="637" y="655"/>
                  </a:lnTo>
                  <a:lnTo>
                    <a:pt x="635" y="655"/>
                  </a:lnTo>
                  <a:lnTo>
                    <a:pt x="628" y="659"/>
                  </a:lnTo>
                  <a:lnTo>
                    <a:pt x="621" y="659"/>
                  </a:lnTo>
                  <a:lnTo>
                    <a:pt x="616" y="661"/>
                  </a:lnTo>
                  <a:lnTo>
                    <a:pt x="616" y="666"/>
                  </a:lnTo>
                  <a:lnTo>
                    <a:pt x="609" y="669"/>
                  </a:lnTo>
                  <a:lnTo>
                    <a:pt x="608" y="673"/>
                  </a:lnTo>
                  <a:lnTo>
                    <a:pt x="601" y="673"/>
                  </a:lnTo>
                  <a:lnTo>
                    <a:pt x="606" y="667"/>
                  </a:lnTo>
                  <a:lnTo>
                    <a:pt x="608" y="661"/>
                  </a:lnTo>
                  <a:lnTo>
                    <a:pt x="614" y="657"/>
                  </a:lnTo>
                  <a:lnTo>
                    <a:pt x="620" y="657"/>
                  </a:lnTo>
                  <a:lnTo>
                    <a:pt x="621" y="647"/>
                  </a:lnTo>
                  <a:lnTo>
                    <a:pt x="623" y="647"/>
                  </a:lnTo>
                  <a:lnTo>
                    <a:pt x="623" y="649"/>
                  </a:lnTo>
                  <a:lnTo>
                    <a:pt x="630" y="649"/>
                  </a:lnTo>
                  <a:lnTo>
                    <a:pt x="630" y="647"/>
                  </a:lnTo>
                  <a:lnTo>
                    <a:pt x="628" y="647"/>
                  </a:lnTo>
                  <a:lnTo>
                    <a:pt x="628" y="645"/>
                  </a:lnTo>
                  <a:lnTo>
                    <a:pt x="633" y="640"/>
                  </a:lnTo>
                  <a:close/>
                  <a:moveTo>
                    <a:pt x="654" y="640"/>
                  </a:moveTo>
                  <a:lnTo>
                    <a:pt x="654" y="637"/>
                  </a:lnTo>
                  <a:lnTo>
                    <a:pt x="655" y="637"/>
                  </a:lnTo>
                  <a:lnTo>
                    <a:pt x="654" y="640"/>
                  </a:lnTo>
                  <a:close/>
                  <a:moveTo>
                    <a:pt x="664" y="637"/>
                  </a:moveTo>
                  <a:lnTo>
                    <a:pt x="664" y="638"/>
                  </a:lnTo>
                  <a:lnTo>
                    <a:pt x="662" y="638"/>
                  </a:lnTo>
                  <a:lnTo>
                    <a:pt x="664" y="635"/>
                  </a:lnTo>
                  <a:lnTo>
                    <a:pt x="664" y="637"/>
                  </a:lnTo>
                  <a:close/>
                  <a:moveTo>
                    <a:pt x="174" y="633"/>
                  </a:moveTo>
                  <a:lnTo>
                    <a:pt x="176" y="633"/>
                  </a:lnTo>
                  <a:lnTo>
                    <a:pt x="177" y="635"/>
                  </a:lnTo>
                  <a:lnTo>
                    <a:pt x="179" y="644"/>
                  </a:lnTo>
                  <a:lnTo>
                    <a:pt x="169" y="644"/>
                  </a:lnTo>
                  <a:lnTo>
                    <a:pt x="169" y="635"/>
                  </a:lnTo>
                  <a:lnTo>
                    <a:pt x="174" y="633"/>
                  </a:lnTo>
                  <a:close/>
                  <a:moveTo>
                    <a:pt x="640" y="633"/>
                  </a:moveTo>
                  <a:lnTo>
                    <a:pt x="644" y="635"/>
                  </a:lnTo>
                  <a:lnTo>
                    <a:pt x="642" y="637"/>
                  </a:lnTo>
                  <a:lnTo>
                    <a:pt x="640" y="635"/>
                  </a:lnTo>
                  <a:lnTo>
                    <a:pt x="640" y="633"/>
                  </a:lnTo>
                  <a:close/>
                  <a:moveTo>
                    <a:pt x="3" y="630"/>
                  </a:moveTo>
                  <a:lnTo>
                    <a:pt x="3" y="633"/>
                  </a:lnTo>
                  <a:lnTo>
                    <a:pt x="0" y="638"/>
                  </a:lnTo>
                  <a:lnTo>
                    <a:pt x="0" y="628"/>
                  </a:lnTo>
                  <a:lnTo>
                    <a:pt x="0" y="626"/>
                  </a:lnTo>
                  <a:lnTo>
                    <a:pt x="3" y="630"/>
                  </a:lnTo>
                  <a:close/>
                  <a:moveTo>
                    <a:pt x="456" y="615"/>
                  </a:moveTo>
                  <a:lnTo>
                    <a:pt x="459" y="620"/>
                  </a:lnTo>
                  <a:lnTo>
                    <a:pt x="456" y="625"/>
                  </a:lnTo>
                  <a:lnTo>
                    <a:pt x="452" y="623"/>
                  </a:lnTo>
                  <a:lnTo>
                    <a:pt x="454" y="616"/>
                  </a:lnTo>
                  <a:lnTo>
                    <a:pt x="452" y="613"/>
                  </a:lnTo>
                  <a:lnTo>
                    <a:pt x="456" y="615"/>
                  </a:lnTo>
                  <a:close/>
                  <a:moveTo>
                    <a:pt x="473" y="606"/>
                  </a:moveTo>
                  <a:lnTo>
                    <a:pt x="478" y="606"/>
                  </a:lnTo>
                  <a:lnTo>
                    <a:pt x="485" y="609"/>
                  </a:lnTo>
                  <a:lnTo>
                    <a:pt x="490" y="609"/>
                  </a:lnTo>
                  <a:lnTo>
                    <a:pt x="493" y="613"/>
                  </a:lnTo>
                  <a:lnTo>
                    <a:pt x="492" y="616"/>
                  </a:lnTo>
                  <a:lnTo>
                    <a:pt x="495" y="620"/>
                  </a:lnTo>
                  <a:lnTo>
                    <a:pt x="490" y="626"/>
                  </a:lnTo>
                  <a:lnTo>
                    <a:pt x="486" y="637"/>
                  </a:lnTo>
                  <a:lnTo>
                    <a:pt x="481" y="638"/>
                  </a:lnTo>
                  <a:lnTo>
                    <a:pt x="475" y="637"/>
                  </a:lnTo>
                  <a:lnTo>
                    <a:pt x="469" y="628"/>
                  </a:lnTo>
                  <a:lnTo>
                    <a:pt x="464" y="623"/>
                  </a:lnTo>
                  <a:lnTo>
                    <a:pt x="463" y="621"/>
                  </a:lnTo>
                  <a:lnTo>
                    <a:pt x="461" y="620"/>
                  </a:lnTo>
                  <a:lnTo>
                    <a:pt x="463" y="609"/>
                  </a:lnTo>
                  <a:lnTo>
                    <a:pt x="466" y="608"/>
                  </a:lnTo>
                  <a:lnTo>
                    <a:pt x="473" y="606"/>
                  </a:lnTo>
                  <a:close/>
                  <a:moveTo>
                    <a:pt x="519" y="601"/>
                  </a:moveTo>
                  <a:lnTo>
                    <a:pt x="522" y="603"/>
                  </a:lnTo>
                  <a:lnTo>
                    <a:pt x="521" y="606"/>
                  </a:lnTo>
                  <a:lnTo>
                    <a:pt x="517" y="603"/>
                  </a:lnTo>
                  <a:lnTo>
                    <a:pt x="514" y="603"/>
                  </a:lnTo>
                  <a:lnTo>
                    <a:pt x="515" y="601"/>
                  </a:lnTo>
                  <a:lnTo>
                    <a:pt x="519" y="601"/>
                  </a:lnTo>
                  <a:close/>
                  <a:moveTo>
                    <a:pt x="625" y="601"/>
                  </a:moveTo>
                  <a:lnTo>
                    <a:pt x="623" y="604"/>
                  </a:lnTo>
                  <a:lnTo>
                    <a:pt x="623" y="601"/>
                  </a:lnTo>
                  <a:lnTo>
                    <a:pt x="625" y="601"/>
                  </a:lnTo>
                  <a:close/>
                  <a:moveTo>
                    <a:pt x="632" y="599"/>
                  </a:moveTo>
                  <a:lnTo>
                    <a:pt x="632" y="603"/>
                  </a:lnTo>
                  <a:lnTo>
                    <a:pt x="632" y="599"/>
                  </a:lnTo>
                  <a:close/>
                  <a:moveTo>
                    <a:pt x="642" y="599"/>
                  </a:moveTo>
                  <a:lnTo>
                    <a:pt x="642" y="601"/>
                  </a:lnTo>
                  <a:lnTo>
                    <a:pt x="640" y="601"/>
                  </a:lnTo>
                  <a:lnTo>
                    <a:pt x="640" y="603"/>
                  </a:lnTo>
                  <a:lnTo>
                    <a:pt x="638" y="603"/>
                  </a:lnTo>
                  <a:lnTo>
                    <a:pt x="638" y="601"/>
                  </a:lnTo>
                  <a:lnTo>
                    <a:pt x="642" y="599"/>
                  </a:lnTo>
                  <a:close/>
                  <a:moveTo>
                    <a:pt x="514" y="599"/>
                  </a:moveTo>
                  <a:lnTo>
                    <a:pt x="514" y="601"/>
                  </a:lnTo>
                  <a:lnTo>
                    <a:pt x="510" y="601"/>
                  </a:lnTo>
                  <a:lnTo>
                    <a:pt x="510" y="597"/>
                  </a:lnTo>
                  <a:lnTo>
                    <a:pt x="510" y="596"/>
                  </a:lnTo>
                  <a:lnTo>
                    <a:pt x="514" y="599"/>
                  </a:lnTo>
                  <a:close/>
                  <a:moveTo>
                    <a:pt x="22" y="591"/>
                  </a:moveTo>
                  <a:lnTo>
                    <a:pt x="26" y="591"/>
                  </a:lnTo>
                  <a:lnTo>
                    <a:pt x="26" y="592"/>
                  </a:lnTo>
                  <a:lnTo>
                    <a:pt x="22" y="592"/>
                  </a:lnTo>
                  <a:lnTo>
                    <a:pt x="22" y="591"/>
                  </a:lnTo>
                  <a:close/>
                  <a:moveTo>
                    <a:pt x="642" y="587"/>
                  </a:moveTo>
                  <a:lnTo>
                    <a:pt x="645" y="587"/>
                  </a:lnTo>
                  <a:lnTo>
                    <a:pt x="644" y="594"/>
                  </a:lnTo>
                  <a:lnTo>
                    <a:pt x="638" y="596"/>
                  </a:lnTo>
                  <a:lnTo>
                    <a:pt x="638" y="592"/>
                  </a:lnTo>
                  <a:lnTo>
                    <a:pt x="635" y="594"/>
                  </a:lnTo>
                  <a:lnTo>
                    <a:pt x="633" y="596"/>
                  </a:lnTo>
                  <a:lnTo>
                    <a:pt x="635" y="597"/>
                  </a:lnTo>
                  <a:lnTo>
                    <a:pt x="626" y="601"/>
                  </a:lnTo>
                  <a:lnTo>
                    <a:pt x="626" y="592"/>
                  </a:lnTo>
                  <a:lnTo>
                    <a:pt x="637" y="591"/>
                  </a:lnTo>
                  <a:lnTo>
                    <a:pt x="637" y="592"/>
                  </a:lnTo>
                  <a:lnTo>
                    <a:pt x="638" y="589"/>
                  </a:lnTo>
                  <a:lnTo>
                    <a:pt x="642" y="587"/>
                  </a:lnTo>
                  <a:close/>
                  <a:moveTo>
                    <a:pt x="107" y="579"/>
                  </a:moveTo>
                  <a:lnTo>
                    <a:pt x="109" y="584"/>
                  </a:lnTo>
                  <a:lnTo>
                    <a:pt x="114" y="585"/>
                  </a:lnTo>
                  <a:lnTo>
                    <a:pt x="119" y="591"/>
                  </a:lnTo>
                  <a:lnTo>
                    <a:pt x="130" y="591"/>
                  </a:lnTo>
                  <a:lnTo>
                    <a:pt x="130" y="592"/>
                  </a:lnTo>
                  <a:lnTo>
                    <a:pt x="133" y="599"/>
                  </a:lnTo>
                  <a:lnTo>
                    <a:pt x="131" y="603"/>
                  </a:lnTo>
                  <a:lnTo>
                    <a:pt x="130" y="601"/>
                  </a:lnTo>
                  <a:lnTo>
                    <a:pt x="119" y="601"/>
                  </a:lnTo>
                  <a:lnTo>
                    <a:pt x="116" y="601"/>
                  </a:lnTo>
                  <a:lnTo>
                    <a:pt x="111" y="604"/>
                  </a:lnTo>
                  <a:lnTo>
                    <a:pt x="107" y="606"/>
                  </a:lnTo>
                  <a:lnTo>
                    <a:pt x="101" y="609"/>
                  </a:lnTo>
                  <a:lnTo>
                    <a:pt x="96" y="615"/>
                  </a:lnTo>
                  <a:lnTo>
                    <a:pt x="92" y="621"/>
                  </a:lnTo>
                  <a:lnTo>
                    <a:pt x="89" y="628"/>
                  </a:lnTo>
                  <a:lnTo>
                    <a:pt x="84" y="623"/>
                  </a:lnTo>
                  <a:lnTo>
                    <a:pt x="77" y="623"/>
                  </a:lnTo>
                  <a:lnTo>
                    <a:pt x="72" y="621"/>
                  </a:lnTo>
                  <a:lnTo>
                    <a:pt x="61" y="621"/>
                  </a:lnTo>
                  <a:lnTo>
                    <a:pt x="60" y="623"/>
                  </a:lnTo>
                  <a:lnTo>
                    <a:pt x="53" y="623"/>
                  </a:lnTo>
                  <a:lnTo>
                    <a:pt x="48" y="618"/>
                  </a:lnTo>
                  <a:lnTo>
                    <a:pt x="41" y="618"/>
                  </a:lnTo>
                  <a:lnTo>
                    <a:pt x="32" y="620"/>
                  </a:lnTo>
                  <a:lnTo>
                    <a:pt x="31" y="621"/>
                  </a:lnTo>
                  <a:lnTo>
                    <a:pt x="26" y="621"/>
                  </a:lnTo>
                  <a:lnTo>
                    <a:pt x="24" y="625"/>
                  </a:lnTo>
                  <a:lnTo>
                    <a:pt x="19" y="625"/>
                  </a:lnTo>
                  <a:lnTo>
                    <a:pt x="17" y="628"/>
                  </a:lnTo>
                  <a:lnTo>
                    <a:pt x="10" y="630"/>
                  </a:lnTo>
                  <a:lnTo>
                    <a:pt x="8" y="633"/>
                  </a:lnTo>
                  <a:lnTo>
                    <a:pt x="7" y="632"/>
                  </a:lnTo>
                  <a:lnTo>
                    <a:pt x="10" y="626"/>
                  </a:lnTo>
                  <a:lnTo>
                    <a:pt x="12" y="621"/>
                  </a:lnTo>
                  <a:lnTo>
                    <a:pt x="10" y="615"/>
                  </a:lnTo>
                  <a:lnTo>
                    <a:pt x="17" y="609"/>
                  </a:lnTo>
                  <a:lnTo>
                    <a:pt x="17" y="603"/>
                  </a:lnTo>
                  <a:lnTo>
                    <a:pt x="22" y="601"/>
                  </a:lnTo>
                  <a:lnTo>
                    <a:pt x="27" y="591"/>
                  </a:lnTo>
                  <a:lnTo>
                    <a:pt x="31" y="591"/>
                  </a:lnTo>
                  <a:lnTo>
                    <a:pt x="32" y="592"/>
                  </a:lnTo>
                  <a:lnTo>
                    <a:pt x="34" y="592"/>
                  </a:lnTo>
                  <a:lnTo>
                    <a:pt x="37" y="596"/>
                  </a:lnTo>
                  <a:lnTo>
                    <a:pt x="39" y="594"/>
                  </a:lnTo>
                  <a:lnTo>
                    <a:pt x="41" y="596"/>
                  </a:lnTo>
                  <a:lnTo>
                    <a:pt x="44" y="596"/>
                  </a:lnTo>
                  <a:lnTo>
                    <a:pt x="49" y="597"/>
                  </a:lnTo>
                  <a:lnTo>
                    <a:pt x="55" y="599"/>
                  </a:lnTo>
                  <a:lnTo>
                    <a:pt x="61" y="594"/>
                  </a:lnTo>
                  <a:lnTo>
                    <a:pt x="72" y="594"/>
                  </a:lnTo>
                  <a:lnTo>
                    <a:pt x="77" y="591"/>
                  </a:lnTo>
                  <a:lnTo>
                    <a:pt x="78" y="587"/>
                  </a:lnTo>
                  <a:lnTo>
                    <a:pt x="82" y="585"/>
                  </a:lnTo>
                  <a:lnTo>
                    <a:pt x="85" y="587"/>
                  </a:lnTo>
                  <a:lnTo>
                    <a:pt x="89" y="582"/>
                  </a:lnTo>
                  <a:lnTo>
                    <a:pt x="97" y="580"/>
                  </a:lnTo>
                  <a:lnTo>
                    <a:pt x="104" y="580"/>
                  </a:lnTo>
                  <a:lnTo>
                    <a:pt x="107" y="579"/>
                  </a:lnTo>
                  <a:close/>
                  <a:moveTo>
                    <a:pt x="225" y="582"/>
                  </a:moveTo>
                  <a:lnTo>
                    <a:pt x="227" y="584"/>
                  </a:lnTo>
                  <a:lnTo>
                    <a:pt x="224" y="585"/>
                  </a:lnTo>
                  <a:lnTo>
                    <a:pt x="224" y="577"/>
                  </a:lnTo>
                  <a:lnTo>
                    <a:pt x="225" y="582"/>
                  </a:lnTo>
                  <a:close/>
                  <a:moveTo>
                    <a:pt x="473" y="575"/>
                  </a:moveTo>
                  <a:lnTo>
                    <a:pt x="475" y="577"/>
                  </a:lnTo>
                  <a:lnTo>
                    <a:pt x="478" y="577"/>
                  </a:lnTo>
                  <a:lnTo>
                    <a:pt x="478" y="580"/>
                  </a:lnTo>
                  <a:lnTo>
                    <a:pt x="475" y="580"/>
                  </a:lnTo>
                  <a:lnTo>
                    <a:pt x="471" y="579"/>
                  </a:lnTo>
                  <a:lnTo>
                    <a:pt x="473" y="575"/>
                  </a:lnTo>
                  <a:close/>
                  <a:moveTo>
                    <a:pt x="217" y="575"/>
                  </a:moveTo>
                  <a:lnTo>
                    <a:pt x="218" y="575"/>
                  </a:lnTo>
                  <a:lnTo>
                    <a:pt x="218" y="577"/>
                  </a:lnTo>
                  <a:lnTo>
                    <a:pt x="217" y="577"/>
                  </a:lnTo>
                  <a:lnTo>
                    <a:pt x="217" y="575"/>
                  </a:lnTo>
                  <a:close/>
                  <a:moveTo>
                    <a:pt x="647" y="574"/>
                  </a:moveTo>
                  <a:lnTo>
                    <a:pt x="649" y="574"/>
                  </a:lnTo>
                  <a:lnTo>
                    <a:pt x="649" y="577"/>
                  </a:lnTo>
                  <a:lnTo>
                    <a:pt x="647" y="577"/>
                  </a:lnTo>
                  <a:lnTo>
                    <a:pt x="647" y="574"/>
                  </a:lnTo>
                  <a:close/>
                  <a:moveTo>
                    <a:pt x="186" y="572"/>
                  </a:moveTo>
                  <a:lnTo>
                    <a:pt x="188" y="572"/>
                  </a:lnTo>
                  <a:lnTo>
                    <a:pt x="188" y="575"/>
                  </a:lnTo>
                  <a:lnTo>
                    <a:pt x="186" y="575"/>
                  </a:lnTo>
                  <a:lnTo>
                    <a:pt x="186" y="572"/>
                  </a:lnTo>
                  <a:close/>
                  <a:moveTo>
                    <a:pt x="614" y="570"/>
                  </a:moveTo>
                  <a:lnTo>
                    <a:pt x="616" y="574"/>
                  </a:lnTo>
                  <a:lnTo>
                    <a:pt x="618" y="574"/>
                  </a:lnTo>
                  <a:lnTo>
                    <a:pt x="623" y="575"/>
                  </a:lnTo>
                  <a:lnTo>
                    <a:pt x="628" y="572"/>
                  </a:lnTo>
                  <a:lnTo>
                    <a:pt x="630" y="574"/>
                  </a:lnTo>
                  <a:lnTo>
                    <a:pt x="628" y="574"/>
                  </a:lnTo>
                  <a:lnTo>
                    <a:pt x="628" y="575"/>
                  </a:lnTo>
                  <a:lnTo>
                    <a:pt x="630" y="575"/>
                  </a:lnTo>
                  <a:lnTo>
                    <a:pt x="630" y="577"/>
                  </a:lnTo>
                  <a:lnTo>
                    <a:pt x="625" y="577"/>
                  </a:lnTo>
                  <a:lnTo>
                    <a:pt x="628" y="579"/>
                  </a:lnTo>
                  <a:lnTo>
                    <a:pt x="625" y="577"/>
                  </a:lnTo>
                  <a:lnTo>
                    <a:pt x="623" y="580"/>
                  </a:lnTo>
                  <a:lnTo>
                    <a:pt x="618" y="580"/>
                  </a:lnTo>
                  <a:lnTo>
                    <a:pt x="611" y="577"/>
                  </a:lnTo>
                  <a:lnTo>
                    <a:pt x="613" y="577"/>
                  </a:lnTo>
                  <a:lnTo>
                    <a:pt x="611" y="572"/>
                  </a:lnTo>
                  <a:lnTo>
                    <a:pt x="614" y="570"/>
                  </a:lnTo>
                  <a:close/>
                  <a:moveTo>
                    <a:pt x="198" y="570"/>
                  </a:moveTo>
                  <a:lnTo>
                    <a:pt x="198" y="572"/>
                  </a:lnTo>
                  <a:lnTo>
                    <a:pt x="201" y="570"/>
                  </a:lnTo>
                  <a:lnTo>
                    <a:pt x="206" y="574"/>
                  </a:lnTo>
                  <a:lnTo>
                    <a:pt x="212" y="574"/>
                  </a:lnTo>
                  <a:lnTo>
                    <a:pt x="212" y="577"/>
                  </a:lnTo>
                  <a:lnTo>
                    <a:pt x="208" y="582"/>
                  </a:lnTo>
                  <a:lnTo>
                    <a:pt x="201" y="584"/>
                  </a:lnTo>
                  <a:lnTo>
                    <a:pt x="200" y="589"/>
                  </a:lnTo>
                  <a:lnTo>
                    <a:pt x="196" y="591"/>
                  </a:lnTo>
                  <a:lnTo>
                    <a:pt x="193" y="589"/>
                  </a:lnTo>
                  <a:lnTo>
                    <a:pt x="191" y="585"/>
                  </a:lnTo>
                  <a:lnTo>
                    <a:pt x="196" y="582"/>
                  </a:lnTo>
                  <a:lnTo>
                    <a:pt x="195" y="575"/>
                  </a:lnTo>
                  <a:lnTo>
                    <a:pt x="196" y="572"/>
                  </a:lnTo>
                  <a:lnTo>
                    <a:pt x="198" y="570"/>
                  </a:lnTo>
                  <a:close/>
                  <a:moveTo>
                    <a:pt x="608" y="568"/>
                  </a:moveTo>
                  <a:lnTo>
                    <a:pt x="611" y="568"/>
                  </a:lnTo>
                  <a:lnTo>
                    <a:pt x="611" y="572"/>
                  </a:lnTo>
                  <a:lnTo>
                    <a:pt x="608" y="572"/>
                  </a:lnTo>
                  <a:lnTo>
                    <a:pt x="608" y="568"/>
                  </a:lnTo>
                  <a:close/>
                  <a:moveTo>
                    <a:pt x="650" y="560"/>
                  </a:moveTo>
                  <a:lnTo>
                    <a:pt x="652" y="562"/>
                  </a:lnTo>
                  <a:lnTo>
                    <a:pt x="647" y="565"/>
                  </a:lnTo>
                  <a:lnTo>
                    <a:pt x="647" y="567"/>
                  </a:lnTo>
                  <a:lnTo>
                    <a:pt x="642" y="570"/>
                  </a:lnTo>
                  <a:lnTo>
                    <a:pt x="642" y="568"/>
                  </a:lnTo>
                  <a:lnTo>
                    <a:pt x="638" y="574"/>
                  </a:lnTo>
                  <a:lnTo>
                    <a:pt x="635" y="574"/>
                  </a:lnTo>
                  <a:lnTo>
                    <a:pt x="638" y="572"/>
                  </a:lnTo>
                  <a:lnTo>
                    <a:pt x="638" y="570"/>
                  </a:lnTo>
                  <a:lnTo>
                    <a:pt x="632" y="572"/>
                  </a:lnTo>
                  <a:lnTo>
                    <a:pt x="626" y="570"/>
                  </a:lnTo>
                  <a:lnTo>
                    <a:pt x="630" y="563"/>
                  </a:lnTo>
                  <a:lnTo>
                    <a:pt x="635" y="562"/>
                  </a:lnTo>
                  <a:lnTo>
                    <a:pt x="642" y="562"/>
                  </a:lnTo>
                  <a:lnTo>
                    <a:pt x="650" y="560"/>
                  </a:lnTo>
                  <a:close/>
                  <a:moveTo>
                    <a:pt x="669" y="558"/>
                  </a:moveTo>
                  <a:lnTo>
                    <a:pt x="671" y="558"/>
                  </a:lnTo>
                  <a:lnTo>
                    <a:pt x="671" y="562"/>
                  </a:lnTo>
                  <a:lnTo>
                    <a:pt x="669" y="562"/>
                  </a:lnTo>
                  <a:lnTo>
                    <a:pt x="669" y="558"/>
                  </a:lnTo>
                  <a:close/>
                  <a:moveTo>
                    <a:pt x="340" y="553"/>
                  </a:moveTo>
                  <a:lnTo>
                    <a:pt x="341" y="555"/>
                  </a:lnTo>
                  <a:lnTo>
                    <a:pt x="340" y="556"/>
                  </a:lnTo>
                  <a:lnTo>
                    <a:pt x="338" y="556"/>
                  </a:lnTo>
                  <a:lnTo>
                    <a:pt x="340" y="553"/>
                  </a:lnTo>
                  <a:close/>
                  <a:moveTo>
                    <a:pt x="662" y="550"/>
                  </a:moveTo>
                  <a:lnTo>
                    <a:pt x="667" y="551"/>
                  </a:lnTo>
                  <a:lnTo>
                    <a:pt x="662" y="555"/>
                  </a:lnTo>
                  <a:lnTo>
                    <a:pt x="664" y="556"/>
                  </a:lnTo>
                  <a:lnTo>
                    <a:pt x="655" y="555"/>
                  </a:lnTo>
                  <a:lnTo>
                    <a:pt x="659" y="553"/>
                  </a:lnTo>
                  <a:lnTo>
                    <a:pt x="659" y="551"/>
                  </a:lnTo>
                  <a:lnTo>
                    <a:pt x="661" y="551"/>
                  </a:lnTo>
                  <a:lnTo>
                    <a:pt x="661" y="550"/>
                  </a:lnTo>
                  <a:lnTo>
                    <a:pt x="662" y="548"/>
                  </a:lnTo>
                  <a:lnTo>
                    <a:pt x="662" y="550"/>
                  </a:lnTo>
                  <a:close/>
                  <a:moveTo>
                    <a:pt x="340" y="550"/>
                  </a:moveTo>
                  <a:lnTo>
                    <a:pt x="340" y="544"/>
                  </a:lnTo>
                  <a:lnTo>
                    <a:pt x="341" y="546"/>
                  </a:lnTo>
                  <a:lnTo>
                    <a:pt x="340" y="550"/>
                  </a:lnTo>
                  <a:close/>
                  <a:moveTo>
                    <a:pt x="679" y="541"/>
                  </a:moveTo>
                  <a:lnTo>
                    <a:pt x="679" y="543"/>
                  </a:lnTo>
                  <a:lnTo>
                    <a:pt x="679" y="541"/>
                  </a:lnTo>
                  <a:close/>
                  <a:moveTo>
                    <a:pt x="679" y="538"/>
                  </a:moveTo>
                  <a:lnTo>
                    <a:pt x="679" y="539"/>
                  </a:lnTo>
                  <a:lnTo>
                    <a:pt x="679" y="538"/>
                  </a:lnTo>
                  <a:lnTo>
                    <a:pt x="678" y="541"/>
                  </a:lnTo>
                  <a:lnTo>
                    <a:pt x="674" y="539"/>
                  </a:lnTo>
                  <a:lnTo>
                    <a:pt x="678" y="538"/>
                  </a:lnTo>
                  <a:lnTo>
                    <a:pt x="678" y="536"/>
                  </a:lnTo>
                  <a:lnTo>
                    <a:pt x="679" y="538"/>
                  </a:lnTo>
                  <a:close/>
                  <a:moveTo>
                    <a:pt x="690" y="531"/>
                  </a:moveTo>
                  <a:lnTo>
                    <a:pt x="690" y="536"/>
                  </a:lnTo>
                  <a:lnTo>
                    <a:pt x="686" y="536"/>
                  </a:lnTo>
                  <a:lnTo>
                    <a:pt x="690" y="531"/>
                  </a:lnTo>
                  <a:close/>
                  <a:moveTo>
                    <a:pt x="710" y="526"/>
                  </a:moveTo>
                  <a:lnTo>
                    <a:pt x="710" y="529"/>
                  </a:lnTo>
                  <a:lnTo>
                    <a:pt x="708" y="533"/>
                  </a:lnTo>
                  <a:lnTo>
                    <a:pt x="713" y="533"/>
                  </a:lnTo>
                  <a:lnTo>
                    <a:pt x="713" y="529"/>
                  </a:lnTo>
                  <a:lnTo>
                    <a:pt x="717" y="529"/>
                  </a:lnTo>
                  <a:lnTo>
                    <a:pt x="713" y="531"/>
                  </a:lnTo>
                  <a:lnTo>
                    <a:pt x="717" y="531"/>
                  </a:lnTo>
                  <a:lnTo>
                    <a:pt x="717" y="534"/>
                  </a:lnTo>
                  <a:lnTo>
                    <a:pt x="720" y="538"/>
                  </a:lnTo>
                  <a:lnTo>
                    <a:pt x="717" y="539"/>
                  </a:lnTo>
                  <a:lnTo>
                    <a:pt x="710" y="539"/>
                  </a:lnTo>
                  <a:lnTo>
                    <a:pt x="707" y="543"/>
                  </a:lnTo>
                  <a:lnTo>
                    <a:pt x="708" y="548"/>
                  </a:lnTo>
                  <a:lnTo>
                    <a:pt x="710" y="551"/>
                  </a:lnTo>
                  <a:lnTo>
                    <a:pt x="708" y="553"/>
                  </a:lnTo>
                  <a:lnTo>
                    <a:pt x="713" y="556"/>
                  </a:lnTo>
                  <a:lnTo>
                    <a:pt x="712" y="558"/>
                  </a:lnTo>
                  <a:lnTo>
                    <a:pt x="708" y="558"/>
                  </a:lnTo>
                  <a:lnTo>
                    <a:pt x="710" y="560"/>
                  </a:lnTo>
                  <a:lnTo>
                    <a:pt x="710" y="563"/>
                  </a:lnTo>
                  <a:lnTo>
                    <a:pt x="715" y="562"/>
                  </a:lnTo>
                  <a:lnTo>
                    <a:pt x="712" y="565"/>
                  </a:lnTo>
                  <a:lnTo>
                    <a:pt x="712" y="570"/>
                  </a:lnTo>
                  <a:lnTo>
                    <a:pt x="708" y="572"/>
                  </a:lnTo>
                  <a:lnTo>
                    <a:pt x="710" y="574"/>
                  </a:lnTo>
                  <a:lnTo>
                    <a:pt x="710" y="577"/>
                  </a:lnTo>
                  <a:lnTo>
                    <a:pt x="707" y="584"/>
                  </a:lnTo>
                  <a:lnTo>
                    <a:pt x="705" y="589"/>
                  </a:lnTo>
                  <a:lnTo>
                    <a:pt x="703" y="589"/>
                  </a:lnTo>
                  <a:lnTo>
                    <a:pt x="700" y="591"/>
                  </a:lnTo>
                  <a:lnTo>
                    <a:pt x="696" y="597"/>
                  </a:lnTo>
                  <a:lnTo>
                    <a:pt x="688" y="599"/>
                  </a:lnTo>
                  <a:lnTo>
                    <a:pt x="688" y="606"/>
                  </a:lnTo>
                  <a:lnTo>
                    <a:pt x="684" y="604"/>
                  </a:lnTo>
                  <a:lnTo>
                    <a:pt x="686" y="608"/>
                  </a:lnTo>
                  <a:lnTo>
                    <a:pt x="683" y="609"/>
                  </a:lnTo>
                  <a:lnTo>
                    <a:pt x="674" y="616"/>
                  </a:lnTo>
                  <a:lnTo>
                    <a:pt x="674" y="618"/>
                  </a:lnTo>
                  <a:lnTo>
                    <a:pt x="676" y="618"/>
                  </a:lnTo>
                  <a:lnTo>
                    <a:pt x="674" y="621"/>
                  </a:lnTo>
                  <a:lnTo>
                    <a:pt x="671" y="620"/>
                  </a:lnTo>
                  <a:lnTo>
                    <a:pt x="669" y="623"/>
                  </a:lnTo>
                  <a:lnTo>
                    <a:pt x="673" y="623"/>
                  </a:lnTo>
                  <a:lnTo>
                    <a:pt x="669" y="626"/>
                  </a:lnTo>
                  <a:lnTo>
                    <a:pt x="671" y="630"/>
                  </a:lnTo>
                  <a:lnTo>
                    <a:pt x="666" y="635"/>
                  </a:lnTo>
                  <a:lnTo>
                    <a:pt x="664" y="632"/>
                  </a:lnTo>
                  <a:lnTo>
                    <a:pt x="667" y="626"/>
                  </a:lnTo>
                  <a:lnTo>
                    <a:pt x="666" y="621"/>
                  </a:lnTo>
                  <a:lnTo>
                    <a:pt x="664" y="623"/>
                  </a:lnTo>
                  <a:lnTo>
                    <a:pt x="662" y="626"/>
                  </a:lnTo>
                  <a:lnTo>
                    <a:pt x="657" y="632"/>
                  </a:lnTo>
                  <a:lnTo>
                    <a:pt x="652" y="630"/>
                  </a:lnTo>
                  <a:lnTo>
                    <a:pt x="642" y="632"/>
                  </a:lnTo>
                  <a:lnTo>
                    <a:pt x="645" y="620"/>
                  </a:lnTo>
                  <a:lnTo>
                    <a:pt x="642" y="615"/>
                  </a:lnTo>
                  <a:lnTo>
                    <a:pt x="642" y="616"/>
                  </a:lnTo>
                  <a:lnTo>
                    <a:pt x="642" y="618"/>
                  </a:lnTo>
                  <a:lnTo>
                    <a:pt x="640" y="618"/>
                  </a:lnTo>
                  <a:lnTo>
                    <a:pt x="640" y="613"/>
                  </a:lnTo>
                  <a:lnTo>
                    <a:pt x="644" y="609"/>
                  </a:lnTo>
                  <a:lnTo>
                    <a:pt x="647" y="611"/>
                  </a:lnTo>
                  <a:lnTo>
                    <a:pt x="649" y="609"/>
                  </a:lnTo>
                  <a:lnTo>
                    <a:pt x="647" y="608"/>
                  </a:lnTo>
                  <a:lnTo>
                    <a:pt x="644" y="606"/>
                  </a:lnTo>
                  <a:lnTo>
                    <a:pt x="647" y="606"/>
                  </a:lnTo>
                  <a:lnTo>
                    <a:pt x="644" y="606"/>
                  </a:lnTo>
                  <a:lnTo>
                    <a:pt x="649" y="604"/>
                  </a:lnTo>
                  <a:lnTo>
                    <a:pt x="647" y="604"/>
                  </a:lnTo>
                  <a:lnTo>
                    <a:pt x="649" y="601"/>
                  </a:lnTo>
                  <a:lnTo>
                    <a:pt x="647" y="599"/>
                  </a:lnTo>
                  <a:lnTo>
                    <a:pt x="644" y="603"/>
                  </a:lnTo>
                  <a:lnTo>
                    <a:pt x="645" y="599"/>
                  </a:lnTo>
                  <a:lnTo>
                    <a:pt x="644" y="597"/>
                  </a:lnTo>
                  <a:lnTo>
                    <a:pt x="644" y="601"/>
                  </a:lnTo>
                  <a:lnTo>
                    <a:pt x="644" y="596"/>
                  </a:lnTo>
                  <a:lnTo>
                    <a:pt x="645" y="592"/>
                  </a:lnTo>
                  <a:lnTo>
                    <a:pt x="650" y="597"/>
                  </a:lnTo>
                  <a:lnTo>
                    <a:pt x="659" y="597"/>
                  </a:lnTo>
                  <a:lnTo>
                    <a:pt x="661" y="599"/>
                  </a:lnTo>
                  <a:lnTo>
                    <a:pt x="661" y="597"/>
                  </a:lnTo>
                  <a:lnTo>
                    <a:pt x="664" y="596"/>
                  </a:lnTo>
                  <a:lnTo>
                    <a:pt x="659" y="597"/>
                  </a:lnTo>
                  <a:lnTo>
                    <a:pt x="655" y="596"/>
                  </a:lnTo>
                  <a:lnTo>
                    <a:pt x="652" y="596"/>
                  </a:lnTo>
                  <a:lnTo>
                    <a:pt x="649" y="592"/>
                  </a:lnTo>
                  <a:lnTo>
                    <a:pt x="654" y="589"/>
                  </a:lnTo>
                  <a:lnTo>
                    <a:pt x="652" y="589"/>
                  </a:lnTo>
                  <a:lnTo>
                    <a:pt x="652" y="584"/>
                  </a:lnTo>
                  <a:lnTo>
                    <a:pt x="655" y="582"/>
                  </a:lnTo>
                  <a:lnTo>
                    <a:pt x="654" y="584"/>
                  </a:lnTo>
                  <a:lnTo>
                    <a:pt x="652" y="582"/>
                  </a:lnTo>
                  <a:lnTo>
                    <a:pt x="657" y="575"/>
                  </a:lnTo>
                  <a:lnTo>
                    <a:pt x="659" y="568"/>
                  </a:lnTo>
                  <a:lnTo>
                    <a:pt x="667" y="563"/>
                  </a:lnTo>
                  <a:lnTo>
                    <a:pt x="667" y="565"/>
                  </a:lnTo>
                  <a:lnTo>
                    <a:pt x="669" y="562"/>
                  </a:lnTo>
                  <a:lnTo>
                    <a:pt x="673" y="565"/>
                  </a:lnTo>
                  <a:lnTo>
                    <a:pt x="674" y="558"/>
                  </a:lnTo>
                  <a:lnTo>
                    <a:pt x="676" y="560"/>
                  </a:lnTo>
                  <a:lnTo>
                    <a:pt x="678" y="558"/>
                  </a:lnTo>
                  <a:lnTo>
                    <a:pt x="674" y="556"/>
                  </a:lnTo>
                  <a:lnTo>
                    <a:pt x="678" y="555"/>
                  </a:lnTo>
                  <a:lnTo>
                    <a:pt x="676" y="553"/>
                  </a:lnTo>
                  <a:lnTo>
                    <a:pt x="678" y="553"/>
                  </a:lnTo>
                  <a:lnTo>
                    <a:pt x="683" y="551"/>
                  </a:lnTo>
                  <a:lnTo>
                    <a:pt x="684" y="553"/>
                  </a:lnTo>
                  <a:lnTo>
                    <a:pt x="683" y="550"/>
                  </a:lnTo>
                  <a:lnTo>
                    <a:pt x="684" y="544"/>
                  </a:lnTo>
                  <a:lnTo>
                    <a:pt x="686" y="546"/>
                  </a:lnTo>
                  <a:lnTo>
                    <a:pt x="690" y="539"/>
                  </a:lnTo>
                  <a:lnTo>
                    <a:pt x="691" y="539"/>
                  </a:lnTo>
                  <a:lnTo>
                    <a:pt x="695" y="538"/>
                  </a:lnTo>
                  <a:lnTo>
                    <a:pt x="693" y="533"/>
                  </a:lnTo>
                  <a:lnTo>
                    <a:pt x="695" y="529"/>
                  </a:lnTo>
                  <a:lnTo>
                    <a:pt x="700" y="529"/>
                  </a:lnTo>
                  <a:lnTo>
                    <a:pt x="702" y="526"/>
                  </a:lnTo>
                  <a:lnTo>
                    <a:pt x="703" y="527"/>
                  </a:lnTo>
                  <a:lnTo>
                    <a:pt x="703" y="526"/>
                  </a:lnTo>
                  <a:lnTo>
                    <a:pt x="710" y="526"/>
                  </a:lnTo>
                  <a:close/>
                  <a:moveTo>
                    <a:pt x="741" y="524"/>
                  </a:moveTo>
                  <a:lnTo>
                    <a:pt x="746" y="531"/>
                  </a:lnTo>
                  <a:lnTo>
                    <a:pt x="748" y="533"/>
                  </a:lnTo>
                  <a:lnTo>
                    <a:pt x="748" y="536"/>
                  </a:lnTo>
                  <a:lnTo>
                    <a:pt x="749" y="538"/>
                  </a:lnTo>
                  <a:lnTo>
                    <a:pt x="746" y="541"/>
                  </a:lnTo>
                  <a:lnTo>
                    <a:pt x="741" y="539"/>
                  </a:lnTo>
                  <a:lnTo>
                    <a:pt x="739" y="534"/>
                  </a:lnTo>
                  <a:lnTo>
                    <a:pt x="736" y="531"/>
                  </a:lnTo>
                  <a:lnTo>
                    <a:pt x="729" y="531"/>
                  </a:lnTo>
                  <a:lnTo>
                    <a:pt x="729" y="533"/>
                  </a:lnTo>
                  <a:lnTo>
                    <a:pt x="725" y="531"/>
                  </a:lnTo>
                  <a:lnTo>
                    <a:pt x="722" y="533"/>
                  </a:lnTo>
                  <a:lnTo>
                    <a:pt x="719" y="533"/>
                  </a:lnTo>
                  <a:lnTo>
                    <a:pt x="717" y="529"/>
                  </a:lnTo>
                  <a:lnTo>
                    <a:pt x="717" y="527"/>
                  </a:lnTo>
                  <a:lnTo>
                    <a:pt x="722" y="526"/>
                  </a:lnTo>
                  <a:lnTo>
                    <a:pt x="731" y="526"/>
                  </a:lnTo>
                  <a:lnTo>
                    <a:pt x="741" y="524"/>
                  </a:lnTo>
                  <a:close/>
                  <a:moveTo>
                    <a:pt x="686" y="526"/>
                  </a:moveTo>
                  <a:lnTo>
                    <a:pt x="684" y="527"/>
                  </a:lnTo>
                  <a:lnTo>
                    <a:pt x="683" y="527"/>
                  </a:lnTo>
                  <a:lnTo>
                    <a:pt x="684" y="522"/>
                  </a:lnTo>
                  <a:lnTo>
                    <a:pt x="686" y="526"/>
                  </a:lnTo>
                  <a:close/>
                  <a:moveTo>
                    <a:pt x="683" y="521"/>
                  </a:moveTo>
                  <a:lnTo>
                    <a:pt x="684" y="521"/>
                  </a:lnTo>
                  <a:lnTo>
                    <a:pt x="684" y="522"/>
                  </a:lnTo>
                  <a:lnTo>
                    <a:pt x="683" y="522"/>
                  </a:lnTo>
                  <a:lnTo>
                    <a:pt x="683" y="521"/>
                  </a:lnTo>
                  <a:close/>
                  <a:moveTo>
                    <a:pt x="1050" y="521"/>
                  </a:moveTo>
                  <a:lnTo>
                    <a:pt x="1053" y="521"/>
                  </a:lnTo>
                  <a:lnTo>
                    <a:pt x="1053" y="524"/>
                  </a:lnTo>
                  <a:lnTo>
                    <a:pt x="1046" y="522"/>
                  </a:lnTo>
                  <a:lnTo>
                    <a:pt x="1048" y="519"/>
                  </a:lnTo>
                  <a:lnTo>
                    <a:pt x="1050" y="521"/>
                  </a:lnTo>
                  <a:close/>
                  <a:moveTo>
                    <a:pt x="346" y="519"/>
                  </a:moveTo>
                  <a:lnTo>
                    <a:pt x="352" y="522"/>
                  </a:lnTo>
                  <a:lnTo>
                    <a:pt x="357" y="524"/>
                  </a:lnTo>
                  <a:lnTo>
                    <a:pt x="357" y="526"/>
                  </a:lnTo>
                  <a:lnTo>
                    <a:pt x="355" y="527"/>
                  </a:lnTo>
                  <a:lnTo>
                    <a:pt x="352" y="527"/>
                  </a:lnTo>
                  <a:lnTo>
                    <a:pt x="353" y="531"/>
                  </a:lnTo>
                  <a:lnTo>
                    <a:pt x="355" y="531"/>
                  </a:lnTo>
                  <a:lnTo>
                    <a:pt x="350" y="538"/>
                  </a:lnTo>
                  <a:lnTo>
                    <a:pt x="348" y="538"/>
                  </a:lnTo>
                  <a:lnTo>
                    <a:pt x="340" y="531"/>
                  </a:lnTo>
                  <a:lnTo>
                    <a:pt x="338" y="531"/>
                  </a:lnTo>
                  <a:lnTo>
                    <a:pt x="336" y="527"/>
                  </a:lnTo>
                  <a:lnTo>
                    <a:pt x="338" y="524"/>
                  </a:lnTo>
                  <a:lnTo>
                    <a:pt x="345" y="519"/>
                  </a:lnTo>
                  <a:lnTo>
                    <a:pt x="346" y="519"/>
                  </a:lnTo>
                  <a:close/>
                  <a:moveTo>
                    <a:pt x="1070" y="512"/>
                  </a:moveTo>
                  <a:lnTo>
                    <a:pt x="1072" y="512"/>
                  </a:lnTo>
                  <a:lnTo>
                    <a:pt x="1072" y="514"/>
                  </a:lnTo>
                  <a:lnTo>
                    <a:pt x="1070" y="514"/>
                  </a:lnTo>
                  <a:lnTo>
                    <a:pt x="1070" y="512"/>
                  </a:lnTo>
                  <a:close/>
                  <a:moveTo>
                    <a:pt x="751" y="510"/>
                  </a:moveTo>
                  <a:lnTo>
                    <a:pt x="746" y="517"/>
                  </a:lnTo>
                  <a:lnTo>
                    <a:pt x="741" y="521"/>
                  </a:lnTo>
                  <a:lnTo>
                    <a:pt x="741" y="517"/>
                  </a:lnTo>
                  <a:lnTo>
                    <a:pt x="748" y="512"/>
                  </a:lnTo>
                  <a:lnTo>
                    <a:pt x="751" y="510"/>
                  </a:lnTo>
                  <a:close/>
                  <a:moveTo>
                    <a:pt x="411" y="505"/>
                  </a:moveTo>
                  <a:lnTo>
                    <a:pt x="411" y="509"/>
                  </a:lnTo>
                  <a:lnTo>
                    <a:pt x="408" y="510"/>
                  </a:lnTo>
                  <a:lnTo>
                    <a:pt x="408" y="507"/>
                  </a:lnTo>
                  <a:lnTo>
                    <a:pt x="411" y="505"/>
                  </a:lnTo>
                  <a:close/>
                  <a:moveTo>
                    <a:pt x="1051" y="503"/>
                  </a:moveTo>
                  <a:lnTo>
                    <a:pt x="1053" y="505"/>
                  </a:lnTo>
                  <a:lnTo>
                    <a:pt x="1050" y="505"/>
                  </a:lnTo>
                  <a:lnTo>
                    <a:pt x="1050" y="503"/>
                  </a:lnTo>
                  <a:lnTo>
                    <a:pt x="1051" y="503"/>
                  </a:lnTo>
                  <a:close/>
                  <a:moveTo>
                    <a:pt x="1053" y="500"/>
                  </a:moveTo>
                  <a:lnTo>
                    <a:pt x="1057" y="500"/>
                  </a:lnTo>
                  <a:lnTo>
                    <a:pt x="1057" y="502"/>
                  </a:lnTo>
                  <a:lnTo>
                    <a:pt x="1053" y="502"/>
                  </a:lnTo>
                  <a:lnTo>
                    <a:pt x="1053" y="500"/>
                  </a:lnTo>
                  <a:close/>
                  <a:moveTo>
                    <a:pt x="691" y="495"/>
                  </a:moveTo>
                  <a:lnTo>
                    <a:pt x="693" y="497"/>
                  </a:lnTo>
                  <a:lnTo>
                    <a:pt x="693" y="498"/>
                  </a:lnTo>
                  <a:lnTo>
                    <a:pt x="690" y="502"/>
                  </a:lnTo>
                  <a:lnTo>
                    <a:pt x="688" y="502"/>
                  </a:lnTo>
                  <a:lnTo>
                    <a:pt x="688" y="497"/>
                  </a:lnTo>
                  <a:lnTo>
                    <a:pt x="691" y="495"/>
                  </a:lnTo>
                  <a:close/>
                  <a:moveTo>
                    <a:pt x="1081" y="497"/>
                  </a:moveTo>
                  <a:lnTo>
                    <a:pt x="1075" y="497"/>
                  </a:lnTo>
                  <a:lnTo>
                    <a:pt x="1074" y="495"/>
                  </a:lnTo>
                  <a:lnTo>
                    <a:pt x="1075" y="497"/>
                  </a:lnTo>
                  <a:lnTo>
                    <a:pt x="1081" y="495"/>
                  </a:lnTo>
                  <a:lnTo>
                    <a:pt x="1081" y="497"/>
                  </a:lnTo>
                  <a:lnTo>
                    <a:pt x="1082" y="493"/>
                  </a:lnTo>
                  <a:lnTo>
                    <a:pt x="1081" y="497"/>
                  </a:lnTo>
                  <a:close/>
                  <a:moveTo>
                    <a:pt x="1070" y="493"/>
                  </a:moveTo>
                  <a:lnTo>
                    <a:pt x="1072" y="495"/>
                  </a:lnTo>
                  <a:lnTo>
                    <a:pt x="1063" y="500"/>
                  </a:lnTo>
                  <a:lnTo>
                    <a:pt x="1060" y="498"/>
                  </a:lnTo>
                  <a:lnTo>
                    <a:pt x="1062" y="497"/>
                  </a:lnTo>
                  <a:lnTo>
                    <a:pt x="1063" y="498"/>
                  </a:lnTo>
                  <a:lnTo>
                    <a:pt x="1067" y="493"/>
                  </a:lnTo>
                  <a:lnTo>
                    <a:pt x="1069" y="495"/>
                  </a:lnTo>
                  <a:lnTo>
                    <a:pt x="1070" y="493"/>
                  </a:lnTo>
                  <a:close/>
                  <a:moveTo>
                    <a:pt x="696" y="488"/>
                  </a:moveTo>
                  <a:lnTo>
                    <a:pt x="695" y="492"/>
                  </a:lnTo>
                  <a:lnTo>
                    <a:pt x="693" y="492"/>
                  </a:lnTo>
                  <a:lnTo>
                    <a:pt x="696" y="488"/>
                  </a:lnTo>
                  <a:close/>
                  <a:moveTo>
                    <a:pt x="1057" y="481"/>
                  </a:moveTo>
                  <a:lnTo>
                    <a:pt x="1057" y="483"/>
                  </a:lnTo>
                  <a:lnTo>
                    <a:pt x="1055" y="485"/>
                  </a:lnTo>
                  <a:lnTo>
                    <a:pt x="1051" y="485"/>
                  </a:lnTo>
                  <a:lnTo>
                    <a:pt x="1053" y="483"/>
                  </a:lnTo>
                  <a:lnTo>
                    <a:pt x="1055" y="483"/>
                  </a:lnTo>
                  <a:lnTo>
                    <a:pt x="1055" y="481"/>
                  </a:lnTo>
                  <a:lnTo>
                    <a:pt x="1057" y="481"/>
                  </a:lnTo>
                  <a:close/>
                  <a:moveTo>
                    <a:pt x="457" y="478"/>
                  </a:moveTo>
                  <a:lnTo>
                    <a:pt x="456" y="481"/>
                  </a:lnTo>
                  <a:lnTo>
                    <a:pt x="454" y="483"/>
                  </a:lnTo>
                  <a:lnTo>
                    <a:pt x="452" y="481"/>
                  </a:lnTo>
                  <a:lnTo>
                    <a:pt x="452" y="483"/>
                  </a:lnTo>
                  <a:lnTo>
                    <a:pt x="451" y="481"/>
                  </a:lnTo>
                  <a:lnTo>
                    <a:pt x="452" y="478"/>
                  </a:lnTo>
                  <a:lnTo>
                    <a:pt x="457" y="478"/>
                  </a:lnTo>
                  <a:close/>
                  <a:moveTo>
                    <a:pt x="1051" y="476"/>
                  </a:moveTo>
                  <a:lnTo>
                    <a:pt x="1055" y="481"/>
                  </a:lnTo>
                  <a:lnTo>
                    <a:pt x="1048" y="483"/>
                  </a:lnTo>
                  <a:lnTo>
                    <a:pt x="1051" y="476"/>
                  </a:lnTo>
                  <a:close/>
                  <a:moveTo>
                    <a:pt x="1048" y="473"/>
                  </a:moveTo>
                  <a:lnTo>
                    <a:pt x="1050" y="473"/>
                  </a:lnTo>
                  <a:lnTo>
                    <a:pt x="1050" y="476"/>
                  </a:lnTo>
                  <a:lnTo>
                    <a:pt x="1048" y="476"/>
                  </a:lnTo>
                  <a:lnTo>
                    <a:pt x="1048" y="473"/>
                  </a:lnTo>
                  <a:close/>
                  <a:moveTo>
                    <a:pt x="703" y="473"/>
                  </a:moveTo>
                  <a:lnTo>
                    <a:pt x="707" y="473"/>
                  </a:lnTo>
                  <a:lnTo>
                    <a:pt x="707" y="476"/>
                  </a:lnTo>
                  <a:lnTo>
                    <a:pt x="703" y="480"/>
                  </a:lnTo>
                  <a:lnTo>
                    <a:pt x="700" y="478"/>
                  </a:lnTo>
                  <a:lnTo>
                    <a:pt x="698" y="481"/>
                  </a:lnTo>
                  <a:lnTo>
                    <a:pt x="700" y="483"/>
                  </a:lnTo>
                  <a:lnTo>
                    <a:pt x="703" y="481"/>
                  </a:lnTo>
                  <a:lnTo>
                    <a:pt x="702" y="485"/>
                  </a:lnTo>
                  <a:lnTo>
                    <a:pt x="695" y="488"/>
                  </a:lnTo>
                  <a:lnTo>
                    <a:pt x="695" y="481"/>
                  </a:lnTo>
                  <a:lnTo>
                    <a:pt x="700" y="476"/>
                  </a:lnTo>
                  <a:lnTo>
                    <a:pt x="700" y="473"/>
                  </a:lnTo>
                  <a:lnTo>
                    <a:pt x="703" y="473"/>
                  </a:lnTo>
                  <a:close/>
                  <a:moveTo>
                    <a:pt x="1055" y="474"/>
                  </a:moveTo>
                  <a:lnTo>
                    <a:pt x="1053" y="476"/>
                  </a:lnTo>
                  <a:lnTo>
                    <a:pt x="1051" y="476"/>
                  </a:lnTo>
                  <a:lnTo>
                    <a:pt x="1050" y="476"/>
                  </a:lnTo>
                  <a:lnTo>
                    <a:pt x="1051" y="474"/>
                  </a:lnTo>
                  <a:lnTo>
                    <a:pt x="1050" y="476"/>
                  </a:lnTo>
                  <a:lnTo>
                    <a:pt x="1051" y="471"/>
                  </a:lnTo>
                  <a:lnTo>
                    <a:pt x="1055" y="474"/>
                  </a:lnTo>
                  <a:close/>
                  <a:moveTo>
                    <a:pt x="1084" y="464"/>
                  </a:moveTo>
                  <a:lnTo>
                    <a:pt x="1087" y="468"/>
                  </a:lnTo>
                  <a:lnTo>
                    <a:pt x="1086" y="468"/>
                  </a:lnTo>
                  <a:lnTo>
                    <a:pt x="1082" y="468"/>
                  </a:lnTo>
                  <a:lnTo>
                    <a:pt x="1082" y="466"/>
                  </a:lnTo>
                  <a:lnTo>
                    <a:pt x="1082" y="464"/>
                  </a:lnTo>
                  <a:lnTo>
                    <a:pt x="1084" y="464"/>
                  </a:lnTo>
                  <a:close/>
                  <a:moveTo>
                    <a:pt x="1062" y="464"/>
                  </a:moveTo>
                  <a:lnTo>
                    <a:pt x="1063" y="464"/>
                  </a:lnTo>
                  <a:lnTo>
                    <a:pt x="1063" y="468"/>
                  </a:lnTo>
                  <a:lnTo>
                    <a:pt x="1062" y="468"/>
                  </a:lnTo>
                  <a:lnTo>
                    <a:pt x="1062" y="464"/>
                  </a:lnTo>
                  <a:close/>
                  <a:moveTo>
                    <a:pt x="1075" y="461"/>
                  </a:moveTo>
                  <a:lnTo>
                    <a:pt x="1082" y="466"/>
                  </a:lnTo>
                  <a:lnTo>
                    <a:pt x="1079" y="469"/>
                  </a:lnTo>
                  <a:lnTo>
                    <a:pt x="1079" y="476"/>
                  </a:lnTo>
                  <a:lnTo>
                    <a:pt x="1075" y="478"/>
                  </a:lnTo>
                  <a:lnTo>
                    <a:pt x="1077" y="480"/>
                  </a:lnTo>
                  <a:lnTo>
                    <a:pt x="1072" y="485"/>
                  </a:lnTo>
                  <a:lnTo>
                    <a:pt x="1065" y="483"/>
                  </a:lnTo>
                  <a:lnTo>
                    <a:pt x="1067" y="480"/>
                  </a:lnTo>
                  <a:lnTo>
                    <a:pt x="1065" y="476"/>
                  </a:lnTo>
                  <a:lnTo>
                    <a:pt x="1070" y="473"/>
                  </a:lnTo>
                  <a:lnTo>
                    <a:pt x="1074" y="462"/>
                  </a:lnTo>
                  <a:lnTo>
                    <a:pt x="1075" y="461"/>
                  </a:lnTo>
                  <a:close/>
                  <a:moveTo>
                    <a:pt x="1075" y="457"/>
                  </a:moveTo>
                  <a:lnTo>
                    <a:pt x="1079" y="457"/>
                  </a:lnTo>
                  <a:lnTo>
                    <a:pt x="1079" y="461"/>
                  </a:lnTo>
                  <a:lnTo>
                    <a:pt x="1075" y="461"/>
                  </a:lnTo>
                  <a:lnTo>
                    <a:pt x="1075" y="457"/>
                  </a:lnTo>
                  <a:close/>
                  <a:moveTo>
                    <a:pt x="1017" y="454"/>
                  </a:moveTo>
                  <a:lnTo>
                    <a:pt x="1019" y="454"/>
                  </a:lnTo>
                  <a:lnTo>
                    <a:pt x="1019" y="457"/>
                  </a:lnTo>
                  <a:lnTo>
                    <a:pt x="1017" y="457"/>
                  </a:lnTo>
                  <a:lnTo>
                    <a:pt x="1017" y="454"/>
                  </a:lnTo>
                  <a:close/>
                  <a:moveTo>
                    <a:pt x="1060" y="457"/>
                  </a:moveTo>
                  <a:lnTo>
                    <a:pt x="1058" y="457"/>
                  </a:lnTo>
                  <a:lnTo>
                    <a:pt x="1060" y="456"/>
                  </a:lnTo>
                  <a:lnTo>
                    <a:pt x="1060" y="452"/>
                  </a:lnTo>
                  <a:lnTo>
                    <a:pt x="1062" y="454"/>
                  </a:lnTo>
                  <a:lnTo>
                    <a:pt x="1060" y="457"/>
                  </a:lnTo>
                  <a:close/>
                  <a:moveTo>
                    <a:pt x="1091" y="449"/>
                  </a:moveTo>
                  <a:lnTo>
                    <a:pt x="1092" y="451"/>
                  </a:lnTo>
                  <a:lnTo>
                    <a:pt x="1089" y="457"/>
                  </a:lnTo>
                  <a:lnTo>
                    <a:pt x="1087" y="456"/>
                  </a:lnTo>
                  <a:lnTo>
                    <a:pt x="1087" y="457"/>
                  </a:lnTo>
                  <a:lnTo>
                    <a:pt x="1086" y="457"/>
                  </a:lnTo>
                  <a:lnTo>
                    <a:pt x="1084" y="452"/>
                  </a:lnTo>
                  <a:lnTo>
                    <a:pt x="1091" y="449"/>
                  </a:lnTo>
                  <a:close/>
                  <a:moveTo>
                    <a:pt x="1058" y="456"/>
                  </a:moveTo>
                  <a:lnTo>
                    <a:pt x="1062" y="449"/>
                  </a:lnTo>
                  <a:lnTo>
                    <a:pt x="1062" y="451"/>
                  </a:lnTo>
                  <a:lnTo>
                    <a:pt x="1058" y="456"/>
                  </a:lnTo>
                  <a:close/>
                  <a:moveTo>
                    <a:pt x="1048" y="445"/>
                  </a:moveTo>
                  <a:lnTo>
                    <a:pt x="1050" y="445"/>
                  </a:lnTo>
                  <a:lnTo>
                    <a:pt x="1050" y="449"/>
                  </a:lnTo>
                  <a:lnTo>
                    <a:pt x="1048" y="449"/>
                  </a:lnTo>
                  <a:lnTo>
                    <a:pt x="1048" y="445"/>
                  </a:lnTo>
                  <a:close/>
                  <a:moveTo>
                    <a:pt x="1069" y="447"/>
                  </a:moveTo>
                  <a:lnTo>
                    <a:pt x="1067" y="452"/>
                  </a:lnTo>
                  <a:lnTo>
                    <a:pt x="1062" y="454"/>
                  </a:lnTo>
                  <a:lnTo>
                    <a:pt x="1060" y="452"/>
                  </a:lnTo>
                  <a:lnTo>
                    <a:pt x="1062" y="449"/>
                  </a:lnTo>
                  <a:lnTo>
                    <a:pt x="1067" y="445"/>
                  </a:lnTo>
                  <a:lnTo>
                    <a:pt x="1069" y="445"/>
                  </a:lnTo>
                  <a:lnTo>
                    <a:pt x="1069" y="447"/>
                  </a:lnTo>
                  <a:close/>
                  <a:moveTo>
                    <a:pt x="1075" y="445"/>
                  </a:moveTo>
                  <a:lnTo>
                    <a:pt x="1081" y="449"/>
                  </a:lnTo>
                  <a:lnTo>
                    <a:pt x="1082" y="456"/>
                  </a:lnTo>
                  <a:lnTo>
                    <a:pt x="1081" y="457"/>
                  </a:lnTo>
                  <a:lnTo>
                    <a:pt x="1077" y="456"/>
                  </a:lnTo>
                  <a:lnTo>
                    <a:pt x="1074" y="459"/>
                  </a:lnTo>
                  <a:lnTo>
                    <a:pt x="1070" y="457"/>
                  </a:lnTo>
                  <a:lnTo>
                    <a:pt x="1070" y="452"/>
                  </a:lnTo>
                  <a:lnTo>
                    <a:pt x="1069" y="451"/>
                  </a:lnTo>
                  <a:lnTo>
                    <a:pt x="1069" y="449"/>
                  </a:lnTo>
                  <a:lnTo>
                    <a:pt x="1074" y="444"/>
                  </a:lnTo>
                  <a:lnTo>
                    <a:pt x="1075" y="445"/>
                  </a:lnTo>
                  <a:close/>
                  <a:moveTo>
                    <a:pt x="1084" y="435"/>
                  </a:moveTo>
                  <a:lnTo>
                    <a:pt x="1086" y="439"/>
                  </a:lnTo>
                  <a:lnTo>
                    <a:pt x="1084" y="442"/>
                  </a:lnTo>
                  <a:lnTo>
                    <a:pt x="1084" y="435"/>
                  </a:lnTo>
                  <a:close/>
                  <a:moveTo>
                    <a:pt x="1081" y="444"/>
                  </a:moveTo>
                  <a:lnTo>
                    <a:pt x="1079" y="442"/>
                  </a:lnTo>
                  <a:lnTo>
                    <a:pt x="1079" y="437"/>
                  </a:lnTo>
                  <a:lnTo>
                    <a:pt x="1082" y="435"/>
                  </a:lnTo>
                  <a:lnTo>
                    <a:pt x="1082" y="442"/>
                  </a:lnTo>
                  <a:lnTo>
                    <a:pt x="1081" y="444"/>
                  </a:lnTo>
                  <a:close/>
                  <a:moveTo>
                    <a:pt x="1031" y="430"/>
                  </a:moveTo>
                  <a:lnTo>
                    <a:pt x="1031" y="433"/>
                  </a:lnTo>
                  <a:lnTo>
                    <a:pt x="1029" y="435"/>
                  </a:lnTo>
                  <a:lnTo>
                    <a:pt x="1028" y="430"/>
                  </a:lnTo>
                  <a:lnTo>
                    <a:pt x="1029" y="428"/>
                  </a:lnTo>
                  <a:lnTo>
                    <a:pt x="1031" y="430"/>
                  </a:lnTo>
                  <a:close/>
                  <a:moveTo>
                    <a:pt x="1057" y="430"/>
                  </a:moveTo>
                  <a:lnTo>
                    <a:pt x="1057" y="432"/>
                  </a:lnTo>
                  <a:lnTo>
                    <a:pt x="1055" y="430"/>
                  </a:lnTo>
                  <a:lnTo>
                    <a:pt x="1057" y="428"/>
                  </a:lnTo>
                  <a:lnTo>
                    <a:pt x="1057" y="430"/>
                  </a:lnTo>
                  <a:close/>
                  <a:moveTo>
                    <a:pt x="1033" y="427"/>
                  </a:moveTo>
                  <a:lnTo>
                    <a:pt x="1034" y="427"/>
                  </a:lnTo>
                  <a:lnTo>
                    <a:pt x="1034" y="430"/>
                  </a:lnTo>
                  <a:lnTo>
                    <a:pt x="1033" y="430"/>
                  </a:lnTo>
                  <a:lnTo>
                    <a:pt x="1033" y="427"/>
                  </a:lnTo>
                  <a:close/>
                  <a:moveTo>
                    <a:pt x="515" y="428"/>
                  </a:moveTo>
                  <a:lnTo>
                    <a:pt x="517" y="430"/>
                  </a:lnTo>
                  <a:lnTo>
                    <a:pt x="514" y="428"/>
                  </a:lnTo>
                  <a:lnTo>
                    <a:pt x="515" y="428"/>
                  </a:lnTo>
                  <a:close/>
                  <a:moveTo>
                    <a:pt x="1087" y="435"/>
                  </a:moveTo>
                  <a:lnTo>
                    <a:pt x="1086" y="432"/>
                  </a:lnTo>
                  <a:lnTo>
                    <a:pt x="1091" y="427"/>
                  </a:lnTo>
                  <a:lnTo>
                    <a:pt x="1091" y="430"/>
                  </a:lnTo>
                  <a:lnTo>
                    <a:pt x="1087" y="435"/>
                  </a:lnTo>
                  <a:close/>
                  <a:moveTo>
                    <a:pt x="1031" y="428"/>
                  </a:moveTo>
                  <a:lnTo>
                    <a:pt x="1031" y="430"/>
                  </a:lnTo>
                  <a:lnTo>
                    <a:pt x="1029" y="428"/>
                  </a:lnTo>
                  <a:lnTo>
                    <a:pt x="1031" y="427"/>
                  </a:lnTo>
                  <a:lnTo>
                    <a:pt x="1031" y="428"/>
                  </a:lnTo>
                  <a:close/>
                  <a:moveTo>
                    <a:pt x="1029" y="425"/>
                  </a:moveTo>
                  <a:lnTo>
                    <a:pt x="1029" y="428"/>
                  </a:lnTo>
                  <a:lnTo>
                    <a:pt x="1029" y="425"/>
                  </a:lnTo>
                  <a:close/>
                  <a:moveTo>
                    <a:pt x="1096" y="425"/>
                  </a:moveTo>
                  <a:lnTo>
                    <a:pt x="1098" y="428"/>
                  </a:lnTo>
                  <a:lnTo>
                    <a:pt x="1094" y="433"/>
                  </a:lnTo>
                  <a:lnTo>
                    <a:pt x="1098" y="428"/>
                  </a:lnTo>
                  <a:lnTo>
                    <a:pt x="1098" y="427"/>
                  </a:lnTo>
                  <a:lnTo>
                    <a:pt x="1101" y="430"/>
                  </a:lnTo>
                  <a:lnTo>
                    <a:pt x="1099" y="433"/>
                  </a:lnTo>
                  <a:lnTo>
                    <a:pt x="1096" y="439"/>
                  </a:lnTo>
                  <a:lnTo>
                    <a:pt x="1094" y="444"/>
                  </a:lnTo>
                  <a:lnTo>
                    <a:pt x="1092" y="449"/>
                  </a:lnTo>
                  <a:lnTo>
                    <a:pt x="1087" y="445"/>
                  </a:lnTo>
                  <a:lnTo>
                    <a:pt x="1089" y="444"/>
                  </a:lnTo>
                  <a:lnTo>
                    <a:pt x="1087" y="439"/>
                  </a:lnTo>
                  <a:lnTo>
                    <a:pt x="1092" y="430"/>
                  </a:lnTo>
                  <a:lnTo>
                    <a:pt x="1092" y="433"/>
                  </a:lnTo>
                  <a:lnTo>
                    <a:pt x="1094" y="435"/>
                  </a:lnTo>
                  <a:lnTo>
                    <a:pt x="1092" y="433"/>
                  </a:lnTo>
                  <a:lnTo>
                    <a:pt x="1092" y="428"/>
                  </a:lnTo>
                  <a:lnTo>
                    <a:pt x="1094" y="425"/>
                  </a:lnTo>
                  <a:lnTo>
                    <a:pt x="1096" y="425"/>
                  </a:lnTo>
                  <a:close/>
                  <a:moveTo>
                    <a:pt x="1046" y="425"/>
                  </a:moveTo>
                  <a:lnTo>
                    <a:pt x="1048" y="427"/>
                  </a:lnTo>
                  <a:lnTo>
                    <a:pt x="1051" y="428"/>
                  </a:lnTo>
                  <a:lnTo>
                    <a:pt x="1055" y="432"/>
                  </a:lnTo>
                  <a:lnTo>
                    <a:pt x="1055" y="435"/>
                  </a:lnTo>
                  <a:lnTo>
                    <a:pt x="1057" y="432"/>
                  </a:lnTo>
                  <a:lnTo>
                    <a:pt x="1057" y="435"/>
                  </a:lnTo>
                  <a:lnTo>
                    <a:pt x="1063" y="439"/>
                  </a:lnTo>
                  <a:lnTo>
                    <a:pt x="1065" y="445"/>
                  </a:lnTo>
                  <a:lnTo>
                    <a:pt x="1058" y="449"/>
                  </a:lnTo>
                  <a:lnTo>
                    <a:pt x="1060" y="449"/>
                  </a:lnTo>
                  <a:lnTo>
                    <a:pt x="1057" y="456"/>
                  </a:lnTo>
                  <a:lnTo>
                    <a:pt x="1053" y="456"/>
                  </a:lnTo>
                  <a:lnTo>
                    <a:pt x="1051" y="451"/>
                  </a:lnTo>
                  <a:lnTo>
                    <a:pt x="1050" y="451"/>
                  </a:lnTo>
                  <a:lnTo>
                    <a:pt x="1050" y="447"/>
                  </a:lnTo>
                  <a:lnTo>
                    <a:pt x="1050" y="444"/>
                  </a:lnTo>
                  <a:lnTo>
                    <a:pt x="1048" y="445"/>
                  </a:lnTo>
                  <a:lnTo>
                    <a:pt x="1048" y="444"/>
                  </a:lnTo>
                  <a:lnTo>
                    <a:pt x="1046" y="442"/>
                  </a:lnTo>
                  <a:lnTo>
                    <a:pt x="1045" y="444"/>
                  </a:lnTo>
                  <a:lnTo>
                    <a:pt x="1040" y="439"/>
                  </a:lnTo>
                  <a:lnTo>
                    <a:pt x="1036" y="439"/>
                  </a:lnTo>
                  <a:lnTo>
                    <a:pt x="1038" y="437"/>
                  </a:lnTo>
                  <a:lnTo>
                    <a:pt x="1036" y="437"/>
                  </a:lnTo>
                  <a:lnTo>
                    <a:pt x="1034" y="435"/>
                  </a:lnTo>
                  <a:lnTo>
                    <a:pt x="1036" y="430"/>
                  </a:lnTo>
                  <a:lnTo>
                    <a:pt x="1040" y="428"/>
                  </a:lnTo>
                  <a:lnTo>
                    <a:pt x="1041" y="427"/>
                  </a:lnTo>
                  <a:lnTo>
                    <a:pt x="1046" y="425"/>
                  </a:lnTo>
                  <a:close/>
                  <a:moveTo>
                    <a:pt x="1041" y="423"/>
                  </a:moveTo>
                  <a:lnTo>
                    <a:pt x="1043" y="423"/>
                  </a:lnTo>
                  <a:lnTo>
                    <a:pt x="1043" y="425"/>
                  </a:lnTo>
                  <a:lnTo>
                    <a:pt x="1041" y="425"/>
                  </a:lnTo>
                  <a:lnTo>
                    <a:pt x="1041" y="423"/>
                  </a:lnTo>
                  <a:close/>
                  <a:moveTo>
                    <a:pt x="1045" y="423"/>
                  </a:moveTo>
                  <a:lnTo>
                    <a:pt x="1043" y="420"/>
                  </a:lnTo>
                  <a:lnTo>
                    <a:pt x="1045" y="423"/>
                  </a:lnTo>
                  <a:close/>
                  <a:moveTo>
                    <a:pt x="1036" y="418"/>
                  </a:moveTo>
                  <a:lnTo>
                    <a:pt x="1038" y="418"/>
                  </a:lnTo>
                  <a:lnTo>
                    <a:pt x="1038" y="422"/>
                  </a:lnTo>
                  <a:lnTo>
                    <a:pt x="1036" y="422"/>
                  </a:lnTo>
                  <a:lnTo>
                    <a:pt x="1036" y="418"/>
                  </a:lnTo>
                  <a:close/>
                  <a:moveTo>
                    <a:pt x="1045" y="423"/>
                  </a:moveTo>
                  <a:lnTo>
                    <a:pt x="1043" y="423"/>
                  </a:lnTo>
                  <a:lnTo>
                    <a:pt x="1040" y="420"/>
                  </a:lnTo>
                  <a:lnTo>
                    <a:pt x="1041" y="418"/>
                  </a:lnTo>
                  <a:lnTo>
                    <a:pt x="1043" y="420"/>
                  </a:lnTo>
                  <a:lnTo>
                    <a:pt x="1045" y="423"/>
                  </a:lnTo>
                  <a:close/>
                  <a:moveTo>
                    <a:pt x="1031" y="416"/>
                  </a:moveTo>
                  <a:lnTo>
                    <a:pt x="1033" y="416"/>
                  </a:lnTo>
                  <a:lnTo>
                    <a:pt x="1033" y="420"/>
                  </a:lnTo>
                  <a:lnTo>
                    <a:pt x="1031" y="420"/>
                  </a:lnTo>
                  <a:lnTo>
                    <a:pt x="1031" y="416"/>
                  </a:lnTo>
                  <a:close/>
                  <a:moveTo>
                    <a:pt x="1017" y="415"/>
                  </a:moveTo>
                  <a:lnTo>
                    <a:pt x="1019" y="415"/>
                  </a:lnTo>
                  <a:lnTo>
                    <a:pt x="1019" y="416"/>
                  </a:lnTo>
                  <a:lnTo>
                    <a:pt x="1017" y="416"/>
                  </a:lnTo>
                  <a:lnTo>
                    <a:pt x="1017" y="415"/>
                  </a:lnTo>
                  <a:close/>
                  <a:moveTo>
                    <a:pt x="1096" y="415"/>
                  </a:moveTo>
                  <a:lnTo>
                    <a:pt x="1094" y="418"/>
                  </a:lnTo>
                  <a:lnTo>
                    <a:pt x="1094" y="416"/>
                  </a:lnTo>
                  <a:lnTo>
                    <a:pt x="1096" y="415"/>
                  </a:lnTo>
                  <a:close/>
                  <a:moveTo>
                    <a:pt x="1005" y="411"/>
                  </a:moveTo>
                  <a:lnTo>
                    <a:pt x="1009" y="411"/>
                  </a:lnTo>
                  <a:lnTo>
                    <a:pt x="1012" y="416"/>
                  </a:lnTo>
                  <a:lnTo>
                    <a:pt x="1019" y="418"/>
                  </a:lnTo>
                  <a:lnTo>
                    <a:pt x="1024" y="423"/>
                  </a:lnTo>
                  <a:lnTo>
                    <a:pt x="1026" y="427"/>
                  </a:lnTo>
                  <a:lnTo>
                    <a:pt x="1028" y="427"/>
                  </a:lnTo>
                  <a:lnTo>
                    <a:pt x="1029" y="428"/>
                  </a:lnTo>
                  <a:lnTo>
                    <a:pt x="1028" y="430"/>
                  </a:lnTo>
                  <a:lnTo>
                    <a:pt x="1028" y="433"/>
                  </a:lnTo>
                  <a:lnTo>
                    <a:pt x="1028" y="435"/>
                  </a:lnTo>
                  <a:lnTo>
                    <a:pt x="1029" y="433"/>
                  </a:lnTo>
                  <a:lnTo>
                    <a:pt x="1033" y="439"/>
                  </a:lnTo>
                  <a:lnTo>
                    <a:pt x="1031" y="440"/>
                  </a:lnTo>
                  <a:lnTo>
                    <a:pt x="1034" y="439"/>
                  </a:lnTo>
                  <a:lnTo>
                    <a:pt x="1034" y="440"/>
                  </a:lnTo>
                  <a:lnTo>
                    <a:pt x="1036" y="440"/>
                  </a:lnTo>
                  <a:lnTo>
                    <a:pt x="1040" y="439"/>
                  </a:lnTo>
                  <a:lnTo>
                    <a:pt x="1043" y="445"/>
                  </a:lnTo>
                  <a:lnTo>
                    <a:pt x="1046" y="444"/>
                  </a:lnTo>
                  <a:lnTo>
                    <a:pt x="1048" y="451"/>
                  </a:lnTo>
                  <a:lnTo>
                    <a:pt x="1051" y="454"/>
                  </a:lnTo>
                  <a:lnTo>
                    <a:pt x="1050" y="454"/>
                  </a:lnTo>
                  <a:lnTo>
                    <a:pt x="1048" y="457"/>
                  </a:lnTo>
                  <a:lnTo>
                    <a:pt x="1051" y="457"/>
                  </a:lnTo>
                  <a:lnTo>
                    <a:pt x="1050" y="459"/>
                  </a:lnTo>
                  <a:lnTo>
                    <a:pt x="1046" y="459"/>
                  </a:lnTo>
                  <a:lnTo>
                    <a:pt x="1050" y="461"/>
                  </a:lnTo>
                  <a:lnTo>
                    <a:pt x="1053" y="461"/>
                  </a:lnTo>
                  <a:lnTo>
                    <a:pt x="1055" y="461"/>
                  </a:lnTo>
                  <a:lnTo>
                    <a:pt x="1053" y="464"/>
                  </a:lnTo>
                  <a:lnTo>
                    <a:pt x="1051" y="466"/>
                  </a:lnTo>
                  <a:lnTo>
                    <a:pt x="1050" y="469"/>
                  </a:lnTo>
                  <a:lnTo>
                    <a:pt x="1048" y="471"/>
                  </a:lnTo>
                  <a:lnTo>
                    <a:pt x="1046" y="473"/>
                  </a:lnTo>
                  <a:lnTo>
                    <a:pt x="1043" y="469"/>
                  </a:lnTo>
                  <a:lnTo>
                    <a:pt x="1040" y="473"/>
                  </a:lnTo>
                  <a:lnTo>
                    <a:pt x="1043" y="471"/>
                  </a:lnTo>
                  <a:lnTo>
                    <a:pt x="1043" y="473"/>
                  </a:lnTo>
                  <a:lnTo>
                    <a:pt x="1045" y="474"/>
                  </a:lnTo>
                  <a:lnTo>
                    <a:pt x="1038" y="480"/>
                  </a:lnTo>
                  <a:lnTo>
                    <a:pt x="1040" y="481"/>
                  </a:lnTo>
                  <a:lnTo>
                    <a:pt x="1036" y="485"/>
                  </a:lnTo>
                  <a:lnTo>
                    <a:pt x="1034" y="488"/>
                  </a:lnTo>
                  <a:lnTo>
                    <a:pt x="1031" y="488"/>
                  </a:lnTo>
                  <a:lnTo>
                    <a:pt x="1033" y="488"/>
                  </a:lnTo>
                  <a:lnTo>
                    <a:pt x="1033" y="492"/>
                  </a:lnTo>
                  <a:lnTo>
                    <a:pt x="1034" y="488"/>
                  </a:lnTo>
                  <a:lnTo>
                    <a:pt x="1036" y="490"/>
                  </a:lnTo>
                  <a:lnTo>
                    <a:pt x="1031" y="495"/>
                  </a:lnTo>
                  <a:lnTo>
                    <a:pt x="1029" y="495"/>
                  </a:lnTo>
                  <a:lnTo>
                    <a:pt x="1021" y="498"/>
                  </a:lnTo>
                  <a:lnTo>
                    <a:pt x="1017" y="500"/>
                  </a:lnTo>
                  <a:lnTo>
                    <a:pt x="1016" y="500"/>
                  </a:lnTo>
                  <a:lnTo>
                    <a:pt x="1014" y="505"/>
                  </a:lnTo>
                  <a:lnTo>
                    <a:pt x="1011" y="502"/>
                  </a:lnTo>
                  <a:lnTo>
                    <a:pt x="1009" y="495"/>
                  </a:lnTo>
                  <a:lnTo>
                    <a:pt x="1011" y="498"/>
                  </a:lnTo>
                  <a:lnTo>
                    <a:pt x="1011" y="493"/>
                  </a:lnTo>
                  <a:lnTo>
                    <a:pt x="1009" y="495"/>
                  </a:lnTo>
                  <a:lnTo>
                    <a:pt x="1005" y="493"/>
                  </a:lnTo>
                  <a:lnTo>
                    <a:pt x="1002" y="493"/>
                  </a:lnTo>
                  <a:lnTo>
                    <a:pt x="997" y="485"/>
                  </a:lnTo>
                  <a:lnTo>
                    <a:pt x="1002" y="474"/>
                  </a:lnTo>
                  <a:lnTo>
                    <a:pt x="1002" y="464"/>
                  </a:lnTo>
                  <a:lnTo>
                    <a:pt x="1002" y="461"/>
                  </a:lnTo>
                  <a:lnTo>
                    <a:pt x="1004" y="451"/>
                  </a:lnTo>
                  <a:lnTo>
                    <a:pt x="1005" y="445"/>
                  </a:lnTo>
                  <a:lnTo>
                    <a:pt x="1007" y="449"/>
                  </a:lnTo>
                  <a:lnTo>
                    <a:pt x="1012" y="449"/>
                  </a:lnTo>
                  <a:lnTo>
                    <a:pt x="1012" y="452"/>
                  </a:lnTo>
                  <a:lnTo>
                    <a:pt x="1016" y="451"/>
                  </a:lnTo>
                  <a:lnTo>
                    <a:pt x="1016" y="456"/>
                  </a:lnTo>
                  <a:lnTo>
                    <a:pt x="1019" y="461"/>
                  </a:lnTo>
                  <a:lnTo>
                    <a:pt x="1017" y="457"/>
                  </a:lnTo>
                  <a:lnTo>
                    <a:pt x="1019" y="452"/>
                  </a:lnTo>
                  <a:lnTo>
                    <a:pt x="1017" y="452"/>
                  </a:lnTo>
                  <a:lnTo>
                    <a:pt x="1017" y="451"/>
                  </a:lnTo>
                  <a:lnTo>
                    <a:pt x="1016" y="447"/>
                  </a:lnTo>
                  <a:lnTo>
                    <a:pt x="1017" y="445"/>
                  </a:lnTo>
                  <a:lnTo>
                    <a:pt x="1014" y="447"/>
                  </a:lnTo>
                  <a:lnTo>
                    <a:pt x="1017" y="442"/>
                  </a:lnTo>
                  <a:lnTo>
                    <a:pt x="1016" y="442"/>
                  </a:lnTo>
                  <a:lnTo>
                    <a:pt x="1014" y="445"/>
                  </a:lnTo>
                  <a:lnTo>
                    <a:pt x="1009" y="447"/>
                  </a:lnTo>
                  <a:lnTo>
                    <a:pt x="1005" y="442"/>
                  </a:lnTo>
                  <a:lnTo>
                    <a:pt x="1005" y="439"/>
                  </a:lnTo>
                  <a:lnTo>
                    <a:pt x="1007" y="437"/>
                  </a:lnTo>
                  <a:lnTo>
                    <a:pt x="1005" y="437"/>
                  </a:lnTo>
                  <a:lnTo>
                    <a:pt x="1009" y="430"/>
                  </a:lnTo>
                  <a:lnTo>
                    <a:pt x="1005" y="422"/>
                  </a:lnTo>
                  <a:lnTo>
                    <a:pt x="1007" y="420"/>
                  </a:lnTo>
                  <a:lnTo>
                    <a:pt x="1009" y="422"/>
                  </a:lnTo>
                  <a:lnTo>
                    <a:pt x="1007" y="420"/>
                  </a:lnTo>
                  <a:lnTo>
                    <a:pt x="1005" y="420"/>
                  </a:lnTo>
                  <a:lnTo>
                    <a:pt x="1004" y="413"/>
                  </a:lnTo>
                  <a:lnTo>
                    <a:pt x="1005" y="411"/>
                  </a:lnTo>
                  <a:close/>
                  <a:moveTo>
                    <a:pt x="1096" y="408"/>
                  </a:moveTo>
                  <a:lnTo>
                    <a:pt x="1098" y="408"/>
                  </a:lnTo>
                  <a:lnTo>
                    <a:pt x="1098" y="410"/>
                  </a:lnTo>
                  <a:lnTo>
                    <a:pt x="1096" y="410"/>
                  </a:lnTo>
                  <a:lnTo>
                    <a:pt x="1096" y="408"/>
                  </a:lnTo>
                  <a:close/>
                  <a:moveTo>
                    <a:pt x="1024" y="406"/>
                  </a:moveTo>
                  <a:lnTo>
                    <a:pt x="1026" y="406"/>
                  </a:lnTo>
                  <a:lnTo>
                    <a:pt x="1026" y="410"/>
                  </a:lnTo>
                  <a:lnTo>
                    <a:pt x="1024" y="410"/>
                  </a:lnTo>
                  <a:lnTo>
                    <a:pt x="1024" y="406"/>
                  </a:lnTo>
                  <a:close/>
                  <a:moveTo>
                    <a:pt x="1011" y="392"/>
                  </a:moveTo>
                  <a:lnTo>
                    <a:pt x="1012" y="396"/>
                  </a:lnTo>
                  <a:lnTo>
                    <a:pt x="1019" y="394"/>
                  </a:lnTo>
                  <a:lnTo>
                    <a:pt x="1019" y="398"/>
                  </a:lnTo>
                  <a:lnTo>
                    <a:pt x="1021" y="401"/>
                  </a:lnTo>
                  <a:lnTo>
                    <a:pt x="1026" y="398"/>
                  </a:lnTo>
                  <a:lnTo>
                    <a:pt x="1021" y="406"/>
                  </a:lnTo>
                  <a:lnTo>
                    <a:pt x="1024" y="410"/>
                  </a:lnTo>
                  <a:lnTo>
                    <a:pt x="1024" y="413"/>
                  </a:lnTo>
                  <a:lnTo>
                    <a:pt x="1026" y="411"/>
                  </a:lnTo>
                  <a:lnTo>
                    <a:pt x="1028" y="411"/>
                  </a:lnTo>
                  <a:lnTo>
                    <a:pt x="1029" y="415"/>
                  </a:lnTo>
                  <a:lnTo>
                    <a:pt x="1031" y="416"/>
                  </a:lnTo>
                  <a:lnTo>
                    <a:pt x="1031" y="420"/>
                  </a:lnTo>
                  <a:lnTo>
                    <a:pt x="1033" y="418"/>
                  </a:lnTo>
                  <a:lnTo>
                    <a:pt x="1033" y="420"/>
                  </a:lnTo>
                  <a:lnTo>
                    <a:pt x="1034" y="418"/>
                  </a:lnTo>
                  <a:lnTo>
                    <a:pt x="1034" y="420"/>
                  </a:lnTo>
                  <a:lnTo>
                    <a:pt x="1036" y="422"/>
                  </a:lnTo>
                  <a:lnTo>
                    <a:pt x="1038" y="420"/>
                  </a:lnTo>
                  <a:lnTo>
                    <a:pt x="1040" y="423"/>
                  </a:lnTo>
                  <a:lnTo>
                    <a:pt x="1041" y="425"/>
                  </a:lnTo>
                  <a:lnTo>
                    <a:pt x="1043" y="425"/>
                  </a:lnTo>
                  <a:lnTo>
                    <a:pt x="1038" y="428"/>
                  </a:lnTo>
                  <a:lnTo>
                    <a:pt x="1034" y="430"/>
                  </a:lnTo>
                  <a:lnTo>
                    <a:pt x="1034" y="432"/>
                  </a:lnTo>
                  <a:lnTo>
                    <a:pt x="1033" y="432"/>
                  </a:lnTo>
                  <a:lnTo>
                    <a:pt x="1034" y="428"/>
                  </a:lnTo>
                  <a:lnTo>
                    <a:pt x="1034" y="427"/>
                  </a:lnTo>
                  <a:lnTo>
                    <a:pt x="1033" y="430"/>
                  </a:lnTo>
                  <a:lnTo>
                    <a:pt x="1031" y="425"/>
                  </a:lnTo>
                  <a:lnTo>
                    <a:pt x="1026" y="425"/>
                  </a:lnTo>
                  <a:lnTo>
                    <a:pt x="1022" y="420"/>
                  </a:lnTo>
                  <a:lnTo>
                    <a:pt x="1021" y="420"/>
                  </a:lnTo>
                  <a:lnTo>
                    <a:pt x="1019" y="415"/>
                  </a:lnTo>
                  <a:lnTo>
                    <a:pt x="1014" y="415"/>
                  </a:lnTo>
                  <a:lnTo>
                    <a:pt x="1012" y="415"/>
                  </a:lnTo>
                  <a:lnTo>
                    <a:pt x="1012" y="411"/>
                  </a:lnTo>
                  <a:lnTo>
                    <a:pt x="1016" y="410"/>
                  </a:lnTo>
                  <a:lnTo>
                    <a:pt x="1016" y="406"/>
                  </a:lnTo>
                  <a:lnTo>
                    <a:pt x="1014" y="406"/>
                  </a:lnTo>
                  <a:lnTo>
                    <a:pt x="1011" y="408"/>
                  </a:lnTo>
                  <a:lnTo>
                    <a:pt x="1011" y="410"/>
                  </a:lnTo>
                  <a:lnTo>
                    <a:pt x="1007" y="406"/>
                  </a:lnTo>
                  <a:lnTo>
                    <a:pt x="1005" y="404"/>
                  </a:lnTo>
                  <a:lnTo>
                    <a:pt x="1007" y="398"/>
                  </a:lnTo>
                  <a:lnTo>
                    <a:pt x="1011" y="392"/>
                  </a:lnTo>
                  <a:close/>
                  <a:moveTo>
                    <a:pt x="809" y="392"/>
                  </a:moveTo>
                  <a:lnTo>
                    <a:pt x="806" y="396"/>
                  </a:lnTo>
                  <a:lnTo>
                    <a:pt x="804" y="392"/>
                  </a:lnTo>
                  <a:lnTo>
                    <a:pt x="807" y="394"/>
                  </a:lnTo>
                  <a:lnTo>
                    <a:pt x="809" y="391"/>
                  </a:lnTo>
                  <a:lnTo>
                    <a:pt x="809" y="392"/>
                  </a:lnTo>
                  <a:close/>
                  <a:moveTo>
                    <a:pt x="1060" y="384"/>
                  </a:moveTo>
                  <a:lnTo>
                    <a:pt x="1063" y="386"/>
                  </a:lnTo>
                  <a:lnTo>
                    <a:pt x="1060" y="389"/>
                  </a:lnTo>
                  <a:lnTo>
                    <a:pt x="1065" y="384"/>
                  </a:lnTo>
                  <a:lnTo>
                    <a:pt x="1072" y="386"/>
                  </a:lnTo>
                  <a:lnTo>
                    <a:pt x="1070" y="387"/>
                  </a:lnTo>
                  <a:lnTo>
                    <a:pt x="1077" y="392"/>
                  </a:lnTo>
                  <a:lnTo>
                    <a:pt x="1079" y="394"/>
                  </a:lnTo>
                  <a:lnTo>
                    <a:pt x="1074" y="398"/>
                  </a:lnTo>
                  <a:lnTo>
                    <a:pt x="1079" y="394"/>
                  </a:lnTo>
                  <a:lnTo>
                    <a:pt x="1081" y="396"/>
                  </a:lnTo>
                  <a:lnTo>
                    <a:pt x="1081" y="398"/>
                  </a:lnTo>
                  <a:lnTo>
                    <a:pt x="1081" y="396"/>
                  </a:lnTo>
                  <a:lnTo>
                    <a:pt x="1082" y="398"/>
                  </a:lnTo>
                  <a:lnTo>
                    <a:pt x="1084" y="401"/>
                  </a:lnTo>
                  <a:lnTo>
                    <a:pt x="1084" y="403"/>
                  </a:lnTo>
                  <a:lnTo>
                    <a:pt x="1086" y="403"/>
                  </a:lnTo>
                  <a:lnTo>
                    <a:pt x="1082" y="406"/>
                  </a:lnTo>
                  <a:lnTo>
                    <a:pt x="1084" y="408"/>
                  </a:lnTo>
                  <a:lnTo>
                    <a:pt x="1079" y="411"/>
                  </a:lnTo>
                  <a:lnTo>
                    <a:pt x="1079" y="410"/>
                  </a:lnTo>
                  <a:lnTo>
                    <a:pt x="1077" y="411"/>
                  </a:lnTo>
                  <a:lnTo>
                    <a:pt x="1075" y="408"/>
                  </a:lnTo>
                  <a:lnTo>
                    <a:pt x="1077" y="413"/>
                  </a:lnTo>
                  <a:lnTo>
                    <a:pt x="1074" y="415"/>
                  </a:lnTo>
                  <a:lnTo>
                    <a:pt x="1075" y="415"/>
                  </a:lnTo>
                  <a:lnTo>
                    <a:pt x="1084" y="411"/>
                  </a:lnTo>
                  <a:lnTo>
                    <a:pt x="1082" y="420"/>
                  </a:lnTo>
                  <a:lnTo>
                    <a:pt x="1081" y="420"/>
                  </a:lnTo>
                  <a:lnTo>
                    <a:pt x="1082" y="422"/>
                  </a:lnTo>
                  <a:lnTo>
                    <a:pt x="1079" y="423"/>
                  </a:lnTo>
                  <a:lnTo>
                    <a:pt x="1081" y="423"/>
                  </a:lnTo>
                  <a:lnTo>
                    <a:pt x="1079" y="428"/>
                  </a:lnTo>
                  <a:lnTo>
                    <a:pt x="1075" y="428"/>
                  </a:lnTo>
                  <a:lnTo>
                    <a:pt x="1079" y="428"/>
                  </a:lnTo>
                  <a:lnTo>
                    <a:pt x="1075" y="428"/>
                  </a:lnTo>
                  <a:lnTo>
                    <a:pt x="1074" y="427"/>
                  </a:lnTo>
                  <a:lnTo>
                    <a:pt x="1075" y="430"/>
                  </a:lnTo>
                  <a:lnTo>
                    <a:pt x="1077" y="428"/>
                  </a:lnTo>
                  <a:lnTo>
                    <a:pt x="1075" y="430"/>
                  </a:lnTo>
                  <a:lnTo>
                    <a:pt x="1067" y="435"/>
                  </a:lnTo>
                  <a:lnTo>
                    <a:pt x="1067" y="433"/>
                  </a:lnTo>
                  <a:lnTo>
                    <a:pt x="1067" y="437"/>
                  </a:lnTo>
                  <a:lnTo>
                    <a:pt x="1060" y="432"/>
                  </a:lnTo>
                  <a:lnTo>
                    <a:pt x="1060" y="433"/>
                  </a:lnTo>
                  <a:lnTo>
                    <a:pt x="1057" y="433"/>
                  </a:lnTo>
                  <a:lnTo>
                    <a:pt x="1057" y="430"/>
                  </a:lnTo>
                  <a:lnTo>
                    <a:pt x="1058" y="427"/>
                  </a:lnTo>
                  <a:lnTo>
                    <a:pt x="1053" y="430"/>
                  </a:lnTo>
                  <a:lnTo>
                    <a:pt x="1051" y="427"/>
                  </a:lnTo>
                  <a:lnTo>
                    <a:pt x="1053" y="425"/>
                  </a:lnTo>
                  <a:lnTo>
                    <a:pt x="1048" y="427"/>
                  </a:lnTo>
                  <a:lnTo>
                    <a:pt x="1046" y="423"/>
                  </a:lnTo>
                  <a:lnTo>
                    <a:pt x="1048" y="423"/>
                  </a:lnTo>
                  <a:lnTo>
                    <a:pt x="1045" y="423"/>
                  </a:lnTo>
                  <a:lnTo>
                    <a:pt x="1045" y="420"/>
                  </a:lnTo>
                  <a:lnTo>
                    <a:pt x="1046" y="418"/>
                  </a:lnTo>
                  <a:lnTo>
                    <a:pt x="1043" y="418"/>
                  </a:lnTo>
                  <a:lnTo>
                    <a:pt x="1040" y="420"/>
                  </a:lnTo>
                  <a:lnTo>
                    <a:pt x="1038" y="418"/>
                  </a:lnTo>
                  <a:lnTo>
                    <a:pt x="1036" y="420"/>
                  </a:lnTo>
                  <a:lnTo>
                    <a:pt x="1036" y="416"/>
                  </a:lnTo>
                  <a:lnTo>
                    <a:pt x="1033" y="418"/>
                  </a:lnTo>
                  <a:lnTo>
                    <a:pt x="1033" y="416"/>
                  </a:lnTo>
                  <a:lnTo>
                    <a:pt x="1031" y="415"/>
                  </a:lnTo>
                  <a:lnTo>
                    <a:pt x="1029" y="411"/>
                  </a:lnTo>
                  <a:lnTo>
                    <a:pt x="1026" y="410"/>
                  </a:lnTo>
                  <a:lnTo>
                    <a:pt x="1026" y="408"/>
                  </a:lnTo>
                  <a:lnTo>
                    <a:pt x="1026" y="406"/>
                  </a:lnTo>
                  <a:lnTo>
                    <a:pt x="1024" y="404"/>
                  </a:lnTo>
                  <a:lnTo>
                    <a:pt x="1024" y="403"/>
                  </a:lnTo>
                  <a:lnTo>
                    <a:pt x="1028" y="399"/>
                  </a:lnTo>
                  <a:lnTo>
                    <a:pt x="1026" y="398"/>
                  </a:lnTo>
                  <a:lnTo>
                    <a:pt x="1029" y="394"/>
                  </a:lnTo>
                  <a:lnTo>
                    <a:pt x="1031" y="394"/>
                  </a:lnTo>
                  <a:lnTo>
                    <a:pt x="1034" y="398"/>
                  </a:lnTo>
                  <a:lnTo>
                    <a:pt x="1038" y="394"/>
                  </a:lnTo>
                  <a:lnTo>
                    <a:pt x="1043" y="394"/>
                  </a:lnTo>
                  <a:lnTo>
                    <a:pt x="1045" y="392"/>
                  </a:lnTo>
                  <a:lnTo>
                    <a:pt x="1048" y="387"/>
                  </a:lnTo>
                  <a:lnTo>
                    <a:pt x="1051" y="387"/>
                  </a:lnTo>
                  <a:lnTo>
                    <a:pt x="1053" y="386"/>
                  </a:lnTo>
                  <a:lnTo>
                    <a:pt x="1057" y="382"/>
                  </a:lnTo>
                  <a:lnTo>
                    <a:pt x="1060" y="384"/>
                  </a:lnTo>
                  <a:close/>
                  <a:moveTo>
                    <a:pt x="1065" y="381"/>
                  </a:moveTo>
                  <a:lnTo>
                    <a:pt x="1067" y="381"/>
                  </a:lnTo>
                  <a:lnTo>
                    <a:pt x="1067" y="384"/>
                  </a:lnTo>
                  <a:lnTo>
                    <a:pt x="1065" y="384"/>
                  </a:lnTo>
                  <a:lnTo>
                    <a:pt x="1065" y="381"/>
                  </a:lnTo>
                  <a:close/>
                  <a:moveTo>
                    <a:pt x="816" y="382"/>
                  </a:moveTo>
                  <a:lnTo>
                    <a:pt x="814" y="379"/>
                  </a:lnTo>
                  <a:lnTo>
                    <a:pt x="816" y="377"/>
                  </a:lnTo>
                  <a:lnTo>
                    <a:pt x="818" y="381"/>
                  </a:lnTo>
                  <a:lnTo>
                    <a:pt x="816" y="382"/>
                  </a:lnTo>
                  <a:close/>
                  <a:moveTo>
                    <a:pt x="1089" y="375"/>
                  </a:moveTo>
                  <a:lnTo>
                    <a:pt x="1086" y="381"/>
                  </a:lnTo>
                  <a:lnTo>
                    <a:pt x="1086" y="377"/>
                  </a:lnTo>
                  <a:lnTo>
                    <a:pt x="1089" y="375"/>
                  </a:lnTo>
                  <a:close/>
                  <a:moveTo>
                    <a:pt x="818" y="372"/>
                  </a:moveTo>
                  <a:lnTo>
                    <a:pt x="819" y="375"/>
                  </a:lnTo>
                  <a:lnTo>
                    <a:pt x="816" y="374"/>
                  </a:lnTo>
                  <a:lnTo>
                    <a:pt x="818" y="372"/>
                  </a:lnTo>
                  <a:close/>
                  <a:moveTo>
                    <a:pt x="824" y="372"/>
                  </a:moveTo>
                  <a:lnTo>
                    <a:pt x="826" y="372"/>
                  </a:lnTo>
                  <a:lnTo>
                    <a:pt x="826" y="375"/>
                  </a:lnTo>
                  <a:lnTo>
                    <a:pt x="824" y="375"/>
                  </a:lnTo>
                  <a:lnTo>
                    <a:pt x="824" y="372"/>
                  </a:lnTo>
                  <a:close/>
                  <a:moveTo>
                    <a:pt x="821" y="370"/>
                  </a:moveTo>
                  <a:lnTo>
                    <a:pt x="824" y="370"/>
                  </a:lnTo>
                  <a:lnTo>
                    <a:pt x="824" y="372"/>
                  </a:lnTo>
                  <a:lnTo>
                    <a:pt x="821" y="372"/>
                  </a:lnTo>
                  <a:lnTo>
                    <a:pt x="821" y="370"/>
                  </a:lnTo>
                  <a:close/>
                  <a:moveTo>
                    <a:pt x="1087" y="369"/>
                  </a:moveTo>
                  <a:lnTo>
                    <a:pt x="1089" y="369"/>
                  </a:lnTo>
                  <a:lnTo>
                    <a:pt x="1089" y="370"/>
                  </a:lnTo>
                  <a:lnTo>
                    <a:pt x="1084" y="370"/>
                  </a:lnTo>
                  <a:lnTo>
                    <a:pt x="1086" y="369"/>
                  </a:lnTo>
                  <a:lnTo>
                    <a:pt x="1087" y="369"/>
                  </a:lnTo>
                  <a:close/>
                  <a:moveTo>
                    <a:pt x="826" y="367"/>
                  </a:moveTo>
                  <a:lnTo>
                    <a:pt x="828" y="367"/>
                  </a:lnTo>
                  <a:lnTo>
                    <a:pt x="828" y="369"/>
                  </a:lnTo>
                  <a:lnTo>
                    <a:pt x="826" y="369"/>
                  </a:lnTo>
                  <a:lnTo>
                    <a:pt x="826" y="367"/>
                  </a:lnTo>
                  <a:close/>
                  <a:moveTo>
                    <a:pt x="1081" y="365"/>
                  </a:moveTo>
                  <a:lnTo>
                    <a:pt x="1084" y="365"/>
                  </a:lnTo>
                  <a:lnTo>
                    <a:pt x="1084" y="369"/>
                  </a:lnTo>
                  <a:lnTo>
                    <a:pt x="1081" y="369"/>
                  </a:lnTo>
                  <a:lnTo>
                    <a:pt x="1081" y="365"/>
                  </a:lnTo>
                  <a:close/>
                  <a:moveTo>
                    <a:pt x="1086" y="365"/>
                  </a:moveTo>
                  <a:lnTo>
                    <a:pt x="1087" y="365"/>
                  </a:lnTo>
                  <a:lnTo>
                    <a:pt x="1087" y="367"/>
                  </a:lnTo>
                  <a:lnTo>
                    <a:pt x="1086" y="367"/>
                  </a:lnTo>
                  <a:lnTo>
                    <a:pt x="1086" y="365"/>
                  </a:lnTo>
                  <a:close/>
                  <a:moveTo>
                    <a:pt x="1016" y="362"/>
                  </a:moveTo>
                  <a:lnTo>
                    <a:pt x="1021" y="362"/>
                  </a:lnTo>
                  <a:lnTo>
                    <a:pt x="1021" y="363"/>
                  </a:lnTo>
                  <a:lnTo>
                    <a:pt x="1022" y="365"/>
                  </a:lnTo>
                  <a:lnTo>
                    <a:pt x="1021" y="370"/>
                  </a:lnTo>
                  <a:lnTo>
                    <a:pt x="1017" y="372"/>
                  </a:lnTo>
                  <a:lnTo>
                    <a:pt x="1016" y="370"/>
                  </a:lnTo>
                  <a:lnTo>
                    <a:pt x="1016" y="362"/>
                  </a:lnTo>
                  <a:close/>
                  <a:moveTo>
                    <a:pt x="831" y="360"/>
                  </a:moveTo>
                  <a:lnTo>
                    <a:pt x="833" y="360"/>
                  </a:lnTo>
                  <a:lnTo>
                    <a:pt x="833" y="362"/>
                  </a:lnTo>
                  <a:lnTo>
                    <a:pt x="831" y="362"/>
                  </a:lnTo>
                  <a:lnTo>
                    <a:pt x="831" y="360"/>
                  </a:lnTo>
                  <a:close/>
                  <a:moveTo>
                    <a:pt x="847" y="360"/>
                  </a:moveTo>
                  <a:lnTo>
                    <a:pt x="847" y="365"/>
                  </a:lnTo>
                  <a:lnTo>
                    <a:pt x="847" y="360"/>
                  </a:lnTo>
                  <a:close/>
                  <a:moveTo>
                    <a:pt x="1086" y="360"/>
                  </a:moveTo>
                  <a:lnTo>
                    <a:pt x="1089" y="360"/>
                  </a:lnTo>
                  <a:lnTo>
                    <a:pt x="1089" y="362"/>
                  </a:lnTo>
                  <a:lnTo>
                    <a:pt x="1086" y="362"/>
                  </a:lnTo>
                  <a:lnTo>
                    <a:pt x="1086" y="360"/>
                  </a:lnTo>
                  <a:close/>
                  <a:moveTo>
                    <a:pt x="1075" y="358"/>
                  </a:moveTo>
                  <a:lnTo>
                    <a:pt x="1079" y="362"/>
                  </a:lnTo>
                  <a:lnTo>
                    <a:pt x="1081" y="360"/>
                  </a:lnTo>
                  <a:lnTo>
                    <a:pt x="1082" y="365"/>
                  </a:lnTo>
                  <a:lnTo>
                    <a:pt x="1081" y="369"/>
                  </a:lnTo>
                  <a:lnTo>
                    <a:pt x="1075" y="369"/>
                  </a:lnTo>
                  <a:lnTo>
                    <a:pt x="1075" y="365"/>
                  </a:lnTo>
                  <a:lnTo>
                    <a:pt x="1072" y="362"/>
                  </a:lnTo>
                  <a:lnTo>
                    <a:pt x="1072" y="360"/>
                  </a:lnTo>
                  <a:lnTo>
                    <a:pt x="1075" y="358"/>
                  </a:lnTo>
                  <a:close/>
                  <a:moveTo>
                    <a:pt x="848" y="358"/>
                  </a:moveTo>
                  <a:lnTo>
                    <a:pt x="848" y="363"/>
                  </a:lnTo>
                  <a:lnTo>
                    <a:pt x="847" y="358"/>
                  </a:lnTo>
                  <a:lnTo>
                    <a:pt x="848" y="358"/>
                  </a:lnTo>
                  <a:close/>
                  <a:moveTo>
                    <a:pt x="777" y="363"/>
                  </a:moveTo>
                  <a:lnTo>
                    <a:pt x="775" y="363"/>
                  </a:lnTo>
                  <a:lnTo>
                    <a:pt x="773" y="360"/>
                  </a:lnTo>
                  <a:lnTo>
                    <a:pt x="777" y="358"/>
                  </a:lnTo>
                  <a:lnTo>
                    <a:pt x="777" y="363"/>
                  </a:lnTo>
                  <a:close/>
                  <a:moveTo>
                    <a:pt x="785" y="355"/>
                  </a:moveTo>
                  <a:lnTo>
                    <a:pt x="785" y="357"/>
                  </a:lnTo>
                  <a:lnTo>
                    <a:pt x="785" y="355"/>
                  </a:lnTo>
                  <a:close/>
                  <a:moveTo>
                    <a:pt x="840" y="346"/>
                  </a:moveTo>
                  <a:lnTo>
                    <a:pt x="842" y="346"/>
                  </a:lnTo>
                  <a:lnTo>
                    <a:pt x="842" y="350"/>
                  </a:lnTo>
                  <a:lnTo>
                    <a:pt x="840" y="350"/>
                  </a:lnTo>
                  <a:lnTo>
                    <a:pt x="840" y="346"/>
                  </a:lnTo>
                  <a:close/>
                  <a:moveTo>
                    <a:pt x="790" y="343"/>
                  </a:moveTo>
                  <a:lnTo>
                    <a:pt x="794" y="343"/>
                  </a:lnTo>
                  <a:lnTo>
                    <a:pt x="794" y="345"/>
                  </a:lnTo>
                  <a:lnTo>
                    <a:pt x="790" y="345"/>
                  </a:lnTo>
                  <a:lnTo>
                    <a:pt x="790" y="343"/>
                  </a:lnTo>
                  <a:close/>
                  <a:moveTo>
                    <a:pt x="838" y="343"/>
                  </a:moveTo>
                  <a:lnTo>
                    <a:pt x="838" y="350"/>
                  </a:lnTo>
                  <a:lnTo>
                    <a:pt x="836" y="350"/>
                  </a:lnTo>
                  <a:lnTo>
                    <a:pt x="838" y="346"/>
                  </a:lnTo>
                  <a:lnTo>
                    <a:pt x="836" y="350"/>
                  </a:lnTo>
                  <a:lnTo>
                    <a:pt x="840" y="351"/>
                  </a:lnTo>
                  <a:lnTo>
                    <a:pt x="840" y="350"/>
                  </a:lnTo>
                  <a:lnTo>
                    <a:pt x="842" y="350"/>
                  </a:lnTo>
                  <a:lnTo>
                    <a:pt x="842" y="348"/>
                  </a:lnTo>
                  <a:lnTo>
                    <a:pt x="843" y="358"/>
                  </a:lnTo>
                  <a:lnTo>
                    <a:pt x="845" y="362"/>
                  </a:lnTo>
                  <a:lnTo>
                    <a:pt x="845" y="358"/>
                  </a:lnTo>
                  <a:lnTo>
                    <a:pt x="847" y="358"/>
                  </a:lnTo>
                  <a:lnTo>
                    <a:pt x="847" y="360"/>
                  </a:lnTo>
                  <a:lnTo>
                    <a:pt x="845" y="363"/>
                  </a:lnTo>
                  <a:lnTo>
                    <a:pt x="847" y="365"/>
                  </a:lnTo>
                  <a:lnTo>
                    <a:pt x="845" y="365"/>
                  </a:lnTo>
                  <a:lnTo>
                    <a:pt x="845" y="369"/>
                  </a:lnTo>
                  <a:lnTo>
                    <a:pt x="848" y="365"/>
                  </a:lnTo>
                  <a:lnTo>
                    <a:pt x="850" y="367"/>
                  </a:lnTo>
                  <a:lnTo>
                    <a:pt x="850" y="372"/>
                  </a:lnTo>
                  <a:lnTo>
                    <a:pt x="848" y="375"/>
                  </a:lnTo>
                  <a:lnTo>
                    <a:pt x="847" y="384"/>
                  </a:lnTo>
                  <a:lnTo>
                    <a:pt x="840" y="386"/>
                  </a:lnTo>
                  <a:lnTo>
                    <a:pt x="840" y="379"/>
                  </a:lnTo>
                  <a:lnTo>
                    <a:pt x="838" y="379"/>
                  </a:lnTo>
                  <a:lnTo>
                    <a:pt x="838" y="382"/>
                  </a:lnTo>
                  <a:lnTo>
                    <a:pt x="836" y="386"/>
                  </a:lnTo>
                  <a:lnTo>
                    <a:pt x="836" y="381"/>
                  </a:lnTo>
                  <a:lnTo>
                    <a:pt x="833" y="381"/>
                  </a:lnTo>
                  <a:lnTo>
                    <a:pt x="833" y="374"/>
                  </a:lnTo>
                  <a:lnTo>
                    <a:pt x="836" y="372"/>
                  </a:lnTo>
                  <a:lnTo>
                    <a:pt x="833" y="365"/>
                  </a:lnTo>
                  <a:lnTo>
                    <a:pt x="835" y="362"/>
                  </a:lnTo>
                  <a:lnTo>
                    <a:pt x="836" y="362"/>
                  </a:lnTo>
                  <a:lnTo>
                    <a:pt x="838" y="372"/>
                  </a:lnTo>
                  <a:lnTo>
                    <a:pt x="838" y="374"/>
                  </a:lnTo>
                  <a:lnTo>
                    <a:pt x="838" y="370"/>
                  </a:lnTo>
                  <a:lnTo>
                    <a:pt x="836" y="362"/>
                  </a:lnTo>
                  <a:lnTo>
                    <a:pt x="836" y="360"/>
                  </a:lnTo>
                  <a:lnTo>
                    <a:pt x="835" y="362"/>
                  </a:lnTo>
                  <a:lnTo>
                    <a:pt x="835" y="358"/>
                  </a:lnTo>
                  <a:lnTo>
                    <a:pt x="831" y="357"/>
                  </a:lnTo>
                  <a:lnTo>
                    <a:pt x="831" y="351"/>
                  </a:lnTo>
                  <a:lnTo>
                    <a:pt x="830" y="353"/>
                  </a:lnTo>
                  <a:lnTo>
                    <a:pt x="830" y="348"/>
                  </a:lnTo>
                  <a:lnTo>
                    <a:pt x="826" y="343"/>
                  </a:lnTo>
                  <a:lnTo>
                    <a:pt x="833" y="346"/>
                  </a:lnTo>
                  <a:lnTo>
                    <a:pt x="835" y="345"/>
                  </a:lnTo>
                  <a:lnTo>
                    <a:pt x="838" y="343"/>
                  </a:lnTo>
                  <a:close/>
                  <a:moveTo>
                    <a:pt x="785" y="341"/>
                  </a:moveTo>
                  <a:lnTo>
                    <a:pt x="787" y="343"/>
                  </a:lnTo>
                  <a:lnTo>
                    <a:pt x="790" y="343"/>
                  </a:lnTo>
                  <a:lnTo>
                    <a:pt x="790" y="345"/>
                  </a:lnTo>
                  <a:lnTo>
                    <a:pt x="792" y="346"/>
                  </a:lnTo>
                  <a:lnTo>
                    <a:pt x="789" y="350"/>
                  </a:lnTo>
                  <a:lnTo>
                    <a:pt x="787" y="343"/>
                  </a:lnTo>
                  <a:lnTo>
                    <a:pt x="785" y="343"/>
                  </a:lnTo>
                  <a:lnTo>
                    <a:pt x="783" y="341"/>
                  </a:lnTo>
                  <a:lnTo>
                    <a:pt x="785" y="341"/>
                  </a:lnTo>
                  <a:close/>
                  <a:moveTo>
                    <a:pt x="838" y="340"/>
                  </a:moveTo>
                  <a:lnTo>
                    <a:pt x="842" y="340"/>
                  </a:lnTo>
                  <a:lnTo>
                    <a:pt x="842" y="343"/>
                  </a:lnTo>
                  <a:lnTo>
                    <a:pt x="838" y="343"/>
                  </a:lnTo>
                  <a:lnTo>
                    <a:pt x="838" y="340"/>
                  </a:lnTo>
                  <a:close/>
                  <a:moveTo>
                    <a:pt x="753" y="341"/>
                  </a:moveTo>
                  <a:lnTo>
                    <a:pt x="754" y="341"/>
                  </a:lnTo>
                  <a:lnTo>
                    <a:pt x="754" y="343"/>
                  </a:lnTo>
                  <a:lnTo>
                    <a:pt x="753" y="343"/>
                  </a:lnTo>
                  <a:lnTo>
                    <a:pt x="753" y="341"/>
                  </a:lnTo>
                  <a:close/>
                  <a:moveTo>
                    <a:pt x="1060" y="340"/>
                  </a:moveTo>
                  <a:lnTo>
                    <a:pt x="1065" y="340"/>
                  </a:lnTo>
                  <a:lnTo>
                    <a:pt x="1067" y="341"/>
                  </a:lnTo>
                  <a:lnTo>
                    <a:pt x="1069" y="341"/>
                  </a:lnTo>
                  <a:lnTo>
                    <a:pt x="1070" y="343"/>
                  </a:lnTo>
                  <a:lnTo>
                    <a:pt x="1070" y="341"/>
                  </a:lnTo>
                  <a:lnTo>
                    <a:pt x="1072" y="343"/>
                  </a:lnTo>
                  <a:lnTo>
                    <a:pt x="1075" y="341"/>
                  </a:lnTo>
                  <a:lnTo>
                    <a:pt x="1075" y="345"/>
                  </a:lnTo>
                  <a:lnTo>
                    <a:pt x="1079" y="343"/>
                  </a:lnTo>
                  <a:lnTo>
                    <a:pt x="1081" y="346"/>
                  </a:lnTo>
                  <a:lnTo>
                    <a:pt x="1082" y="346"/>
                  </a:lnTo>
                  <a:lnTo>
                    <a:pt x="1084" y="351"/>
                  </a:lnTo>
                  <a:lnTo>
                    <a:pt x="1081" y="353"/>
                  </a:lnTo>
                  <a:lnTo>
                    <a:pt x="1079" y="357"/>
                  </a:lnTo>
                  <a:lnTo>
                    <a:pt x="1081" y="357"/>
                  </a:lnTo>
                  <a:lnTo>
                    <a:pt x="1079" y="360"/>
                  </a:lnTo>
                  <a:lnTo>
                    <a:pt x="1075" y="358"/>
                  </a:lnTo>
                  <a:lnTo>
                    <a:pt x="1072" y="360"/>
                  </a:lnTo>
                  <a:lnTo>
                    <a:pt x="1072" y="358"/>
                  </a:lnTo>
                  <a:lnTo>
                    <a:pt x="1069" y="357"/>
                  </a:lnTo>
                  <a:lnTo>
                    <a:pt x="1067" y="358"/>
                  </a:lnTo>
                  <a:lnTo>
                    <a:pt x="1062" y="350"/>
                  </a:lnTo>
                  <a:lnTo>
                    <a:pt x="1058" y="350"/>
                  </a:lnTo>
                  <a:lnTo>
                    <a:pt x="1057" y="341"/>
                  </a:lnTo>
                  <a:lnTo>
                    <a:pt x="1058" y="340"/>
                  </a:lnTo>
                  <a:lnTo>
                    <a:pt x="1060" y="340"/>
                  </a:lnTo>
                  <a:close/>
                  <a:moveTo>
                    <a:pt x="1033" y="340"/>
                  </a:moveTo>
                  <a:lnTo>
                    <a:pt x="1034" y="341"/>
                  </a:lnTo>
                  <a:lnTo>
                    <a:pt x="1033" y="345"/>
                  </a:lnTo>
                  <a:lnTo>
                    <a:pt x="1028" y="346"/>
                  </a:lnTo>
                  <a:lnTo>
                    <a:pt x="1026" y="350"/>
                  </a:lnTo>
                  <a:lnTo>
                    <a:pt x="1022" y="346"/>
                  </a:lnTo>
                  <a:lnTo>
                    <a:pt x="1022" y="345"/>
                  </a:lnTo>
                  <a:lnTo>
                    <a:pt x="1026" y="345"/>
                  </a:lnTo>
                  <a:lnTo>
                    <a:pt x="1029" y="340"/>
                  </a:lnTo>
                  <a:lnTo>
                    <a:pt x="1033" y="340"/>
                  </a:lnTo>
                  <a:close/>
                  <a:moveTo>
                    <a:pt x="1077" y="338"/>
                  </a:moveTo>
                  <a:lnTo>
                    <a:pt x="1079" y="338"/>
                  </a:lnTo>
                  <a:lnTo>
                    <a:pt x="1079" y="341"/>
                  </a:lnTo>
                  <a:lnTo>
                    <a:pt x="1077" y="341"/>
                  </a:lnTo>
                  <a:lnTo>
                    <a:pt x="1077" y="338"/>
                  </a:lnTo>
                  <a:close/>
                  <a:moveTo>
                    <a:pt x="1050" y="340"/>
                  </a:moveTo>
                  <a:lnTo>
                    <a:pt x="1051" y="341"/>
                  </a:lnTo>
                  <a:lnTo>
                    <a:pt x="1050" y="338"/>
                  </a:lnTo>
                  <a:lnTo>
                    <a:pt x="1053" y="336"/>
                  </a:lnTo>
                  <a:lnTo>
                    <a:pt x="1053" y="338"/>
                  </a:lnTo>
                  <a:lnTo>
                    <a:pt x="1057" y="340"/>
                  </a:lnTo>
                  <a:lnTo>
                    <a:pt x="1057" y="348"/>
                  </a:lnTo>
                  <a:lnTo>
                    <a:pt x="1058" y="350"/>
                  </a:lnTo>
                  <a:lnTo>
                    <a:pt x="1062" y="350"/>
                  </a:lnTo>
                  <a:lnTo>
                    <a:pt x="1067" y="358"/>
                  </a:lnTo>
                  <a:lnTo>
                    <a:pt x="1069" y="357"/>
                  </a:lnTo>
                  <a:lnTo>
                    <a:pt x="1072" y="358"/>
                  </a:lnTo>
                  <a:lnTo>
                    <a:pt x="1070" y="362"/>
                  </a:lnTo>
                  <a:lnTo>
                    <a:pt x="1075" y="365"/>
                  </a:lnTo>
                  <a:lnTo>
                    <a:pt x="1075" y="367"/>
                  </a:lnTo>
                  <a:lnTo>
                    <a:pt x="1075" y="369"/>
                  </a:lnTo>
                  <a:lnTo>
                    <a:pt x="1077" y="370"/>
                  </a:lnTo>
                  <a:lnTo>
                    <a:pt x="1075" y="372"/>
                  </a:lnTo>
                  <a:lnTo>
                    <a:pt x="1079" y="372"/>
                  </a:lnTo>
                  <a:lnTo>
                    <a:pt x="1084" y="374"/>
                  </a:lnTo>
                  <a:lnTo>
                    <a:pt x="1084" y="375"/>
                  </a:lnTo>
                  <a:lnTo>
                    <a:pt x="1084" y="379"/>
                  </a:lnTo>
                  <a:lnTo>
                    <a:pt x="1081" y="379"/>
                  </a:lnTo>
                  <a:lnTo>
                    <a:pt x="1081" y="381"/>
                  </a:lnTo>
                  <a:lnTo>
                    <a:pt x="1079" y="379"/>
                  </a:lnTo>
                  <a:lnTo>
                    <a:pt x="1081" y="377"/>
                  </a:lnTo>
                  <a:lnTo>
                    <a:pt x="1077" y="379"/>
                  </a:lnTo>
                  <a:lnTo>
                    <a:pt x="1077" y="381"/>
                  </a:lnTo>
                  <a:lnTo>
                    <a:pt x="1082" y="384"/>
                  </a:lnTo>
                  <a:lnTo>
                    <a:pt x="1081" y="384"/>
                  </a:lnTo>
                  <a:lnTo>
                    <a:pt x="1082" y="387"/>
                  </a:lnTo>
                  <a:lnTo>
                    <a:pt x="1081" y="389"/>
                  </a:lnTo>
                  <a:lnTo>
                    <a:pt x="1074" y="386"/>
                  </a:lnTo>
                  <a:lnTo>
                    <a:pt x="1072" y="384"/>
                  </a:lnTo>
                  <a:lnTo>
                    <a:pt x="1072" y="382"/>
                  </a:lnTo>
                  <a:lnTo>
                    <a:pt x="1069" y="382"/>
                  </a:lnTo>
                  <a:lnTo>
                    <a:pt x="1069" y="379"/>
                  </a:lnTo>
                  <a:lnTo>
                    <a:pt x="1065" y="384"/>
                  </a:lnTo>
                  <a:lnTo>
                    <a:pt x="1057" y="382"/>
                  </a:lnTo>
                  <a:lnTo>
                    <a:pt x="1053" y="386"/>
                  </a:lnTo>
                  <a:lnTo>
                    <a:pt x="1048" y="387"/>
                  </a:lnTo>
                  <a:lnTo>
                    <a:pt x="1045" y="392"/>
                  </a:lnTo>
                  <a:lnTo>
                    <a:pt x="1043" y="394"/>
                  </a:lnTo>
                  <a:lnTo>
                    <a:pt x="1038" y="394"/>
                  </a:lnTo>
                  <a:lnTo>
                    <a:pt x="1034" y="396"/>
                  </a:lnTo>
                  <a:lnTo>
                    <a:pt x="1031" y="394"/>
                  </a:lnTo>
                  <a:lnTo>
                    <a:pt x="1028" y="394"/>
                  </a:lnTo>
                  <a:lnTo>
                    <a:pt x="1033" y="386"/>
                  </a:lnTo>
                  <a:lnTo>
                    <a:pt x="1028" y="382"/>
                  </a:lnTo>
                  <a:lnTo>
                    <a:pt x="1028" y="379"/>
                  </a:lnTo>
                  <a:lnTo>
                    <a:pt x="1031" y="381"/>
                  </a:lnTo>
                  <a:lnTo>
                    <a:pt x="1033" y="377"/>
                  </a:lnTo>
                  <a:lnTo>
                    <a:pt x="1033" y="375"/>
                  </a:lnTo>
                  <a:lnTo>
                    <a:pt x="1036" y="374"/>
                  </a:lnTo>
                  <a:lnTo>
                    <a:pt x="1038" y="372"/>
                  </a:lnTo>
                  <a:lnTo>
                    <a:pt x="1036" y="370"/>
                  </a:lnTo>
                  <a:lnTo>
                    <a:pt x="1038" y="370"/>
                  </a:lnTo>
                  <a:lnTo>
                    <a:pt x="1036" y="370"/>
                  </a:lnTo>
                  <a:lnTo>
                    <a:pt x="1038" y="367"/>
                  </a:lnTo>
                  <a:lnTo>
                    <a:pt x="1043" y="365"/>
                  </a:lnTo>
                  <a:lnTo>
                    <a:pt x="1045" y="367"/>
                  </a:lnTo>
                  <a:lnTo>
                    <a:pt x="1043" y="365"/>
                  </a:lnTo>
                  <a:lnTo>
                    <a:pt x="1040" y="367"/>
                  </a:lnTo>
                  <a:lnTo>
                    <a:pt x="1036" y="363"/>
                  </a:lnTo>
                  <a:lnTo>
                    <a:pt x="1033" y="367"/>
                  </a:lnTo>
                  <a:lnTo>
                    <a:pt x="1031" y="363"/>
                  </a:lnTo>
                  <a:lnTo>
                    <a:pt x="1029" y="363"/>
                  </a:lnTo>
                  <a:lnTo>
                    <a:pt x="1031" y="362"/>
                  </a:lnTo>
                  <a:lnTo>
                    <a:pt x="1028" y="362"/>
                  </a:lnTo>
                  <a:lnTo>
                    <a:pt x="1024" y="363"/>
                  </a:lnTo>
                  <a:lnTo>
                    <a:pt x="1019" y="358"/>
                  </a:lnTo>
                  <a:lnTo>
                    <a:pt x="1019" y="357"/>
                  </a:lnTo>
                  <a:lnTo>
                    <a:pt x="1022" y="351"/>
                  </a:lnTo>
                  <a:lnTo>
                    <a:pt x="1026" y="353"/>
                  </a:lnTo>
                  <a:lnTo>
                    <a:pt x="1026" y="355"/>
                  </a:lnTo>
                  <a:lnTo>
                    <a:pt x="1028" y="353"/>
                  </a:lnTo>
                  <a:lnTo>
                    <a:pt x="1031" y="358"/>
                  </a:lnTo>
                  <a:lnTo>
                    <a:pt x="1034" y="358"/>
                  </a:lnTo>
                  <a:lnTo>
                    <a:pt x="1036" y="357"/>
                  </a:lnTo>
                  <a:lnTo>
                    <a:pt x="1034" y="353"/>
                  </a:lnTo>
                  <a:lnTo>
                    <a:pt x="1043" y="348"/>
                  </a:lnTo>
                  <a:lnTo>
                    <a:pt x="1045" y="343"/>
                  </a:lnTo>
                  <a:lnTo>
                    <a:pt x="1043" y="343"/>
                  </a:lnTo>
                  <a:lnTo>
                    <a:pt x="1046" y="341"/>
                  </a:lnTo>
                  <a:lnTo>
                    <a:pt x="1046" y="336"/>
                  </a:lnTo>
                  <a:lnTo>
                    <a:pt x="1050" y="340"/>
                  </a:lnTo>
                  <a:close/>
                  <a:moveTo>
                    <a:pt x="842" y="334"/>
                  </a:moveTo>
                  <a:lnTo>
                    <a:pt x="843" y="336"/>
                  </a:lnTo>
                  <a:lnTo>
                    <a:pt x="842" y="338"/>
                  </a:lnTo>
                  <a:lnTo>
                    <a:pt x="838" y="338"/>
                  </a:lnTo>
                  <a:lnTo>
                    <a:pt x="836" y="336"/>
                  </a:lnTo>
                  <a:lnTo>
                    <a:pt x="842" y="334"/>
                  </a:lnTo>
                  <a:close/>
                  <a:moveTo>
                    <a:pt x="848" y="340"/>
                  </a:moveTo>
                  <a:lnTo>
                    <a:pt x="852" y="338"/>
                  </a:lnTo>
                  <a:lnTo>
                    <a:pt x="848" y="345"/>
                  </a:lnTo>
                  <a:lnTo>
                    <a:pt x="852" y="353"/>
                  </a:lnTo>
                  <a:lnTo>
                    <a:pt x="848" y="355"/>
                  </a:lnTo>
                  <a:lnTo>
                    <a:pt x="848" y="350"/>
                  </a:lnTo>
                  <a:lnTo>
                    <a:pt x="847" y="355"/>
                  </a:lnTo>
                  <a:lnTo>
                    <a:pt x="845" y="351"/>
                  </a:lnTo>
                  <a:lnTo>
                    <a:pt x="843" y="353"/>
                  </a:lnTo>
                  <a:lnTo>
                    <a:pt x="842" y="348"/>
                  </a:lnTo>
                  <a:lnTo>
                    <a:pt x="843" y="340"/>
                  </a:lnTo>
                  <a:lnTo>
                    <a:pt x="847" y="336"/>
                  </a:lnTo>
                  <a:lnTo>
                    <a:pt x="850" y="334"/>
                  </a:lnTo>
                  <a:lnTo>
                    <a:pt x="848" y="340"/>
                  </a:lnTo>
                  <a:close/>
                  <a:moveTo>
                    <a:pt x="792" y="334"/>
                  </a:moveTo>
                  <a:lnTo>
                    <a:pt x="795" y="334"/>
                  </a:lnTo>
                  <a:lnTo>
                    <a:pt x="795" y="338"/>
                  </a:lnTo>
                  <a:lnTo>
                    <a:pt x="799" y="336"/>
                  </a:lnTo>
                  <a:lnTo>
                    <a:pt x="799" y="338"/>
                  </a:lnTo>
                  <a:lnTo>
                    <a:pt x="797" y="340"/>
                  </a:lnTo>
                  <a:lnTo>
                    <a:pt x="795" y="341"/>
                  </a:lnTo>
                  <a:lnTo>
                    <a:pt x="792" y="341"/>
                  </a:lnTo>
                  <a:lnTo>
                    <a:pt x="790" y="334"/>
                  </a:lnTo>
                  <a:lnTo>
                    <a:pt x="792" y="334"/>
                  </a:lnTo>
                  <a:close/>
                  <a:moveTo>
                    <a:pt x="1051" y="333"/>
                  </a:moveTo>
                  <a:lnTo>
                    <a:pt x="1055" y="333"/>
                  </a:lnTo>
                  <a:lnTo>
                    <a:pt x="1055" y="334"/>
                  </a:lnTo>
                  <a:lnTo>
                    <a:pt x="1051" y="334"/>
                  </a:lnTo>
                  <a:lnTo>
                    <a:pt x="1051" y="333"/>
                  </a:lnTo>
                  <a:close/>
                  <a:moveTo>
                    <a:pt x="1026" y="329"/>
                  </a:moveTo>
                  <a:lnTo>
                    <a:pt x="1028" y="334"/>
                  </a:lnTo>
                  <a:lnTo>
                    <a:pt x="1024" y="338"/>
                  </a:lnTo>
                  <a:lnTo>
                    <a:pt x="1022" y="331"/>
                  </a:lnTo>
                  <a:lnTo>
                    <a:pt x="1026" y="329"/>
                  </a:lnTo>
                  <a:close/>
                  <a:moveTo>
                    <a:pt x="843" y="333"/>
                  </a:moveTo>
                  <a:lnTo>
                    <a:pt x="843" y="331"/>
                  </a:lnTo>
                  <a:lnTo>
                    <a:pt x="845" y="329"/>
                  </a:lnTo>
                  <a:lnTo>
                    <a:pt x="843" y="333"/>
                  </a:lnTo>
                  <a:close/>
                  <a:moveTo>
                    <a:pt x="1074" y="328"/>
                  </a:moveTo>
                  <a:lnTo>
                    <a:pt x="1074" y="329"/>
                  </a:lnTo>
                  <a:lnTo>
                    <a:pt x="1074" y="328"/>
                  </a:lnTo>
                  <a:close/>
                  <a:moveTo>
                    <a:pt x="1074" y="326"/>
                  </a:moveTo>
                  <a:lnTo>
                    <a:pt x="1072" y="329"/>
                  </a:lnTo>
                  <a:lnTo>
                    <a:pt x="1072" y="324"/>
                  </a:lnTo>
                  <a:lnTo>
                    <a:pt x="1074" y="326"/>
                  </a:lnTo>
                  <a:close/>
                  <a:moveTo>
                    <a:pt x="840" y="324"/>
                  </a:moveTo>
                  <a:lnTo>
                    <a:pt x="840" y="326"/>
                  </a:lnTo>
                  <a:lnTo>
                    <a:pt x="840" y="324"/>
                  </a:lnTo>
                  <a:close/>
                  <a:moveTo>
                    <a:pt x="1051" y="322"/>
                  </a:moveTo>
                  <a:lnTo>
                    <a:pt x="1048" y="328"/>
                  </a:lnTo>
                  <a:lnTo>
                    <a:pt x="1050" y="324"/>
                  </a:lnTo>
                  <a:lnTo>
                    <a:pt x="1051" y="322"/>
                  </a:lnTo>
                  <a:close/>
                  <a:moveTo>
                    <a:pt x="1063" y="322"/>
                  </a:moveTo>
                  <a:lnTo>
                    <a:pt x="1065" y="322"/>
                  </a:lnTo>
                  <a:lnTo>
                    <a:pt x="1065" y="326"/>
                  </a:lnTo>
                  <a:lnTo>
                    <a:pt x="1067" y="324"/>
                  </a:lnTo>
                  <a:lnTo>
                    <a:pt x="1067" y="322"/>
                  </a:lnTo>
                  <a:lnTo>
                    <a:pt x="1070" y="324"/>
                  </a:lnTo>
                  <a:lnTo>
                    <a:pt x="1072" y="331"/>
                  </a:lnTo>
                  <a:lnTo>
                    <a:pt x="1072" y="329"/>
                  </a:lnTo>
                  <a:lnTo>
                    <a:pt x="1075" y="333"/>
                  </a:lnTo>
                  <a:lnTo>
                    <a:pt x="1077" y="333"/>
                  </a:lnTo>
                  <a:lnTo>
                    <a:pt x="1077" y="338"/>
                  </a:lnTo>
                  <a:lnTo>
                    <a:pt x="1074" y="336"/>
                  </a:lnTo>
                  <a:lnTo>
                    <a:pt x="1075" y="340"/>
                  </a:lnTo>
                  <a:lnTo>
                    <a:pt x="1072" y="340"/>
                  </a:lnTo>
                  <a:lnTo>
                    <a:pt x="1070" y="340"/>
                  </a:lnTo>
                  <a:lnTo>
                    <a:pt x="1067" y="341"/>
                  </a:lnTo>
                  <a:lnTo>
                    <a:pt x="1065" y="340"/>
                  </a:lnTo>
                  <a:lnTo>
                    <a:pt x="1058" y="338"/>
                  </a:lnTo>
                  <a:lnTo>
                    <a:pt x="1057" y="340"/>
                  </a:lnTo>
                  <a:lnTo>
                    <a:pt x="1055" y="338"/>
                  </a:lnTo>
                  <a:lnTo>
                    <a:pt x="1053" y="338"/>
                  </a:lnTo>
                  <a:lnTo>
                    <a:pt x="1055" y="333"/>
                  </a:lnTo>
                  <a:lnTo>
                    <a:pt x="1051" y="333"/>
                  </a:lnTo>
                  <a:lnTo>
                    <a:pt x="1051" y="331"/>
                  </a:lnTo>
                  <a:lnTo>
                    <a:pt x="1057" y="331"/>
                  </a:lnTo>
                  <a:lnTo>
                    <a:pt x="1057" y="329"/>
                  </a:lnTo>
                  <a:lnTo>
                    <a:pt x="1051" y="329"/>
                  </a:lnTo>
                  <a:lnTo>
                    <a:pt x="1053" y="328"/>
                  </a:lnTo>
                  <a:lnTo>
                    <a:pt x="1051" y="322"/>
                  </a:lnTo>
                  <a:lnTo>
                    <a:pt x="1055" y="322"/>
                  </a:lnTo>
                  <a:lnTo>
                    <a:pt x="1060" y="326"/>
                  </a:lnTo>
                  <a:lnTo>
                    <a:pt x="1060" y="324"/>
                  </a:lnTo>
                  <a:lnTo>
                    <a:pt x="1062" y="324"/>
                  </a:lnTo>
                  <a:lnTo>
                    <a:pt x="1060" y="322"/>
                  </a:lnTo>
                  <a:lnTo>
                    <a:pt x="1063" y="322"/>
                  </a:lnTo>
                  <a:close/>
                  <a:moveTo>
                    <a:pt x="1070" y="317"/>
                  </a:moveTo>
                  <a:lnTo>
                    <a:pt x="1074" y="317"/>
                  </a:lnTo>
                  <a:lnTo>
                    <a:pt x="1074" y="319"/>
                  </a:lnTo>
                  <a:lnTo>
                    <a:pt x="1070" y="319"/>
                  </a:lnTo>
                  <a:lnTo>
                    <a:pt x="1070" y="317"/>
                  </a:lnTo>
                  <a:close/>
                  <a:moveTo>
                    <a:pt x="1063" y="317"/>
                  </a:moveTo>
                  <a:lnTo>
                    <a:pt x="1067" y="317"/>
                  </a:lnTo>
                  <a:lnTo>
                    <a:pt x="1067" y="321"/>
                  </a:lnTo>
                  <a:lnTo>
                    <a:pt x="1063" y="321"/>
                  </a:lnTo>
                  <a:lnTo>
                    <a:pt x="1063" y="317"/>
                  </a:lnTo>
                  <a:close/>
                  <a:moveTo>
                    <a:pt x="1065" y="314"/>
                  </a:moveTo>
                  <a:lnTo>
                    <a:pt x="1063" y="319"/>
                  </a:lnTo>
                  <a:lnTo>
                    <a:pt x="1060" y="319"/>
                  </a:lnTo>
                  <a:lnTo>
                    <a:pt x="1062" y="316"/>
                  </a:lnTo>
                  <a:lnTo>
                    <a:pt x="1065" y="314"/>
                  </a:lnTo>
                  <a:close/>
                  <a:moveTo>
                    <a:pt x="1063" y="310"/>
                  </a:moveTo>
                  <a:lnTo>
                    <a:pt x="1065" y="314"/>
                  </a:lnTo>
                  <a:lnTo>
                    <a:pt x="1063" y="314"/>
                  </a:lnTo>
                  <a:lnTo>
                    <a:pt x="1058" y="321"/>
                  </a:lnTo>
                  <a:lnTo>
                    <a:pt x="1053" y="319"/>
                  </a:lnTo>
                  <a:lnTo>
                    <a:pt x="1053" y="316"/>
                  </a:lnTo>
                  <a:lnTo>
                    <a:pt x="1060" y="314"/>
                  </a:lnTo>
                  <a:lnTo>
                    <a:pt x="1060" y="310"/>
                  </a:lnTo>
                  <a:lnTo>
                    <a:pt x="1063" y="310"/>
                  </a:lnTo>
                  <a:close/>
                  <a:moveTo>
                    <a:pt x="756" y="309"/>
                  </a:moveTo>
                  <a:lnTo>
                    <a:pt x="754" y="316"/>
                  </a:lnTo>
                  <a:lnTo>
                    <a:pt x="751" y="317"/>
                  </a:lnTo>
                  <a:lnTo>
                    <a:pt x="749" y="316"/>
                  </a:lnTo>
                  <a:lnTo>
                    <a:pt x="751" y="310"/>
                  </a:lnTo>
                  <a:lnTo>
                    <a:pt x="753" y="309"/>
                  </a:lnTo>
                  <a:lnTo>
                    <a:pt x="756" y="309"/>
                  </a:lnTo>
                  <a:close/>
                  <a:moveTo>
                    <a:pt x="893" y="307"/>
                  </a:moveTo>
                  <a:lnTo>
                    <a:pt x="893" y="305"/>
                  </a:lnTo>
                  <a:lnTo>
                    <a:pt x="894" y="307"/>
                  </a:lnTo>
                  <a:lnTo>
                    <a:pt x="896" y="310"/>
                  </a:lnTo>
                  <a:lnTo>
                    <a:pt x="894" y="314"/>
                  </a:lnTo>
                  <a:lnTo>
                    <a:pt x="893" y="319"/>
                  </a:lnTo>
                  <a:lnTo>
                    <a:pt x="891" y="328"/>
                  </a:lnTo>
                  <a:lnTo>
                    <a:pt x="889" y="331"/>
                  </a:lnTo>
                  <a:lnTo>
                    <a:pt x="888" y="340"/>
                  </a:lnTo>
                  <a:lnTo>
                    <a:pt x="882" y="346"/>
                  </a:lnTo>
                  <a:lnTo>
                    <a:pt x="877" y="350"/>
                  </a:lnTo>
                  <a:lnTo>
                    <a:pt x="874" y="353"/>
                  </a:lnTo>
                  <a:lnTo>
                    <a:pt x="869" y="360"/>
                  </a:lnTo>
                  <a:lnTo>
                    <a:pt x="865" y="370"/>
                  </a:lnTo>
                  <a:lnTo>
                    <a:pt x="869" y="374"/>
                  </a:lnTo>
                  <a:lnTo>
                    <a:pt x="867" y="377"/>
                  </a:lnTo>
                  <a:lnTo>
                    <a:pt x="862" y="381"/>
                  </a:lnTo>
                  <a:lnTo>
                    <a:pt x="860" y="386"/>
                  </a:lnTo>
                  <a:lnTo>
                    <a:pt x="857" y="387"/>
                  </a:lnTo>
                  <a:lnTo>
                    <a:pt x="853" y="392"/>
                  </a:lnTo>
                  <a:lnTo>
                    <a:pt x="857" y="384"/>
                  </a:lnTo>
                  <a:lnTo>
                    <a:pt x="857" y="381"/>
                  </a:lnTo>
                  <a:lnTo>
                    <a:pt x="859" y="381"/>
                  </a:lnTo>
                  <a:lnTo>
                    <a:pt x="857" y="377"/>
                  </a:lnTo>
                  <a:lnTo>
                    <a:pt x="859" y="375"/>
                  </a:lnTo>
                  <a:lnTo>
                    <a:pt x="859" y="374"/>
                  </a:lnTo>
                  <a:lnTo>
                    <a:pt x="860" y="374"/>
                  </a:lnTo>
                  <a:lnTo>
                    <a:pt x="859" y="372"/>
                  </a:lnTo>
                  <a:lnTo>
                    <a:pt x="865" y="365"/>
                  </a:lnTo>
                  <a:lnTo>
                    <a:pt x="864" y="363"/>
                  </a:lnTo>
                  <a:lnTo>
                    <a:pt x="865" y="355"/>
                  </a:lnTo>
                  <a:lnTo>
                    <a:pt x="871" y="348"/>
                  </a:lnTo>
                  <a:lnTo>
                    <a:pt x="871" y="350"/>
                  </a:lnTo>
                  <a:lnTo>
                    <a:pt x="874" y="350"/>
                  </a:lnTo>
                  <a:lnTo>
                    <a:pt x="874" y="343"/>
                  </a:lnTo>
                  <a:lnTo>
                    <a:pt x="879" y="334"/>
                  </a:lnTo>
                  <a:lnTo>
                    <a:pt x="879" y="326"/>
                  </a:lnTo>
                  <a:lnTo>
                    <a:pt x="882" y="321"/>
                  </a:lnTo>
                  <a:lnTo>
                    <a:pt x="882" y="317"/>
                  </a:lnTo>
                  <a:lnTo>
                    <a:pt x="884" y="316"/>
                  </a:lnTo>
                  <a:lnTo>
                    <a:pt x="888" y="307"/>
                  </a:lnTo>
                  <a:lnTo>
                    <a:pt x="893" y="304"/>
                  </a:lnTo>
                  <a:lnTo>
                    <a:pt x="893" y="307"/>
                  </a:lnTo>
                  <a:close/>
                  <a:moveTo>
                    <a:pt x="724" y="246"/>
                  </a:moveTo>
                  <a:lnTo>
                    <a:pt x="722" y="235"/>
                  </a:lnTo>
                  <a:lnTo>
                    <a:pt x="725" y="239"/>
                  </a:lnTo>
                  <a:lnTo>
                    <a:pt x="724" y="246"/>
                  </a:lnTo>
                  <a:close/>
                  <a:moveTo>
                    <a:pt x="717" y="223"/>
                  </a:moveTo>
                  <a:lnTo>
                    <a:pt x="720" y="223"/>
                  </a:lnTo>
                  <a:lnTo>
                    <a:pt x="720" y="225"/>
                  </a:lnTo>
                  <a:lnTo>
                    <a:pt x="717" y="225"/>
                  </a:lnTo>
                  <a:lnTo>
                    <a:pt x="717" y="223"/>
                  </a:lnTo>
                  <a:close/>
                  <a:moveTo>
                    <a:pt x="519" y="222"/>
                  </a:moveTo>
                  <a:lnTo>
                    <a:pt x="521" y="222"/>
                  </a:lnTo>
                  <a:lnTo>
                    <a:pt x="521" y="225"/>
                  </a:lnTo>
                  <a:lnTo>
                    <a:pt x="519" y="225"/>
                  </a:lnTo>
                  <a:lnTo>
                    <a:pt x="519" y="222"/>
                  </a:lnTo>
                  <a:close/>
                  <a:moveTo>
                    <a:pt x="476" y="217"/>
                  </a:moveTo>
                  <a:lnTo>
                    <a:pt x="478" y="217"/>
                  </a:lnTo>
                  <a:lnTo>
                    <a:pt x="478" y="218"/>
                  </a:lnTo>
                  <a:lnTo>
                    <a:pt x="476" y="218"/>
                  </a:lnTo>
                  <a:lnTo>
                    <a:pt x="476" y="217"/>
                  </a:lnTo>
                  <a:close/>
                  <a:moveTo>
                    <a:pt x="488" y="213"/>
                  </a:moveTo>
                  <a:lnTo>
                    <a:pt x="490" y="213"/>
                  </a:lnTo>
                  <a:lnTo>
                    <a:pt x="490" y="217"/>
                  </a:lnTo>
                  <a:lnTo>
                    <a:pt x="488" y="217"/>
                  </a:lnTo>
                  <a:lnTo>
                    <a:pt x="488" y="213"/>
                  </a:lnTo>
                  <a:close/>
                  <a:moveTo>
                    <a:pt x="509" y="213"/>
                  </a:moveTo>
                  <a:lnTo>
                    <a:pt x="510" y="218"/>
                  </a:lnTo>
                  <a:lnTo>
                    <a:pt x="507" y="220"/>
                  </a:lnTo>
                  <a:lnTo>
                    <a:pt x="502" y="218"/>
                  </a:lnTo>
                  <a:lnTo>
                    <a:pt x="498" y="218"/>
                  </a:lnTo>
                  <a:lnTo>
                    <a:pt x="500" y="217"/>
                  </a:lnTo>
                  <a:lnTo>
                    <a:pt x="507" y="217"/>
                  </a:lnTo>
                  <a:lnTo>
                    <a:pt x="509" y="213"/>
                  </a:lnTo>
                  <a:close/>
                  <a:moveTo>
                    <a:pt x="502" y="213"/>
                  </a:moveTo>
                  <a:lnTo>
                    <a:pt x="502" y="217"/>
                  </a:lnTo>
                  <a:lnTo>
                    <a:pt x="500" y="215"/>
                  </a:lnTo>
                  <a:lnTo>
                    <a:pt x="502" y="213"/>
                  </a:lnTo>
                  <a:close/>
                  <a:moveTo>
                    <a:pt x="504" y="211"/>
                  </a:moveTo>
                  <a:lnTo>
                    <a:pt x="504" y="213"/>
                  </a:lnTo>
                  <a:lnTo>
                    <a:pt x="504" y="215"/>
                  </a:lnTo>
                  <a:lnTo>
                    <a:pt x="504" y="211"/>
                  </a:lnTo>
                  <a:close/>
                  <a:moveTo>
                    <a:pt x="710" y="205"/>
                  </a:moveTo>
                  <a:lnTo>
                    <a:pt x="717" y="213"/>
                  </a:lnTo>
                  <a:lnTo>
                    <a:pt x="717" y="217"/>
                  </a:lnTo>
                  <a:lnTo>
                    <a:pt x="713" y="215"/>
                  </a:lnTo>
                  <a:lnTo>
                    <a:pt x="710" y="206"/>
                  </a:lnTo>
                  <a:lnTo>
                    <a:pt x="708" y="203"/>
                  </a:lnTo>
                  <a:lnTo>
                    <a:pt x="710" y="205"/>
                  </a:lnTo>
                  <a:close/>
                  <a:moveTo>
                    <a:pt x="705" y="198"/>
                  </a:moveTo>
                  <a:lnTo>
                    <a:pt x="708" y="201"/>
                  </a:lnTo>
                  <a:lnTo>
                    <a:pt x="707" y="201"/>
                  </a:lnTo>
                  <a:lnTo>
                    <a:pt x="705" y="198"/>
                  </a:lnTo>
                  <a:close/>
                  <a:moveTo>
                    <a:pt x="681" y="167"/>
                  </a:moveTo>
                  <a:lnTo>
                    <a:pt x="684" y="172"/>
                  </a:lnTo>
                  <a:lnTo>
                    <a:pt x="681" y="172"/>
                  </a:lnTo>
                  <a:lnTo>
                    <a:pt x="679" y="169"/>
                  </a:lnTo>
                  <a:lnTo>
                    <a:pt x="671" y="167"/>
                  </a:lnTo>
                  <a:lnTo>
                    <a:pt x="667" y="162"/>
                  </a:lnTo>
                  <a:lnTo>
                    <a:pt x="671" y="160"/>
                  </a:lnTo>
                  <a:lnTo>
                    <a:pt x="676" y="165"/>
                  </a:lnTo>
                  <a:lnTo>
                    <a:pt x="681" y="167"/>
                  </a:lnTo>
                  <a:close/>
                  <a:moveTo>
                    <a:pt x="664" y="158"/>
                  </a:moveTo>
                  <a:lnTo>
                    <a:pt x="662" y="157"/>
                  </a:lnTo>
                  <a:lnTo>
                    <a:pt x="661" y="150"/>
                  </a:lnTo>
                  <a:lnTo>
                    <a:pt x="664" y="152"/>
                  </a:lnTo>
                  <a:lnTo>
                    <a:pt x="664" y="158"/>
                  </a:lnTo>
                  <a:close/>
                  <a:moveTo>
                    <a:pt x="686" y="147"/>
                  </a:moveTo>
                  <a:lnTo>
                    <a:pt x="688" y="153"/>
                  </a:lnTo>
                  <a:lnTo>
                    <a:pt x="690" y="157"/>
                  </a:lnTo>
                  <a:lnTo>
                    <a:pt x="690" y="160"/>
                  </a:lnTo>
                  <a:lnTo>
                    <a:pt x="688" y="162"/>
                  </a:lnTo>
                  <a:lnTo>
                    <a:pt x="683" y="157"/>
                  </a:lnTo>
                  <a:lnTo>
                    <a:pt x="679" y="148"/>
                  </a:lnTo>
                  <a:lnTo>
                    <a:pt x="686" y="147"/>
                  </a:lnTo>
                  <a:close/>
                  <a:moveTo>
                    <a:pt x="628" y="136"/>
                  </a:moveTo>
                  <a:lnTo>
                    <a:pt x="630" y="138"/>
                  </a:lnTo>
                  <a:lnTo>
                    <a:pt x="626" y="141"/>
                  </a:lnTo>
                  <a:lnTo>
                    <a:pt x="625" y="140"/>
                  </a:lnTo>
                  <a:lnTo>
                    <a:pt x="628" y="136"/>
                  </a:lnTo>
                  <a:close/>
                  <a:moveTo>
                    <a:pt x="181" y="129"/>
                  </a:moveTo>
                  <a:lnTo>
                    <a:pt x="186" y="135"/>
                  </a:lnTo>
                  <a:lnTo>
                    <a:pt x="184" y="140"/>
                  </a:lnTo>
                  <a:lnTo>
                    <a:pt x="181" y="138"/>
                  </a:lnTo>
                  <a:lnTo>
                    <a:pt x="176" y="138"/>
                  </a:lnTo>
                  <a:lnTo>
                    <a:pt x="174" y="135"/>
                  </a:lnTo>
                  <a:lnTo>
                    <a:pt x="176" y="131"/>
                  </a:lnTo>
                  <a:lnTo>
                    <a:pt x="181" y="129"/>
                  </a:lnTo>
                  <a:close/>
                  <a:moveTo>
                    <a:pt x="370" y="109"/>
                  </a:moveTo>
                  <a:lnTo>
                    <a:pt x="374" y="109"/>
                  </a:lnTo>
                  <a:lnTo>
                    <a:pt x="374" y="112"/>
                  </a:lnTo>
                  <a:lnTo>
                    <a:pt x="370" y="116"/>
                  </a:lnTo>
                  <a:lnTo>
                    <a:pt x="369" y="114"/>
                  </a:lnTo>
                  <a:lnTo>
                    <a:pt x="367" y="112"/>
                  </a:lnTo>
                  <a:lnTo>
                    <a:pt x="367" y="109"/>
                  </a:lnTo>
                  <a:lnTo>
                    <a:pt x="369" y="109"/>
                  </a:lnTo>
                  <a:lnTo>
                    <a:pt x="370" y="109"/>
                  </a:lnTo>
                  <a:close/>
                  <a:moveTo>
                    <a:pt x="350" y="111"/>
                  </a:moveTo>
                  <a:lnTo>
                    <a:pt x="350" y="107"/>
                  </a:lnTo>
                  <a:lnTo>
                    <a:pt x="350" y="109"/>
                  </a:lnTo>
                  <a:lnTo>
                    <a:pt x="350" y="111"/>
                  </a:lnTo>
                  <a:close/>
                  <a:moveTo>
                    <a:pt x="331" y="94"/>
                  </a:moveTo>
                  <a:lnTo>
                    <a:pt x="336" y="94"/>
                  </a:lnTo>
                  <a:lnTo>
                    <a:pt x="343" y="97"/>
                  </a:lnTo>
                  <a:lnTo>
                    <a:pt x="346" y="102"/>
                  </a:lnTo>
                  <a:lnTo>
                    <a:pt x="341" y="106"/>
                  </a:lnTo>
                  <a:lnTo>
                    <a:pt x="338" y="104"/>
                  </a:lnTo>
                  <a:lnTo>
                    <a:pt x="336" y="107"/>
                  </a:lnTo>
                  <a:lnTo>
                    <a:pt x="333" y="106"/>
                  </a:lnTo>
                  <a:lnTo>
                    <a:pt x="326" y="107"/>
                  </a:lnTo>
                  <a:lnTo>
                    <a:pt x="328" y="100"/>
                  </a:lnTo>
                  <a:lnTo>
                    <a:pt x="326" y="95"/>
                  </a:lnTo>
                  <a:lnTo>
                    <a:pt x="331" y="94"/>
                  </a:lnTo>
                  <a:close/>
                  <a:moveTo>
                    <a:pt x="346" y="92"/>
                  </a:moveTo>
                  <a:lnTo>
                    <a:pt x="350" y="92"/>
                  </a:lnTo>
                  <a:lnTo>
                    <a:pt x="353" y="95"/>
                  </a:lnTo>
                  <a:lnTo>
                    <a:pt x="358" y="97"/>
                  </a:lnTo>
                  <a:lnTo>
                    <a:pt x="360" y="92"/>
                  </a:lnTo>
                  <a:lnTo>
                    <a:pt x="362" y="92"/>
                  </a:lnTo>
                  <a:lnTo>
                    <a:pt x="364" y="94"/>
                  </a:lnTo>
                  <a:lnTo>
                    <a:pt x="365" y="104"/>
                  </a:lnTo>
                  <a:lnTo>
                    <a:pt x="365" y="106"/>
                  </a:lnTo>
                  <a:lnTo>
                    <a:pt x="360" y="102"/>
                  </a:lnTo>
                  <a:lnTo>
                    <a:pt x="355" y="100"/>
                  </a:lnTo>
                  <a:lnTo>
                    <a:pt x="357" y="106"/>
                  </a:lnTo>
                  <a:lnTo>
                    <a:pt x="353" y="107"/>
                  </a:lnTo>
                  <a:lnTo>
                    <a:pt x="350" y="104"/>
                  </a:lnTo>
                  <a:lnTo>
                    <a:pt x="352" y="102"/>
                  </a:lnTo>
                  <a:lnTo>
                    <a:pt x="348" y="99"/>
                  </a:lnTo>
                  <a:lnTo>
                    <a:pt x="343" y="95"/>
                  </a:lnTo>
                  <a:lnTo>
                    <a:pt x="346" y="92"/>
                  </a:lnTo>
                  <a:close/>
                  <a:moveTo>
                    <a:pt x="311" y="90"/>
                  </a:moveTo>
                  <a:lnTo>
                    <a:pt x="314" y="94"/>
                  </a:lnTo>
                  <a:lnTo>
                    <a:pt x="317" y="92"/>
                  </a:lnTo>
                  <a:lnTo>
                    <a:pt x="319" y="94"/>
                  </a:lnTo>
                  <a:lnTo>
                    <a:pt x="316" y="100"/>
                  </a:lnTo>
                  <a:lnTo>
                    <a:pt x="316" y="102"/>
                  </a:lnTo>
                  <a:lnTo>
                    <a:pt x="319" y="104"/>
                  </a:lnTo>
                  <a:lnTo>
                    <a:pt x="319" y="107"/>
                  </a:lnTo>
                  <a:lnTo>
                    <a:pt x="317" y="109"/>
                  </a:lnTo>
                  <a:lnTo>
                    <a:pt x="307" y="106"/>
                  </a:lnTo>
                  <a:lnTo>
                    <a:pt x="307" y="107"/>
                  </a:lnTo>
                  <a:lnTo>
                    <a:pt x="312" y="114"/>
                  </a:lnTo>
                  <a:lnTo>
                    <a:pt x="312" y="116"/>
                  </a:lnTo>
                  <a:lnTo>
                    <a:pt x="309" y="116"/>
                  </a:lnTo>
                  <a:lnTo>
                    <a:pt x="309" y="119"/>
                  </a:lnTo>
                  <a:lnTo>
                    <a:pt x="304" y="121"/>
                  </a:lnTo>
                  <a:lnTo>
                    <a:pt x="295" y="123"/>
                  </a:lnTo>
                  <a:lnTo>
                    <a:pt x="295" y="124"/>
                  </a:lnTo>
                  <a:lnTo>
                    <a:pt x="287" y="128"/>
                  </a:lnTo>
                  <a:lnTo>
                    <a:pt x="292" y="123"/>
                  </a:lnTo>
                  <a:lnTo>
                    <a:pt x="295" y="116"/>
                  </a:lnTo>
                  <a:lnTo>
                    <a:pt x="300" y="112"/>
                  </a:lnTo>
                  <a:lnTo>
                    <a:pt x="306" y="109"/>
                  </a:lnTo>
                  <a:lnTo>
                    <a:pt x="304" y="107"/>
                  </a:lnTo>
                  <a:lnTo>
                    <a:pt x="300" y="109"/>
                  </a:lnTo>
                  <a:lnTo>
                    <a:pt x="300" y="111"/>
                  </a:lnTo>
                  <a:lnTo>
                    <a:pt x="290" y="114"/>
                  </a:lnTo>
                  <a:lnTo>
                    <a:pt x="287" y="119"/>
                  </a:lnTo>
                  <a:lnTo>
                    <a:pt x="282" y="119"/>
                  </a:lnTo>
                  <a:lnTo>
                    <a:pt x="276" y="126"/>
                  </a:lnTo>
                  <a:lnTo>
                    <a:pt x="270" y="124"/>
                  </a:lnTo>
                  <a:lnTo>
                    <a:pt x="266" y="117"/>
                  </a:lnTo>
                  <a:lnTo>
                    <a:pt x="268" y="114"/>
                  </a:lnTo>
                  <a:lnTo>
                    <a:pt x="273" y="109"/>
                  </a:lnTo>
                  <a:lnTo>
                    <a:pt x="280" y="102"/>
                  </a:lnTo>
                  <a:lnTo>
                    <a:pt x="287" y="102"/>
                  </a:lnTo>
                  <a:lnTo>
                    <a:pt x="299" y="102"/>
                  </a:lnTo>
                  <a:lnTo>
                    <a:pt x="304" y="94"/>
                  </a:lnTo>
                  <a:lnTo>
                    <a:pt x="311" y="90"/>
                  </a:lnTo>
                  <a:close/>
                  <a:moveTo>
                    <a:pt x="611" y="68"/>
                  </a:moveTo>
                  <a:lnTo>
                    <a:pt x="613" y="70"/>
                  </a:lnTo>
                  <a:lnTo>
                    <a:pt x="613" y="71"/>
                  </a:lnTo>
                  <a:lnTo>
                    <a:pt x="608" y="70"/>
                  </a:lnTo>
                  <a:lnTo>
                    <a:pt x="611" y="68"/>
                  </a:lnTo>
                  <a:close/>
                  <a:moveTo>
                    <a:pt x="225" y="63"/>
                  </a:moveTo>
                  <a:lnTo>
                    <a:pt x="225" y="65"/>
                  </a:lnTo>
                  <a:lnTo>
                    <a:pt x="230" y="68"/>
                  </a:lnTo>
                  <a:lnTo>
                    <a:pt x="232" y="70"/>
                  </a:lnTo>
                  <a:lnTo>
                    <a:pt x="236" y="76"/>
                  </a:lnTo>
                  <a:lnTo>
                    <a:pt x="230" y="76"/>
                  </a:lnTo>
                  <a:lnTo>
                    <a:pt x="229" y="73"/>
                  </a:lnTo>
                  <a:lnTo>
                    <a:pt x="225" y="73"/>
                  </a:lnTo>
                  <a:lnTo>
                    <a:pt x="218" y="71"/>
                  </a:lnTo>
                  <a:lnTo>
                    <a:pt x="217" y="70"/>
                  </a:lnTo>
                  <a:lnTo>
                    <a:pt x="215" y="68"/>
                  </a:lnTo>
                  <a:lnTo>
                    <a:pt x="220" y="66"/>
                  </a:lnTo>
                  <a:lnTo>
                    <a:pt x="220" y="63"/>
                  </a:lnTo>
                  <a:lnTo>
                    <a:pt x="225" y="65"/>
                  </a:lnTo>
                  <a:lnTo>
                    <a:pt x="225" y="63"/>
                  </a:lnTo>
                  <a:close/>
                  <a:moveTo>
                    <a:pt x="222" y="63"/>
                  </a:moveTo>
                  <a:lnTo>
                    <a:pt x="225" y="63"/>
                  </a:lnTo>
                  <a:lnTo>
                    <a:pt x="222" y="63"/>
                  </a:lnTo>
                  <a:close/>
                  <a:moveTo>
                    <a:pt x="39" y="59"/>
                  </a:moveTo>
                  <a:lnTo>
                    <a:pt x="37" y="63"/>
                  </a:lnTo>
                  <a:lnTo>
                    <a:pt x="37" y="59"/>
                  </a:lnTo>
                  <a:lnTo>
                    <a:pt x="39" y="59"/>
                  </a:lnTo>
                  <a:close/>
                  <a:moveTo>
                    <a:pt x="249" y="51"/>
                  </a:moveTo>
                  <a:lnTo>
                    <a:pt x="253" y="54"/>
                  </a:lnTo>
                  <a:lnTo>
                    <a:pt x="253" y="63"/>
                  </a:lnTo>
                  <a:lnTo>
                    <a:pt x="247" y="61"/>
                  </a:lnTo>
                  <a:lnTo>
                    <a:pt x="242" y="63"/>
                  </a:lnTo>
                  <a:lnTo>
                    <a:pt x="234" y="59"/>
                  </a:lnTo>
                  <a:lnTo>
                    <a:pt x="236" y="58"/>
                  </a:lnTo>
                  <a:lnTo>
                    <a:pt x="244" y="51"/>
                  </a:lnTo>
                  <a:lnTo>
                    <a:pt x="249" y="51"/>
                  </a:lnTo>
                  <a:close/>
                  <a:moveTo>
                    <a:pt x="254" y="51"/>
                  </a:moveTo>
                  <a:lnTo>
                    <a:pt x="258" y="51"/>
                  </a:lnTo>
                  <a:lnTo>
                    <a:pt x="254" y="51"/>
                  </a:lnTo>
                  <a:lnTo>
                    <a:pt x="254" y="53"/>
                  </a:lnTo>
                  <a:lnTo>
                    <a:pt x="251" y="51"/>
                  </a:lnTo>
                  <a:lnTo>
                    <a:pt x="254" y="51"/>
                  </a:lnTo>
                  <a:close/>
                  <a:moveTo>
                    <a:pt x="123" y="39"/>
                  </a:moveTo>
                  <a:lnTo>
                    <a:pt x="133" y="39"/>
                  </a:lnTo>
                  <a:lnTo>
                    <a:pt x="142" y="44"/>
                  </a:lnTo>
                  <a:lnTo>
                    <a:pt x="145" y="47"/>
                  </a:lnTo>
                  <a:lnTo>
                    <a:pt x="147" y="47"/>
                  </a:lnTo>
                  <a:lnTo>
                    <a:pt x="150" y="49"/>
                  </a:lnTo>
                  <a:lnTo>
                    <a:pt x="155" y="49"/>
                  </a:lnTo>
                  <a:lnTo>
                    <a:pt x="164" y="54"/>
                  </a:lnTo>
                  <a:lnTo>
                    <a:pt x="171" y="59"/>
                  </a:lnTo>
                  <a:lnTo>
                    <a:pt x="172" y="65"/>
                  </a:lnTo>
                  <a:lnTo>
                    <a:pt x="169" y="66"/>
                  </a:lnTo>
                  <a:lnTo>
                    <a:pt x="167" y="63"/>
                  </a:lnTo>
                  <a:lnTo>
                    <a:pt x="162" y="65"/>
                  </a:lnTo>
                  <a:lnTo>
                    <a:pt x="162" y="71"/>
                  </a:lnTo>
                  <a:lnTo>
                    <a:pt x="164" y="73"/>
                  </a:lnTo>
                  <a:lnTo>
                    <a:pt x="166" y="71"/>
                  </a:lnTo>
                  <a:lnTo>
                    <a:pt x="166" y="76"/>
                  </a:lnTo>
                  <a:lnTo>
                    <a:pt x="174" y="78"/>
                  </a:lnTo>
                  <a:lnTo>
                    <a:pt x="174" y="75"/>
                  </a:lnTo>
                  <a:lnTo>
                    <a:pt x="177" y="73"/>
                  </a:lnTo>
                  <a:lnTo>
                    <a:pt x="179" y="75"/>
                  </a:lnTo>
                  <a:lnTo>
                    <a:pt x="188" y="76"/>
                  </a:lnTo>
                  <a:lnTo>
                    <a:pt x="189" y="78"/>
                  </a:lnTo>
                  <a:lnTo>
                    <a:pt x="188" y="87"/>
                  </a:lnTo>
                  <a:lnTo>
                    <a:pt x="188" y="88"/>
                  </a:lnTo>
                  <a:lnTo>
                    <a:pt x="188" y="97"/>
                  </a:lnTo>
                  <a:lnTo>
                    <a:pt x="186" y="100"/>
                  </a:lnTo>
                  <a:lnTo>
                    <a:pt x="188" y="104"/>
                  </a:lnTo>
                  <a:lnTo>
                    <a:pt x="183" y="111"/>
                  </a:lnTo>
                  <a:lnTo>
                    <a:pt x="179" y="112"/>
                  </a:lnTo>
                  <a:lnTo>
                    <a:pt x="174" y="111"/>
                  </a:lnTo>
                  <a:lnTo>
                    <a:pt x="169" y="114"/>
                  </a:lnTo>
                  <a:lnTo>
                    <a:pt x="164" y="114"/>
                  </a:lnTo>
                  <a:lnTo>
                    <a:pt x="155" y="121"/>
                  </a:lnTo>
                  <a:lnTo>
                    <a:pt x="152" y="123"/>
                  </a:lnTo>
                  <a:lnTo>
                    <a:pt x="152" y="124"/>
                  </a:lnTo>
                  <a:lnTo>
                    <a:pt x="143" y="126"/>
                  </a:lnTo>
                  <a:lnTo>
                    <a:pt x="138" y="126"/>
                  </a:lnTo>
                  <a:lnTo>
                    <a:pt x="131" y="129"/>
                  </a:lnTo>
                  <a:lnTo>
                    <a:pt x="126" y="135"/>
                  </a:lnTo>
                  <a:lnTo>
                    <a:pt x="123" y="133"/>
                  </a:lnTo>
                  <a:lnTo>
                    <a:pt x="119" y="135"/>
                  </a:lnTo>
                  <a:lnTo>
                    <a:pt x="114" y="131"/>
                  </a:lnTo>
                  <a:lnTo>
                    <a:pt x="111" y="131"/>
                  </a:lnTo>
                  <a:lnTo>
                    <a:pt x="104" y="128"/>
                  </a:lnTo>
                  <a:lnTo>
                    <a:pt x="99" y="128"/>
                  </a:lnTo>
                  <a:lnTo>
                    <a:pt x="99" y="126"/>
                  </a:lnTo>
                  <a:lnTo>
                    <a:pt x="97" y="126"/>
                  </a:lnTo>
                  <a:lnTo>
                    <a:pt x="96" y="124"/>
                  </a:lnTo>
                  <a:lnTo>
                    <a:pt x="87" y="119"/>
                  </a:lnTo>
                  <a:lnTo>
                    <a:pt x="85" y="117"/>
                  </a:lnTo>
                  <a:lnTo>
                    <a:pt x="84" y="117"/>
                  </a:lnTo>
                  <a:lnTo>
                    <a:pt x="77" y="114"/>
                  </a:lnTo>
                  <a:lnTo>
                    <a:pt x="72" y="112"/>
                  </a:lnTo>
                  <a:lnTo>
                    <a:pt x="65" y="106"/>
                  </a:lnTo>
                  <a:lnTo>
                    <a:pt x="60" y="106"/>
                  </a:lnTo>
                  <a:lnTo>
                    <a:pt x="56" y="102"/>
                  </a:lnTo>
                  <a:lnTo>
                    <a:pt x="55" y="95"/>
                  </a:lnTo>
                  <a:lnTo>
                    <a:pt x="53" y="92"/>
                  </a:lnTo>
                  <a:lnTo>
                    <a:pt x="46" y="88"/>
                  </a:lnTo>
                  <a:lnTo>
                    <a:pt x="43" y="85"/>
                  </a:lnTo>
                  <a:lnTo>
                    <a:pt x="43" y="80"/>
                  </a:lnTo>
                  <a:lnTo>
                    <a:pt x="37" y="75"/>
                  </a:lnTo>
                  <a:lnTo>
                    <a:pt x="39" y="68"/>
                  </a:lnTo>
                  <a:lnTo>
                    <a:pt x="37" y="66"/>
                  </a:lnTo>
                  <a:lnTo>
                    <a:pt x="39" y="66"/>
                  </a:lnTo>
                  <a:lnTo>
                    <a:pt x="37" y="63"/>
                  </a:lnTo>
                  <a:lnTo>
                    <a:pt x="39" y="61"/>
                  </a:lnTo>
                  <a:lnTo>
                    <a:pt x="39" y="53"/>
                  </a:lnTo>
                  <a:lnTo>
                    <a:pt x="46" y="49"/>
                  </a:lnTo>
                  <a:lnTo>
                    <a:pt x="48" y="46"/>
                  </a:lnTo>
                  <a:lnTo>
                    <a:pt x="55" y="51"/>
                  </a:lnTo>
                  <a:lnTo>
                    <a:pt x="61" y="54"/>
                  </a:lnTo>
                  <a:lnTo>
                    <a:pt x="65" y="54"/>
                  </a:lnTo>
                  <a:lnTo>
                    <a:pt x="65" y="49"/>
                  </a:lnTo>
                  <a:lnTo>
                    <a:pt x="68" y="47"/>
                  </a:lnTo>
                  <a:lnTo>
                    <a:pt x="73" y="42"/>
                  </a:lnTo>
                  <a:lnTo>
                    <a:pt x="78" y="44"/>
                  </a:lnTo>
                  <a:lnTo>
                    <a:pt x="87" y="42"/>
                  </a:lnTo>
                  <a:lnTo>
                    <a:pt x="94" y="42"/>
                  </a:lnTo>
                  <a:lnTo>
                    <a:pt x="99" y="41"/>
                  </a:lnTo>
                  <a:lnTo>
                    <a:pt x="109" y="39"/>
                  </a:lnTo>
                  <a:lnTo>
                    <a:pt x="118" y="41"/>
                  </a:lnTo>
                  <a:lnTo>
                    <a:pt x="123" y="39"/>
                  </a:lnTo>
                  <a:close/>
                  <a:moveTo>
                    <a:pt x="283" y="32"/>
                  </a:moveTo>
                  <a:lnTo>
                    <a:pt x="285" y="32"/>
                  </a:lnTo>
                  <a:lnTo>
                    <a:pt x="285" y="34"/>
                  </a:lnTo>
                  <a:lnTo>
                    <a:pt x="283" y="34"/>
                  </a:lnTo>
                  <a:lnTo>
                    <a:pt x="283" y="32"/>
                  </a:lnTo>
                  <a:close/>
                  <a:moveTo>
                    <a:pt x="268" y="24"/>
                  </a:moveTo>
                  <a:lnTo>
                    <a:pt x="266" y="25"/>
                  </a:lnTo>
                  <a:lnTo>
                    <a:pt x="263" y="27"/>
                  </a:lnTo>
                  <a:lnTo>
                    <a:pt x="265" y="24"/>
                  </a:lnTo>
                  <a:lnTo>
                    <a:pt x="268" y="24"/>
                  </a:lnTo>
                  <a:close/>
                  <a:moveTo>
                    <a:pt x="270" y="22"/>
                  </a:moveTo>
                  <a:lnTo>
                    <a:pt x="276" y="24"/>
                  </a:lnTo>
                  <a:lnTo>
                    <a:pt x="278" y="25"/>
                  </a:lnTo>
                  <a:lnTo>
                    <a:pt x="271" y="32"/>
                  </a:lnTo>
                  <a:lnTo>
                    <a:pt x="266" y="37"/>
                  </a:lnTo>
                  <a:lnTo>
                    <a:pt x="256" y="36"/>
                  </a:lnTo>
                  <a:lnTo>
                    <a:pt x="261" y="34"/>
                  </a:lnTo>
                  <a:lnTo>
                    <a:pt x="263" y="27"/>
                  </a:lnTo>
                  <a:lnTo>
                    <a:pt x="266" y="25"/>
                  </a:lnTo>
                  <a:lnTo>
                    <a:pt x="268" y="24"/>
                  </a:lnTo>
                  <a:lnTo>
                    <a:pt x="270" y="25"/>
                  </a:lnTo>
                  <a:lnTo>
                    <a:pt x="266" y="22"/>
                  </a:lnTo>
                  <a:lnTo>
                    <a:pt x="270" y="22"/>
                  </a:lnTo>
                  <a:close/>
                  <a:moveTo>
                    <a:pt x="463" y="8"/>
                  </a:moveTo>
                  <a:lnTo>
                    <a:pt x="468" y="10"/>
                  </a:lnTo>
                  <a:lnTo>
                    <a:pt x="471" y="8"/>
                  </a:lnTo>
                  <a:lnTo>
                    <a:pt x="473" y="12"/>
                  </a:lnTo>
                  <a:lnTo>
                    <a:pt x="481" y="12"/>
                  </a:lnTo>
                  <a:lnTo>
                    <a:pt x="492" y="15"/>
                  </a:lnTo>
                  <a:lnTo>
                    <a:pt x="495" y="22"/>
                  </a:lnTo>
                  <a:lnTo>
                    <a:pt x="502" y="20"/>
                  </a:lnTo>
                  <a:lnTo>
                    <a:pt x="502" y="22"/>
                  </a:lnTo>
                  <a:lnTo>
                    <a:pt x="502" y="24"/>
                  </a:lnTo>
                  <a:lnTo>
                    <a:pt x="504" y="22"/>
                  </a:lnTo>
                  <a:lnTo>
                    <a:pt x="502" y="22"/>
                  </a:lnTo>
                  <a:lnTo>
                    <a:pt x="505" y="22"/>
                  </a:lnTo>
                  <a:lnTo>
                    <a:pt x="505" y="25"/>
                  </a:lnTo>
                  <a:lnTo>
                    <a:pt x="514" y="29"/>
                  </a:lnTo>
                  <a:lnTo>
                    <a:pt x="517" y="29"/>
                  </a:lnTo>
                  <a:lnTo>
                    <a:pt x="521" y="32"/>
                  </a:lnTo>
                  <a:lnTo>
                    <a:pt x="533" y="32"/>
                  </a:lnTo>
                  <a:lnTo>
                    <a:pt x="536" y="30"/>
                  </a:lnTo>
                  <a:lnTo>
                    <a:pt x="539" y="34"/>
                  </a:lnTo>
                  <a:lnTo>
                    <a:pt x="550" y="29"/>
                  </a:lnTo>
                  <a:lnTo>
                    <a:pt x="558" y="29"/>
                  </a:lnTo>
                  <a:lnTo>
                    <a:pt x="563" y="30"/>
                  </a:lnTo>
                  <a:lnTo>
                    <a:pt x="568" y="36"/>
                  </a:lnTo>
                  <a:lnTo>
                    <a:pt x="570" y="39"/>
                  </a:lnTo>
                  <a:lnTo>
                    <a:pt x="574" y="41"/>
                  </a:lnTo>
                  <a:lnTo>
                    <a:pt x="575" y="44"/>
                  </a:lnTo>
                  <a:lnTo>
                    <a:pt x="580" y="44"/>
                  </a:lnTo>
                  <a:lnTo>
                    <a:pt x="585" y="47"/>
                  </a:lnTo>
                  <a:lnTo>
                    <a:pt x="589" y="51"/>
                  </a:lnTo>
                  <a:lnTo>
                    <a:pt x="592" y="61"/>
                  </a:lnTo>
                  <a:lnTo>
                    <a:pt x="592" y="66"/>
                  </a:lnTo>
                  <a:lnTo>
                    <a:pt x="592" y="71"/>
                  </a:lnTo>
                  <a:lnTo>
                    <a:pt x="596" y="80"/>
                  </a:lnTo>
                  <a:lnTo>
                    <a:pt x="597" y="80"/>
                  </a:lnTo>
                  <a:lnTo>
                    <a:pt x="601" y="80"/>
                  </a:lnTo>
                  <a:lnTo>
                    <a:pt x="603" y="80"/>
                  </a:lnTo>
                  <a:lnTo>
                    <a:pt x="613" y="80"/>
                  </a:lnTo>
                  <a:lnTo>
                    <a:pt x="616" y="87"/>
                  </a:lnTo>
                  <a:lnTo>
                    <a:pt x="616" y="88"/>
                  </a:lnTo>
                  <a:lnTo>
                    <a:pt x="614" y="88"/>
                  </a:lnTo>
                  <a:lnTo>
                    <a:pt x="613" y="90"/>
                  </a:lnTo>
                  <a:lnTo>
                    <a:pt x="614" y="95"/>
                  </a:lnTo>
                  <a:lnTo>
                    <a:pt x="621" y="100"/>
                  </a:lnTo>
                  <a:lnTo>
                    <a:pt x="621" y="104"/>
                  </a:lnTo>
                  <a:lnTo>
                    <a:pt x="621" y="107"/>
                  </a:lnTo>
                  <a:lnTo>
                    <a:pt x="616" y="111"/>
                  </a:lnTo>
                  <a:lnTo>
                    <a:pt x="614" y="116"/>
                  </a:lnTo>
                  <a:lnTo>
                    <a:pt x="616" y="126"/>
                  </a:lnTo>
                  <a:lnTo>
                    <a:pt x="614" y="131"/>
                  </a:lnTo>
                  <a:lnTo>
                    <a:pt x="618" y="136"/>
                  </a:lnTo>
                  <a:lnTo>
                    <a:pt x="611" y="135"/>
                  </a:lnTo>
                  <a:lnTo>
                    <a:pt x="613" y="135"/>
                  </a:lnTo>
                  <a:lnTo>
                    <a:pt x="609" y="133"/>
                  </a:lnTo>
                  <a:lnTo>
                    <a:pt x="608" y="131"/>
                  </a:lnTo>
                  <a:lnTo>
                    <a:pt x="606" y="133"/>
                  </a:lnTo>
                  <a:lnTo>
                    <a:pt x="604" y="131"/>
                  </a:lnTo>
                  <a:lnTo>
                    <a:pt x="603" y="131"/>
                  </a:lnTo>
                  <a:lnTo>
                    <a:pt x="599" y="128"/>
                  </a:lnTo>
                  <a:lnTo>
                    <a:pt x="591" y="126"/>
                  </a:lnTo>
                  <a:lnTo>
                    <a:pt x="584" y="117"/>
                  </a:lnTo>
                  <a:lnTo>
                    <a:pt x="574" y="117"/>
                  </a:lnTo>
                  <a:lnTo>
                    <a:pt x="570" y="111"/>
                  </a:lnTo>
                  <a:lnTo>
                    <a:pt x="567" y="107"/>
                  </a:lnTo>
                  <a:lnTo>
                    <a:pt x="555" y="106"/>
                  </a:lnTo>
                  <a:lnTo>
                    <a:pt x="551" y="102"/>
                  </a:lnTo>
                  <a:lnTo>
                    <a:pt x="546" y="100"/>
                  </a:lnTo>
                  <a:lnTo>
                    <a:pt x="543" y="99"/>
                  </a:lnTo>
                  <a:lnTo>
                    <a:pt x="533" y="95"/>
                  </a:lnTo>
                  <a:lnTo>
                    <a:pt x="527" y="92"/>
                  </a:lnTo>
                  <a:lnTo>
                    <a:pt x="519" y="90"/>
                  </a:lnTo>
                  <a:lnTo>
                    <a:pt x="512" y="83"/>
                  </a:lnTo>
                  <a:lnTo>
                    <a:pt x="512" y="75"/>
                  </a:lnTo>
                  <a:lnTo>
                    <a:pt x="507" y="73"/>
                  </a:lnTo>
                  <a:lnTo>
                    <a:pt x="502" y="73"/>
                  </a:lnTo>
                  <a:lnTo>
                    <a:pt x="493" y="71"/>
                  </a:lnTo>
                  <a:lnTo>
                    <a:pt x="488" y="71"/>
                  </a:lnTo>
                  <a:lnTo>
                    <a:pt x="485" y="70"/>
                  </a:lnTo>
                  <a:lnTo>
                    <a:pt x="478" y="71"/>
                  </a:lnTo>
                  <a:lnTo>
                    <a:pt x="469" y="70"/>
                  </a:lnTo>
                  <a:lnTo>
                    <a:pt x="464" y="68"/>
                  </a:lnTo>
                  <a:lnTo>
                    <a:pt x="463" y="70"/>
                  </a:lnTo>
                  <a:lnTo>
                    <a:pt x="459" y="68"/>
                  </a:lnTo>
                  <a:lnTo>
                    <a:pt x="456" y="71"/>
                  </a:lnTo>
                  <a:lnTo>
                    <a:pt x="463" y="78"/>
                  </a:lnTo>
                  <a:lnTo>
                    <a:pt x="464" y="83"/>
                  </a:lnTo>
                  <a:lnTo>
                    <a:pt x="463" y="87"/>
                  </a:lnTo>
                  <a:lnTo>
                    <a:pt x="461" y="88"/>
                  </a:lnTo>
                  <a:lnTo>
                    <a:pt x="454" y="87"/>
                  </a:lnTo>
                  <a:lnTo>
                    <a:pt x="445" y="82"/>
                  </a:lnTo>
                  <a:lnTo>
                    <a:pt x="439" y="82"/>
                  </a:lnTo>
                  <a:lnTo>
                    <a:pt x="437" y="82"/>
                  </a:lnTo>
                  <a:lnTo>
                    <a:pt x="427" y="82"/>
                  </a:lnTo>
                  <a:lnTo>
                    <a:pt x="420" y="78"/>
                  </a:lnTo>
                  <a:lnTo>
                    <a:pt x="416" y="76"/>
                  </a:lnTo>
                  <a:lnTo>
                    <a:pt x="406" y="73"/>
                  </a:lnTo>
                  <a:lnTo>
                    <a:pt x="405" y="75"/>
                  </a:lnTo>
                  <a:lnTo>
                    <a:pt x="394" y="75"/>
                  </a:lnTo>
                  <a:lnTo>
                    <a:pt x="389" y="75"/>
                  </a:lnTo>
                  <a:lnTo>
                    <a:pt x="386" y="71"/>
                  </a:lnTo>
                  <a:lnTo>
                    <a:pt x="387" y="73"/>
                  </a:lnTo>
                  <a:lnTo>
                    <a:pt x="393" y="66"/>
                  </a:lnTo>
                  <a:lnTo>
                    <a:pt x="393" y="59"/>
                  </a:lnTo>
                  <a:lnTo>
                    <a:pt x="384" y="56"/>
                  </a:lnTo>
                  <a:lnTo>
                    <a:pt x="381" y="58"/>
                  </a:lnTo>
                  <a:lnTo>
                    <a:pt x="377" y="61"/>
                  </a:lnTo>
                  <a:lnTo>
                    <a:pt x="370" y="65"/>
                  </a:lnTo>
                  <a:lnTo>
                    <a:pt x="364" y="70"/>
                  </a:lnTo>
                  <a:lnTo>
                    <a:pt x="358" y="75"/>
                  </a:lnTo>
                  <a:lnTo>
                    <a:pt x="357" y="78"/>
                  </a:lnTo>
                  <a:lnTo>
                    <a:pt x="360" y="82"/>
                  </a:lnTo>
                  <a:lnTo>
                    <a:pt x="358" y="83"/>
                  </a:lnTo>
                  <a:lnTo>
                    <a:pt x="348" y="83"/>
                  </a:lnTo>
                  <a:lnTo>
                    <a:pt x="340" y="87"/>
                  </a:lnTo>
                  <a:lnTo>
                    <a:pt x="333" y="87"/>
                  </a:lnTo>
                  <a:lnTo>
                    <a:pt x="326" y="83"/>
                  </a:lnTo>
                  <a:lnTo>
                    <a:pt x="324" y="80"/>
                  </a:lnTo>
                  <a:lnTo>
                    <a:pt x="317" y="71"/>
                  </a:lnTo>
                  <a:lnTo>
                    <a:pt x="312" y="63"/>
                  </a:lnTo>
                  <a:lnTo>
                    <a:pt x="312" y="59"/>
                  </a:lnTo>
                  <a:lnTo>
                    <a:pt x="309" y="56"/>
                  </a:lnTo>
                  <a:lnTo>
                    <a:pt x="307" y="58"/>
                  </a:lnTo>
                  <a:lnTo>
                    <a:pt x="307" y="56"/>
                  </a:lnTo>
                  <a:lnTo>
                    <a:pt x="304" y="58"/>
                  </a:lnTo>
                  <a:lnTo>
                    <a:pt x="300" y="56"/>
                  </a:lnTo>
                  <a:lnTo>
                    <a:pt x="302" y="58"/>
                  </a:lnTo>
                  <a:lnTo>
                    <a:pt x="299" y="59"/>
                  </a:lnTo>
                  <a:lnTo>
                    <a:pt x="297" y="56"/>
                  </a:lnTo>
                  <a:lnTo>
                    <a:pt x="297" y="54"/>
                  </a:lnTo>
                  <a:lnTo>
                    <a:pt x="295" y="54"/>
                  </a:lnTo>
                  <a:lnTo>
                    <a:pt x="295" y="51"/>
                  </a:lnTo>
                  <a:lnTo>
                    <a:pt x="297" y="53"/>
                  </a:lnTo>
                  <a:lnTo>
                    <a:pt x="297" y="49"/>
                  </a:lnTo>
                  <a:lnTo>
                    <a:pt x="300" y="49"/>
                  </a:lnTo>
                  <a:lnTo>
                    <a:pt x="302" y="47"/>
                  </a:lnTo>
                  <a:lnTo>
                    <a:pt x="300" y="41"/>
                  </a:lnTo>
                  <a:lnTo>
                    <a:pt x="299" y="39"/>
                  </a:lnTo>
                  <a:lnTo>
                    <a:pt x="295" y="41"/>
                  </a:lnTo>
                  <a:lnTo>
                    <a:pt x="288" y="47"/>
                  </a:lnTo>
                  <a:lnTo>
                    <a:pt x="285" y="58"/>
                  </a:lnTo>
                  <a:lnTo>
                    <a:pt x="285" y="59"/>
                  </a:lnTo>
                  <a:lnTo>
                    <a:pt x="285" y="63"/>
                  </a:lnTo>
                  <a:lnTo>
                    <a:pt x="283" y="73"/>
                  </a:lnTo>
                  <a:lnTo>
                    <a:pt x="278" y="78"/>
                  </a:lnTo>
                  <a:lnTo>
                    <a:pt x="275" y="78"/>
                  </a:lnTo>
                  <a:lnTo>
                    <a:pt x="273" y="83"/>
                  </a:lnTo>
                  <a:lnTo>
                    <a:pt x="270" y="88"/>
                  </a:lnTo>
                  <a:lnTo>
                    <a:pt x="271" y="95"/>
                  </a:lnTo>
                  <a:lnTo>
                    <a:pt x="268" y="100"/>
                  </a:lnTo>
                  <a:lnTo>
                    <a:pt x="265" y="90"/>
                  </a:lnTo>
                  <a:lnTo>
                    <a:pt x="268" y="82"/>
                  </a:lnTo>
                  <a:lnTo>
                    <a:pt x="270" y="78"/>
                  </a:lnTo>
                  <a:lnTo>
                    <a:pt x="270" y="75"/>
                  </a:lnTo>
                  <a:lnTo>
                    <a:pt x="268" y="68"/>
                  </a:lnTo>
                  <a:lnTo>
                    <a:pt x="263" y="65"/>
                  </a:lnTo>
                  <a:lnTo>
                    <a:pt x="261" y="54"/>
                  </a:lnTo>
                  <a:lnTo>
                    <a:pt x="258" y="51"/>
                  </a:lnTo>
                  <a:lnTo>
                    <a:pt x="266" y="49"/>
                  </a:lnTo>
                  <a:lnTo>
                    <a:pt x="271" y="44"/>
                  </a:lnTo>
                  <a:lnTo>
                    <a:pt x="275" y="44"/>
                  </a:lnTo>
                  <a:lnTo>
                    <a:pt x="276" y="41"/>
                  </a:lnTo>
                  <a:lnTo>
                    <a:pt x="276" y="42"/>
                  </a:lnTo>
                  <a:lnTo>
                    <a:pt x="278" y="41"/>
                  </a:lnTo>
                  <a:lnTo>
                    <a:pt x="282" y="41"/>
                  </a:lnTo>
                  <a:lnTo>
                    <a:pt x="290" y="39"/>
                  </a:lnTo>
                  <a:lnTo>
                    <a:pt x="288" y="34"/>
                  </a:lnTo>
                  <a:lnTo>
                    <a:pt x="292" y="32"/>
                  </a:lnTo>
                  <a:lnTo>
                    <a:pt x="292" y="29"/>
                  </a:lnTo>
                  <a:lnTo>
                    <a:pt x="287" y="30"/>
                  </a:lnTo>
                  <a:lnTo>
                    <a:pt x="285" y="29"/>
                  </a:lnTo>
                  <a:lnTo>
                    <a:pt x="294" y="24"/>
                  </a:lnTo>
                  <a:lnTo>
                    <a:pt x="294" y="22"/>
                  </a:lnTo>
                  <a:lnTo>
                    <a:pt x="292" y="20"/>
                  </a:lnTo>
                  <a:lnTo>
                    <a:pt x="297" y="18"/>
                  </a:lnTo>
                  <a:lnTo>
                    <a:pt x="297" y="15"/>
                  </a:lnTo>
                  <a:lnTo>
                    <a:pt x="306" y="15"/>
                  </a:lnTo>
                  <a:lnTo>
                    <a:pt x="309" y="17"/>
                  </a:lnTo>
                  <a:lnTo>
                    <a:pt x="319" y="15"/>
                  </a:lnTo>
                  <a:lnTo>
                    <a:pt x="324" y="17"/>
                  </a:lnTo>
                  <a:lnTo>
                    <a:pt x="329" y="13"/>
                  </a:lnTo>
                  <a:lnTo>
                    <a:pt x="335" y="15"/>
                  </a:lnTo>
                  <a:lnTo>
                    <a:pt x="338" y="12"/>
                  </a:lnTo>
                  <a:lnTo>
                    <a:pt x="345" y="15"/>
                  </a:lnTo>
                  <a:lnTo>
                    <a:pt x="352" y="15"/>
                  </a:lnTo>
                  <a:lnTo>
                    <a:pt x="357" y="13"/>
                  </a:lnTo>
                  <a:lnTo>
                    <a:pt x="362" y="15"/>
                  </a:lnTo>
                  <a:lnTo>
                    <a:pt x="367" y="13"/>
                  </a:lnTo>
                  <a:lnTo>
                    <a:pt x="377" y="17"/>
                  </a:lnTo>
                  <a:lnTo>
                    <a:pt x="387" y="13"/>
                  </a:lnTo>
                  <a:lnTo>
                    <a:pt x="393" y="13"/>
                  </a:lnTo>
                  <a:lnTo>
                    <a:pt x="399" y="8"/>
                  </a:lnTo>
                  <a:lnTo>
                    <a:pt x="403" y="8"/>
                  </a:lnTo>
                  <a:lnTo>
                    <a:pt x="406" y="15"/>
                  </a:lnTo>
                  <a:lnTo>
                    <a:pt x="405" y="20"/>
                  </a:lnTo>
                  <a:lnTo>
                    <a:pt x="406" y="18"/>
                  </a:lnTo>
                  <a:lnTo>
                    <a:pt x="406" y="25"/>
                  </a:lnTo>
                  <a:lnTo>
                    <a:pt x="413" y="29"/>
                  </a:lnTo>
                  <a:lnTo>
                    <a:pt x="416" y="25"/>
                  </a:lnTo>
                  <a:lnTo>
                    <a:pt x="420" y="27"/>
                  </a:lnTo>
                  <a:lnTo>
                    <a:pt x="418" y="25"/>
                  </a:lnTo>
                  <a:lnTo>
                    <a:pt x="420" y="22"/>
                  </a:lnTo>
                  <a:lnTo>
                    <a:pt x="423" y="27"/>
                  </a:lnTo>
                  <a:lnTo>
                    <a:pt x="422" y="25"/>
                  </a:lnTo>
                  <a:lnTo>
                    <a:pt x="423" y="22"/>
                  </a:lnTo>
                  <a:lnTo>
                    <a:pt x="428" y="20"/>
                  </a:lnTo>
                  <a:lnTo>
                    <a:pt x="437" y="17"/>
                  </a:lnTo>
                  <a:lnTo>
                    <a:pt x="439" y="15"/>
                  </a:lnTo>
                  <a:lnTo>
                    <a:pt x="442" y="6"/>
                  </a:lnTo>
                  <a:lnTo>
                    <a:pt x="449" y="6"/>
                  </a:lnTo>
                  <a:lnTo>
                    <a:pt x="454" y="6"/>
                  </a:lnTo>
                  <a:lnTo>
                    <a:pt x="459" y="8"/>
                  </a:lnTo>
                  <a:lnTo>
                    <a:pt x="461" y="5"/>
                  </a:lnTo>
                  <a:lnTo>
                    <a:pt x="463" y="8"/>
                  </a:lnTo>
                  <a:close/>
                  <a:moveTo>
                    <a:pt x="394" y="0"/>
                  </a:moveTo>
                  <a:lnTo>
                    <a:pt x="396" y="0"/>
                  </a:lnTo>
                  <a:lnTo>
                    <a:pt x="396" y="1"/>
                  </a:lnTo>
                  <a:lnTo>
                    <a:pt x="394" y="1"/>
                  </a:lnTo>
                  <a:lnTo>
                    <a:pt x="394"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6" name="Freeform 63"/>
            <p:cNvSpPr>
              <a:spLocks noEditPoints="1"/>
            </p:cNvSpPr>
            <p:nvPr/>
          </p:nvSpPr>
          <p:spPr bwMode="gray">
            <a:xfrm>
              <a:off x="8372581" y="2921212"/>
              <a:ext cx="1296994" cy="1176598"/>
            </a:xfrm>
            <a:custGeom>
              <a:avLst/>
              <a:gdLst>
                <a:gd name="T0" fmla="*/ 588 w 711"/>
                <a:gd name="T1" fmla="*/ 608 h 645"/>
                <a:gd name="T2" fmla="*/ 561 w 711"/>
                <a:gd name="T3" fmla="*/ 592 h 645"/>
                <a:gd name="T4" fmla="*/ 411 w 711"/>
                <a:gd name="T5" fmla="*/ 539 h 645"/>
                <a:gd name="T6" fmla="*/ 380 w 711"/>
                <a:gd name="T7" fmla="*/ 444 h 645"/>
                <a:gd name="T8" fmla="*/ 606 w 711"/>
                <a:gd name="T9" fmla="*/ 433 h 645"/>
                <a:gd name="T10" fmla="*/ 546 w 711"/>
                <a:gd name="T11" fmla="*/ 423 h 645"/>
                <a:gd name="T12" fmla="*/ 544 w 711"/>
                <a:gd name="T13" fmla="*/ 411 h 645"/>
                <a:gd name="T14" fmla="*/ 530 w 711"/>
                <a:gd name="T15" fmla="*/ 398 h 645"/>
                <a:gd name="T16" fmla="*/ 551 w 711"/>
                <a:gd name="T17" fmla="*/ 391 h 645"/>
                <a:gd name="T18" fmla="*/ 549 w 711"/>
                <a:gd name="T19" fmla="*/ 391 h 645"/>
                <a:gd name="T20" fmla="*/ 109 w 711"/>
                <a:gd name="T21" fmla="*/ 386 h 645"/>
                <a:gd name="T22" fmla="*/ 133 w 711"/>
                <a:gd name="T23" fmla="*/ 379 h 645"/>
                <a:gd name="T24" fmla="*/ 609 w 711"/>
                <a:gd name="T25" fmla="*/ 367 h 645"/>
                <a:gd name="T26" fmla="*/ 37 w 711"/>
                <a:gd name="T27" fmla="*/ 341 h 645"/>
                <a:gd name="T28" fmla="*/ 129 w 711"/>
                <a:gd name="T29" fmla="*/ 331 h 645"/>
                <a:gd name="T30" fmla="*/ 119 w 711"/>
                <a:gd name="T31" fmla="*/ 370 h 645"/>
                <a:gd name="T32" fmla="*/ 99 w 711"/>
                <a:gd name="T33" fmla="*/ 334 h 645"/>
                <a:gd name="T34" fmla="*/ 244 w 711"/>
                <a:gd name="T35" fmla="*/ 293 h 645"/>
                <a:gd name="T36" fmla="*/ 216 w 711"/>
                <a:gd name="T37" fmla="*/ 275 h 645"/>
                <a:gd name="T38" fmla="*/ 5 w 711"/>
                <a:gd name="T39" fmla="*/ 271 h 645"/>
                <a:gd name="T40" fmla="*/ 51 w 711"/>
                <a:gd name="T41" fmla="*/ 273 h 645"/>
                <a:gd name="T42" fmla="*/ 220 w 711"/>
                <a:gd name="T43" fmla="*/ 247 h 645"/>
                <a:gd name="T44" fmla="*/ 213 w 711"/>
                <a:gd name="T45" fmla="*/ 244 h 645"/>
                <a:gd name="T46" fmla="*/ 165 w 711"/>
                <a:gd name="T47" fmla="*/ 242 h 645"/>
                <a:gd name="T48" fmla="*/ 186 w 711"/>
                <a:gd name="T49" fmla="*/ 220 h 645"/>
                <a:gd name="T50" fmla="*/ 138 w 711"/>
                <a:gd name="T51" fmla="*/ 234 h 645"/>
                <a:gd name="T52" fmla="*/ 180 w 711"/>
                <a:gd name="T53" fmla="*/ 222 h 645"/>
                <a:gd name="T54" fmla="*/ 116 w 711"/>
                <a:gd name="T55" fmla="*/ 196 h 645"/>
                <a:gd name="T56" fmla="*/ 140 w 711"/>
                <a:gd name="T57" fmla="*/ 182 h 645"/>
                <a:gd name="T58" fmla="*/ 674 w 711"/>
                <a:gd name="T59" fmla="*/ 618 h 645"/>
                <a:gd name="T60" fmla="*/ 647 w 711"/>
                <a:gd name="T61" fmla="*/ 603 h 645"/>
                <a:gd name="T62" fmla="*/ 641 w 711"/>
                <a:gd name="T63" fmla="*/ 599 h 645"/>
                <a:gd name="T64" fmla="*/ 573 w 711"/>
                <a:gd name="T65" fmla="*/ 596 h 645"/>
                <a:gd name="T66" fmla="*/ 539 w 711"/>
                <a:gd name="T67" fmla="*/ 575 h 645"/>
                <a:gd name="T68" fmla="*/ 489 w 711"/>
                <a:gd name="T69" fmla="*/ 572 h 645"/>
                <a:gd name="T70" fmla="*/ 409 w 711"/>
                <a:gd name="T71" fmla="*/ 570 h 645"/>
                <a:gd name="T72" fmla="*/ 390 w 711"/>
                <a:gd name="T73" fmla="*/ 507 h 645"/>
                <a:gd name="T74" fmla="*/ 327 w 711"/>
                <a:gd name="T75" fmla="*/ 469 h 645"/>
                <a:gd name="T76" fmla="*/ 372 w 711"/>
                <a:gd name="T77" fmla="*/ 456 h 645"/>
                <a:gd name="T78" fmla="*/ 481 w 711"/>
                <a:gd name="T79" fmla="*/ 425 h 645"/>
                <a:gd name="T80" fmla="*/ 536 w 711"/>
                <a:gd name="T81" fmla="*/ 439 h 645"/>
                <a:gd name="T82" fmla="*/ 554 w 711"/>
                <a:gd name="T83" fmla="*/ 380 h 645"/>
                <a:gd name="T84" fmla="*/ 515 w 711"/>
                <a:gd name="T85" fmla="*/ 394 h 645"/>
                <a:gd name="T86" fmla="*/ 389 w 711"/>
                <a:gd name="T87" fmla="*/ 391 h 645"/>
                <a:gd name="T88" fmla="*/ 322 w 711"/>
                <a:gd name="T89" fmla="*/ 336 h 645"/>
                <a:gd name="T90" fmla="*/ 283 w 711"/>
                <a:gd name="T91" fmla="*/ 302 h 645"/>
                <a:gd name="T92" fmla="*/ 233 w 711"/>
                <a:gd name="T93" fmla="*/ 258 h 645"/>
                <a:gd name="T94" fmla="*/ 288 w 711"/>
                <a:gd name="T95" fmla="*/ 217 h 645"/>
                <a:gd name="T96" fmla="*/ 443 w 711"/>
                <a:gd name="T97" fmla="*/ 187 h 645"/>
                <a:gd name="T98" fmla="*/ 573 w 711"/>
                <a:gd name="T99" fmla="*/ 234 h 645"/>
                <a:gd name="T100" fmla="*/ 575 w 711"/>
                <a:gd name="T101" fmla="*/ 351 h 645"/>
                <a:gd name="T102" fmla="*/ 600 w 711"/>
                <a:gd name="T103" fmla="*/ 439 h 645"/>
                <a:gd name="T104" fmla="*/ 105 w 711"/>
                <a:gd name="T105" fmla="*/ 167 h 645"/>
                <a:gd name="T106" fmla="*/ 126 w 711"/>
                <a:gd name="T107" fmla="*/ 152 h 645"/>
                <a:gd name="T108" fmla="*/ 199 w 711"/>
                <a:gd name="T109" fmla="*/ 136 h 645"/>
                <a:gd name="T110" fmla="*/ 191 w 711"/>
                <a:gd name="T111" fmla="*/ 164 h 645"/>
                <a:gd name="T112" fmla="*/ 194 w 711"/>
                <a:gd name="T113" fmla="*/ 172 h 645"/>
                <a:gd name="T114" fmla="*/ 129 w 711"/>
                <a:gd name="T115" fmla="*/ 160 h 645"/>
                <a:gd name="T116" fmla="*/ 119 w 711"/>
                <a:gd name="T117" fmla="*/ 145 h 645"/>
                <a:gd name="T118" fmla="*/ 172 w 711"/>
                <a:gd name="T119" fmla="*/ 133 h 645"/>
                <a:gd name="T120" fmla="*/ 99 w 711"/>
                <a:gd name="T121" fmla="*/ 111 h 645"/>
                <a:gd name="T122" fmla="*/ 233 w 711"/>
                <a:gd name="T123" fmla="*/ 3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1" h="645">
                  <a:moveTo>
                    <a:pt x="481" y="620"/>
                  </a:moveTo>
                  <a:lnTo>
                    <a:pt x="484" y="621"/>
                  </a:lnTo>
                  <a:lnTo>
                    <a:pt x="486" y="625"/>
                  </a:lnTo>
                  <a:lnTo>
                    <a:pt x="488" y="625"/>
                  </a:lnTo>
                  <a:lnTo>
                    <a:pt x="495" y="630"/>
                  </a:lnTo>
                  <a:lnTo>
                    <a:pt x="505" y="633"/>
                  </a:lnTo>
                  <a:lnTo>
                    <a:pt x="507" y="633"/>
                  </a:lnTo>
                  <a:lnTo>
                    <a:pt x="510" y="638"/>
                  </a:lnTo>
                  <a:lnTo>
                    <a:pt x="517" y="644"/>
                  </a:lnTo>
                  <a:lnTo>
                    <a:pt x="517" y="645"/>
                  </a:lnTo>
                  <a:lnTo>
                    <a:pt x="510" y="640"/>
                  </a:lnTo>
                  <a:lnTo>
                    <a:pt x="507" y="637"/>
                  </a:lnTo>
                  <a:lnTo>
                    <a:pt x="501" y="638"/>
                  </a:lnTo>
                  <a:lnTo>
                    <a:pt x="496" y="638"/>
                  </a:lnTo>
                  <a:lnTo>
                    <a:pt x="491" y="633"/>
                  </a:lnTo>
                  <a:lnTo>
                    <a:pt x="488" y="632"/>
                  </a:lnTo>
                  <a:lnTo>
                    <a:pt x="484" y="630"/>
                  </a:lnTo>
                  <a:lnTo>
                    <a:pt x="481" y="630"/>
                  </a:lnTo>
                  <a:lnTo>
                    <a:pt x="483" y="628"/>
                  </a:lnTo>
                  <a:lnTo>
                    <a:pt x="483" y="626"/>
                  </a:lnTo>
                  <a:lnTo>
                    <a:pt x="479" y="625"/>
                  </a:lnTo>
                  <a:lnTo>
                    <a:pt x="479" y="620"/>
                  </a:lnTo>
                  <a:lnTo>
                    <a:pt x="481" y="620"/>
                  </a:lnTo>
                  <a:close/>
                  <a:moveTo>
                    <a:pt x="633" y="616"/>
                  </a:moveTo>
                  <a:lnTo>
                    <a:pt x="635" y="616"/>
                  </a:lnTo>
                  <a:lnTo>
                    <a:pt x="635" y="618"/>
                  </a:lnTo>
                  <a:lnTo>
                    <a:pt x="633" y="618"/>
                  </a:lnTo>
                  <a:lnTo>
                    <a:pt x="633" y="616"/>
                  </a:lnTo>
                  <a:close/>
                  <a:moveTo>
                    <a:pt x="588" y="608"/>
                  </a:moveTo>
                  <a:lnTo>
                    <a:pt x="592" y="609"/>
                  </a:lnTo>
                  <a:lnTo>
                    <a:pt x="592" y="613"/>
                  </a:lnTo>
                  <a:lnTo>
                    <a:pt x="588" y="613"/>
                  </a:lnTo>
                  <a:lnTo>
                    <a:pt x="588" y="609"/>
                  </a:lnTo>
                  <a:lnTo>
                    <a:pt x="588" y="608"/>
                  </a:lnTo>
                  <a:close/>
                  <a:moveTo>
                    <a:pt x="606" y="606"/>
                  </a:moveTo>
                  <a:lnTo>
                    <a:pt x="614" y="609"/>
                  </a:lnTo>
                  <a:lnTo>
                    <a:pt x="614" y="611"/>
                  </a:lnTo>
                  <a:lnTo>
                    <a:pt x="604" y="611"/>
                  </a:lnTo>
                  <a:lnTo>
                    <a:pt x="607" y="609"/>
                  </a:lnTo>
                  <a:lnTo>
                    <a:pt x="606" y="606"/>
                  </a:lnTo>
                  <a:close/>
                  <a:moveTo>
                    <a:pt x="662" y="603"/>
                  </a:moveTo>
                  <a:lnTo>
                    <a:pt x="664" y="604"/>
                  </a:lnTo>
                  <a:lnTo>
                    <a:pt x="664" y="606"/>
                  </a:lnTo>
                  <a:lnTo>
                    <a:pt x="662" y="606"/>
                  </a:lnTo>
                  <a:lnTo>
                    <a:pt x="660" y="604"/>
                  </a:lnTo>
                  <a:lnTo>
                    <a:pt x="662" y="603"/>
                  </a:lnTo>
                  <a:close/>
                  <a:moveTo>
                    <a:pt x="643" y="601"/>
                  </a:moveTo>
                  <a:lnTo>
                    <a:pt x="650" y="603"/>
                  </a:lnTo>
                  <a:lnTo>
                    <a:pt x="648" y="603"/>
                  </a:lnTo>
                  <a:lnTo>
                    <a:pt x="643" y="604"/>
                  </a:lnTo>
                  <a:lnTo>
                    <a:pt x="643" y="601"/>
                  </a:lnTo>
                  <a:close/>
                  <a:moveTo>
                    <a:pt x="573" y="597"/>
                  </a:moveTo>
                  <a:lnTo>
                    <a:pt x="580" y="606"/>
                  </a:lnTo>
                  <a:lnTo>
                    <a:pt x="580" y="604"/>
                  </a:lnTo>
                  <a:lnTo>
                    <a:pt x="582" y="609"/>
                  </a:lnTo>
                  <a:lnTo>
                    <a:pt x="587" y="611"/>
                  </a:lnTo>
                  <a:lnTo>
                    <a:pt x="583" y="611"/>
                  </a:lnTo>
                  <a:lnTo>
                    <a:pt x="585" y="611"/>
                  </a:lnTo>
                  <a:lnTo>
                    <a:pt x="580" y="609"/>
                  </a:lnTo>
                  <a:lnTo>
                    <a:pt x="582" y="609"/>
                  </a:lnTo>
                  <a:lnTo>
                    <a:pt x="571" y="606"/>
                  </a:lnTo>
                  <a:lnTo>
                    <a:pt x="570" y="601"/>
                  </a:lnTo>
                  <a:lnTo>
                    <a:pt x="566" y="599"/>
                  </a:lnTo>
                  <a:lnTo>
                    <a:pt x="573" y="597"/>
                  </a:lnTo>
                  <a:close/>
                  <a:moveTo>
                    <a:pt x="561" y="589"/>
                  </a:moveTo>
                  <a:lnTo>
                    <a:pt x="565" y="589"/>
                  </a:lnTo>
                  <a:lnTo>
                    <a:pt x="565" y="592"/>
                  </a:lnTo>
                  <a:lnTo>
                    <a:pt x="561" y="592"/>
                  </a:lnTo>
                  <a:lnTo>
                    <a:pt x="561" y="589"/>
                  </a:lnTo>
                  <a:close/>
                  <a:moveTo>
                    <a:pt x="551" y="585"/>
                  </a:moveTo>
                  <a:lnTo>
                    <a:pt x="553" y="589"/>
                  </a:lnTo>
                  <a:lnTo>
                    <a:pt x="551" y="592"/>
                  </a:lnTo>
                  <a:lnTo>
                    <a:pt x="549" y="587"/>
                  </a:lnTo>
                  <a:lnTo>
                    <a:pt x="548" y="582"/>
                  </a:lnTo>
                  <a:lnTo>
                    <a:pt x="546" y="577"/>
                  </a:lnTo>
                  <a:lnTo>
                    <a:pt x="546" y="573"/>
                  </a:lnTo>
                  <a:lnTo>
                    <a:pt x="548" y="575"/>
                  </a:lnTo>
                  <a:lnTo>
                    <a:pt x="551" y="585"/>
                  </a:lnTo>
                  <a:close/>
                  <a:moveTo>
                    <a:pt x="503" y="541"/>
                  </a:moveTo>
                  <a:lnTo>
                    <a:pt x="503" y="543"/>
                  </a:lnTo>
                  <a:lnTo>
                    <a:pt x="500" y="541"/>
                  </a:lnTo>
                  <a:lnTo>
                    <a:pt x="503" y="541"/>
                  </a:lnTo>
                  <a:close/>
                  <a:moveTo>
                    <a:pt x="411" y="544"/>
                  </a:moveTo>
                  <a:lnTo>
                    <a:pt x="411" y="539"/>
                  </a:lnTo>
                  <a:lnTo>
                    <a:pt x="411" y="544"/>
                  </a:lnTo>
                  <a:close/>
                  <a:moveTo>
                    <a:pt x="515" y="538"/>
                  </a:moveTo>
                  <a:lnTo>
                    <a:pt x="517" y="539"/>
                  </a:lnTo>
                  <a:lnTo>
                    <a:pt x="515" y="543"/>
                  </a:lnTo>
                  <a:lnTo>
                    <a:pt x="513" y="539"/>
                  </a:lnTo>
                  <a:lnTo>
                    <a:pt x="515" y="538"/>
                  </a:lnTo>
                  <a:close/>
                  <a:moveTo>
                    <a:pt x="399" y="536"/>
                  </a:moveTo>
                  <a:lnTo>
                    <a:pt x="402" y="538"/>
                  </a:lnTo>
                  <a:lnTo>
                    <a:pt x="404" y="541"/>
                  </a:lnTo>
                  <a:lnTo>
                    <a:pt x="408" y="544"/>
                  </a:lnTo>
                  <a:lnTo>
                    <a:pt x="408" y="548"/>
                  </a:lnTo>
                  <a:lnTo>
                    <a:pt x="404" y="550"/>
                  </a:lnTo>
                  <a:lnTo>
                    <a:pt x="402" y="546"/>
                  </a:lnTo>
                  <a:lnTo>
                    <a:pt x="404" y="543"/>
                  </a:lnTo>
                  <a:lnTo>
                    <a:pt x="397" y="539"/>
                  </a:lnTo>
                  <a:lnTo>
                    <a:pt x="397" y="536"/>
                  </a:lnTo>
                  <a:lnTo>
                    <a:pt x="399" y="536"/>
                  </a:lnTo>
                  <a:close/>
                  <a:moveTo>
                    <a:pt x="411" y="539"/>
                  </a:moveTo>
                  <a:lnTo>
                    <a:pt x="411" y="534"/>
                  </a:lnTo>
                  <a:lnTo>
                    <a:pt x="413" y="538"/>
                  </a:lnTo>
                  <a:lnTo>
                    <a:pt x="411" y="539"/>
                  </a:lnTo>
                  <a:close/>
                  <a:moveTo>
                    <a:pt x="375" y="500"/>
                  </a:moveTo>
                  <a:lnTo>
                    <a:pt x="382" y="502"/>
                  </a:lnTo>
                  <a:lnTo>
                    <a:pt x="387" y="505"/>
                  </a:lnTo>
                  <a:lnTo>
                    <a:pt x="387" y="503"/>
                  </a:lnTo>
                  <a:lnTo>
                    <a:pt x="387" y="505"/>
                  </a:lnTo>
                  <a:lnTo>
                    <a:pt x="379" y="503"/>
                  </a:lnTo>
                  <a:lnTo>
                    <a:pt x="375" y="500"/>
                  </a:lnTo>
                  <a:close/>
                  <a:moveTo>
                    <a:pt x="338" y="485"/>
                  </a:moveTo>
                  <a:lnTo>
                    <a:pt x="339" y="485"/>
                  </a:lnTo>
                  <a:lnTo>
                    <a:pt x="336" y="485"/>
                  </a:lnTo>
                  <a:lnTo>
                    <a:pt x="338" y="485"/>
                  </a:lnTo>
                  <a:close/>
                  <a:moveTo>
                    <a:pt x="343" y="483"/>
                  </a:moveTo>
                  <a:lnTo>
                    <a:pt x="346" y="485"/>
                  </a:lnTo>
                  <a:lnTo>
                    <a:pt x="351" y="485"/>
                  </a:lnTo>
                  <a:lnTo>
                    <a:pt x="358" y="485"/>
                  </a:lnTo>
                  <a:lnTo>
                    <a:pt x="361" y="486"/>
                  </a:lnTo>
                  <a:lnTo>
                    <a:pt x="351" y="485"/>
                  </a:lnTo>
                  <a:lnTo>
                    <a:pt x="344" y="485"/>
                  </a:lnTo>
                  <a:lnTo>
                    <a:pt x="343" y="483"/>
                  </a:lnTo>
                  <a:close/>
                  <a:moveTo>
                    <a:pt x="320" y="480"/>
                  </a:moveTo>
                  <a:lnTo>
                    <a:pt x="324" y="481"/>
                  </a:lnTo>
                  <a:lnTo>
                    <a:pt x="322" y="481"/>
                  </a:lnTo>
                  <a:lnTo>
                    <a:pt x="320" y="480"/>
                  </a:lnTo>
                  <a:close/>
                  <a:moveTo>
                    <a:pt x="389" y="445"/>
                  </a:moveTo>
                  <a:lnTo>
                    <a:pt x="392" y="445"/>
                  </a:lnTo>
                  <a:lnTo>
                    <a:pt x="390" y="445"/>
                  </a:lnTo>
                  <a:lnTo>
                    <a:pt x="390" y="447"/>
                  </a:lnTo>
                  <a:lnTo>
                    <a:pt x="387" y="445"/>
                  </a:lnTo>
                  <a:lnTo>
                    <a:pt x="389" y="445"/>
                  </a:lnTo>
                  <a:close/>
                  <a:moveTo>
                    <a:pt x="379" y="444"/>
                  </a:moveTo>
                  <a:lnTo>
                    <a:pt x="380" y="444"/>
                  </a:lnTo>
                  <a:lnTo>
                    <a:pt x="384" y="444"/>
                  </a:lnTo>
                  <a:lnTo>
                    <a:pt x="384" y="447"/>
                  </a:lnTo>
                  <a:lnTo>
                    <a:pt x="377" y="449"/>
                  </a:lnTo>
                  <a:lnTo>
                    <a:pt x="377" y="445"/>
                  </a:lnTo>
                  <a:lnTo>
                    <a:pt x="375" y="445"/>
                  </a:lnTo>
                  <a:lnTo>
                    <a:pt x="377" y="445"/>
                  </a:lnTo>
                  <a:lnTo>
                    <a:pt x="377" y="444"/>
                  </a:lnTo>
                  <a:lnTo>
                    <a:pt x="379" y="444"/>
                  </a:lnTo>
                  <a:close/>
                  <a:moveTo>
                    <a:pt x="283" y="442"/>
                  </a:moveTo>
                  <a:lnTo>
                    <a:pt x="273" y="447"/>
                  </a:lnTo>
                  <a:lnTo>
                    <a:pt x="274" y="445"/>
                  </a:lnTo>
                  <a:lnTo>
                    <a:pt x="283" y="442"/>
                  </a:lnTo>
                  <a:close/>
                  <a:moveTo>
                    <a:pt x="489" y="447"/>
                  </a:moveTo>
                  <a:lnTo>
                    <a:pt x="489" y="439"/>
                  </a:lnTo>
                  <a:lnTo>
                    <a:pt x="491" y="442"/>
                  </a:lnTo>
                  <a:lnTo>
                    <a:pt x="489" y="442"/>
                  </a:lnTo>
                  <a:lnTo>
                    <a:pt x="489" y="447"/>
                  </a:lnTo>
                  <a:close/>
                  <a:moveTo>
                    <a:pt x="507" y="433"/>
                  </a:moveTo>
                  <a:lnTo>
                    <a:pt x="510" y="435"/>
                  </a:lnTo>
                  <a:lnTo>
                    <a:pt x="508" y="437"/>
                  </a:lnTo>
                  <a:lnTo>
                    <a:pt x="510" y="439"/>
                  </a:lnTo>
                  <a:lnTo>
                    <a:pt x="510" y="440"/>
                  </a:lnTo>
                  <a:lnTo>
                    <a:pt x="507" y="440"/>
                  </a:lnTo>
                  <a:lnTo>
                    <a:pt x="505" y="439"/>
                  </a:lnTo>
                  <a:lnTo>
                    <a:pt x="505" y="435"/>
                  </a:lnTo>
                  <a:lnTo>
                    <a:pt x="507" y="433"/>
                  </a:lnTo>
                  <a:close/>
                  <a:moveTo>
                    <a:pt x="513" y="432"/>
                  </a:moveTo>
                  <a:lnTo>
                    <a:pt x="515" y="433"/>
                  </a:lnTo>
                  <a:lnTo>
                    <a:pt x="512" y="435"/>
                  </a:lnTo>
                  <a:lnTo>
                    <a:pt x="513" y="432"/>
                  </a:lnTo>
                  <a:close/>
                  <a:moveTo>
                    <a:pt x="607" y="432"/>
                  </a:moveTo>
                  <a:lnTo>
                    <a:pt x="609" y="432"/>
                  </a:lnTo>
                  <a:lnTo>
                    <a:pt x="609" y="437"/>
                  </a:lnTo>
                  <a:lnTo>
                    <a:pt x="606" y="433"/>
                  </a:lnTo>
                  <a:lnTo>
                    <a:pt x="606" y="430"/>
                  </a:lnTo>
                  <a:lnTo>
                    <a:pt x="607" y="432"/>
                  </a:lnTo>
                  <a:close/>
                  <a:moveTo>
                    <a:pt x="524" y="430"/>
                  </a:moveTo>
                  <a:lnTo>
                    <a:pt x="522" y="432"/>
                  </a:lnTo>
                  <a:lnTo>
                    <a:pt x="518" y="428"/>
                  </a:lnTo>
                  <a:lnTo>
                    <a:pt x="520" y="427"/>
                  </a:lnTo>
                  <a:lnTo>
                    <a:pt x="524" y="430"/>
                  </a:lnTo>
                  <a:close/>
                  <a:moveTo>
                    <a:pt x="599" y="425"/>
                  </a:moveTo>
                  <a:lnTo>
                    <a:pt x="599" y="428"/>
                  </a:lnTo>
                  <a:lnTo>
                    <a:pt x="599" y="425"/>
                  </a:lnTo>
                  <a:close/>
                  <a:moveTo>
                    <a:pt x="483" y="420"/>
                  </a:moveTo>
                  <a:lnTo>
                    <a:pt x="486" y="421"/>
                  </a:lnTo>
                  <a:lnTo>
                    <a:pt x="486" y="428"/>
                  </a:lnTo>
                  <a:lnTo>
                    <a:pt x="479" y="421"/>
                  </a:lnTo>
                  <a:lnTo>
                    <a:pt x="481" y="418"/>
                  </a:lnTo>
                  <a:lnTo>
                    <a:pt x="483" y="420"/>
                  </a:lnTo>
                  <a:close/>
                  <a:moveTo>
                    <a:pt x="501" y="418"/>
                  </a:moveTo>
                  <a:lnTo>
                    <a:pt x="508" y="421"/>
                  </a:lnTo>
                  <a:lnTo>
                    <a:pt x="508" y="425"/>
                  </a:lnTo>
                  <a:lnTo>
                    <a:pt x="510" y="421"/>
                  </a:lnTo>
                  <a:lnTo>
                    <a:pt x="513" y="423"/>
                  </a:lnTo>
                  <a:lnTo>
                    <a:pt x="515" y="428"/>
                  </a:lnTo>
                  <a:lnTo>
                    <a:pt x="512" y="430"/>
                  </a:lnTo>
                  <a:lnTo>
                    <a:pt x="510" y="430"/>
                  </a:lnTo>
                  <a:lnTo>
                    <a:pt x="510" y="427"/>
                  </a:lnTo>
                  <a:lnTo>
                    <a:pt x="510" y="428"/>
                  </a:lnTo>
                  <a:lnTo>
                    <a:pt x="507" y="427"/>
                  </a:lnTo>
                  <a:lnTo>
                    <a:pt x="508" y="427"/>
                  </a:lnTo>
                  <a:lnTo>
                    <a:pt x="505" y="427"/>
                  </a:lnTo>
                  <a:lnTo>
                    <a:pt x="503" y="421"/>
                  </a:lnTo>
                  <a:lnTo>
                    <a:pt x="500" y="420"/>
                  </a:lnTo>
                  <a:lnTo>
                    <a:pt x="501" y="418"/>
                  </a:lnTo>
                  <a:close/>
                  <a:moveTo>
                    <a:pt x="542" y="416"/>
                  </a:moveTo>
                  <a:lnTo>
                    <a:pt x="546" y="423"/>
                  </a:lnTo>
                  <a:lnTo>
                    <a:pt x="546" y="425"/>
                  </a:lnTo>
                  <a:lnTo>
                    <a:pt x="541" y="421"/>
                  </a:lnTo>
                  <a:lnTo>
                    <a:pt x="539" y="423"/>
                  </a:lnTo>
                  <a:lnTo>
                    <a:pt x="534" y="427"/>
                  </a:lnTo>
                  <a:lnTo>
                    <a:pt x="529" y="421"/>
                  </a:lnTo>
                  <a:lnTo>
                    <a:pt x="530" y="420"/>
                  </a:lnTo>
                  <a:lnTo>
                    <a:pt x="537" y="418"/>
                  </a:lnTo>
                  <a:lnTo>
                    <a:pt x="541" y="416"/>
                  </a:lnTo>
                  <a:lnTo>
                    <a:pt x="542" y="416"/>
                  </a:lnTo>
                  <a:close/>
                  <a:moveTo>
                    <a:pt x="546" y="415"/>
                  </a:moveTo>
                  <a:lnTo>
                    <a:pt x="554" y="416"/>
                  </a:lnTo>
                  <a:lnTo>
                    <a:pt x="556" y="420"/>
                  </a:lnTo>
                  <a:lnTo>
                    <a:pt x="559" y="421"/>
                  </a:lnTo>
                  <a:lnTo>
                    <a:pt x="559" y="425"/>
                  </a:lnTo>
                  <a:lnTo>
                    <a:pt x="556" y="423"/>
                  </a:lnTo>
                  <a:lnTo>
                    <a:pt x="551" y="425"/>
                  </a:lnTo>
                  <a:lnTo>
                    <a:pt x="546" y="421"/>
                  </a:lnTo>
                  <a:lnTo>
                    <a:pt x="542" y="416"/>
                  </a:lnTo>
                  <a:lnTo>
                    <a:pt x="546" y="415"/>
                  </a:lnTo>
                  <a:close/>
                  <a:moveTo>
                    <a:pt x="623" y="410"/>
                  </a:moveTo>
                  <a:lnTo>
                    <a:pt x="626" y="410"/>
                  </a:lnTo>
                  <a:lnTo>
                    <a:pt x="626" y="411"/>
                  </a:lnTo>
                  <a:lnTo>
                    <a:pt x="623" y="411"/>
                  </a:lnTo>
                  <a:lnTo>
                    <a:pt x="623" y="410"/>
                  </a:lnTo>
                  <a:close/>
                  <a:moveTo>
                    <a:pt x="542" y="408"/>
                  </a:moveTo>
                  <a:lnTo>
                    <a:pt x="544" y="410"/>
                  </a:lnTo>
                  <a:lnTo>
                    <a:pt x="539" y="410"/>
                  </a:lnTo>
                  <a:lnTo>
                    <a:pt x="539" y="408"/>
                  </a:lnTo>
                  <a:lnTo>
                    <a:pt x="542" y="408"/>
                  </a:lnTo>
                  <a:close/>
                  <a:moveTo>
                    <a:pt x="556" y="408"/>
                  </a:moveTo>
                  <a:lnTo>
                    <a:pt x="561" y="413"/>
                  </a:lnTo>
                  <a:lnTo>
                    <a:pt x="559" y="415"/>
                  </a:lnTo>
                  <a:lnTo>
                    <a:pt x="553" y="415"/>
                  </a:lnTo>
                  <a:lnTo>
                    <a:pt x="544" y="411"/>
                  </a:lnTo>
                  <a:lnTo>
                    <a:pt x="551" y="408"/>
                  </a:lnTo>
                  <a:lnTo>
                    <a:pt x="556" y="408"/>
                  </a:lnTo>
                  <a:close/>
                  <a:moveTo>
                    <a:pt x="539" y="406"/>
                  </a:moveTo>
                  <a:lnTo>
                    <a:pt x="542" y="406"/>
                  </a:lnTo>
                  <a:lnTo>
                    <a:pt x="542" y="408"/>
                  </a:lnTo>
                  <a:lnTo>
                    <a:pt x="539" y="408"/>
                  </a:lnTo>
                  <a:lnTo>
                    <a:pt x="539" y="406"/>
                  </a:lnTo>
                  <a:close/>
                  <a:moveTo>
                    <a:pt x="629" y="403"/>
                  </a:moveTo>
                  <a:lnTo>
                    <a:pt x="631" y="406"/>
                  </a:lnTo>
                  <a:lnTo>
                    <a:pt x="631" y="411"/>
                  </a:lnTo>
                  <a:lnTo>
                    <a:pt x="633" y="416"/>
                  </a:lnTo>
                  <a:lnTo>
                    <a:pt x="629" y="416"/>
                  </a:lnTo>
                  <a:lnTo>
                    <a:pt x="631" y="418"/>
                  </a:lnTo>
                  <a:lnTo>
                    <a:pt x="629" y="421"/>
                  </a:lnTo>
                  <a:lnTo>
                    <a:pt x="626" y="420"/>
                  </a:lnTo>
                  <a:lnTo>
                    <a:pt x="629" y="418"/>
                  </a:lnTo>
                  <a:lnTo>
                    <a:pt x="623" y="416"/>
                  </a:lnTo>
                  <a:lnTo>
                    <a:pt x="623" y="415"/>
                  </a:lnTo>
                  <a:lnTo>
                    <a:pt x="624" y="415"/>
                  </a:lnTo>
                  <a:lnTo>
                    <a:pt x="623" y="411"/>
                  </a:lnTo>
                  <a:lnTo>
                    <a:pt x="629" y="413"/>
                  </a:lnTo>
                  <a:lnTo>
                    <a:pt x="629" y="410"/>
                  </a:lnTo>
                  <a:lnTo>
                    <a:pt x="628" y="408"/>
                  </a:lnTo>
                  <a:lnTo>
                    <a:pt x="629" y="403"/>
                  </a:lnTo>
                  <a:close/>
                  <a:moveTo>
                    <a:pt x="551" y="401"/>
                  </a:moveTo>
                  <a:lnTo>
                    <a:pt x="554" y="403"/>
                  </a:lnTo>
                  <a:lnTo>
                    <a:pt x="553" y="404"/>
                  </a:lnTo>
                  <a:lnTo>
                    <a:pt x="546" y="403"/>
                  </a:lnTo>
                  <a:lnTo>
                    <a:pt x="551" y="401"/>
                  </a:lnTo>
                  <a:close/>
                  <a:moveTo>
                    <a:pt x="530" y="398"/>
                  </a:moveTo>
                  <a:lnTo>
                    <a:pt x="532" y="399"/>
                  </a:lnTo>
                  <a:lnTo>
                    <a:pt x="529" y="401"/>
                  </a:lnTo>
                  <a:lnTo>
                    <a:pt x="527" y="399"/>
                  </a:lnTo>
                  <a:lnTo>
                    <a:pt x="530" y="398"/>
                  </a:lnTo>
                  <a:close/>
                  <a:moveTo>
                    <a:pt x="155" y="398"/>
                  </a:moveTo>
                  <a:lnTo>
                    <a:pt x="158" y="399"/>
                  </a:lnTo>
                  <a:lnTo>
                    <a:pt x="151" y="398"/>
                  </a:lnTo>
                  <a:lnTo>
                    <a:pt x="155" y="398"/>
                  </a:lnTo>
                  <a:close/>
                  <a:moveTo>
                    <a:pt x="114" y="396"/>
                  </a:moveTo>
                  <a:lnTo>
                    <a:pt x="117" y="396"/>
                  </a:lnTo>
                  <a:lnTo>
                    <a:pt x="114" y="396"/>
                  </a:lnTo>
                  <a:close/>
                  <a:moveTo>
                    <a:pt x="151" y="394"/>
                  </a:moveTo>
                  <a:lnTo>
                    <a:pt x="157" y="394"/>
                  </a:lnTo>
                  <a:lnTo>
                    <a:pt x="155" y="394"/>
                  </a:lnTo>
                  <a:lnTo>
                    <a:pt x="151" y="394"/>
                  </a:lnTo>
                  <a:close/>
                  <a:moveTo>
                    <a:pt x="148" y="394"/>
                  </a:moveTo>
                  <a:lnTo>
                    <a:pt x="146" y="396"/>
                  </a:lnTo>
                  <a:lnTo>
                    <a:pt x="143" y="396"/>
                  </a:lnTo>
                  <a:lnTo>
                    <a:pt x="148" y="394"/>
                  </a:lnTo>
                  <a:close/>
                  <a:moveTo>
                    <a:pt x="513" y="394"/>
                  </a:moveTo>
                  <a:lnTo>
                    <a:pt x="517" y="394"/>
                  </a:lnTo>
                  <a:lnTo>
                    <a:pt x="517" y="396"/>
                  </a:lnTo>
                  <a:lnTo>
                    <a:pt x="513" y="396"/>
                  </a:lnTo>
                  <a:lnTo>
                    <a:pt x="513" y="394"/>
                  </a:lnTo>
                  <a:close/>
                  <a:moveTo>
                    <a:pt x="532" y="394"/>
                  </a:moveTo>
                  <a:lnTo>
                    <a:pt x="532" y="398"/>
                  </a:lnTo>
                  <a:lnTo>
                    <a:pt x="529" y="398"/>
                  </a:lnTo>
                  <a:lnTo>
                    <a:pt x="524" y="399"/>
                  </a:lnTo>
                  <a:lnTo>
                    <a:pt x="532" y="394"/>
                  </a:lnTo>
                  <a:close/>
                  <a:moveTo>
                    <a:pt x="133" y="392"/>
                  </a:moveTo>
                  <a:lnTo>
                    <a:pt x="141" y="394"/>
                  </a:lnTo>
                  <a:lnTo>
                    <a:pt x="133" y="394"/>
                  </a:lnTo>
                  <a:lnTo>
                    <a:pt x="133" y="392"/>
                  </a:lnTo>
                  <a:close/>
                  <a:moveTo>
                    <a:pt x="553" y="391"/>
                  </a:moveTo>
                  <a:lnTo>
                    <a:pt x="554" y="398"/>
                  </a:lnTo>
                  <a:lnTo>
                    <a:pt x="553" y="401"/>
                  </a:lnTo>
                  <a:lnTo>
                    <a:pt x="548" y="398"/>
                  </a:lnTo>
                  <a:lnTo>
                    <a:pt x="551" y="391"/>
                  </a:lnTo>
                  <a:lnTo>
                    <a:pt x="553" y="391"/>
                  </a:lnTo>
                  <a:close/>
                  <a:moveTo>
                    <a:pt x="551" y="391"/>
                  </a:moveTo>
                  <a:lnTo>
                    <a:pt x="548" y="398"/>
                  </a:lnTo>
                  <a:lnTo>
                    <a:pt x="549" y="399"/>
                  </a:lnTo>
                  <a:lnTo>
                    <a:pt x="541" y="403"/>
                  </a:lnTo>
                  <a:lnTo>
                    <a:pt x="537" y="403"/>
                  </a:lnTo>
                  <a:lnTo>
                    <a:pt x="539" y="401"/>
                  </a:lnTo>
                  <a:lnTo>
                    <a:pt x="537" y="401"/>
                  </a:lnTo>
                  <a:lnTo>
                    <a:pt x="536" y="401"/>
                  </a:lnTo>
                  <a:lnTo>
                    <a:pt x="534" y="396"/>
                  </a:lnTo>
                  <a:lnTo>
                    <a:pt x="544" y="392"/>
                  </a:lnTo>
                  <a:lnTo>
                    <a:pt x="546" y="392"/>
                  </a:lnTo>
                  <a:lnTo>
                    <a:pt x="549" y="391"/>
                  </a:lnTo>
                  <a:lnTo>
                    <a:pt x="551" y="391"/>
                  </a:lnTo>
                  <a:close/>
                  <a:moveTo>
                    <a:pt x="112" y="389"/>
                  </a:moveTo>
                  <a:lnTo>
                    <a:pt x="121" y="391"/>
                  </a:lnTo>
                  <a:lnTo>
                    <a:pt x="116" y="392"/>
                  </a:lnTo>
                  <a:lnTo>
                    <a:pt x="117" y="394"/>
                  </a:lnTo>
                  <a:lnTo>
                    <a:pt x="114" y="394"/>
                  </a:lnTo>
                  <a:lnTo>
                    <a:pt x="109" y="391"/>
                  </a:lnTo>
                  <a:lnTo>
                    <a:pt x="112" y="392"/>
                  </a:lnTo>
                  <a:lnTo>
                    <a:pt x="114" y="391"/>
                  </a:lnTo>
                  <a:lnTo>
                    <a:pt x="109" y="391"/>
                  </a:lnTo>
                  <a:lnTo>
                    <a:pt x="112" y="389"/>
                  </a:lnTo>
                  <a:close/>
                  <a:moveTo>
                    <a:pt x="530" y="389"/>
                  </a:moveTo>
                  <a:lnTo>
                    <a:pt x="534" y="389"/>
                  </a:lnTo>
                  <a:lnTo>
                    <a:pt x="532" y="392"/>
                  </a:lnTo>
                  <a:lnTo>
                    <a:pt x="525" y="398"/>
                  </a:lnTo>
                  <a:lnTo>
                    <a:pt x="524" y="396"/>
                  </a:lnTo>
                  <a:lnTo>
                    <a:pt x="527" y="392"/>
                  </a:lnTo>
                  <a:lnTo>
                    <a:pt x="529" y="389"/>
                  </a:lnTo>
                  <a:lnTo>
                    <a:pt x="530" y="389"/>
                  </a:lnTo>
                  <a:close/>
                  <a:moveTo>
                    <a:pt x="548" y="389"/>
                  </a:moveTo>
                  <a:lnTo>
                    <a:pt x="549" y="391"/>
                  </a:lnTo>
                  <a:lnTo>
                    <a:pt x="544" y="392"/>
                  </a:lnTo>
                  <a:lnTo>
                    <a:pt x="546" y="389"/>
                  </a:lnTo>
                  <a:lnTo>
                    <a:pt x="548" y="389"/>
                  </a:lnTo>
                  <a:close/>
                  <a:moveTo>
                    <a:pt x="553" y="389"/>
                  </a:moveTo>
                  <a:lnTo>
                    <a:pt x="554" y="389"/>
                  </a:lnTo>
                  <a:lnTo>
                    <a:pt x="554" y="391"/>
                  </a:lnTo>
                  <a:lnTo>
                    <a:pt x="549" y="391"/>
                  </a:lnTo>
                  <a:lnTo>
                    <a:pt x="553" y="389"/>
                  </a:lnTo>
                  <a:close/>
                  <a:moveTo>
                    <a:pt x="140" y="387"/>
                  </a:moveTo>
                  <a:lnTo>
                    <a:pt x="138" y="389"/>
                  </a:lnTo>
                  <a:lnTo>
                    <a:pt x="136" y="389"/>
                  </a:lnTo>
                  <a:lnTo>
                    <a:pt x="140" y="387"/>
                  </a:lnTo>
                  <a:close/>
                  <a:moveTo>
                    <a:pt x="542" y="387"/>
                  </a:moveTo>
                  <a:lnTo>
                    <a:pt x="546" y="387"/>
                  </a:lnTo>
                  <a:lnTo>
                    <a:pt x="546" y="389"/>
                  </a:lnTo>
                  <a:lnTo>
                    <a:pt x="542" y="389"/>
                  </a:lnTo>
                  <a:lnTo>
                    <a:pt x="542" y="387"/>
                  </a:lnTo>
                  <a:close/>
                  <a:moveTo>
                    <a:pt x="544" y="386"/>
                  </a:moveTo>
                  <a:lnTo>
                    <a:pt x="546" y="386"/>
                  </a:lnTo>
                  <a:lnTo>
                    <a:pt x="542" y="387"/>
                  </a:lnTo>
                  <a:lnTo>
                    <a:pt x="542" y="391"/>
                  </a:lnTo>
                  <a:lnTo>
                    <a:pt x="536" y="391"/>
                  </a:lnTo>
                  <a:lnTo>
                    <a:pt x="541" y="386"/>
                  </a:lnTo>
                  <a:lnTo>
                    <a:pt x="544" y="386"/>
                  </a:lnTo>
                  <a:close/>
                  <a:moveTo>
                    <a:pt x="191" y="386"/>
                  </a:moveTo>
                  <a:lnTo>
                    <a:pt x="192" y="386"/>
                  </a:lnTo>
                  <a:lnTo>
                    <a:pt x="196" y="387"/>
                  </a:lnTo>
                  <a:lnTo>
                    <a:pt x="191" y="386"/>
                  </a:lnTo>
                  <a:close/>
                  <a:moveTo>
                    <a:pt x="138" y="386"/>
                  </a:moveTo>
                  <a:lnTo>
                    <a:pt x="140" y="386"/>
                  </a:lnTo>
                  <a:lnTo>
                    <a:pt x="138" y="386"/>
                  </a:lnTo>
                  <a:close/>
                  <a:moveTo>
                    <a:pt x="109" y="386"/>
                  </a:moveTo>
                  <a:lnTo>
                    <a:pt x="110" y="386"/>
                  </a:lnTo>
                  <a:lnTo>
                    <a:pt x="109" y="386"/>
                  </a:lnTo>
                  <a:close/>
                  <a:moveTo>
                    <a:pt x="107" y="386"/>
                  </a:moveTo>
                  <a:lnTo>
                    <a:pt x="109" y="386"/>
                  </a:lnTo>
                  <a:lnTo>
                    <a:pt x="107" y="386"/>
                  </a:lnTo>
                  <a:lnTo>
                    <a:pt x="104" y="386"/>
                  </a:lnTo>
                  <a:lnTo>
                    <a:pt x="107" y="386"/>
                  </a:lnTo>
                  <a:close/>
                  <a:moveTo>
                    <a:pt x="554" y="384"/>
                  </a:moveTo>
                  <a:lnTo>
                    <a:pt x="554" y="387"/>
                  </a:lnTo>
                  <a:lnTo>
                    <a:pt x="549" y="389"/>
                  </a:lnTo>
                  <a:lnTo>
                    <a:pt x="548" y="387"/>
                  </a:lnTo>
                  <a:lnTo>
                    <a:pt x="548" y="386"/>
                  </a:lnTo>
                  <a:lnTo>
                    <a:pt x="554" y="384"/>
                  </a:lnTo>
                  <a:close/>
                  <a:moveTo>
                    <a:pt x="138" y="384"/>
                  </a:moveTo>
                  <a:lnTo>
                    <a:pt x="143" y="386"/>
                  </a:lnTo>
                  <a:lnTo>
                    <a:pt x="140" y="384"/>
                  </a:lnTo>
                  <a:lnTo>
                    <a:pt x="138" y="384"/>
                  </a:lnTo>
                  <a:close/>
                  <a:moveTo>
                    <a:pt x="134" y="382"/>
                  </a:moveTo>
                  <a:lnTo>
                    <a:pt x="136" y="382"/>
                  </a:lnTo>
                  <a:lnTo>
                    <a:pt x="136" y="384"/>
                  </a:lnTo>
                  <a:lnTo>
                    <a:pt x="134" y="384"/>
                  </a:lnTo>
                  <a:lnTo>
                    <a:pt x="134" y="382"/>
                  </a:lnTo>
                  <a:close/>
                  <a:moveTo>
                    <a:pt x="548" y="380"/>
                  </a:moveTo>
                  <a:lnTo>
                    <a:pt x="551" y="380"/>
                  </a:lnTo>
                  <a:lnTo>
                    <a:pt x="549" y="384"/>
                  </a:lnTo>
                  <a:lnTo>
                    <a:pt x="548" y="382"/>
                  </a:lnTo>
                  <a:lnTo>
                    <a:pt x="546" y="386"/>
                  </a:lnTo>
                  <a:lnTo>
                    <a:pt x="542" y="384"/>
                  </a:lnTo>
                  <a:lnTo>
                    <a:pt x="544" y="380"/>
                  </a:lnTo>
                  <a:lnTo>
                    <a:pt x="548" y="380"/>
                  </a:lnTo>
                  <a:close/>
                  <a:moveTo>
                    <a:pt x="551" y="379"/>
                  </a:moveTo>
                  <a:lnTo>
                    <a:pt x="553" y="379"/>
                  </a:lnTo>
                  <a:lnTo>
                    <a:pt x="553" y="382"/>
                  </a:lnTo>
                  <a:lnTo>
                    <a:pt x="551" y="382"/>
                  </a:lnTo>
                  <a:lnTo>
                    <a:pt x="551" y="379"/>
                  </a:lnTo>
                  <a:close/>
                  <a:moveTo>
                    <a:pt x="133" y="379"/>
                  </a:moveTo>
                  <a:lnTo>
                    <a:pt x="133" y="380"/>
                  </a:lnTo>
                  <a:lnTo>
                    <a:pt x="133" y="379"/>
                  </a:lnTo>
                  <a:close/>
                  <a:moveTo>
                    <a:pt x="138" y="375"/>
                  </a:moveTo>
                  <a:lnTo>
                    <a:pt x="140" y="375"/>
                  </a:lnTo>
                  <a:lnTo>
                    <a:pt x="140" y="377"/>
                  </a:lnTo>
                  <a:lnTo>
                    <a:pt x="133" y="379"/>
                  </a:lnTo>
                  <a:lnTo>
                    <a:pt x="131" y="377"/>
                  </a:lnTo>
                  <a:lnTo>
                    <a:pt x="138" y="375"/>
                  </a:lnTo>
                  <a:close/>
                  <a:moveTo>
                    <a:pt x="650" y="374"/>
                  </a:moveTo>
                  <a:lnTo>
                    <a:pt x="648" y="372"/>
                  </a:lnTo>
                  <a:lnTo>
                    <a:pt x="650" y="370"/>
                  </a:lnTo>
                  <a:lnTo>
                    <a:pt x="650" y="374"/>
                  </a:lnTo>
                  <a:close/>
                  <a:moveTo>
                    <a:pt x="580" y="369"/>
                  </a:moveTo>
                  <a:lnTo>
                    <a:pt x="582" y="374"/>
                  </a:lnTo>
                  <a:lnTo>
                    <a:pt x="580" y="372"/>
                  </a:lnTo>
                  <a:lnTo>
                    <a:pt x="580" y="369"/>
                  </a:lnTo>
                  <a:close/>
                  <a:moveTo>
                    <a:pt x="157" y="369"/>
                  </a:moveTo>
                  <a:lnTo>
                    <a:pt x="160" y="369"/>
                  </a:lnTo>
                  <a:lnTo>
                    <a:pt x="155" y="369"/>
                  </a:lnTo>
                  <a:lnTo>
                    <a:pt x="157" y="369"/>
                  </a:lnTo>
                  <a:close/>
                  <a:moveTo>
                    <a:pt x="609" y="367"/>
                  </a:moveTo>
                  <a:lnTo>
                    <a:pt x="611" y="369"/>
                  </a:lnTo>
                  <a:lnTo>
                    <a:pt x="611" y="375"/>
                  </a:lnTo>
                  <a:lnTo>
                    <a:pt x="611" y="377"/>
                  </a:lnTo>
                  <a:lnTo>
                    <a:pt x="609" y="379"/>
                  </a:lnTo>
                  <a:lnTo>
                    <a:pt x="609" y="380"/>
                  </a:lnTo>
                  <a:lnTo>
                    <a:pt x="604" y="389"/>
                  </a:lnTo>
                  <a:lnTo>
                    <a:pt x="602" y="382"/>
                  </a:lnTo>
                  <a:lnTo>
                    <a:pt x="600" y="380"/>
                  </a:lnTo>
                  <a:lnTo>
                    <a:pt x="602" y="379"/>
                  </a:lnTo>
                  <a:lnTo>
                    <a:pt x="600" y="377"/>
                  </a:lnTo>
                  <a:lnTo>
                    <a:pt x="604" y="374"/>
                  </a:lnTo>
                  <a:lnTo>
                    <a:pt x="606" y="369"/>
                  </a:lnTo>
                  <a:lnTo>
                    <a:pt x="609" y="367"/>
                  </a:lnTo>
                  <a:close/>
                  <a:moveTo>
                    <a:pt x="150" y="367"/>
                  </a:moveTo>
                  <a:lnTo>
                    <a:pt x="155" y="369"/>
                  </a:lnTo>
                  <a:lnTo>
                    <a:pt x="150" y="369"/>
                  </a:lnTo>
                  <a:lnTo>
                    <a:pt x="150" y="367"/>
                  </a:lnTo>
                  <a:close/>
                  <a:moveTo>
                    <a:pt x="140" y="363"/>
                  </a:moveTo>
                  <a:lnTo>
                    <a:pt x="141" y="363"/>
                  </a:lnTo>
                  <a:lnTo>
                    <a:pt x="141" y="365"/>
                  </a:lnTo>
                  <a:lnTo>
                    <a:pt x="140" y="365"/>
                  </a:lnTo>
                  <a:lnTo>
                    <a:pt x="140" y="363"/>
                  </a:lnTo>
                  <a:close/>
                  <a:moveTo>
                    <a:pt x="332" y="363"/>
                  </a:moveTo>
                  <a:lnTo>
                    <a:pt x="334" y="365"/>
                  </a:lnTo>
                  <a:lnTo>
                    <a:pt x="332" y="365"/>
                  </a:lnTo>
                  <a:lnTo>
                    <a:pt x="332" y="369"/>
                  </a:lnTo>
                  <a:lnTo>
                    <a:pt x="331" y="369"/>
                  </a:lnTo>
                  <a:lnTo>
                    <a:pt x="331" y="372"/>
                  </a:lnTo>
                  <a:lnTo>
                    <a:pt x="329" y="363"/>
                  </a:lnTo>
                  <a:lnTo>
                    <a:pt x="332" y="363"/>
                  </a:lnTo>
                  <a:close/>
                  <a:moveTo>
                    <a:pt x="138" y="363"/>
                  </a:moveTo>
                  <a:lnTo>
                    <a:pt x="140" y="367"/>
                  </a:lnTo>
                  <a:lnTo>
                    <a:pt x="136" y="365"/>
                  </a:lnTo>
                  <a:lnTo>
                    <a:pt x="138" y="363"/>
                  </a:lnTo>
                  <a:close/>
                  <a:moveTo>
                    <a:pt x="42" y="345"/>
                  </a:moveTo>
                  <a:lnTo>
                    <a:pt x="42" y="348"/>
                  </a:lnTo>
                  <a:lnTo>
                    <a:pt x="41" y="346"/>
                  </a:lnTo>
                  <a:lnTo>
                    <a:pt x="42" y="345"/>
                  </a:lnTo>
                  <a:close/>
                  <a:moveTo>
                    <a:pt x="39" y="343"/>
                  </a:moveTo>
                  <a:lnTo>
                    <a:pt x="41" y="343"/>
                  </a:lnTo>
                  <a:lnTo>
                    <a:pt x="41" y="346"/>
                  </a:lnTo>
                  <a:lnTo>
                    <a:pt x="39" y="346"/>
                  </a:lnTo>
                  <a:lnTo>
                    <a:pt x="39" y="343"/>
                  </a:lnTo>
                  <a:close/>
                  <a:moveTo>
                    <a:pt x="41" y="341"/>
                  </a:moveTo>
                  <a:lnTo>
                    <a:pt x="41" y="345"/>
                  </a:lnTo>
                  <a:lnTo>
                    <a:pt x="41" y="341"/>
                  </a:lnTo>
                  <a:close/>
                  <a:moveTo>
                    <a:pt x="37" y="341"/>
                  </a:moveTo>
                  <a:lnTo>
                    <a:pt x="39" y="341"/>
                  </a:lnTo>
                  <a:lnTo>
                    <a:pt x="39" y="343"/>
                  </a:lnTo>
                  <a:lnTo>
                    <a:pt x="37" y="343"/>
                  </a:lnTo>
                  <a:lnTo>
                    <a:pt x="37" y="341"/>
                  </a:lnTo>
                  <a:close/>
                  <a:moveTo>
                    <a:pt x="46" y="339"/>
                  </a:moveTo>
                  <a:lnTo>
                    <a:pt x="47" y="339"/>
                  </a:lnTo>
                  <a:lnTo>
                    <a:pt x="47" y="341"/>
                  </a:lnTo>
                  <a:lnTo>
                    <a:pt x="46" y="341"/>
                  </a:lnTo>
                  <a:lnTo>
                    <a:pt x="46" y="339"/>
                  </a:lnTo>
                  <a:close/>
                  <a:moveTo>
                    <a:pt x="590" y="338"/>
                  </a:moveTo>
                  <a:lnTo>
                    <a:pt x="590" y="339"/>
                  </a:lnTo>
                  <a:lnTo>
                    <a:pt x="588" y="345"/>
                  </a:lnTo>
                  <a:lnTo>
                    <a:pt x="588" y="348"/>
                  </a:lnTo>
                  <a:lnTo>
                    <a:pt x="585" y="355"/>
                  </a:lnTo>
                  <a:lnTo>
                    <a:pt x="585" y="357"/>
                  </a:lnTo>
                  <a:lnTo>
                    <a:pt x="585" y="355"/>
                  </a:lnTo>
                  <a:lnTo>
                    <a:pt x="582" y="362"/>
                  </a:lnTo>
                  <a:lnTo>
                    <a:pt x="580" y="357"/>
                  </a:lnTo>
                  <a:lnTo>
                    <a:pt x="578" y="357"/>
                  </a:lnTo>
                  <a:lnTo>
                    <a:pt x="580" y="357"/>
                  </a:lnTo>
                  <a:lnTo>
                    <a:pt x="580" y="348"/>
                  </a:lnTo>
                  <a:lnTo>
                    <a:pt x="583" y="345"/>
                  </a:lnTo>
                  <a:lnTo>
                    <a:pt x="587" y="336"/>
                  </a:lnTo>
                  <a:lnTo>
                    <a:pt x="590" y="338"/>
                  </a:lnTo>
                  <a:close/>
                  <a:moveTo>
                    <a:pt x="56" y="333"/>
                  </a:moveTo>
                  <a:lnTo>
                    <a:pt x="58" y="333"/>
                  </a:lnTo>
                  <a:lnTo>
                    <a:pt x="58" y="334"/>
                  </a:lnTo>
                  <a:lnTo>
                    <a:pt x="56" y="334"/>
                  </a:lnTo>
                  <a:lnTo>
                    <a:pt x="56" y="333"/>
                  </a:lnTo>
                  <a:close/>
                  <a:moveTo>
                    <a:pt x="56" y="333"/>
                  </a:moveTo>
                  <a:lnTo>
                    <a:pt x="56" y="334"/>
                  </a:lnTo>
                  <a:lnTo>
                    <a:pt x="56" y="333"/>
                  </a:lnTo>
                  <a:close/>
                  <a:moveTo>
                    <a:pt x="126" y="329"/>
                  </a:moveTo>
                  <a:lnTo>
                    <a:pt x="129" y="331"/>
                  </a:lnTo>
                  <a:lnTo>
                    <a:pt x="126" y="336"/>
                  </a:lnTo>
                  <a:lnTo>
                    <a:pt x="134" y="341"/>
                  </a:lnTo>
                  <a:lnTo>
                    <a:pt x="134" y="345"/>
                  </a:lnTo>
                  <a:lnTo>
                    <a:pt x="138" y="348"/>
                  </a:lnTo>
                  <a:lnTo>
                    <a:pt x="136" y="348"/>
                  </a:lnTo>
                  <a:lnTo>
                    <a:pt x="134" y="353"/>
                  </a:lnTo>
                  <a:lnTo>
                    <a:pt x="133" y="351"/>
                  </a:lnTo>
                  <a:lnTo>
                    <a:pt x="133" y="357"/>
                  </a:lnTo>
                  <a:lnTo>
                    <a:pt x="131" y="355"/>
                  </a:lnTo>
                  <a:lnTo>
                    <a:pt x="124" y="358"/>
                  </a:lnTo>
                  <a:lnTo>
                    <a:pt x="133" y="363"/>
                  </a:lnTo>
                  <a:lnTo>
                    <a:pt x="134" y="362"/>
                  </a:lnTo>
                  <a:lnTo>
                    <a:pt x="134" y="365"/>
                  </a:lnTo>
                  <a:lnTo>
                    <a:pt x="136" y="363"/>
                  </a:lnTo>
                  <a:lnTo>
                    <a:pt x="136" y="367"/>
                  </a:lnTo>
                  <a:lnTo>
                    <a:pt x="133" y="367"/>
                  </a:lnTo>
                  <a:lnTo>
                    <a:pt x="133" y="365"/>
                  </a:lnTo>
                  <a:lnTo>
                    <a:pt x="129" y="367"/>
                  </a:lnTo>
                  <a:lnTo>
                    <a:pt x="136" y="369"/>
                  </a:lnTo>
                  <a:lnTo>
                    <a:pt x="138" y="369"/>
                  </a:lnTo>
                  <a:lnTo>
                    <a:pt x="141" y="369"/>
                  </a:lnTo>
                  <a:lnTo>
                    <a:pt x="133" y="370"/>
                  </a:lnTo>
                  <a:lnTo>
                    <a:pt x="129" y="374"/>
                  </a:lnTo>
                  <a:lnTo>
                    <a:pt x="129" y="372"/>
                  </a:lnTo>
                  <a:lnTo>
                    <a:pt x="128" y="374"/>
                  </a:lnTo>
                  <a:lnTo>
                    <a:pt x="128" y="372"/>
                  </a:lnTo>
                  <a:lnTo>
                    <a:pt x="131" y="369"/>
                  </a:lnTo>
                  <a:lnTo>
                    <a:pt x="129" y="370"/>
                  </a:lnTo>
                  <a:lnTo>
                    <a:pt x="122" y="367"/>
                  </a:lnTo>
                  <a:lnTo>
                    <a:pt x="122" y="365"/>
                  </a:lnTo>
                  <a:lnTo>
                    <a:pt x="124" y="365"/>
                  </a:lnTo>
                  <a:lnTo>
                    <a:pt x="124" y="363"/>
                  </a:lnTo>
                  <a:lnTo>
                    <a:pt x="122" y="365"/>
                  </a:lnTo>
                  <a:lnTo>
                    <a:pt x="119" y="370"/>
                  </a:lnTo>
                  <a:lnTo>
                    <a:pt x="116" y="370"/>
                  </a:lnTo>
                  <a:lnTo>
                    <a:pt x="117" y="372"/>
                  </a:lnTo>
                  <a:lnTo>
                    <a:pt x="116" y="375"/>
                  </a:lnTo>
                  <a:lnTo>
                    <a:pt x="105" y="375"/>
                  </a:lnTo>
                  <a:lnTo>
                    <a:pt x="104" y="375"/>
                  </a:lnTo>
                  <a:lnTo>
                    <a:pt x="99" y="375"/>
                  </a:lnTo>
                  <a:lnTo>
                    <a:pt x="93" y="374"/>
                  </a:lnTo>
                  <a:lnTo>
                    <a:pt x="97" y="374"/>
                  </a:lnTo>
                  <a:lnTo>
                    <a:pt x="93" y="372"/>
                  </a:lnTo>
                  <a:lnTo>
                    <a:pt x="95" y="370"/>
                  </a:lnTo>
                  <a:lnTo>
                    <a:pt x="85" y="370"/>
                  </a:lnTo>
                  <a:lnTo>
                    <a:pt x="87" y="369"/>
                  </a:lnTo>
                  <a:lnTo>
                    <a:pt x="81" y="370"/>
                  </a:lnTo>
                  <a:lnTo>
                    <a:pt x="81" y="369"/>
                  </a:lnTo>
                  <a:lnTo>
                    <a:pt x="80" y="370"/>
                  </a:lnTo>
                  <a:lnTo>
                    <a:pt x="76" y="369"/>
                  </a:lnTo>
                  <a:lnTo>
                    <a:pt x="66" y="365"/>
                  </a:lnTo>
                  <a:lnTo>
                    <a:pt x="61" y="362"/>
                  </a:lnTo>
                  <a:lnTo>
                    <a:pt x="59" y="362"/>
                  </a:lnTo>
                  <a:lnTo>
                    <a:pt x="51" y="357"/>
                  </a:lnTo>
                  <a:lnTo>
                    <a:pt x="52" y="355"/>
                  </a:lnTo>
                  <a:lnTo>
                    <a:pt x="49" y="353"/>
                  </a:lnTo>
                  <a:lnTo>
                    <a:pt x="54" y="350"/>
                  </a:lnTo>
                  <a:lnTo>
                    <a:pt x="56" y="350"/>
                  </a:lnTo>
                  <a:lnTo>
                    <a:pt x="61" y="348"/>
                  </a:lnTo>
                  <a:lnTo>
                    <a:pt x="68" y="346"/>
                  </a:lnTo>
                  <a:lnTo>
                    <a:pt x="71" y="343"/>
                  </a:lnTo>
                  <a:lnTo>
                    <a:pt x="78" y="341"/>
                  </a:lnTo>
                  <a:lnTo>
                    <a:pt x="80" y="339"/>
                  </a:lnTo>
                  <a:lnTo>
                    <a:pt x="81" y="341"/>
                  </a:lnTo>
                  <a:lnTo>
                    <a:pt x="85" y="338"/>
                  </a:lnTo>
                  <a:lnTo>
                    <a:pt x="90" y="334"/>
                  </a:lnTo>
                  <a:lnTo>
                    <a:pt x="95" y="336"/>
                  </a:lnTo>
                  <a:lnTo>
                    <a:pt x="99" y="334"/>
                  </a:lnTo>
                  <a:lnTo>
                    <a:pt x="107" y="334"/>
                  </a:lnTo>
                  <a:lnTo>
                    <a:pt x="114" y="336"/>
                  </a:lnTo>
                  <a:lnTo>
                    <a:pt x="116" y="334"/>
                  </a:lnTo>
                  <a:lnTo>
                    <a:pt x="114" y="333"/>
                  </a:lnTo>
                  <a:lnTo>
                    <a:pt x="122" y="331"/>
                  </a:lnTo>
                  <a:lnTo>
                    <a:pt x="124" y="329"/>
                  </a:lnTo>
                  <a:lnTo>
                    <a:pt x="126" y="329"/>
                  </a:lnTo>
                  <a:close/>
                  <a:moveTo>
                    <a:pt x="116" y="304"/>
                  </a:moveTo>
                  <a:lnTo>
                    <a:pt x="112" y="307"/>
                  </a:lnTo>
                  <a:lnTo>
                    <a:pt x="109" y="307"/>
                  </a:lnTo>
                  <a:lnTo>
                    <a:pt x="116" y="304"/>
                  </a:lnTo>
                  <a:close/>
                  <a:moveTo>
                    <a:pt x="290" y="300"/>
                  </a:moveTo>
                  <a:lnTo>
                    <a:pt x="291" y="304"/>
                  </a:lnTo>
                  <a:lnTo>
                    <a:pt x="291" y="309"/>
                  </a:lnTo>
                  <a:lnTo>
                    <a:pt x="283" y="314"/>
                  </a:lnTo>
                  <a:lnTo>
                    <a:pt x="279" y="314"/>
                  </a:lnTo>
                  <a:lnTo>
                    <a:pt x="273" y="307"/>
                  </a:lnTo>
                  <a:lnTo>
                    <a:pt x="274" y="304"/>
                  </a:lnTo>
                  <a:lnTo>
                    <a:pt x="281" y="302"/>
                  </a:lnTo>
                  <a:lnTo>
                    <a:pt x="281" y="304"/>
                  </a:lnTo>
                  <a:lnTo>
                    <a:pt x="283" y="304"/>
                  </a:lnTo>
                  <a:lnTo>
                    <a:pt x="285" y="300"/>
                  </a:lnTo>
                  <a:lnTo>
                    <a:pt x="288" y="300"/>
                  </a:lnTo>
                  <a:lnTo>
                    <a:pt x="290" y="300"/>
                  </a:lnTo>
                  <a:close/>
                  <a:moveTo>
                    <a:pt x="201" y="293"/>
                  </a:moveTo>
                  <a:lnTo>
                    <a:pt x="203" y="293"/>
                  </a:lnTo>
                  <a:lnTo>
                    <a:pt x="203" y="295"/>
                  </a:lnTo>
                  <a:lnTo>
                    <a:pt x="201" y="295"/>
                  </a:lnTo>
                  <a:lnTo>
                    <a:pt x="201" y="293"/>
                  </a:lnTo>
                  <a:close/>
                  <a:moveTo>
                    <a:pt x="110" y="292"/>
                  </a:moveTo>
                  <a:lnTo>
                    <a:pt x="112" y="292"/>
                  </a:lnTo>
                  <a:lnTo>
                    <a:pt x="110" y="292"/>
                  </a:lnTo>
                  <a:close/>
                  <a:moveTo>
                    <a:pt x="242" y="290"/>
                  </a:moveTo>
                  <a:lnTo>
                    <a:pt x="244" y="293"/>
                  </a:lnTo>
                  <a:lnTo>
                    <a:pt x="245" y="292"/>
                  </a:lnTo>
                  <a:lnTo>
                    <a:pt x="247" y="297"/>
                  </a:lnTo>
                  <a:lnTo>
                    <a:pt x="242" y="299"/>
                  </a:lnTo>
                  <a:lnTo>
                    <a:pt x="235" y="295"/>
                  </a:lnTo>
                  <a:lnTo>
                    <a:pt x="240" y="293"/>
                  </a:lnTo>
                  <a:lnTo>
                    <a:pt x="242" y="293"/>
                  </a:lnTo>
                  <a:lnTo>
                    <a:pt x="240" y="292"/>
                  </a:lnTo>
                  <a:lnTo>
                    <a:pt x="242" y="290"/>
                  </a:lnTo>
                  <a:close/>
                  <a:moveTo>
                    <a:pt x="218" y="275"/>
                  </a:moveTo>
                  <a:lnTo>
                    <a:pt x="221" y="275"/>
                  </a:lnTo>
                  <a:lnTo>
                    <a:pt x="221" y="276"/>
                  </a:lnTo>
                  <a:lnTo>
                    <a:pt x="218" y="276"/>
                  </a:lnTo>
                  <a:lnTo>
                    <a:pt x="218" y="275"/>
                  </a:lnTo>
                  <a:close/>
                  <a:moveTo>
                    <a:pt x="216" y="275"/>
                  </a:moveTo>
                  <a:lnTo>
                    <a:pt x="218" y="275"/>
                  </a:lnTo>
                  <a:lnTo>
                    <a:pt x="218" y="276"/>
                  </a:lnTo>
                  <a:lnTo>
                    <a:pt x="216" y="276"/>
                  </a:lnTo>
                  <a:lnTo>
                    <a:pt x="216" y="275"/>
                  </a:lnTo>
                  <a:close/>
                  <a:moveTo>
                    <a:pt x="63" y="275"/>
                  </a:moveTo>
                  <a:lnTo>
                    <a:pt x="58" y="276"/>
                  </a:lnTo>
                  <a:lnTo>
                    <a:pt x="63" y="275"/>
                  </a:lnTo>
                  <a:close/>
                  <a:moveTo>
                    <a:pt x="56" y="275"/>
                  </a:moveTo>
                  <a:lnTo>
                    <a:pt x="58" y="275"/>
                  </a:lnTo>
                  <a:lnTo>
                    <a:pt x="58" y="276"/>
                  </a:lnTo>
                  <a:lnTo>
                    <a:pt x="56" y="276"/>
                  </a:lnTo>
                  <a:lnTo>
                    <a:pt x="56" y="275"/>
                  </a:lnTo>
                  <a:close/>
                  <a:moveTo>
                    <a:pt x="210" y="273"/>
                  </a:moveTo>
                  <a:lnTo>
                    <a:pt x="211" y="273"/>
                  </a:lnTo>
                  <a:lnTo>
                    <a:pt x="211" y="276"/>
                  </a:lnTo>
                  <a:lnTo>
                    <a:pt x="210" y="276"/>
                  </a:lnTo>
                  <a:lnTo>
                    <a:pt x="210" y="273"/>
                  </a:lnTo>
                  <a:close/>
                  <a:moveTo>
                    <a:pt x="221" y="273"/>
                  </a:moveTo>
                  <a:lnTo>
                    <a:pt x="220" y="275"/>
                  </a:lnTo>
                  <a:lnTo>
                    <a:pt x="216" y="275"/>
                  </a:lnTo>
                  <a:lnTo>
                    <a:pt x="221" y="273"/>
                  </a:lnTo>
                  <a:close/>
                  <a:moveTo>
                    <a:pt x="208" y="271"/>
                  </a:moveTo>
                  <a:lnTo>
                    <a:pt x="210" y="271"/>
                  </a:lnTo>
                  <a:lnTo>
                    <a:pt x="210" y="275"/>
                  </a:lnTo>
                  <a:lnTo>
                    <a:pt x="208" y="275"/>
                  </a:lnTo>
                  <a:lnTo>
                    <a:pt x="208" y="271"/>
                  </a:lnTo>
                  <a:close/>
                  <a:moveTo>
                    <a:pt x="225" y="273"/>
                  </a:moveTo>
                  <a:lnTo>
                    <a:pt x="223" y="275"/>
                  </a:lnTo>
                  <a:lnTo>
                    <a:pt x="220" y="275"/>
                  </a:lnTo>
                  <a:lnTo>
                    <a:pt x="225" y="273"/>
                  </a:lnTo>
                  <a:close/>
                  <a:moveTo>
                    <a:pt x="221" y="271"/>
                  </a:moveTo>
                  <a:lnTo>
                    <a:pt x="223" y="271"/>
                  </a:lnTo>
                  <a:lnTo>
                    <a:pt x="223" y="273"/>
                  </a:lnTo>
                  <a:lnTo>
                    <a:pt x="221" y="273"/>
                  </a:lnTo>
                  <a:lnTo>
                    <a:pt x="221" y="271"/>
                  </a:lnTo>
                  <a:close/>
                  <a:moveTo>
                    <a:pt x="215" y="269"/>
                  </a:moveTo>
                  <a:lnTo>
                    <a:pt x="216" y="269"/>
                  </a:lnTo>
                  <a:lnTo>
                    <a:pt x="215" y="273"/>
                  </a:lnTo>
                  <a:lnTo>
                    <a:pt x="215" y="269"/>
                  </a:lnTo>
                  <a:close/>
                  <a:moveTo>
                    <a:pt x="20" y="268"/>
                  </a:moveTo>
                  <a:lnTo>
                    <a:pt x="20" y="271"/>
                  </a:lnTo>
                  <a:lnTo>
                    <a:pt x="17" y="271"/>
                  </a:lnTo>
                  <a:lnTo>
                    <a:pt x="17" y="269"/>
                  </a:lnTo>
                  <a:lnTo>
                    <a:pt x="20" y="268"/>
                  </a:lnTo>
                  <a:close/>
                  <a:moveTo>
                    <a:pt x="11" y="268"/>
                  </a:moveTo>
                  <a:lnTo>
                    <a:pt x="10" y="269"/>
                  </a:lnTo>
                  <a:lnTo>
                    <a:pt x="11" y="271"/>
                  </a:lnTo>
                  <a:lnTo>
                    <a:pt x="10" y="271"/>
                  </a:lnTo>
                  <a:lnTo>
                    <a:pt x="8" y="269"/>
                  </a:lnTo>
                  <a:lnTo>
                    <a:pt x="11" y="268"/>
                  </a:lnTo>
                  <a:close/>
                  <a:moveTo>
                    <a:pt x="5" y="268"/>
                  </a:moveTo>
                  <a:lnTo>
                    <a:pt x="8" y="268"/>
                  </a:lnTo>
                  <a:lnTo>
                    <a:pt x="8" y="271"/>
                  </a:lnTo>
                  <a:lnTo>
                    <a:pt x="5" y="271"/>
                  </a:lnTo>
                  <a:lnTo>
                    <a:pt x="5" y="268"/>
                  </a:lnTo>
                  <a:close/>
                  <a:moveTo>
                    <a:pt x="210" y="271"/>
                  </a:moveTo>
                  <a:lnTo>
                    <a:pt x="210" y="269"/>
                  </a:lnTo>
                  <a:lnTo>
                    <a:pt x="211" y="266"/>
                  </a:lnTo>
                  <a:lnTo>
                    <a:pt x="210" y="271"/>
                  </a:lnTo>
                  <a:close/>
                  <a:moveTo>
                    <a:pt x="5" y="266"/>
                  </a:moveTo>
                  <a:lnTo>
                    <a:pt x="6" y="268"/>
                  </a:lnTo>
                  <a:lnTo>
                    <a:pt x="0" y="269"/>
                  </a:lnTo>
                  <a:lnTo>
                    <a:pt x="1" y="268"/>
                  </a:lnTo>
                  <a:lnTo>
                    <a:pt x="5" y="266"/>
                  </a:lnTo>
                  <a:close/>
                  <a:moveTo>
                    <a:pt x="52" y="268"/>
                  </a:moveTo>
                  <a:lnTo>
                    <a:pt x="49" y="273"/>
                  </a:lnTo>
                  <a:lnTo>
                    <a:pt x="47" y="273"/>
                  </a:lnTo>
                  <a:lnTo>
                    <a:pt x="44" y="273"/>
                  </a:lnTo>
                  <a:lnTo>
                    <a:pt x="44" y="269"/>
                  </a:lnTo>
                  <a:lnTo>
                    <a:pt x="47" y="273"/>
                  </a:lnTo>
                  <a:lnTo>
                    <a:pt x="44" y="269"/>
                  </a:lnTo>
                  <a:lnTo>
                    <a:pt x="52" y="268"/>
                  </a:lnTo>
                  <a:close/>
                  <a:moveTo>
                    <a:pt x="71" y="268"/>
                  </a:moveTo>
                  <a:lnTo>
                    <a:pt x="80" y="268"/>
                  </a:lnTo>
                  <a:lnTo>
                    <a:pt x="80" y="269"/>
                  </a:lnTo>
                  <a:lnTo>
                    <a:pt x="75" y="275"/>
                  </a:lnTo>
                  <a:lnTo>
                    <a:pt x="75" y="273"/>
                  </a:lnTo>
                  <a:lnTo>
                    <a:pt x="75" y="271"/>
                  </a:lnTo>
                  <a:lnTo>
                    <a:pt x="68" y="276"/>
                  </a:lnTo>
                  <a:lnTo>
                    <a:pt x="64" y="278"/>
                  </a:lnTo>
                  <a:lnTo>
                    <a:pt x="63" y="276"/>
                  </a:lnTo>
                  <a:lnTo>
                    <a:pt x="66" y="275"/>
                  </a:lnTo>
                  <a:lnTo>
                    <a:pt x="68" y="275"/>
                  </a:lnTo>
                  <a:lnTo>
                    <a:pt x="70" y="271"/>
                  </a:lnTo>
                  <a:lnTo>
                    <a:pt x="61" y="275"/>
                  </a:lnTo>
                  <a:lnTo>
                    <a:pt x="59" y="273"/>
                  </a:lnTo>
                  <a:lnTo>
                    <a:pt x="52" y="275"/>
                  </a:lnTo>
                  <a:lnTo>
                    <a:pt x="51" y="273"/>
                  </a:lnTo>
                  <a:lnTo>
                    <a:pt x="54" y="269"/>
                  </a:lnTo>
                  <a:lnTo>
                    <a:pt x="63" y="268"/>
                  </a:lnTo>
                  <a:lnTo>
                    <a:pt x="68" y="266"/>
                  </a:lnTo>
                  <a:lnTo>
                    <a:pt x="71" y="268"/>
                  </a:lnTo>
                  <a:close/>
                  <a:moveTo>
                    <a:pt x="211" y="264"/>
                  </a:moveTo>
                  <a:lnTo>
                    <a:pt x="213" y="264"/>
                  </a:lnTo>
                  <a:lnTo>
                    <a:pt x="213" y="266"/>
                  </a:lnTo>
                  <a:lnTo>
                    <a:pt x="211" y="266"/>
                  </a:lnTo>
                  <a:lnTo>
                    <a:pt x="211" y="264"/>
                  </a:lnTo>
                  <a:close/>
                  <a:moveTo>
                    <a:pt x="228" y="261"/>
                  </a:moveTo>
                  <a:lnTo>
                    <a:pt x="230" y="261"/>
                  </a:lnTo>
                  <a:lnTo>
                    <a:pt x="230" y="264"/>
                  </a:lnTo>
                  <a:lnTo>
                    <a:pt x="228" y="264"/>
                  </a:lnTo>
                  <a:lnTo>
                    <a:pt x="228" y="261"/>
                  </a:lnTo>
                  <a:close/>
                  <a:moveTo>
                    <a:pt x="232" y="256"/>
                  </a:moveTo>
                  <a:lnTo>
                    <a:pt x="233" y="256"/>
                  </a:lnTo>
                  <a:lnTo>
                    <a:pt x="233" y="258"/>
                  </a:lnTo>
                  <a:lnTo>
                    <a:pt x="232" y="258"/>
                  </a:lnTo>
                  <a:lnTo>
                    <a:pt x="232" y="256"/>
                  </a:lnTo>
                  <a:close/>
                  <a:moveTo>
                    <a:pt x="216" y="254"/>
                  </a:moveTo>
                  <a:lnTo>
                    <a:pt x="220" y="254"/>
                  </a:lnTo>
                  <a:lnTo>
                    <a:pt x="220" y="258"/>
                  </a:lnTo>
                  <a:lnTo>
                    <a:pt x="216" y="258"/>
                  </a:lnTo>
                  <a:lnTo>
                    <a:pt x="216" y="254"/>
                  </a:lnTo>
                  <a:close/>
                  <a:moveTo>
                    <a:pt x="223" y="252"/>
                  </a:moveTo>
                  <a:lnTo>
                    <a:pt x="223" y="256"/>
                  </a:lnTo>
                  <a:lnTo>
                    <a:pt x="221" y="258"/>
                  </a:lnTo>
                  <a:lnTo>
                    <a:pt x="223" y="252"/>
                  </a:lnTo>
                  <a:close/>
                  <a:moveTo>
                    <a:pt x="228" y="249"/>
                  </a:moveTo>
                  <a:lnTo>
                    <a:pt x="230" y="249"/>
                  </a:lnTo>
                  <a:lnTo>
                    <a:pt x="230" y="252"/>
                  </a:lnTo>
                  <a:lnTo>
                    <a:pt x="228" y="252"/>
                  </a:lnTo>
                  <a:lnTo>
                    <a:pt x="228" y="249"/>
                  </a:lnTo>
                  <a:close/>
                  <a:moveTo>
                    <a:pt x="220" y="247"/>
                  </a:moveTo>
                  <a:lnTo>
                    <a:pt x="221" y="251"/>
                  </a:lnTo>
                  <a:lnTo>
                    <a:pt x="220" y="252"/>
                  </a:lnTo>
                  <a:lnTo>
                    <a:pt x="220" y="254"/>
                  </a:lnTo>
                  <a:lnTo>
                    <a:pt x="216" y="254"/>
                  </a:lnTo>
                  <a:lnTo>
                    <a:pt x="216" y="256"/>
                  </a:lnTo>
                  <a:lnTo>
                    <a:pt x="218" y="258"/>
                  </a:lnTo>
                  <a:lnTo>
                    <a:pt x="216" y="256"/>
                  </a:lnTo>
                  <a:lnTo>
                    <a:pt x="216" y="258"/>
                  </a:lnTo>
                  <a:lnTo>
                    <a:pt x="215" y="258"/>
                  </a:lnTo>
                  <a:lnTo>
                    <a:pt x="213" y="258"/>
                  </a:lnTo>
                  <a:lnTo>
                    <a:pt x="215" y="249"/>
                  </a:lnTo>
                  <a:lnTo>
                    <a:pt x="220" y="247"/>
                  </a:lnTo>
                  <a:close/>
                  <a:moveTo>
                    <a:pt x="160" y="240"/>
                  </a:moveTo>
                  <a:lnTo>
                    <a:pt x="163" y="240"/>
                  </a:lnTo>
                  <a:lnTo>
                    <a:pt x="163" y="242"/>
                  </a:lnTo>
                  <a:lnTo>
                    <a:pt x="160" y="242"/>
                  </a:lnTo>
                  <a:lnTo>
                    <a:pt x="160" y="240"/>
                  </a:lnTo>
                  <a:close/>
                  <a:moveTo>
                    <a:pt x="218" y="239"/>
                  </a:moveTo>
                  <a:lnTo>
                    <a:pt x="220" y="239"/>
                  </a:lnTo>
                  <a:lnTo>
                    <a:pt x="220" y="240"/>
                  </a:lnTo>
                  <a:lnTo>
                    <a:pt x="218" y="240"/>
                  </a:lnTo>
                  <a:lnTo>
                    <a:pt x="218" y="239"/>
                  </a:lnTo>
                  <a:close/>
                  <a:moveTo>
                    <a:pt x="575" y="235"/>
                  </a:moveTo>
                  <a:lnTo>
                    <a:pt x="577" y="239"/>
                  </a:lnTo>
                  <a:lnTo>
                    <a:pt x="573" y="235"/>
                  </a:lnTo>
                  <a:lnTo>
                    <a:pt x="575" y="235"/>
                  </a:lnTo>
                  <a:close/>
                  <a:moveTo>
                    <a:pt x="192" y="235"/>
                  </a:moveTo>
                  <a:lnTo>
                    <a:pt x="194" y="235"/>
                  </a:lnTo>
                  <a:lnTo>
                    <a:pt x="194" y="239"/>
                  </a:lnTo>
                  <a:lnTo>
                    <a:pt x="196" y="240"/>
                  </a:lnTo>
                  <a:lnTo>
                    <a:pt x="201" y="239"/>
                  </a:lnTo>
                  <a:lnTo>
                    <a:pt x="208" y="237"/>
                  </a:lnTo>
                  <a:lnTo>
                    <a:pt x="211" y="244"/>
                  </a:lnTo>
                  <a:lnTo>
                    <a:pt x="213" y="244"/>
                  </a:lnTo>
                  <a:lnTo>
                    <a:pt x="211" y="246"/>
                  </a:lnTo>
                  <a:lnTo>
                    <a:pt x="211" y="249"/>
                  </a:lnTo>
                  <a:lnTo>
                    <a:pt x="215" y="249"/>
                  </a:lnTo>
                  <a:lnTo>
                    <a:pt x="213" y="251"/>
                  </a:lnTo>
                  <a:lnTo>
                    <a:pt x="213" y="256"/>
                  </a:lnTo>
                  <a:lnTo>
                    <a:pt x="211" y="261"/>
                  </a:lnTo>
                  <a:lnTo>
                    <a:pt x="210" y="268"/>
                  </a:lnTo>
                  <a:lnTo>
                    <a:pt x="210" y="271"/>
                  </a:lnTo>
                  <a:lnTo>
                    <a:pt x="208" y="273"/>
                  </a:lnTo>
                  <a:lnTo>
                    <a:pt x="208" y="278"/>
                  </a:lnTo>
                  <a:lnTo>
                    <a:pt x="203" y="281"/>
                  </a:lnTo>
                  <a:lnTo>
                    <a:pt x="203" y="288"/>
                  </a:lnTo>
                  <a:lnTo>
                    <a:pt x="199" y="292"/>
                  </a:lnTo>
                  <a:lnTo>
                    <a:pt x="192" y="287"/>
                  </a:lnTo>
                  <a:lnTo>
                    <a:pt x="186" y="290"/>
                  </a:lnTo>
                  <a:lnTo>
                    <a:pt x="184" y="285"/>
                  </a:lnTo>
                  <a:lnTo>
                    <a:pt x="182" y="285"/>
                  </a:lnTo>
                  <a:lnTo>
                    <a:pt x="184" y="283"/>
                  </a:lnTo>
                  <a:lnTo>
                    <a:pt x="180" y="280"/>
                  </a:lnTo>
                  <a:lnTo>
                    <a:pt x="177" y="280"/>
                  </a:lnTo>
                  <a:lnTo>
                    <a:pt x="174" y="278"/>
                  </a:lnTo>
                  <a:lnTo>
                    <a:pt x="172" y="275"/>
                  </a:lnTo>
                  <a:lnTo>
                    <a:pt x="174" y="271"/>
                  </a:lnTo>
                  <a:lnTo>
                    <a:pt x="170" y="269"/>
                  </a:lnTo>
                  <a:lnTo>
                    <a:pt x="172" y="268"/>
                  </a:lnTo>
                  <a:lnTo>
                    <a:pt x="165" y="261"/>
                  </a:lnTo>
                  <a:lnTo>
                    <a:pt x="170" y="259"/>
                  </a:lnTo>
                  <a:lnTo>
                    <a:pt x="169" y="259"/>
                  </a:lnTo>
                  <a:lnTo>
                    <a:pt x="170" y="258"/>
                  </a:lnTo>
                  <a:lnTo>
                    <a:pt x="165" y="249"/>
                  </a:lnTo>
                  <a:lnTo>
                    <a:pt x="160" y="246"/>
                  </a:lnTo>
                  <a:lnTo>
                    <a:pt x="160" y="244"/>
                  </a:lnTo>
                  <a:lnTo>
                    <a:pt x="162" y="242"/>
                  </a:lnTo>
                  <a:lnTo>
                    <a:pt x="165" y="242"/>
                  </a:lnTo>
                  <a:lnTo>
                    <a:pt x="172" y="240"/>
                  </a:lnTo>
                  <a:lnTo>
                    <a:pt x="179" y="239"/>
                  </a:lnTo>
                  <a:lnTo>
                    <a:pt x="184" y="235"/>
                  </a:lnTo>
                  <a:lnTo>
                    <a:pt x="186" y="237"/>
                  </a:lnTo>
                  <a:lnTo>
                    <a:pt x="192" y="235"/>
                  </a:lnTo>
                  <a:close/>
                  <a:moveTo>
                    <a:pt x="225" y="234"/>
                  </a:moveTo>
                  <a:lnTo>
                    <a:pt x="228" y="234"/>
                  </a:lnTo>
                  <a:lnTo>
                    <a:pt x="228" y="235"/>
                  </a:lnTo>
                  <a:lnTo>
                    <a:pt x="225" y="235"/>
                  </a:lnTo>
                  <a:lnTo>
                    <a:pt x="225" y="234"/>
                  </a:lnTo>
                  <a:close/>
                  <a:moveTo>
                    <a:pt x="146" y="223"/>
                  </a:moveTo>
                  <a:lnTo>
                    <a:pt x="150" y="223"/>
                  </a:lnTo>
                  <a:lnTo>
                    <a:pt x="148" y="228"/>
                  </a:lnTo>
                  <a:lnTo>
                    <a:pt x="145" y="227"/>
                  </a:lnTo>
                  <a:lnTo>
                    <a:pt x="145" y="225"/>
                  </a:lnTo>
                  <a:lnTo>
                    <a:pt x="146" y="223"/>
                  </a:lnTo>
                  <a:close/>
                  <a:moveTo>
                    <a:pt x="174" y="222"/>
                  </a:moveTo>
                  <a:lnTo>
                    <a:pt x="172" y="225"/>
                  </a:lnTo>
                  <a:lnTo>
                    <a:pt x="170" y="222"/>
                  </a:lnTo>
                  <a:lnTo>
                    <a:pt x="172" y="222"/>
                  </a:lnTo>
                  <a:lnTo>
                    <a:pt x="174" y="220"/>
                  </a:lnTo>
                  <a:lnTo>
                    <a:pt x="174" y="222"/>
                  </a:lnTo>
                  <a:close/>
                  <a:moveTo>
                    <a:pt x="177" y="220"/>
                  </a:moveTo>
                  <a:lnTo>
                    <a:pt x="179" y="220"/>
                  </a:lnTo>
                  <a:lnTo>
                    <a:pt x="177" y="222"/>
                  </a:lnTo>
                  <a:lnTo>
                    <a:pt x="179" y="222"/>
                  </a:lnTo>
                  <a:lnTo>
                    <a:pt x="177" y="225"/>
                  </a:lnTo>
                  <a:lnTo>
                    <a:pt x="175" y="222"/>
                  </a:lnTo>
                  <a:lnTo>
                    <a:pt x="177" y="220"/>
                  </a:lnTo>
                  <a:close/>
                  <a:moveTo>
                    <a:pt x="180" y="218"/>
                  </a:moveTo>
                  <a:lnTo>
                    <a:pt x="184" y="223"/>
                  </a:lnTo>
                  <a:lnTo>
                    <a:pt x="184" y="220"/>
                  </a:lnTo>
                  <a:lnTo>
                    <a:pt x="187" y="225"/>
                  </a:lnTo>
                  <a:lnTo>
                    <a:pt x="186" y="220"/>
                  </a:lnTo>
                  <a:lnTo>
                    <a:pt x="187" y="220"/>
                  </a:lnTo>
                  <a:lnTo>
                    <a:pt x="189" y="222"/>
                  </a:lnTo>
                  <a:lnTo>
                    <a:pt x="191" y="220"/>
                  </a:lnTo>
                  <a:lnTo>
                    <a:pt x="191" y="222"/>
                  </a:lnTo>
                  <a:lnTo>
                    <a:pt x="191" y="220"/>
                  </a:lnTo>
                  <a:lnTo>
                    <a:pt x="191" y="222"/>
                  </a:lnTo>
                  <a:lnTo>
                    <a:pt x="194" y="222"/>
                  </a:lnTo>
                  <a:lnTo>
                    <a:pt x="194" y="225"/>
                  </a:lnTo>
                  <a:lnTo>
                    <a:pt x="189" y="223"/>
                  </a:lnTo>
                  <a:lnTo>
                    <a:pt x="187" y="225"/>
                  </a:lnTo>
                  <a:lnTo>
                    <a:pt x="189" y="228"/>
                  </a:lnTo>
                  <a:lnTo>
                    <a:pt x="191" y="228"/>
                  </a:lnTo>
                  <a:lnTo>
                    <a:pt x="189" y="230"/>
                  </a:lnTo>
                  <a:lnTo>
                    <a:pt x="187" y="228"/>
                  </a:lnTo>
                  <a:lnTo>
                    <a:pt x="186" y="230"/>
                  </a:lnTo>
                  <a:lnTo>
                    <a:pt x="186" y="232"/>
                  </a:lnTo>
                  <a:lnTo>
                    <a:pt x="179" y="232"/>
                  </a:lnTo>
                  <a:lnTo>
                    <a:pt x="179" y="234"/>
                  </a:lnTo>
                  <a:lnTo>
                    <a:pt x="172" y="234"/>
                  </a:lnTo>
                  <a:lnTo>
                    <a:pt x="170" y="235"/>
                  </a:lnTo>
                  <a:lnTo>
                    <a:pt x="167" y="235"/>
                  </a:lnTo>
                  <a:lnTo>
                    <a:pt x="158" y="237"/>
                  </a:lnTo>
                  <a:lnTo>
                    <a:pt x="151" y="239"/>
                  </a:lnTo>
                  <a:lnTo>
                    <a:pt x="150" y="237"/>
                  </a:lnTo>
                  <a:lnTo>
                    <a:pt x="145" y="239"/>
                  </a:lnTo>
                  <a:lnTo>
                    <a:pt x="146" y="235"/>
                  </a:lnTo>
                  <a:lnTo>
                    <a:pt x="141" y="237"/>
                  </a:lnTo>
                  <a:lnTo>
                    <a:pt x="140" y="235"/>
                  </a:lnTo>
                  <a:lnTo>
                    <a:pt x="140" y="239"/>
                  </a:lnTo>
                  <a:lnTo>
                    <a:pt x="138" y="235"/>
                  </a:lnTo>
                  <a:lnTo>
                    <a:pt x="129" y="239"/>
                  </a:lnTo>
                  <a:lnTo>
                    <a:pt x="133" y="235"/>
                  </a:lnTo>
                  <a:lnTo>
                    <a:pt x="138" y="235"/>
                  </a:lnTo>
                  <a:lnTo>
                    <a:pt x="138" y="234"/>
                  </a:lnTo>
                  <a:lnTo>
                    <a:pt x="136" y="232"/>
                  </a:lnTo>
                  <a:lnTo>
                    <a:pt x="138" y="232"/>
                  </a:lnTo>
                  <a:lnTo>
                    <a:pt x="138" y="225"/>
                  </a:lnTo>
                  <a:lnTo>
                    <a:pt x="140" y="225"/>
                  </a:lnTo>
                  <a:lnTo>
                    <a:pt x="140" y="227"/>
                  </a:lnTo>
                  <a:lnTo>
                    <a:pt x="141" y="227"/>
                  </a:lnTo>
                  <a:lnTo>
                    <a:pt x="140" y="223"/>
                  </a:lnTo>
                  <a:lnTo>
                    <a:pt x="141" y="223"/>
                  </a:lnTo>
                  <a:lnTo>
                    <a:pt x="145" y="223"/>
                  </a:lnTo>
                  <a:lnTo>
                    <a:pt x="141" y="227"/>
                  </a:lnTo>
                  <a:lnTo>
                    <a:pt x="141" y="228"/>
                  </a:lnTo>
                  <a:lnTo>
                    <a:pt x="148" y="228"/>
                  </a:lnTo>
                  <a:lnTo>
                    <a:pt x="151" y="227"/>
                  </a:lnTo>
                  <a:lnTo>
                    <a:pt x="151" y="223"/>
                  </a:lnTo>
                  <a:lnTo>
                    <a:pt x="155" y="225"/>
                  </a:lnTo>
                  <a:lnTo>
                    <a:pt x="153" y="228"/>
                  </a:lnTo>
                  <a:lnTo>
                    <a:pt x="160" y="223"/>
                  </a:lnTo>
                  <a:lnTo>
                    <a:pt x="160" y="225"/>
                  </a:lnTo>
                  <a:lnTo>
                    <a:pt x="162" y="225"/>
                  </a:lnTo>
                  <a:lnTo>
                    <a:pt x="160" y="227"/>
                  </a:lnTo>
                  <a:lnTo>
                    <a:pt x="163" y="227"/>
                  </a:lnTo>
                  <a:lnTo>
                    <a:pt x="167" y="227"/>
                  </a:lnTo>
                  <a:lnTo>
                    <a:pt x="163" y="223"/>
                  </a:lnTo>
                  <a:lnTo>
                    <a:pt x="169" y="225"/>
                  </a:lnTo>
                  <a:lnTo>
                    <a:pt x="169" y="228"/>
                  </a:lnTo>
                  <a:lnTo>
                    <a:pt x="170" y="228"/>
                  </a:lnTo>
                  <a:lnTo>
                    <a:pt x="170" y="227"/>
                  </a:lnTo>
                  <a:lnTo>
                    <a:pt x="175" y="227"/>
                  </a:lnTo>
                  <a:lnTo>
                    <a:pt x="179" y="223"/>
                  </a:lnTo>
                  <a:lnTo>
                    <a:pt x="177" y="227"/>
                  </a:lnTo>
                  <a:lnTo>
                    <a:pt x="179" y="227"/>
                  </a:lnTo>
                  <a:lnTo>
                    <a:pt x="180" y="225"/>
                  </a:lnTo>
                  <a:lnTo>
                    <a:pt x="180" y="227"/>
                  </a:lnTo>
                  <a:lnTo>
                    <a:pt x="180" y="222"/>
                  </a:lnTo>
                  <a:lnTo>
                    <a:pt x="179" y="222"/>
                  </a:lnTo>
                  <a:lnTo>
                    <a:pt x="180" y="218"/>
                  </a:lnTo>
                  <a:close/>
                  <a:moveTo>
                    <a:pt x="99" y="217"/>
                  </a:moveTo>
                  <a:lnTo>
                    <a:pt x="102" y="217"/>
                  </a:lnTo>
                  <a:lnTo>
                    <a:pt x="102" y="218"/>
                  </a:lnTo>
                  <a:lnTo>
                    <a:pt x="99" y="218"/>
                  </a:lnTo>
                  <a:lnTo>
                    <a:pt x="99" y="217"/>
                  </a:lnTo>
                  <a:close/>
                  <a:moveTo>
                    <a:pt x="109" y="215"/>
                  </a:moveTo>
                  <a:lnTo>
                    <a:pt x="112" y="215"/>
                  </a:lnTo>
                  <a:lnTo>
                    <a:pt x="112" y="217"/>
                  </a:lnTo>
                  <a:lnTo>
                    <a:pt x="109" y="217"/>
                  </a:lnTo>
                  <a:lnTo>
                    <a:pt x="109" y="215"/>
                  </a:lnTo>
                  <a:close/>
                  <a:moveTo>
                    <a:pt x="110" y="211"/>
                  </a:moveTo>
                  <a:lnTo>
                    <a:pt x="114" y="211"/>
                  </a:lnTo>
                  <a:lnTo>
                    <a:pt x="114" y="213"/>
                  </a:lnTo>
                  <a:lnTo>
                    <a:pt x="110" y="213"/>
                  </a:lnTo>
                  <a:lnTo>
                    <a:pt x="110" y="211"/>
                  </a:lnTo>
                  <a:close/>
                  <a:moveTo>
                    <a:pt x="121" y="206"/>
                  </a:moveTo>
                  <a:lnTo>
                    <a:pt x="121" y="208"/>
                  </a:lnTo>
                  <a:lnTo>
                    <a:pt x="116" y="208"/>
                  </a:lnTo>
                  <a:lnTo>
                    <a:pt x="121" y="206"/>
                  </a:lnTo>
                  <a:close/>
                  <a:moveTo>
                    <a:pt x="162" y="196"/>
                  </a:moveTo>
                  <a:lnTo>
                    <a:pt x="162" y="198"/>
                  </a:lnTo>
                  <a:lnTo>
                    <a:pt x="157" y="199"/>
                  </a:lnTo>
                  <a:lnTo>
                    <a:pt x="153" y="201"/>
                  </a:lnTo>
                  <a:lnTo>
                    <a:pt x="150" y="201"/>
                  </a:lnTo>
                  <a:lnTo>
                    <a:pt x="157" y="198"/>
                  </a:lnTo>
                  <a:lnTo>
                    <a:pt x="162" y="196"/>
                  </a:lnTo>
                  <a:close/>
                  <a:moveTo>
                    <a:pt x="163" y="194"/>
                  </a:moveTo>
                  <a:lnTo>
                    <a:pt x="165" y="194"/>
                  </a:lnTo>
                  <a:lnTo>
                    <a:pt x="165" y="196"/>
                  </a:lnTo>
                  <a:lnTo>
                    <a:pt x="163" y="196"/>
                  </a:lnTo>
                  <a:lnTo>
                    <a:pt x="163" y="194"/>
                  </a:lnTo>
                  <a:close/>
                  <a:moveTo>
                    <a:pt x="116" y="196"/>
                  </a:moveTo>
                  <a:lnTo>
                    <a:pt x="117" y="199"/>
                  </a:lnTo>
                  <a:lnTo>
                    <a:pt x="116" y="198"/>
                  </a:lnTo>
                  <a:lnTo>
                    <a:pt x="114" y="194"/>
                  </a:lnTo>
                  <a:lnTo>
                    <a:pt x="116" y="196"/>
                  </a:lnTo>
                  <a:close/>
                  <a:moveTo>
                    <a:pt x="136" y="181"/>
                  </a:moveTo>
                  <a:lnTo>
                    <a:pt x="138" y="181"/>
                  </a:lnTo>
                  <a:lnTo>
                    <a:pt x="138" y="182"/>
                  </a:lnTo>
                  <a:lnTo>
                    <a:pt x="136" y="182"/>
                  </a:lnTo>
                  <a:lnTo>
                    <a:pt x="136" y="181"/>
                  </a:lnTo>
                  <a:close/>
                  <a:moveTo>
                    <a:pt x="71" y="176"/>
                  </a:moveTo>
                  <a:lnTo>
                    <a:pt x="75" y="177"/>
                  </a:lnTo>
                  <a:lnTo>
                    <a:pt x="73" y="182"/>
                  </a:lnTo>
                  <a:lnTo>
                    <a:pt x="71" y="181"/>
                  </a:lnTo>
                  <a:lnTo>
                    <a:pt x="71" y="186"/>
                  </a:lnTo>
                  <a:lnTo>
                    <a:pt x="68" y="187"/>
                  </a:lnTo>
                  <a:lnTo>
                    <a:pt x="64" y="181"/>
                  </a:lnTo>
                  <a:lnTo>
                    <a:pt x="66" y="177"/>
                  </a:lnTo>
                  <a:lnTo>
                    <a:pt x="71" y="176"/>
                  </a:lnTo>
                  <a:close/>
                  <a:moveTo>
                    <a:pt x="158" y="176"/>
                  </a:moveTo>
                  <a:lnTo>
                    <a:pt x="167" y="181"/>
                  </a:lnTo>
                  <a:lnTo>
                    <a:pt x="162" y="189"/>
                  </a:lnTo>
                  <a:lnTo>
                    <a:pt x="153" y="193"/>
                  </a:lnTo>
                  <a:lnTo>
                    <a:pt x="151" y="191"/>
                  </a:lnTo>
                  <a:lnTo>
                    <a:pt x="155" y="191"/>
                  </a:lnTo>
                  <a:lnTo>
                    <a:pt x="155" y="187"/>
                  </a:lnTo>
                  <a:lnTo>
                    <a:pt x="157" y="187"/>
                  </a:lnTo>
                  <a:lnTo>
                    <a:pt x="153" y="184"/>
                  </a:lnTo>
                  <a:lnTo>
                    <a:pt x="150" y="189"/>
                  </a:lnTo>
                  <a:lnTo>
                    <a:pt x="148" y="189"/>
                  </a:lnTo>
                  <a:lnTo>
                    <a:pt x="140" y="191"/>
                  </a:lnTo>
                  <a:lnTo>
                    <a:pt x="138" y="189"/>
                  </a:lnTo>
                  <a:lnTo>
                    <a:pt x="145" y="187"/>
                  </a:lnTo>
                  <a:lnTo>
                    <a:pt x="140" y="186"/>
                  </a:lnTo>
                  <a:lnTo>
                    <a:pt x="140" y="182"/>
                  </a:lnTo>
                  <a:lnTo>
                    <a:pt x="143" y="182"/>
                  </a:lnTo>
                  <a:lnTo>
                    <a:pt x="141" y="182"/>
                  </a:lnTo>
                  <a:lnTo>
                    <a:pt x="141" y="181"/>
                  </a:lnTo>
                  <a:lnTo>
                    <a:pt x="145" y="181"/>
                  </a:lnTo>
                  <a:lnTo>
                    <a:pt x="146" y="184"/>
                  </a:lnTo>
                  <a:lnTo>
                    <a:pt x="151" y="182"/>
                  </a:lnTo>
                  <a:lnTo>
                    <a:pt x="150" y="181"/>
                  </a:lnTo>
                  <a:lnTo>
                    <a:pt x="155" y="177"/>
                  </a:lnTo>
                  <a:lnTo>
                    <a:pt x="157" y="179"/>
                  </a:lnTo>
                  <a:lnTo>
                    <a:pt x="157" y="177"/>
                  </a:lnTo>
                  <a:lnTo>
                    <a:pt x="158" y="176"/>
                  </a:lnTo>
                  <a:close/>
                  <a:moveTo>
                    <a:pt x="633" y="427"/>
                  </a:moveTo>
                  <a:lnTo>
                    <a:pt x="640" y="469"/>
                  </a:lnTo>
                  <a:lnTo>
                    <a:pt x="645" y="529"/>
                  </a:lnTo>
                  <a:lnTo>
                    <a:pt x="648" y="532"/>
                  </a:lnTo>
                  <a:lnTo>
                    <a:pt x="648" y="538"/>
                  </a:lnTo>
                  <a:lnTo>
                    <a:pt x="638" y="553"/>
                  </a:lnTo>
                  <a:lnTo>
                    <a:pt x="660" y="562"/>
                  </a:lnTo>
                  <a:lnTo>
                    <a:pt x="679" y="567"/>
                  </a:lnTo>
                  <a:lnTo>
                    <a:pt x="689" y="570"/>
                  </a:lnTo>
                  <a:lnTo>
                    <a:pt x="698" y="573"/>
                  </a:lnTo>
                  <a:lnTo>
                    <a:pt x="711" y="579"/>
                  </a:lnTo>
                  <a:lnTo>
                    <a:pt x="705" y="585"/>
                  </a:lnTo>
                  <a:lnTo>
                    <a:pt x="701" y="591"/>
                  </a:lnTo>
                  <a:lnTo>
                    <a:pt x="693" y="604"/>
                  </a:lnTo>
                  <a:lnTo>
                    <a:pt x="689" y="608"/>
                  </a:lnTo>
                  <a:lnTo>
                    <a:pt x="686" y="613"/>
                  </a:lnTo>
                  <a:lnTo>
                    <a:pt x="686" y="606"/>
                  </a:lnTo>
                  <a:lnTo>
                    <a:pt x="684" y="609"/>
                  </a:lnTo>
                  <a:lnTo>
                    <a:pt x="679" y="611"/>
                  </a:lnTo>
                  <a:lnTo>
                    <a:pt x="679" y="613"/>
                  </a:lnTo>
                  <a:lnTo>
                    <a:pt x="670" y="613"/>
                  </a:lnTo>
                  <a:lnTo>
                    <a:pt x="674" y="614"/>
                  </a:lnTo>
                  <a:lnTo>
                    <a:pt x="674" y="618"/>
                  </a:lnTo>
                  <a:lnTo>
                    <a:pt x="672" y="618"/>
                  </a:lnTo>
                  <a:lnTo>
                    <a:pt x="667" y="620"/>
                  </a:lnTo>
                  <a:lnTo>
                    <a:pt x="662" y="621"/>
                  </a:lnTo>
                  <a:lnTo>
                    <a:pt x="658" y="630"/>
                  </a:lnTo>
                  <a:lnTo>
                    <a:pt x="650" y="632"/>
                  </a:lnTo>
                  <a:lnTo>
                    <a:pt x="648" y="633"/>
                  </a:lnTo>
                  <a:lnTo>
                    <a:pt x="647" y="632"/>
                  </a:lnTo>
                  <a:lnTo>
                    <a:pt x="647" y="626"/>
                  </a:lnTo>
                  <a:lnTo>
                    <a:pt x="648" y="628"/>
                  </a:lnTo>
                  <a:lnTo>
                    <a:pt x="647" y="625"/>
                  </a:lnTo>
                  <a:lnTo>
                    <a:pt x="647" y="623"/>
                  </a:lnTo>
                  <a:lnTo>
                    <a:pt x="650" y="623"/>
                  </a:lnTo>
                  <a:lnTo>
                    <a:pt x="647" y="623"/>
                  </a:lnTo>
                  <a:lnTo>
                    <a:pt x="645" y="623"/>
                  </a:lnTo>
                  <a:lnTo>
                    <a:pt x="645" y="621"/>
                  </a:lnTo>
                  <a:lnTo>
                    <a:pt x="640" y="623"/>
                  </a:lnTo>
                  <a:lnTo>
                    <a:pt x="643" y="625"/>
                  </a:lnTo>
                  <a:lnTo>
                    <a:pt x="645" y="623"/>
                  </a:lnTo>
                  <a:lnTo>
                    <a:pt x="647" y="623"/>
                  </a:lnTo>
                  <a:lnTo>
                    <a:pt x="647" y="625"/>
                  </a:lnTo>
                  <a:lnTo>
                    <a:pt x="643" y="625"/>
                  </a:lnTo>
                  <a:lnTo>
                    <a:pt x="638" y="623"/>
                  </a:lnTo>
                  <a:lnTo>
                    <a:pt x="636" y="621"/>
                  </a:lnTo>
                  <a:lnTo>
                    <a:pt x="640" y="614"/>
                  </a:lnTo>
                  <a:lnTo>
                    <a:pt x="638" y="620"/>
                  </a:lnTo>
                  <a:lnTo>
                    <a:pt x="640" y="616"/>
                  </a:lnTo>
                  <a:lnTo>
                    <a:pt x="641" y="618"/>
                  </a:lnTo>
                  <a:lnTo>
                    <a:pt x="641" y="616"/>
                  </a:lnTo>
                  <a:lnTo>
                    <a:pt x="647" y="614"/>
                  </a:lnTo>
                  <a:lnTo>
                    <a:pt x="641" y="613"/>
                  </a:lnTo>
                  <a:lnTo>
                    <a:pt x="640" y="606"/>
                  </a:lnTo>
                  <a:lnTo>
                    <a:pt x="643" y="606"/>
                  </a:lnTo>
                  <a:lnTo>
                    <a:pt x="643" y="604"/>
                  </a:lnTo>
                  <a:lnTo>
                    <a:pt x="647" y="603"/>
                  </a:lnTo>
                  <a:lnTo>
                    <a:pt x="648" y="604"/>
                  </a:lnTo>
                  <a:lnTo>
                    <a:pt x="650" y="603"/>
                  </a:lnTo>
                  <a:lnTo>
                    <a:pt x="650" y="604"/>
                  </a:lnTo>
                  <a:lnTo>
                    <a:pt x="650" y="601"/>
                  </a:lnTo>
                  <a:lnTo>
                    <a:pt x="652" y="601"/>
                  </a:lnTo>
                  <a:lnTo>
                    <a:pt x="652" y="604"/>
                  </a:lnTo>
                  <a:lnTo>
                    <a:pt x="653" y="603"/>
                  </a:lnTo>
                  <a:lnTo>
                    <a:pt x="658" y="606"/>
                  </a:lnTo>
                  <a:lnTo>
                    <a:pt x="653" y="603"/>
                  </a:lnTo>
                  <a:lnTo>
                    <a:pt x="653" y="601"/>
                  </a:lnTo>
                  <a:lnTo>
                    <a:pt x="652" y="601"/>
                  </a:lnTo>
                  <a:lnTo>
                    <a:pt x="653" y="601"/>
                  </a:lnTo>
                  <a:lnTo>
                    <a:pt x="660" y="603"/>
                  </a:lnTo>
                  <a:lnTo>
                    <a:pt x="660" y="604"/>
                  </a:lnTo>
                  <a:lnTo>
                    <a:pt x="662" y="608"/>
                  </a:lnTo>
                  <a:lnTo>
                    <a:pt x="665" y="606"/>
                  </a:lnTo>
                  <a:lnTo>
                    <a:pt x="665" y="608"/>
                  </a:lnTo>
                  <a:lnTo>
                    <a:pt x="665" y="604"/>
                  </a:lnTo>
                  <a:lnTo>
                    <a:pt x="674" y="606"/>
                  </a:lnTo>
                  <a:lnTo>
                    <a:pt x="677" y="603"/>
                  </a:lnTo>
                  <a:lnTo>
                    <a:pt x="676" y="603"/>
                  </a:lnTo>
                  <a:lnTo>
                    <a:pt x="670" y="604"/>
                  </a:lnTo>
                  <a:lnTo>
                    <a:pt x="669" y="603"/>
                  </a:lnTo>
                  <a:lnTo>
                    <a:pt x="672" y="599"/>
                  </a:lnTo>
                  <a:lnTo>
                    <a:pt x="669" y="603"/>
                  </a:lnTo>
                  <a:lnTo>
                    <a:pt x="669" y="601"/>
                  </a:lnTo>
                  <a:lnTo>
                    <a:pt x="667" y="599"/>
                  </a:lnTo>
                  <a:lnTo>
                    <a:pt x="665" y="603"/>
                  </a:lnTo>
                  <a:lnTo>
                    <a:pt x="658" y="601"/>
                  </a:lnTo>
                  <a:lnTo>
                    <a:pt x="653" y="597"/>
                  </a:lnTo>
                  <a:lnTo>
                    <a:pt x="650" y="597"/>
                  </a:lnTo>
                  <a:lnTo>
                    <a:pt x="650" y="601"/>
                  </a:lnTo>
                  <a:lnTo>
                    <a:pt x="647" y="597"/>
                  </a:lnTo>
                  <a:lnTo>
                    <a:pt x="641" y="599"/>
                  </a:lnTo>
                  <a:lnTo>
                    <a:pt x="640" y="599"/>
                  </a:lnTo>
                  <a:lnTo>
                    <a:pt x="641" y="601"/>
                  </a:lnTo>
                  <a:lnTo>
                    <a:pt x="635" y="604"/>
                  </a:lnTo>
                  <a:lnTo>
                    <a:pt x="633" y="608"/>
                  </a:lnTo>
                  <a:lnTo>
                    <a:pt x="629" y="608"/>
                  </a:lnTo>
                  <a:lnTo>
                    <a:pt x="626" y="613"/>
                  </a:lnTo>
                  <a:lnTo>
                    <a:pt x="621" y="613"/>
                  </a:lnTo>
                  <a:lnTo>
                    <a:pt x="619" y="611"/>
                  </a:lnTo>
                  <a:lnTo>
                    <a:pt x="621" y="609"/>
                  </a:lnTo>
                  <a:lnTo>
                    <a:pt x="614" y="606"/>
                  </a:lnTo>
                  <a:lnTo>
                    <a:pt x="617" y="606"/>
                  </a:lnTo>
                  <a:lnTo>
                    <a:pt x="617" y="604"/>
                  </a:lnTo>
                  <a:lnTo>
                    <a:pt x="614" y="597"/>
                  </a:lnTo>
                  <a:lnTo>
                    <a:pt x="609" y="599"/>
                  </a:lnTo>
                  <a:lnTo>
                    <a:pt x="600" y="594"/>
                  </a:lnTo>
                  <a:lnTo>
                    <a:pt x="600" y="596"/>
                  </a:lnTo>
                  <a:lnTo>
                    <a:pt x="604" y="597"/>
                  </a:lnTo>
                  <a:lnTo>
                    <a:pt x="602" y="597"/>
                  </a:lnTo>
                  <a:lnTo>
                    <a:pt x="604" y="603"/>
                  </a:lnTo>
                  <a:lnTo>
                    <a:pt x="602" y="604"/>
                  </a:lnTo>
                  <a:lnTo>
                    <a:pt x="594" y="601"/>
                  </a:lnTo>
                  <a:lnTo>
                    <a:pt x="599" y="606"/>
                  </a:lnTo>
                  <a:lnTo>
                    <a:pt x="600" y="611"/>
                  </a:lnTo>
                  <a:lnTo>
                    <a:pt x="599" y="613"/>
                  </a:lnTo>
                  <a:lnTo>
                    <a:pt x="595" y="613"/>
                  </a:lnTo>
                  <a:lnTo>
                    <a:pt x="595" y="611"/>
                  </a:lnTo>
                  <a:lnTo>
                    <a:pt x="590" y="604"/>
                  </a:lnTo>
                  <a:lnTo>
                    <a:pt x="587" y="604"/>
                  </a:lnTo>
                  <a:lnTo>
                    <a:pt x="580" y="599"/>
                  </a:lnTo>
                  <a:lnTo>
                    <a:pt x="582" y="596"/>
                  </a:lnTo>
                  <a:lnTo>
                    <a:pt x="580" y="597"/>
                  </a:lnTo>
                  <a:lnTo>
                    <a:pt x="578" y="596"/>
                  </a:lnTo>
                  <a:lnTo>
                    <a:pt x="575" y="597"/>
                  </a:lnTo>
                  <a:lnTo>
                    <a:pt x="573" y="596"/>
                  </a:lnTo>
                  <a:lnTo>
                    <a:pt x="577" y="592"/>
                  </a:lnTo>
                  <a:lnTo>
                    <a:pt x="583" y="587"/>
                  </a:lnTo>
                  <a:lnTo>
                    <a:pt x="582" y="587"/>
                  </a:lnTo>
                  <a:lnTo>
                    <a:pt x="582" y="580"/>
                  </a:lnTo>
                  <a:lnTo>
                    <a:pt x="580" y="582"/>
                  </a:lnTo>
                  <a:lnTo>
                    <a:pt x="577" y="577"/>
                  </a:lnTo>
                  <a:lnTo>
                    <a:pt x="577" y="579"/>
                  </a:lnTo>
                  <a:lnTo>
                    <a:pt x="575" y="577"/>
                  </a:lnTo>
                  <a:lnTo>
                    <a:pt x="573" y="580"/>
                  </a:lnTo>
                  <a:lnTo>
                    <a:pt x="575" y="584"/>
                  </a:lnTo>
                  <a:lnTo>
                    <a:pt x="568" y="587"/>
                  </a:lnTo>
                  <a:lnTo>
                    <a:pt x="566" y="582"/>
                  </a:lnTo>
                  <a:lnTo>
                    <a:pt x="561" y="585"/>
                  </a:lnTo>
                  <a:lnTo>
                    <a:pt x="565" y="585"/>
                  </a:lnTo>
                  <a:lnTo>
                    <a:pt x="566" y="589"/>
                  </a:lnTo>
                  <a:lnTo>
                    <a:pt x="561" y="591"/>
                  </a:lnTo>
                  <a:lnTo>
                    <a:pt x="561" y="587"/>
                  </a:lnTo>
                  <a:lnTo>
                    <a:pt x="559" y="587"/>
                  </a:lnTo>
                  <a:lnTo>
                    <a:pt x="556" y="591"/>
                  </a:lnTo>
                  <a:lnTo>
                    <a:pt x="553" y="587"/>
                  </a:lnTo>
                  <a:lnTo>
                    <a:pt x="551" y="582"/>
                  </a:lnTo>
                  <a:lnTo>
                    <a:pt x="551" y="579"/>
                  </a:lnTo>
                  <a:lnTo>
                    <a:pt x="554" y="580"/>
                  </a:lnTo>
                  <a:lnTo>
                    <a:pt x="553" y="579"/>
                  </a:lnTo>
                  <a:lnTo>
                    <a:pt x="551" y="579"/>
                  </a:lnTo>
                  <a:lnTo>
                    <a:pt x="549" y="572"/>
                  </a:lnTo>
                  <a:lnTo>
                    <a:pt x="542" y="565"/>
                  </a:lnTo>
                  <a:lnTo>
                    <a:pt x="542" y="563"/>
                  </a:lnTo>
                  <a:lnTo>
                    <a:pt x="541" y="555"/>
                  </a:lnTo>
                  <a:lnTo>
                    <a:pt x="536" y="560"/>
                  </a:lnTo>
                  <a:lnTo>
                    <a:pt x="534" y="556"/>
                  </a:lnTo>
                  <a:lnTo>
                    <a:pt x="537" y="567"/>
                  </a:lnTo>
                  <a:lnTo>
                    <a:pt x="539" y="573"/>
                  </a:lnTo>
                  <a:lnTo>
                    <a:pt x="539" y="575"/>
                  </a:lnTo>
                  <a:lnTo>
                    <a:pt x="532" y="568"/>
                  </a:lnTo>
                  <a:lnTo>
                    <a:pt x="532" y="565"/>
                  </a:lnTo>
                  <a:lnTo>
                    <a:pt x="524" y="568"/>
                  </a:lnTo>
                  <a:lnTo>
                    <a:pt x="525" y="560"/>
                  </a:lnTo>
                  <a:lnTo>
                    <a:pt x="522" y="551"/>
                  </a:lnTo>
                  <a:lnTo>
                    <a:pt x="520" y="551"/>
                  </a:lnTo>
                  <a:lnTo>
                    <a:pt x="518" y="548"/>
                  </a:lnTo>
                  <a:lnTo>
                    <a:pt x="515" y="544"/>
                  </a:lnTo>
                  <a:lnTo>
                    <a:pt x="517" y="544"/>
                  </a:lnTo>
                  <a:lnTo>
                    <a:pt x="518" y="541"/>
                  </a:lnTo>
                  <a:lnTo>
                    <a:pt x="524" y="539"/>
                  </a:lnTo>
                  <a:lnTo>
                    <a:pt x="524" y="538"/>
                  </a:lnTo>
                  <a:lnTo>
                    <a:pt x="525" y="541"/>
                  </a:lnTo>
                  <a:lnTo>
                    <a:pt x="525" y="536"/>
                  </a:lnTo>
                  <a:lnTo>
                    <a:pt x="522" y="527"/>
                  </a:lnTo>
                  <a:lnTo>
                    <a:pt x="520" y="526"/>
                  </a:lnTo>
                  <a:lnTo>
                    <a:pt x="520" y="532"/>
                  </a:lnTo>
                  <a:lnTo>
                    <a:pt x="517" y="538"/>
                  </a:lnTo>
                  <a:lnTo>
                    <a:pt x="513" y="538"/>
                  </a:lnTo>
                  <a:lnTo>
                    <a:pt x="512" y="539"/>
                  </a:lnTo>
                  <a:lnTo>
                    <a:pt x="507" y="539"/>
                  </a:lnTo>
                  <a:lnTo>
                    <a:pt x="505" y="532"/>
                  </a:lnTo>
                  <a:lnTo>
                    <a:pt x="501" y="532"/>
                  </a:lnTo>
                  <a:lnTo>
                    <a:pt x="503" y="541"/>
                  </a:lnTo>
                  <a:lnTo>
                    <a:pt x="500" y="541"/>
                  </a:lnTo>
                  <a:lnTo>
                    <a:pt x="495" y="538"/>
                  </a:lnTo>
                  <a:lnTo>
                    <a:pt x="500" y="543"/>
                  </a:lnTo>
                  <a:lnTo>
                    <a:pt x="508" y="543"/>
                  </a:lnTo>
                  <a:lnTo>
                    <a:pt x="510" y="546"/>
                  </a:lnTo>
                  <a:lnTo>
                    <a:pt x="513" y="551"/>
                  </a:lnTo>
                  <a:lnTo>
                    <a:pt x="512" y="556"/>
                  </a:lnTo>
                  <a:lnTo>
                    <a:pt x="503" y="562"/>
                  </a:lnTo>
                  <a:lnTo>
                    <a:pt x="496" y="568"/>
                  </a:lnTo>
                  <a:lnTo>
                    <a:pt x="489" y="572"/>
                  </a:lnTo>
                  <a:lnTo>
                    <a:pt x="488" y="577"/>
                  </a:lnTo>
                  <a:lnTo>
                    <a:pt x="491" y="584"/>
                  </a:lnTo>
                  <a:lnTo>
                    <a:pt x="495" y="585"/>
                  </a:lnTo>
                  <a:lnTo>
                    <a:pt x="496" y="591"/>
                  </a:lnTo>
                  <a:lnTo>
                    <a:pt x="489" y="594"/>
                  </a:lnTo>
                  <a:lnTo>
                    <a:pt x="489" y="596"/>
                  </a:lnTo>
                  <a:lnTo>
                    <a:pt x="483" y="604"/>
                  </a:lnTo>
                  <a:lnTo>
                    <a:pt x="481" y="606"/>
                  </a:lnTo>
                  <a:lnTo>
                    <a:pt x="479" y="609"/>
                  </a:lnTo>
                  <a:lnTo>
                    <a:pt x="472" y="613"/>
                  </a:lnTo>
                  <a:lnTo>
                    <a:pt x="471" y="616"/>
                  </a:lnTo>
                  <a:lnTo>
                    <a:pt x="462" y="616"/>
                  </a:lnTo>
                  <a:lnTo>
                    <a:pt x="459" y="616"/>
                  </a:lnTo>
                  <a:lnTo>
                    <a:pt x="448" y="614"/>
                  </a:lnTo>
                  <a:lnTo>
                    <a:pt x="445" y="616"/>
                  </a:lnTo>
                  <a:lnTo>
                    <a:pt x="443" y="621"/>
                  </a:lnTo>
                  <a:lnTo>
                    <a:pt x="442" y="621"/>
                  </a:lnTo>
                  <a:lnTo>
                    <a:pt x="437" y="621"/>
                  </a:lnTo>
                  <a:lnTo>
                    <a:pt x="430" y="618"/>
                  </a:lnTo>
                  <a:lnTo>
                    <a:pt x="431" y="613"/>
                  </a:lnTo>
                  <a:lnTo>
                    <a:pt x="425" y="608"/>
                  </a:lnTo>
                  <a:lnTo>
                    <a:pt x="423" y="606"/>
                  </a:lnTo>
                  <a:lnTo>
                    <a:pt x="423" y="603"/>
                  </a:lnTo>
                  <a:lnTo>
                    <a:pt x="418" y="601"/>
                  </a:lnTo>
                  <a:lnTo>
                    <a:pt x="418" y="599"/>
                  </a:lnTo>
                  <a:lnTo>
                    <a:pt x="423" y="603"/>
                  </a:lnTo>
                  <a:lnTo>
                    <a:pt x="423" y="599"/>
                  </a:lnTo>
                  <a:lnTo>
                    <a:pt x="421" y="597"/>
                  </a:lnTo>
                  <a:lnTo>
                    <a:pt x="416" y="589"/>
                  </a:lnTo>
                  <a:lnTo>
                    <a:pt x="416" y="587"/>
                  </a:lnTo>
                  <a:lnTo>
                    <a:pt x="414" y="587"/>
                  </a:lnTo>
                  <a:lnTo>
                    <a:pt x="416" y="582"/>
                  </a:lnTo>
                  <a:lnTo>
                    <a:pt x="413" y="579"/>
                  </a:lnTo>
                  <a:lnTo>
                    <a:pt x="409" y="570"/>
                  </a:lnTo>
                  <a:lnTo>
                    <a:pt x="409" y="565"/>
                  </a:lnTo>
                  <a:lnTo>
                    <a:pt x="411" y="563"/>
                  </a:lnTo>
                  <a:lnTo>
                    <a:pt x="414" y="565"/>
                  </a:lnTo>
                  <a:lnTo>
                    <a:pt x="421" y="563"/>
                  </a:lnTo>
                  <a:lnTo>
                    <a:pt x="428" y="565"/>
                  </a:lnTo>
                  <a:lnTo>
                    <a:pt x="430" y="556"/>
                  </a:lnTo>
                  <a:lnTo>
                    <a:pt x="435" y="555"/>
                  </a:lnTo>
                  <a:lnTo>
                    <a:pt x="430" y="553"/>
                  </a:lnTo>
                  <a:lnTo>
                    <a:pt x="431" y="551"/>
                  </a:lnTo>
                  <a:lnTo>
                    <a:pt x="430" y="551"/>
                  </a:lnTo>
                  <a:lnTo>
                    <a:pt x="428" y="548"/>
                  </a:lnTo>
                  <a:lnTo>
                    <a:pt x="430" y="543"/>
                  </a:lnTo>
                  <a:lnTo>
                    <a:pt x="425" y="544"/>
                  </a:lnTo>
                  <a:lnTo>
                    <a:pt x="419" y="541"/>
                  </a:lnTo>
                  <a:lnTo>
                    <a:pt x="419" y="536"/>
                  </a:lnTo>
                  <a:lnTo>
                    <a:pt x="418" y="531"/>
                  </a:lnTo>
                  <a:lnTo>
                    <a:pt x="423" y="524"/>
                  </a:lnTo>
                  <a:lnTo>
                    <a:pt x="419" y="522"/>
                  </a:lnTo>
                  <a:lnTo>
                    <a:pt x="419" y="519"/>
                  </a:lnTo>
                  <a:lnTo>
                    <a:pt x="416" y="519"/>
                  </a:lnTo>
                  <a:lnTo>
                    <a:pt x="418" y="521"/>
                  </a:lnTo>
                  <a:lnTo>
                    <a:pt x="416" y="521"/>
                  </a:lnTo>
                  <a:lnTo>
                    <a:pt x="414" y="519"/>
                  </a:lnTo>
                  <a:lnTo>
                    <a:pt x="409" y="522"/>
                  </a:lnTo>
                  <a:lnTo>
                    <a:pt x="409" y="529"/>
                  </a:lnTo>
                  <a:lnTo>
                    <a:pt x="401" y="526"/>
                  </a:lnTo>
                  <a:lnTo>
                    <a:pt x="399" y="519"/>
                  </a:lnTo>
                  <a:lnTo>
                    <a:pt x="394" y="515"/>
                  </a:lnTo>
                  <a:lnTo>
                    <a:pt x="399" y="514"/>
                  </a:lnTo>
                  <a:lnTo>
                    <a:pt x="399" y="510"/>
                  </a:lnTo>
                  <a:lnTo>
                    <a:pt x="394" y="509"/>
                  </a:lnTo>
                  <a:lnTo>
                    <a:pt x="392" y="507"/>
                  </a:lnTo>
                  <a:lnTo>
                    <a:pt x="390" y="505"/>
                  </a:lnTo>
                  <a:lnTo>
                    <a:pt x="390" y="507"/>
                  </a:lnTo>
                  <a:lnTo>
                    <a:pt x="389" y="507"/>
                  </a:lnTo>
                  <a:lnTo>
                    <a:pt x="389" y="503"/>
                  </a:lnTo>
                  <a:lnTo>
                    <a:pt x="390" y="503"/>
                  </a:lnTo>
                  <a:lnTo>
                    <a:pt x="389" y="502"/>
                  </a:lnTo>
                  <a:lnTo>
                    <a:pt x="384" y="497"/>
                  </a:lnTo>
                  <a:lnTo>
                    <a:pt x="380" y="492"/>
                  </a:lnTo>
                  <a:lnTo>
                    <a:pt x="372" y="488"/>
                  </a:lnTo>
                  <a:lnTo>
                    <a:pt x="372" y="486"/>
                  </a:lnTo>
                  <a:lnTo>
                    <a:pt x="365" y="483"/>
                  </a:lnTo>
                  <a:lnTo>
                    <a:pt x="365" y="481"/>
                  </a:lnTo>
                  <a:lnTo>
                    <a:pt x="363" y="481"/>
                  </a:lnTo>
                  <a:lnTo>
                    <a:pt x="361" y="481"/>
                  </a:lnTo>
                  <a:lnTo>
                    <a:pt x="360" y="480"/>
                  </a:lnTo>
                  <a:lnTo>
                    <a:pt x="358" y="480"/>
                  </a:lnTo>
                  <a:lnTo>
                    <a:pt x="348" y="480"/>
                  </a:lnTo>
                  <a:lnTo>
                    <a:pt x="348" y="476"/>
                  </a:lnTo>
                  <a:lnTo>
                    <a:pt x="346" y="480"/>
                  </a:lnTo>
                  <a:lnTo>
                    <a:pt x="344" y="478"/>
                  </a:lnTo>
                  <a:lnTo>
                    <a:pt x="344" y="480"/>
                  </a:lnTo>
                  <a:lnTo>
                    <a:pt x="339" y="480"/>
                  </a:lnTo>
                  <a:lnTo>
                    <a:pt x="341" y="481"/>
                  </a:lnTo>
                  <a:lnTo>
                    <a:pt x="334" y="480"/>
                  </a:lnTo>
                  <a:lnTo>
                    <a:pt x="338" y="481"/>
                  </a:lnTo>
                  <a:lnTo>
                    <a:pt x="332" y="483"/>
                  </a:lnTo>
                  <a:lnTo>
                    <a:pt x="332" y="478"/>
                  </a:lnTo>
                  <a:lnTo>
                    <a:pt x="329" y="474"/>
                  </a:lnTo>
                  <a:lnTo>
                    <a:pt x="327" y="480"/>
                  </a:lnTo>
                  <a:lnTo>
                    <a:pt x="324" y="474"/>
                  </a:lnTo>
                  <a:lnTo>
                    <a:pt x="320" y="476"/>
                  </a:lnTo>
                  <a:lnTo>
                    <a:pt x="320" y="478"/>
                  </a:lnTo>
                  <a:lnTo>
                    <a:pt x="319" y="473"/>
                  </a:lnTo>
                  <a:lnTo>
                    <a:pt x="326" y="473"/>
                  </a:lnTo>
                  <a:lnTo>
                    <a:pt x="326" y="471"/>
                  </a:lnTo>
                  <a:lnTo>
                    <a:pt x="327" y="469"/>
                  </a:lnTo>
                  <a:lnTo>
                    <a:pt x="320" y="468"/>
                  </a:lnTo>
                  <a:lnTo>
                    <a:pt x="327" y="466"/>
                  </a:lnTo>
                  <a:lnTo>
                    <a:pt x="331" y="462"/>
                  </a:lnTo>
                  <a:lnTo>
                    <a:pt x="327" y="461"/>
                  </a:lnTo>
                  <a:lnTo>
                    <a:pt x="322" y="462"/>
                  </a:lnTo>
                  <a:lnTo>
                    <a:pt x="317" y="459"/>
                  </a:lnTo>
                  <a:lnTo>
                    <a:pt x="324" y="457"/>
                  </a:lnTo>
                  <a:lnTo>
                    <a:pt x="329" y="456"/>
                  </a:lnTo>
                  <a:lnTo>
                    <a:pt x="329" y="457"/>
                  </a:lnTo>
                  <a:lnTo>
                    <a:pt x="331" y="457"/>
                  </a:lnTo>
                  <a:lnTo>
                    <a:pt x="331" y="456"/>
                  </a:lnTo>
                  <a:lnTo>
                    <a:pt x="334" y="457"/>
                  </a:lnTo>
                  <a:lnTo>
                    <a:pt x="336" y="456"/>
                  </a:lnTo>
                  <a:lnTo>
                    <a:pt x="332" y="454"/>
                  </a:lnTo>
                  <a:lnTo>
                    <a:pt x="334" y="454"/>
                  </a:lnTo>
                  <a:lnTo>
                    <a:pt x="334" y="452"/>
                  </a:lnTo>
                  <a:lnTo>
                    <a:pt x="338" y="456"/>
                  </a:lnTo>
                  <a:lnTo>
                    <a:pt x="338" y="454"/>
                  </a:lnTo>
                  <a:lnTo>
                    <a:pt x="339" y="454"/>
                  </a:lnTo>
                  <a:lnTo>
                    <a:pt x="346" y="452"/>
                  </a:lnTo>
                  <a:lnTo>
                    <a:pt x="339" y="451"/>
                  </a:lnTo>
                  <a:lnTo>
                    <a:pt x="338" y="452"/>
                  </a:lnTo>
                  <a:lnTo>
                    <a:pt x="336" y="451"/>
                  </a:lnTo>
                  <a:lnTo>
                    <a:pt x="339" y="447"/>
                  </a:lnTo>
                  <a:lnTo>
                    <a:pt x="344" y="449"/>
                  </a:lnTo>
                  <a:lnTo>
                    <a:pt x="346" y="447"/>
                  </a:lnTo>
                  <a:lnTo>
                    <a:pt x="353" y="447"/>
                  </a:lnTo>
                  <a:lnTo>
                    <a:pt x="361" y="447"/>
                  </a:lnTo>
                  <a:lnTo>
                    <a:pt x="370" y="451"/>
                  </a:lnTo>
                  <a:lnTo>
                    <a:pt x="373" y="449"/>
                  </a:lnTo>
                  <a:lnTo>
                    <a:pt x="375" y="451"/>
                  </a:lnTo>
                  <a:lnTo>
                    <a:pt x="372" y="452"/>
                  </a:lnTo>
                  <a:lnTo>
                    <a:pt x="377" y="454"/>
                  </a:lnTo>
                  <a:lnTo>
                    <a:pt x="372" y="456"/>
                  </a:lnTo>
                  <a:lnTo>
                    <a:pt x="377" y="456"/>
                  </a:lnTo>
                  <a:lnTo>
                    <a:pt x="377" y="457"/>
                  </a:lnTo>
                  <a:lnTo>
                    <a:pt x="377" y="456"/>
                  </a:lnTo>
                  <a:lnTo>
                    <a:pt x="379" y="454"/>
                  </a:lnTo>
                  <a:lnTo>
                    <a:pt x="382" y="454"/>
                  </a:lnTo>
                  <a:lnTo>
                    <a:pt x="379" y="451"/>
                  </a:lnTo>
                  <a:lnTo>
                    <a:pt x="380" y="451"/>
                  </a:lnTo>
                  <a:lnTo>
                    <a:pt x="380" y="449"/>
                  </a:lnTo>
                  <a:lnTo>
                    <a:pt x="387" y="451"/>
                  </a:lnTo>
                  <a:lnTo>
                    <a:pt x="392" y="451"/>
                  </a:lnTo>
                  <a:lnTo>
                    <a:pt x="397" y="454"/>
                  </a:lnTo>
                  <a:lnTo>
                    <a:pt x="399" y="456"/>
                  </a:lnTo>
                  <a:lnTo>
                    <a:pt x="402" y="461"/>
                  </a:lnTo>
                  <a:lnTo>
                    <a:pt x="406" y="461"/>
                  </a:lnTo>
                  <a:lnTo>
                    <a:pt x="408" y="464"/>
                  </a:lnTo>
                  <a:lnTo>
                    <a:pt x="411" y="464"/>
                  </a:lnTo>
                  <a:lnTo>
                    <a:pt x="414" y="462"/>
                  </a:lnTo>
                  <a:lnTo>
                    <a:pt x="418" y="462"/>
                  </a:lnTo>
                  <a:lnTo>
                    <a:pt x="416" y="461"/>
                  </a:lnTo>
                  <a:lnTo>
                    <a:pt x="419" y="461"/>
                  </a:lnTo>
                  <a:lnTo>
                    <a:pt x="419" y="459"/>
                  </a:lnTo>
                  <a:lnTo>
                    <a:pt x="426" y="454"/>
                  </a:lnTo>
                  <a:lnTo>
                    <a:pt x="433" y="445"/>
                  </a:lnTo>
                  <a:lnTo>
                    <a:pt x="435" y="444"/>
                  </a:lnTo>
                  <a:lnTo>
                    <a:pt x="437" y="442"/>
                  </a:lnTo>
                  <a:lnTo>
                    <a:pt x="442" y="435"/>
                  </a:lnTo>
                  <a:lnTo>
                    <a:pt x="447" y="428"/>
                  </a:lnTo>
                  <a:lnTo>
                    <a:pt x="454" y="423"/>
                  </a:lnTo>
                  <a:lnTo>
                    <a:pt x="457" y="420"/>
                  </a:lnTo>
                  <a:lnTo>
                    <a:pt x="466" y="420"/>
                  </a:lnTo>
                  <a:lnTo>
                    <a:pt x="467" y="418"/>
                  </a:lnTo>
                  <a:lnTo>
                    <a:pt x="478" y="421"/>
                  </a:lnTo>
                  <a:lnTo>
                    <a:pt x="479" y="427"/>
                  </a:lnTo>
                  <a:lnTo>
                    <a:pt x="481" y="425"/>
                  </a:lnTo>
                  <a:lnTo>
                    <a:pt x="488" y="428"/>
                  </a:lnTo>
                  <a:lnTo>
                    <a:pt x="488" y="432"/>
                  </a:lnTo>
                  <a:lnTo>
                    <a:pt x="486" y="440"/>
                  </a:lnTo>
                  <a:lnTo>
                    <a:pt x="488" y="449"/>
                  </a:lnTo>
                  <a:lnTo>
                    <a:pt x="491" y="447"/>
                  </a:lnTo>
                  <a:lnTo>
                    <a:pt x="489" y="442"/>
                  </a:lnTo>
                  <a:lnTo>
                    <a:pt x="491" y="442"/>
                  </a:lnTo>
                  <a:lnTo>
                    <a:pt x="489" y="435"/>
                  </a:lnTo>
                  <a:lnTo>
                    <a:pt x="489" y="433"/>
                  </a:lnTo>
                  <a:lnTo>
                    <a:pt x="491" y="435"/>
                  </a:lnTo>
                  <a:lnTo>
                    <a:pt x="489" y="432"/>
                  </a:lnTo>
                  <a:lnTo>
                    <a:pt x="495" y="428"/>
                  </a:lnTo>
                  <a:lnTo>
                    <a:pt x="496" y="432"/>
                  </a:lnTo>
                  <a:lnTo>
                    <a:pt x="498" y="442"/>
                  </a:lnTo>
                  <a:lnTo>
                    <a:pt x="498" y="437"/>
                  </a:lnTo>
                  <a:lnTo>
                    <a:pt x="498" y="430"/>
                  </a:lnTo>
                  <a:lnTo>
                    <a:pt x="500" y="428"/>
                  </a:lnTo>
                  <a:lnTo>
                    <a:pt x="503" y="437"/>
                  </a:lnTo>
                  <a:lnTo>
                    <a:pt x="505" y="440"/>
                  </a:lnTo>
                  <a:lnTo>
                    <a:pt x="507" y="442"/>
                  </a:lnTo>
                  <a:lnTo>
                    <a:pt x="510" y="440"/>
                  </a:lnTo>
                  <a:lnTo>
                    <a:pt x="510" y="439"/>
                  </a:lnTo>
                  <a:lnTo>
                    <a:pt x="510" y="437"/>
                  </a:lnTo>
                  <a:lnTo>
                    <a:pt x="515" y="433"/>
                  </a:lnTo>
                  <a:lnTo>
                    <a:pt x="520" y="432"/>
                  </a:lnTo>
                  <a:lnTo>
                    <a:pt x="524" y="437"/>
                  </a:lnTo>
                  <a:lnTo>
                    <a:pt x="522" y="442"/>
                  </a:lnTo>
                  <a:lnTo>
                    <a:pt x="522" y="449"/>
                  </a:lnTo>
                  <a:lnTo>
                    <a:pt x="522" y="447"/>
                  </a:lnTo>
                  <a:lnTo>
                    <a:pt x="527" y="437"/>
                  </a:lnTo>
                  <a:lnTo>
                    <a:pt x="525" y="428"/>
                  </a:lnTo>
                  <a:lnTo>
                    <a:pt x="529" y="428"/>
                  </a:lnTo>
                  <a:lnTo>
                    <a:pt x="532" y="435"/>
                  </a:lnTo>
                  <a:lnTo>
                    <a:pt x="536" y="439"/>
                  </a:lnTo>
                  <a:lnTo>
                    <a:pt x="537" y="445"/>
                  </a:lnTo>
                  <a:lnTo>
                    <a:pt x="539" y="445"/>
                  </a:lnTo>
                  <a:lnTo>
                    <a:pt x="537" y="439"/>
                  </a:lnTo>
                  <a:lnTo>
                    <a:pt x="534" y="435"/>
                  </a:lnTo>
                  <a:lnTo>
                    <a:pt x="534" y="430"/>
                  </a:lnTo>
                  <a:lnTo>
                    <a:pt x="537" y="432"/>
                  </a:lnTo>
                  <a:lnTo>
                    <a:pt x="536" y="427"/>
                  </a:lnTo>
                  <a:lnTo>
                    <a:pt x="541" y="425"/>
                  </a:lnTo>
                  <a:lnTo>
                    <a:pt x="541" y="421"/>
                  </a:lnTo>
                  <a:lnTo>
                    <a:pt x="544" y="425"/>
                  </a:lnTo>
                  <a:lnTo>
                    <a:pt x="546" y="425"/>
                  </a:lnTo>
                  <a:lnTo>
                    <a:pt x="548" y="423"/>
                  </a:lnTo>
                  <a:lnTo>
                    <a:pt x="551" y="427"/>
                  </a:lnTo>
                  <a:lnTo>
                    <a:pt x="556" y="425"/>
                  </a:lnTo>
                  <a:lnTo>
                    <a:pt x="559" y="425"/>
                  </a:lnTo>
                  <a:lnTo>
                    <a:pt x="561" y="421"/>
                  </a:lnTo>
                  <a:lnTo>
                    <a:pt x="559" y="421"/>
                  </a:lnTo>
                  <a:lnTo>
                    <a:pt x="556" y="420"/>
                  </a:lnTo>
                  <a:lnTo>
                    <a:pt x="556" y="416"/>
                  </a:lnTo>
                  <a:lnTo>
                    <a:pt x="559" y="415"/>
                  </a:lnTo>
                  <a:lnTo>
                    <a:pt x="561" y="415"/>
                  </a:lnTo>
                  <a:lnTo>
                    <a:pt x="561" y="411"/>
                  </a:lnTo>
                  <a:lnTo>
                    <a:pt x="556" y="408"/>
                  </a:lnTo>
                  <a:lnTo>
                    <a:pt x="546" y="410"/>
                  </a:lnTo>
                  <a:lnTo>
                    <a:pt x="541" y="408"/>
                  </a:lnTo>
                  <a:lnTo>
                    <a:pt x="546" y="404"/>
                  </a:lnTo>
                  <a:lnTo>
                    <a:pt x="549" y="404"/>
                  </a:lnTo>
                  <a:lnTo>
                    <a:pt x="553" y="404"/>
                  </a:lnTo>
                  <a:lnTo>
                    <a:pt x="554" y="404"/>
                  </a:lnTo>
                  <a:lnTo>
                    <a:pt x="556" y="398"/>
                  </a:lnTo>
                  <a:lnTo>
                    <a:pt x="558" y="398"/>
                  </a:lnTo>
                  <a:lnTo>
                    <a:pt x="556" y="398"/>
                  </a:lnTo>
                  <a:lnTo>
                    <a:pt x="554" y="387"/>
                  </a:lnTo>
                  <a:lnTo>
                    <a:pt x="554" y="380"/>
                  </a:lnTo>
                  <a:lnTo>
                    <a:pt x="558" y="379"/>
                  </a:lnTo>
                  <a:lnTo>
                    <a:pt x="558" y="377"/>
                  </a:lnTo>
                  <a:lnTo>
                    <a:pt x="556" y="379"/>
                  </a:lnTo>
                  <a:lnTo>
                    <a:pt x="556" y="380"/>
                  </a:lnTo>
                  <a:lnTo>
                    <a:pt x="554" y="380"/>
                  </a:lnTo>
                  <a:lnTo>
                    <a:pt x="554" y="384"/>
                  </a:lnTo>
                  <a:lnTo>
                    <a:pt x="551" y="384"/>
                  </a:lnTo>
                  <a:lnTo>
                    <a:pt x="553" y="382"/>
                  </a:lnTo>
                  <a:lnTo>
                    <a:pt x="553" y="379"/>
                  </a:lnTo>
                  <a:lnTo>
                    <a:pt x="556" y="377"/>
                  </a:lnTo>
                  <a:lnTo>
                    <a:pt x="556" y="374"/>
                  </a:lnTo>
                  <a:lnTo>
                    <a:pt x="554" y="379"/>
                  </a:lnTo>
                  <a:lnTo>
                    <a:pt x="553" y="377"/>
                  </a:lnTo>
                  <a:lnTo>
                    <a:pt x="554" y="374"/>
                  </a:lnTo>
                  <a:lnTo>
                    <a:pt x="553" y="375"/>
                  </a:lnTo>
                  <a:lnTo>
                    <a:pt x="553" y="377"/>
                  </a:lnTo>
                  <a:lnTo>
                    <a:pt x="553" y="379"/>
                  </a:lnTo>
                  <a:lnTo>
                    <a:pt x="551" y="380"/>
                  </a:lnTo>
                  <a:lnTo>
                    <a:pt x="549" y="377"/>
                  </a:lnTo>
                  <a:lnTo>
                    <a:pt x="551" y="375"/>
                  </a:lnTo>
                  <a:lnTo>
                    <a:pt x="549" y="377"/>
                  </a:lnTo>
                  <a:lnTo>
                    <a:pt x="549" y="380"/>
                  </a:lnTo>
                  <a:lnTo>
                    <a:pt x="548" y="377"/>
                  </a:lnTo>
                  <a:lnTo>
                    <a:pt x="549" y="380"/>
                  </a:lnTo>
                  <a:lnTo>
                    <a:pt x="548" y="380"/>
                  </a:lnTo>
                  <a:lnTo>
                    <a:pt x="542" y="379"/>
                  </a:lnTo>
                  <a:lnTo>
                    <a:pt x="544" y="375"/>
                  </a:lnTo>
                  <a:lnTo>
                    <a:pt x="541" y="384"/>
                  </a:lnTo>
                  <a:lnTo>
                    <a:pt x="532" y="389"/>
                  </a:lnTo>
                  <a:lnTo>
                    <a:pt x="529" y="387"/>
                  </a:lnTo>
                  <a:lnTo>
                    <a:pt x="525" y="392"/>
                  </a:lnTo>
                  <a:lnTo>
                    <a:pt x="522" y="392"/>
                  </a:lnTo>
                  <a:lnTo>
                    <a:pt x="517" y="396"/>
                  </a:lnTo>
                  <a:lnTo>
                    <a:pt x="515" y="394"/>
                  </a:lnTo>
                  <a:lnTo>
                    <a:pt x="512" y="394"/>
                  </a:lnTo>
                  <a:lnTo>
                    <a:pt x="512" y="389"/>
                  </a:lnTo>
                  <a:lnTo>
                    <a:pt x="510" y="394"/>
                  </a:lnTo>
                  <a:lnTo>
                    <a:pt x="505" y="396"/>
                  </a:lnTo>
                  <a:lnTo>
                    <a:pt x="501" y="391"/>
                  </a:lnTo>
                  <a:lnTo>
                    <a:pt x="503" y="396"/>
                  </a:lnTo>
                  <a:lnTo>
                    <a:pt x="498" y="396"/>
                  </a:lnTo>
                  <a:lnTo>
                    <a:pt x="493" y="396"/>
                  </a:lnTo>
                  <a:lnTo>
                    <a:pt x="491" y="392"/>
                  </a:lnTo>
                  <a:lnTo>
                    <a:pt x="486" y="392"/>
                  </a:lnTo>
                  <a:lnTo>
                    <a:pt x="479" y="394"/>
                  </a:lnTo>
                  <a:lnTo>
                    <a:pt x="476" y="392"/>
                  </a:lnTo>
                  <a:lnTo>
                    <a:pt x="476" y="391"/>
                  </a:lnTo>
                  <a:lnTo>
                    <a:pt x="472" y="392"/>
                  </a:lnTo>
                  <a:lnTo>
                    <a:pt x="471" y="391"/>
                  </a:lnTo>
                  <a:lnTo>
                    <a:pt x="472" y="392"/>
                  </a:lnTo>
                  <a:lnTo>
                    <a:pt x="469" y="394"/>
                  </a:lnTo>
                  <a:lnTo>
                    <a:pt x="469" y="392"/>
                  </a:lnTo>
                  <a:lnTo>
                    <a:pt x="464" y="391"/>
                  </a:lnTo>
                  <a:lnTo>
                    <a:pt x="459" y="392"/>
                  </a:lnTo>
                  <a:lnTo>
                    <a:pt x="454" y="396"/>
                  </a:lnTo>
                  <a:lnTo>
                    <a:pt x="447" y="398"/>
                  </a:lnTo>
                  <a:lnTo>
                    <a:pt x="438" y="403"/>
                  </a:lnTo>
                  <a:lnTo>
                    <a:pt x="437" y="401"/>
                  </a:lnTo>
                  <a:lnTo>
                    <a:pt x="430" y="401"/>
                  </a:lnTo>
                  <a:lnTo>
                    <a:pt x="426" y="398"/>
                  </a:lnTo>
                  <a:lnTo>
                    <a:pt x="421" y="398"/>
                  </a:lnTo>
                  <a:lnTo>
                    <a:pt x="413" y="399"/>
                  </a:lnTo>
                  <a:lnTo>
                    <a:pt x="408" y="404"/>
                  </a:lnTo>
                  <a:lnTo>
                    <a:pt x="401" y="401"/>
                  </a:lnTo>
                  <a:lnTo>
                    <a:pt x="399" y="403"/>
                  </a:lnTo>
                  <a:lnTo>
                    <a:pt x="397" y="401"/>
                  </a:lnTo>
                  <a:lnTo>
                    <a:pt x="394" y="392"/>
                  </a:lnTo>
                  <a:lnTo>
                    <a:pt x="389" y="391"/>
                  </a:lnTo>
                  <a:lnTo>
                    <a:pt x="382" y="392"/>
                  </a:lnTo>
                  <a:lnTo>
                    <a:pt x="373" y="396"/>
                  </a:lnTo>
                  <a:lnTo>
                    <a:pt x="367" y="401"/>
                  </a:lnTo>
                  <a:lnTo>
                    <a:pt x="360" y="403"/>
                  </a:lnTo>
                  <a:lnTo>
                    <a:pt x="358" y="401"/>
                  </a:lnTo>
                  <a:lnTo>
                    <a:pt x="353" y="394"/>
                  </a:lnTo>
                  <a:lnTo>
                    <a:pt x="351" y="391"/>
                  </a:lnTo>
                  <a:lnTo>
                    <a:pt x="346" y="387"/>
                  </a:lnTo>
                  <a:lnTo>
                    <a:pt x="346" y="386"/>
                  </a:lnTo>
                  <a:lnTo>
                    <a:pt x="339" y="386"/>
                  </a:lnTo>
                  <a:lnTo>
                    <a:pt x="331" y="380"/>
                  </a:lnTo>
                  <a:lnTo>
                    <a:pt x="331" y="379"/>
                  </a:lnTo>
                  <a:lnTo>
                    <a:pt x="327" y="377"/>
                  </a:lnTo>
                  <a:lnTo>
                    <a:pt x="327" y="375"/>
                  </a:lnTo>
                  <a:lnTo>
                    <a:pt x="332" y="372"/>
                  </a:lnTo>
                  <a:lnTo>
                    <a:pt x="332" y="370"/>
                  </a:lnTo>
                  <a:lnTo>
                    <a:pt x="334" y="369"/>
                  </a:lnTo>
                  <a:lnTo>
                    <a:pt x="332" y="365"/>
                  </a:lnTo>
                  <a:lnTo>
                    <a:pt x="336" y="365"/>
                  </a:lnTo>
                  <a:lnTo>
                    <a:pt x="334" y="363"/>
                  </a:lnTo>
                  <a:lnTo>
                    <a:pt x="332" y="363"/>
                  </a:lnTo>
                  <a:lnTo>
                    <a:pt x="329" y="363"/>
                  </a:lnTo>
                  <a:lnTo>
                    <a:pt x="331" y="370"/>
                  </a:lnTo>
                  <a:lnTo>
                    <a:pt x="327" y="372"/>
                  </a:lnTo>
                  <a:lnTo>
                    <a:pt x="319" y="365"/>
                  </a:lnTo>
                  <a:lnTo>
                    <a:pt x="322" y="360"/>
                  </a:lnTo>
                  <a:lnTo>
                    <a:pt x="317" y="358"/>
                  </a:lnTo>
                  <a:lnTo>
                    <a:pt x="314" y="355"/>
                  </a:lnTo>
                  <a:lnTo>
                    <a:pt x="314" y="351"/>
                  </a:lnTo>
                  <a:lnTo>
                    <a:pt x="317" y="348"/>
                  </a:lnTo>
                  <a:lnTo>
                    <a:pt x="315" y="350"/>
                  </a:lnTo>
                  <a:lnTo>
                    <a:pt x="314" y="345"/>
                  </a:lnTo>
                  <a:lnTo>
                    <a:pt x="317" y="343"/>
                  </a:lnTo>
                  <a:lnTo>
                    <a:pt x="322" y="336"/>
                  </a:lnTo>
                  <a:lnTo>
                    <a:pt x="324" y="338"/>
                  </a:lnTo>
                  <a:lnTo>
                    <a:pt x="326" y="334"/>
                  </a:lnTo>
                  <a:lnTo>
                    <a:pt x="329" y="334"/>
                  </a:lnTo>
                  <a:lnTo>
                    <a:pt x="324" y="331"/>
                  </a:lnTo>
                  <a:lnTo>
                    <a:pt x="329" y="329"/>
                  </a:lnTo>
                  <a:lnTo>
                    <a:pt x="331" y="326"/>
                  </a:lnTo>
                  <a:lnTo>
                    <a:pt x="329" y="329"/>
                  </a:lnTo>
                  <a:lnTo>
                    <a:pt x="324" y="329"/>
                  </a:lnTo>
                  <a:lnTo>
                    <a:pt x="320" y="333"/>
                  </a:lnTo>
                  <a:lnTo>
                    <a:pt x="312" y="334"/>
                  </a:lnTo>
                  <a:lnTo>
                    <a:pt x="309" y="324"/>
                  </a:lnTo>
                  <a:lnTo>
                    <a:pt x="312" y="319"/>
                  </a:lnTo>
                  <a:lnTo>
                    <a:pt x="320" y="316"/>
                  </a:lnTo>
                  <a:lnTo>
                    <a:pt x="320" y="310"/>
                  </a:lnTo>
                  <a:lnTo>
                    <a:pt x="319" y="314"/>
                  </a:lnTo>
                  <a:lnTo>
                    <a:pt x="314" y="316"/>
                  </a:lnTo>
                  <a:lnTo>
                    <a:pt x="309" y="319"/>
                  </a:lnTo>
                  <a:lnTo>
                    <a:pt x="305" y="317"/>
                  </a:lnTo>
                  <a:lnTo>
                    <a:pt x="300" y="322"/>
                  </a:lnTo>
                  <a:lnTo>
                    <a:pt x="298" y="322"/>
                  </a:lnTo>
                  <a:lnTo>
                    <a:pt x="297" y="321"/>
                  </a:lnTo>
                  <a:lnTo>
                    <a:pt x="300" y="314"/>
                  </a:lnTo>
                  <a:lnTo>
                    <a:pt x="298" y="309"/>
                  </a:lnTo>
                  <a:lnTo>
                    <a:pt x="298" y="314"/>
                  </a:lnTo>
                  <a:lnTo>
                    <a:pt x="295" y="317"/>
                  </a:lnTo>
                  <a:lnTo>
                    <a:pt x="290" y="319"/>
                  </a:lnTo>
                  <a:lnTo>
                    <a:pt x="286" y="316"/>
                  </a:lnTo>
                  <a:lnTo>
                    <a:pt x="293" y="307"/>
                  </a:lnTo>
                  <a:lnTo>
                    <a:pt x="291" y="302"/>
                  </a:lnTo>
                  <a:lnTo>
                    <a:pt x="288" y="299"/>
                  </a:lnTo>
                  <a:lnTo>
                    <a:pt x="283" y="302"/>
                  </a:lnTo>
                  <a:lnTo>
                    <a:pt x="283" y="304"/>
                  </a:lnTo>
                  <a:lnTo>
                    <a:pt x="281" y="304"/>
                  </a:lnTo>
                  <a:lnTo>
                    <a:pt x="283" y="302"/>
                  </a:lnTo>
                  <a:lnTo>
                    <a:pt x="281" y="302"/>
                  </a:lnTo>
                  <a:lnTo>
                    <a:pt x="273" y="302"/>
                  </a:lnTo>
                  <a:lnTo>
                    <a:pt x="269" y="307"/>
                  </a:lnTo>
                  <a:lnTo>
                    <a:pt x="264" y="304"/>
                  </a:lnTo>
                  <a:lnTo>
                    <a:pt x="257" y="310"/>
                  </a:lnTo>
                  <a:lnTo>
                    <a:pt x="249" y="304"/>
                  </a:lnTo>
                  <a:lnTo>
                    <a:pt x="252" y="300"/>
                  </a:lnTo>
                  <a:lnTo>
                    <a:pt x="247" y="295"/>
                  </a:lnTo>
                  <a:lnTo>
                    <a:pt x="247" y="292"/>
                  </a:lnTo>
                  <a:lnTo>
                    <a:pt x="244" y="292"/>
                  </a:lnTo>
                  <a:lnTo>
                    <a:pt x="244" y="290"/>
                  </a:lnTo>
                  <a:lnTo>
                    <a:pt x="242" y="290"/>
                  </a:lnTo>
                  <a:lnTo>
                    <a:pt x="239" y="292"/>
                  </a:lnTo>
                  <a:lnTo>
                    <a:pt x="240" y="293"/>
                  </a:lnTo>
                  <a:lnTo>
                    <a:pt x="235" y="295"/>
                  </a:lnTo>
                  <a:lnTo>
                    <a:pt x="239" y="299"/>
                  </a:lnTo>
                  <a:lnTo>
                    <a:pt x="244" y="300"/>
                  </a:lnTo>
                  <a:lnTo>
                    <a:pt x="244" y="304"/>
                  </a:lnTo>
                  <a:lnTo>
                    <a:pt x="237" y="309"/>
                  </a:lnTo>
                  <a:lnTo>
                    <a:pt x="230" y="310"/>
                  </a:lnTo>
                  <a:lnTo>
                    <a:pt x="223" y="304"/>
                  </a:lnTo>
                  <a:lnTo>
                    <a:pt x="213" y="302"/>
                  </a:lnTo>
                  <a:lnTo>
                    <a:pt x="203" y="304"/>
                  </a:lnTo>
                  <a:lnTo>
                    <a:pt x="194" y="300"/>
                  </a:lnTo>
                  <a:lnTo>
                    <a:pt x="203" y="293"/>
                  </a:lnTo>
                  <a:lnTo>
                    <a:pt x="206" y="285"/>
                  </a:lnTo>
                  <a:lnTo>
                    <a:pt x="206" y="283"/>
                  </a:lnTo>
                  <a:lnTo>
                    <a:pt x="210" y="278"/>
                  </a:lnTo>
                  <a:lnTo>
                    <a:pt x="216" y="278"/>
                  </a:lnTo>
                  <a:lnTo>
                    <a:pt x="225" y="275"/>
                  </a:lnTo>
                  <a:lnTo>
                    <a:pt x="227" y="269"/>
                  </a:lnTo>
                  <a:lnTo>
                    <a:pt x="230" y="263"/>
                  </a:lnTo>
                  <a:lnTo>
                    <a:pt x="232" y="259"/>
                  </a:lnTo>
                  <a:lnTo>
                    <a:pt x="233" y="258"/>
                  </a:lnTo>
                  <a:lnTo>
                    <a:pt x="233" y="254"/>
                  </a:lnTo>
                  <a:lnTo>
                    <a:pt x="232" y="252"/>
                  </a:lnTo>
                  <a:lnTo>
                    <a:pt x="233" y="251"/>
                  </a:lnTo>
                  <a:lnTo>
                    <a:pt x="233" y="249"/>
                  </a:lnTo>
                  <a:lnTo>
                    <a:pt x="235" y="249"/>
                  </a:lnTo>
                  <a:lnTo>
                    <a:pt x="235" y="247"/>
                  </a:lnTo>
                  <a:lnTo>
                    <a:pt x="237" y="247"/>
                  </a:lnTo>
                  <a:lnTo>
                    <a:pt x="235" y="247"/>
                  </a:lnTo>
                  <a:lnTo>
                    <a:pt x="235" y="246"/>
                  </a:lnTo>
                  <a:lnTo>
                    <a:pt x="237" y="246"/>
                  </a:lnTo>
                  <a:lnTo>
                    <a:pt x="235" y="244"/>
                  </a:lnTo>
                  <a:lnTo>
                    <a:pt x="237" y="242"/>
                  </a:lnTo>
                  <a:lnTo>
                    <a:pt x="235" y="239"/>
                  </a:lnTo>
                  <a:lnTo>
                    <a:pt x="239" y="239"/>
                  </a:lnTo>
                  <a:lnTo>
                    <a:pt x="237" y="235"/>
                  </a:lnTo>
                  <a:lnTo>
                    <a:pt x="233" y="234"/>
                  </a:lnTo>
                  <a:lnTo>
                    <a:pt x="232" y="234"/>
                  </a:lnTo>
                  <a:lnTo>
                    <a:pt x="233" y="230"/>
                  </a:lnTo>
                  <a:lnTo>
                    <a:pt x="230" y="227"/>
                  </a:lnTo>
                  <a:lnTo>
                    <a:pt x="233" y="227"/>
                  </a:lnTo>
                  <a:lnTo>
                    <a:pt x="242" y="223"/>
                  </a:lnTo>
                  <a:lnTo>
                    <a:pt x="247" y="222"/>
                  </a:lnTo>
                  <a:lnTo>
                    <a:pt x="250" y="222"/>
                  </a:lnTo>
                  <a:lnTo>
                    <a:pt x="254" y="220"/>
                  </a:lnTo>
                  <a:lnTo>
                    <a:pt x="259" y="218"/>
                  </a:lnTo>
                  <a:lnTo>
                    <a:pt x="264" y="217"/>
                  </a:lnTo>
                  <a:lnTo>
                    <a:pt x="268" y="215"/>
                  </a:lnTo>
                  <a:lnTo>
                    <a:pt x="269" y="217"/>
                  </a:lnTo>
                  <a:lnTo>
                    <a:pt x="264" y="222"/>
                  </a:lnTo>
                  <a:lnTo>
                    <a:pt x="273" y="218"/>
                  </a:lnTo>
                  <a:lnTo>
                    <a:pt x="274" y="218"/>
                  </a:lnTo>
                  <a:lnTo>
                    <a:pt x="283" y="218"/>
                  </a:lnTo>
                  <a:lnTo>
                    <a:pt x="286" y="217"/>
                  </a:lnTo>
                  <a:lnTo>
                    <a:pt x="288" y="217"/>
                  </a:lnTo>
                  <a:lnTo>
                    <a:pt x="293" y="217"/>
                  </a:lnTo>
                  <a:lnTo>
                    <a:pt x="295" y="215"/>
                  </a:lnTo>
                  <a:lnTo>
                    <a:pt x="302" y="215"/>
                  </a:lnTo>
                  <a:lnTo>
                    <a:pt x="305" y="213"/>
                  </a:lnTo>
                  <a:lnTo>
                    <a:pt x="312" y="210"/>
                  </a:lnTo>
                  <a:lnTo>
                    <a:pt x="312" y="206"/>
                  </a:lnTo>
                  <a:lnTo>
                    <a:pt x="319" y="201"/>
                  </a:lnTo>
                  <a:lnTo>
                    <a:pt x="320" y="198"/>
                  </a:lnTo>
                  <a:lnTo>
                    <a:pt x="322" y="196"/>
                  </a:lnTo>
                  <a:lnTo>
                    <a:pt x="332" y="193"/>
                  </a:lnTo>
                  <a:lnTo>
                    <a:pt x="334" y="186"/>
                  </a:lnTo>
                  <a:lnTo>
                    <a:pt x="339" y="184"/>
                  </a:lnTo>
                  <a:lnTo>
                    <a:pt x="344" y="179"/>
                  </a:lnTo>
                  <a:lnTo>
                    <a:pt x="348" y="177"/>
                  </a:lnTo>
                  <a:lnTo>
                    <a:pt x="355" y="176"/>
                  </a:lnTo>
                  <a:lnTo>
                    <a:pt x="355" y="174"/>
                  </a:lnTo>
                  <a:lnTo>
                    <a:pt x="365" y="176"/>
                  </a:lnTo>
                  <a:lnTo>
                    <a:pt x="373" y="170"/>
                  </a:lnTo>
                  <a:lnTo>
                    <a:pt x="379" y="170"/>
                  </a:lnTo>
                  <a:lnTo>
                    <a:pt x="385" y="172"/>
                  </a:lnTo>
                  <a:lnTo>
                    <a:pt x="392" y="172"/>
                  </a:lnTo>
                  <a:lnTo>
                    <a:pt x="397" y="170"/>
                  </a:lnTo>
                  <a:lnTo>
                    <a:pt x="404" y="172"/>
                  </a:lnTo>
                  <a:lnTo>
                    <a:pt x="409" y="172"/>
                  </a:lnTo>
                  <a:lnTo>
                    <a:pt x="411" y="176"/>
                  </a:lnTo>
                  <a:lnTo>
                    <a:pt x="414" y="176"/>
                  </a:lnTo>
                  <a:lnTo>
                    <a:pt x="416" y="177"/>
                  </a:lnTo>
                  <a:lnTo>
                    <a:pt x="418" y="177"/>
                  </a:lnTo>
                  <a:lnTo>
                    <a:pt x="426" y="182"/>
                  </a:lnTo>
                  <a:lnTo>
                    <a:pt x="430" y="182"/>
                  </a:lnTo>
                  <a:lnTo>
                    <a:pt x="431" y="184"/>
                  </a:lnTo>
                  <a:lnTo>
                    <a:pt x="438" y="182"/>
                  </a:lnTo>
                  <a:lnTo>
                    <a:pt x="440" y="187"/>
                  </a:lnTo>
                  <a:lnTo>
                    <a:pt x="443" y="187"/>
                  </a:lnTo>
                  <a:lnTo>
                    <a:pt x="447" y="191"/>
                  </a:lnTo>
                  <a:lnTo>
                    <a:pt x="452" y="191"/>
                  </a:lnTo>
                  <a:lnTo>
                    <a:pt x="454" y="193"/>
                  </a:lnTo>
                  <a:lnTo>
                    <a:pt x="457" y="194"/>
                  </a:lnTo>
                  <a:lnTo>
                    <a:pt x="460" y="194"/>
                  </a:lnTo>
                  <a:lnTo>
                    <a:pt x="464" y="198"/>
                  </a:lnTo>
                  <a:lnTo>
                    <a:pt x="471" y="201"/>
                  </a:lnTo>
                  <a:lnTo>
                    <a:pt x="474" y="205"/>
                  </a:lnTo>
                  <a:lnTo>
                    <a:pt x="478" y="208"/>
                  </a:lnTo>
                  <a:lnTo>
                    <a:pt x="481" y="211"/>
                  </a:lnTo>
                  <a:lnTo>
                    <a:pt x="491" y="217"/>
                  </a:lnTo>
                  <a:lnTo>
                    <a:pt x="495" y="217"/>
                  </a:lnTo>
                  <a:lnTo>
                    <a:pt x="501" y="217"/>
                  </a:lnTo>
                  <a:lnTo>
                    <a:pt x="507" y="218"/>
                  </a:lnTo>
                  <a:lnTo>
                    <a:pt x="508" y="218"/>
                  </a:lnTo>
                  <a:lnTo>
                    <a:pt x="512" y="215"/>
                  </a:lnTo>
                  <a:lnTo>
                    <a:pt x="517" y="217"/>
                  </a:lnTo>
                  <a:lnTo>
                    <a:pt x="522" y="217"/>
                  </a:lnTo>
                  <a:lnTo>
                    <a:pt x="529" y="218"/>
                  </a:lnTo>
                  <a:lnTo>
                    <a:pt x="532" y="217"/>
                  </a:lnTo>
                  <a:lnTo>
                    <a:pt x="530" y="215"/>
                  </a:lnTo>
                  <a:lnTo>
                    <a:pt x="534" y="215"/>
                  </a:lnTo>
                  <a:lnTo>
                    <a:pt x="539" y="215"/>
                  </a:lnTo>
                  <a:lnTo>
                    <a:pt x="541" y="218"/>
                  </a:lnTo>
                  <a:lnTo>
                    <a:pt x="548" y="215"/>
                  </a:lnTo>
                  <a:lnTo>
                    <a:pt x="554" y="217"/>
                  </a:lnTo>
                  <a:lnTo>
                    <a:pt x="556" y="213"/>
                  </a:lnTo>
                  <a:lnTo>
                    <a:pt x="559" y="215"/>
                  </a:lnTo>
                  <a:lnTo>
                    <a:pt x="565" y="222"/>
                  </a:lnTo>
                  <a:lnTo>
                    <a:pt x="573" y="227"/>
                  </a:lnTo>
                  <a:lnTo>
                    <a:pt x="578" y="232"/>
                  </a:lnTo>
                  <a:lnTo>
                    <a:pt x="577" y="234"/>
                  </a:lnTo>
                  <a:lnTo>
                    <a:pt x="577" y="232"/>
                  </a:lnTo>
                  <a:lnTo>
                    <a:pt x="573" y="234"/>
                  </a:lnTo>
                  <a:lnTo>
                    <a:pt x="571" y="232"/>
                  </a:lnTo>
                  <a:lnTo>
                    <a:pt x="571" y="234"/>
                  </a:lnTo>
                  <a:lnTo>
                    <a:pt x="570" y="232"/>
                  </a:lnTo>
                  <a:lnTo>
                    <a:pt x="570" y="235"/>
                  </a:lnTo>
                  <a:lnTo>
                    <a:pt x="568" y="237"/>
                  </a:lnTo>
                  <a:lnTo>
                    <a:pt x="568" y="239"/>
                  </a:lnTo>
                  <a:lnTo>
                    <a:pt x="565" y="240"/>
                  </a:lnTo>
                  <a:lnTo>
                    <a:pt x="565" y="244"/>
                  </a:lnTo>
                  <a:lnTo>
                    <a:pt x="566" y="246"/>
                  </a:lnTo>
                  <a:lnTo>
                    <a:pt x="571" y="252"/>
                  </a:lnTo>
                  <a:lnTo>
                    <a:pt x="571" y="258"/>
                  </a:lnTo>
                  <a:lnTo>
                    <a:pt x="575" y="264"/>
                  </a:lnTo>
                  <a:lnTo>
                    <a:pt x="582" y="271"/>
                  </a:lnTo>
                  <a:lnTo>
                    <a:pt x="585" y="273"/>
                  </a:lnTo>
                  <a:lnTo>
                    <a:pt x="588" y="278"/>
                  </a:lnTo>
                  <a:lnTo>
                    <a:pt x="592" y="283"/>
                  </a:lnTo>
                  <a:lnTo>
                    <a:pt x="592" y="287"/>
                  </a:lnTo>
                  <a:lnTo>
                    <a:pt x="595" y="290"/>
                  </a:lnTo>
                  <a:lnTo>
                    <a:pt x="592" y="292"/>
                  </a:lnTo>
                  <a:lnTo>
                    <a:pt x="588" y="297"/>
                  </a:lnTo>
                  <a:lnTo>
                    <a:pt x="587" y="302"/>
                  </a:lnTo>
                  <a:lnTo>
                    <a:pt x="588" y="309"/>
                  </a:lnTo>
                  <a:lnTo>
                    <a:pt x="587" y="314"/>
                  </a:lnTo>
                  <a:lnTo>
                    <a:pt x="580" y="321"/>
                  </a:lnTo>
                  <a:lnTo>
                    <a:pt x="577" y="324"/>
                  </a:lnTo>
                  <a:lnTo>
                    <a:pt x="571" y="326"/>
                  </a:lnTo>
                  <a:lnTo>
                    <a:pt x="571" y="328"/>
                  </a:lnTo>
                  <a:lnTo>
                    <a:pt x="570" y="329"/>
                  </a:lnTo>
                  <a:lnTo>
                    <a:pt x="571" y="331"/>
                  </a:lnTo>
                  <a:lnTo>
                    <a:pt x="573" y="331"/>
                  </a:lnTo>
                  <a:lnTo>
                    <a:pt x="571" y="331"/>
                  </a:lnTo>
                  <a:lnTo>
                    <a:pt x="575" y="338"/>
                  </a:lnTo>
                  <a:lnTo>
                    <a:pt x="573" y="343"/>
                  </a:lnTo>
                  <a:lnTo>
                    <a:pt x="575" y="351"/>
                  </a:lnTo>
                  <a:lnTo>
                    <a:pt x="577" y="351"/>
                  </a:lnTo>
                  <a:lnTo>
                    <a:pt x="578" y="362"/>
                  </a:lnTo>
                  <a:lnTo>
                    <a:pt x="578" y="363"/>
                  </a:lnTo>
                  <a:lnTo>
                    <a:pt x="582" y="363"/>
                  </a:lnTo>
                  <a:lnTo>
                    <a:pt x="578" y="363"/>
                  </a:lnTo>
                  <a:lnTo>
                    <a:pt x="578" y="369"/>
                  </a:lnTo>
                  <a:lnTo>
                    <a:pt x="578" y="372"/>
                  </a:lnTo>
                  <a:lnTo>
                    <a:pt x="577" y="370"/>
                  </a:lnTo>
                  <a:lnTo>
                    <a:pt x="577" y="374"/>
                  </a:lnTo>
                  <a:lnTo>
                    <a:pt x="575" y="374"/>
                  </a:lnTo>
                  <a:lnTo>
                    <a:pt x="575" y="377"/>
                  </a:lnTo>
                  <a:lnTo>
                    <a:pt x="577" y="380"/>
                  </a:lnTo>
                  <a:lnTo>
                    <a:pt x="577" y="387"/>
                  </a:lnTo>
                  <a:lnTo>
                    <a:pt x="580" y="387"/>
                  </a:lnTo>
                  <a:lnTo>
                    <a:pt x="580" y="392"/>
                  </a:lnTo>
                  <a:lnTo>
                    <a:pt x="578" y="396"/>
                  </a:lnTo>
                  <a:lnTo>
                    <a:pt x="580" y="398"/>
                  </a:lnTo>
                  <a:lnTo>
                    <a:pt x="580" y="403"/>
                  </a:lnTo>
                  <a:lnTo>
                    <a:pt x="583" y="411"/>
                  </a:lnTo>
                  <a:lnTo>
                    <a:pt x="585" y="415"/>
                  </a:lnTo>
                  <a:lnTo>
                    <a:pt x="587" y="413"/>
                  </a:lnTo>
                  <a:lnTo>
                    <a:pt x="588" y="418"/>
                  </a:lnTo>
                  <a:lnTo>
                    <a:pt x="592" y="421"/>
                  </a:lnTo>
                  <a:lnTo>
                    <a:pt x="594" y="420"/>
                  </a:lnTo>
                  <a:lnTo>
                    <a:pt x="595" y="427"/>
                  </a:lnTo>
                  <a:lnTo>
                    <a:pt x="597" y="428"/>
                  </a:lnTo>
                  <a:lnTo>
                    <a:pt x="600" y="428"/>
                  </a:lnTo>
                  <a:lnTo>
                    <a:pt x="597" y="430"/>
                  </a:lnTo>
                  <a:lnTo>
                    <a:pt x="599" y="430"/>
                  </a:lnTo>
                  <a:lnTo>
                    <a:pt x="600" y="432"/>
                  </a:lnTo>
                  <a:lnTo>
                    <a:pt x="599" y="432"/>
                  </a:lnTo>
                  <a:lnTo>
                    <a:pt x="602" y="433"/>
                  </a:lnTo>
                  <a:lnTo>
                    <a:pt x="602" y="437"/>
                  </a:lnTo>
                  <a:lnTo>
                    <a:pt x="600" y="439"/>
                  </a:lnTo>
                  <a:lnTo>
                    <a:pt x="602" y="439"/>
                  </a:lnTo>
                  <a:lnTo>
                    <a:pt x="606" y="442"/>
                  </a:lnTo>
                  <a:lnTo>
                    <a:pt x="604" y="444"/>
                  </a:lnTo>
                  <a:lnTo>
                    <a:pt x="606" y="445"/>
                  </a:lnTo>
                  <a:lnTo>
                    <a:pt x="607" y="445"/>
                  </a:lnTo>
                  <a:lnTo>
                    <a:pt x="606" y="449"/>
                  </a:lnTo>
                  <a:lnTo>
                    <a:pt x="609" y="454"/>
                  </a:lnTo>
                  <a:lnTo>
                    <a:pt x="611" y="454"/>
                  </a:lnTo>
                  <a:lnTo>
                    <a:pt x="611" y="461"/>
                  </a:lnTo>
                  <a:lnTo>
                    <a:pt x="616" y="466"/>
                  </a:lnTo>
                  <a:lnTo>
                    <a:pt x="614" y="469"/>
                  </a:lnTo>
                  <a:lnTo>
                    <a:pt x="617" y="471"/>
                  </a:lnTo>
                  <a:lnTo>
                    <a:pt x="619" y="471"/>
                  </a:lnTo>
                  <a:lnTo>
                    <a:pt x="623" y="468"/>
                  </a:lnTo>
                  <a:lnTo>
                    <a:pt x="624" y="462"/>
                  </a:lnTo>
                  <a:lnTo>
                    <a:pt x="623" y="459"/>
                  </a:lnTo>
                  <a:lnTo>
                    <a:pt x="623" y="456"/>
                  </a:lnTo>
                  <a:lnTo>
                    <a:pt x="621" y="454"/>
                  </a:lnTo>
                  <a:lnTo>
                    <a:pt x="621" y="447"/>
                  </a:lnTo>
                  <a:lnTo>
                    <a:pt x="619" y="445"/>
                  </a:lnTo>
                  <a:lnTo>
                    <a:pt x="619" y="440"/>
                  </a:lnTo>
                  <a:lnTo>
                    <a:pt x="617" y="439"/>
                  </a:lnTo>
                  <a:lnTo>
                    <a:pt x="617" y="433"/>
                  </a:lnTo>
                  <a:lnTo>
                    <a:pt x="624" y="427"/>
                  </a:lnTo>
                  <a:lnTo>
                    <a:pt x="628" y="427"/>
                  </a:lnTo>
                  <a:lnTo>
                    <a:pt x="629" y="427"/>
                  </a:lnTo>
                  <a:lnTo>
                    <a:pt x="623" y="425"/>
                  </a:lnTo>
                  <a:lnTo>
                    <a:pt x="624" y="423"/>
                  </a:lnTo>
                  <a:lnTo>
                    <a:pt x="628" y="425"/>
                  </a:lnTo>
                  <a:lnTo>
                    <a:pt x="626" y="421"/>
                  </a:lnTo>
                  <a:lnTo>
                    <a:pt x="629" y="423"/>
                  </a:lnTo>
                  <a:lnTo>
                    <a:pt x="631" y="425"/>
                  </a:lnTo>
                  <a:lnTo>
                    <a:pt x="633" y="427"/>
                  </a:lnTo>
                  <a:close/>
                  <a:moveTo>
                    <a:pt x="105" y="167"/>
                  </a:moveTo>
                  <a:lnTo>
                    <a:pt x="109" y="169"/>
                  </a:lnTo>
                  <a:lnTo>
                    <a:pt x="110" y="167"/>
                  </a:lnTo>
                  <a:lnTo>
                    <a:pt x="110" y="170"/>
                  </a:lnTo>
                  <a:lnTo>
                    <a:pt x="107" y="169"/>
                  </a:lnTo>
                  <a:lnTo>
                    <a:pt x="105" y="167"/>
                  </a:lnTo>
                  <a:close/>
                  <a:moveTo>
                    <a:pt x="100" y="165"/>
                  </a:moveTo>
                  <a:lnTo>
                    <a:pt x="102" y="165"/>
                  </a:lnTo>
                  <a:lnTo>
                    <a:pt x="102" y="169"/>
                  </a:lnTo>
                  <a:lnTo>
                    <a:pt x="100" y="169"/>
                  </a:lnTo>
                  <a:lnTo>
                    <a:pt x="100" y="165"/>
                  </a:lnTo>
                  <a:close/>
                  <a:moveTo>
                    <a:pt x="163" y="165"/>
                  </a:moveTo>
                  <a:lnTo>
                    <a:pt x="165" y="165"/>
                  </a:lnTo>
                  <a:lnTo>
                    <a:pt x="165" y="167"/>
                  </a:lnTo>
                  <a:lnTo>
                    <a:pt x="163" y="167"/>
                  </a:lnTo>
                  <a:lnTo>
                    <a:pt x="163" y="165"/>
                  </a:lnTo>
                  <a:close/>
                  <a:moveTo>
                    <a:pt x="143" y="165"/>
                  </a:moveTo>
                  <a:lnTo>
                    <a:pt x="146" y="165"/>
                  </a:lnTo>
                  <a:lnTo>
                    <a:pt x="146" y="167"/>
                  </a:lnTo>
                  <a:lnTo>
                    <a:pt x="143" y="169"/>
                  </a:lnTo>
                  <a:lnTo>
                    <a:pt x="141" y="167"/>
                  </a:lnTo>
                  <a:lnTo>
                    <a:pt x="143" y="165"/>
                  </a:lnTo>
                  <a:close/>
                  <a:moveTo>
                    <a:pt x="187" y="164"/>
                  </a:moveTo>
                  <a:lnTo>
                    <a:pt x="191" y="165"/>
                  </a:lnTo>
                  <a:lnTo>
                    <a:pt x="186" y="165"/>
                  </a:lnTo>
                  <a:lnTo>
                    <a:pt x="186" y="164"/>
                  </a:lnTo>
                  <a:lnTo>
                    <a:pt x="187" y="164"/>
                  </a:lnTo>
                  <a:close/>
                  <a:moveTo>
                    <a:pt x="110" y="162"/>
                  </a:moveTo>
                  <a:lnTo>
                    <a:pt x="110" y="164"/>
                  </a:lnTo>
                  <a:lnTo>
                    <a:pt x="112" y="165"/>
                  </a:lnTo>
                  <a:lnTo>
                    <a:pt x="110" y="167"/>
                  </a:lnTo>
                  <a:lnTo>
                    <a:pt x="107" y="165"/>
                  </a:lnTo>
                  <a:lnTo>
                    <a:pt x="107" y="162"/>
                  </a:lnTo>
                  <a:lnTo>
                    <a:pt x="110" y="162"/>
                  </a:lnTo>
                  <a:close/>
                  <a:moveTo>
                    <a:pt x="126" y="152"/>
                  </a:moveTo>
                  <a:lnTo>
                    <a:pt x="124" y="153"/>
                  </a:lnTo>
                  <a:lnTo>
                    <a:pt x="122" y="153"/>
                  </a:lnTo>
                  <a:lnTo>
                    <a:pt x="126" y="152"/>
                  </a:lnTo>
                  <a:close/>
                  <a:moveTo>
                    <a:pt x="112" y="148"/>
                  </a:moveTo>
                  <a:lnTo>
                    <a:pt x="114" y="150"/>
                  </a:lnTo>
                  <a:lnTo>
                    <a:pt x="109" y="150"/>
                  </a:lnTo>
                  <a:lnTo>
                    <a:pt x="112" y="148"/>
                  </a:lnTo>
                  <a:close/>
                  <a:moveTo>
                    <a:pt x="116" y="147"/>
                  </a:moveTo>
                  <a:lnTo>
                    <a:pt x="119" y="152"/>
                  </a:lnTo>
                  <a:lnTo>
                    <a:pt x="114" y="152"/>
                  </a:lnTo>
                  <a:lnTo>
                    <a:pt x="114" y="150"/>
                  </a:lnTo>
                  <a:lnTo>
                    <a:pt x="114" y="148"/>
                  </a:lnTo>
                  <a:lnTo>
                    <a:pt x="116" y="148"/>
                  </a:lnTo>
                  <a:lnTo>
                    <a:pt x="114" y="147"/>
                  </a:lnTo>
                  <a:lnTo>
                    <a:pt x="116" y="147"/>
                  </a:lnTo>
                  <a:close/>
                  <a:moveTo>
                    <a:pt x="163" y="145"/>
                  </a:moveTo>
                  <a:lnTo>
                    <a:pt x="167" y="145"/>
                  </a:lnTo>
                  <a:lnTo>
                    <a:pt x="167" y="147"/>
                  </a:lnTo>
                  <a:lnTo>
                    <a:pt x="163" y="147"/>
                  </a:lnTo>
                  <a:lnTo>
                    <a:pt x="163" y="145"/>
                  </a:lnTo>
                  <a:close/>
                  <a:moveTo>
                    <a:pt x="92" y="136"/>
                  </a:moveTo>
                  <a:lnTo>
                    <a:pt x="92" y="138"/>
                  </a:lnTo>
                  <a:lnTo>
                    <a:pt x="85" y="136"/>
                  </a:lnTo>
                  <a:lnTo>
                    <a:pt x="92" y="136"/>
                  </a:lnTo>
                  <a:close/>
                  <a:moveTo>
                    <a:pt x="143" y="133"/>
                  </a:moveTo>
                  <a:lnTo>
                    <a:pt x="146" y="133"/>
                  </a:lnTo>
                  <a:lnTo>
                    <a:pt x="146" y="135"/>
                  </a:lnTo>
                  <a:lnTo>
                    <a:pt x="143" y="135"/>
                  </a:lnTo>
                  <a:lnTo>
                    <a:pt x="143" y="133"/>
                  </a:lnTo>
                  <a:close/>
                  <a:moveTo>
                    <a:pt x="179" y="129"/>
                  </a:moveTo>
                  <a:lnTo>
                    <a:pt x="189" y="129"/>
                  </a:lnTo>
                  <a:lnTo>
                    <a:pt x="196" y="133"/>
                  </a:lnTo>
                  <a:lnTo>
                    <a:pt x="198" y="133"/>
                  </a:lnTo>
                  <a:lnTo>
                    <a:pt x="199" y="136"/>
                  </a:lnTo>
                  <a:lnTo>
                    <a:pt x="201" y="135"/>
                  </a:lnTo>
                  <a:lnTo>
                    <a:pt x="201" y="133"/>
                  </a:lnTo>
                  <a:lnTo>
                    <a:pt x="204" y="133"/>
                  </a:lnTo>
                  <a:lnTo>
                    <a:pt x="210" y="131"/>
                  </a:lnTo>
                  <a:lnTo>
                    <a:pt x="210" y="135"/>
                  </a:lnTo>
                  <a:lnTo>
                    <a:pt x="208" y="136"/>
                  </a:lnTo>
                  <a:lnTo>
                    <a:pt x="216" y="138"/>
                  </a:lnTo>
                  <a:lnTo>
                    <a:pt x="220" y="136"/>
                  </a:lnTo>
                  <a:lnTo>
                    <a:pt x="225" y="140"/>
                  </a:lnTo>
                  <a:lnTo>
                    <a:pt x="227" y="145"/>
                  </a:lnTo>
                  <a:lnTo>
                    <a:pt x="232" y="147"/>
                  </a:lnTo>
                  <a:lnTo>
                    <a:pt x="235" y="145"/>
                  </a:lnTo>
                  <a:lnTo>
                    <a:pt x="239" y="148"/>
                  </a:lnTo>
                  <a:lnTo>
                    <a:pt x="242" y="152"/>
                  </a:lnTo>
                  <a:lnTo>
                    <a:pt x="239" y="157"/>
                  </a:lnTo>
                  <a:lnTo>
                    <a:pt x="244" y="164"/>
                  </a:lnTo>
                  <a:lnTo>
                    <a:pt x="240" y="164"/>
                  </a:lnTo>
                  <a:lnTo>
                    <a:pt x="237" y="170"/>
                  </a:lnTo>
                  <a:lnTo>
                    <a:pt x="233" y="169"/>
                  </a:lnTo>
                  <a:lnTo>
                    <a:pt x="233" y="174"/>
                  </a:lnTo>
                  <a:lnTo>
                    <a:pt x="227" y="172"/>
                  </a:lnTo>
                  <a:lnTo>
                    <a:pt x="227" y="169"/>
                  </a:lnTo>
                  <a:lnTo>
                    <a:pt x="223" y="169"/>
                  </a:lnTo>
                  <a:lnTo>
                    <a:pt x="216" y="167"/>
                  </a:lnTo>
                  <a:lnTo>
                    <a:pt x="216" y="165"/>
                  </a:lnTo>
                  <a:lnTo>
                    <a:pt x="208" y="170"/>
                  </a:lnTo>
                  <a:lnTo>
                    <a:pt x="208" y="169"/>
                  </a:lnTo>
                  <a:lnTo>
                    <a:pt x="206" y="172"/>
                  </a:lnTo>
                  <a:lnTo>
                    <a:pt x="204" y="169"/>
                  </a:lnTo>
                  <a:lnTo>
                    <a:pt x="203" y="169"/>
                  </a:lnTo>
                  <a:lnTo>
                    <a:pt x="203" y="172"/>
                  </a:lnTo>
                  <a:lnTo>
                    <a:pt x="196" y="170"/>
                  </a:lnTo>
                  <a:lnTo>
                    <a:pt x="194" y="165"/>
                  </a:lnTo>
                  <a:lnTo>
                    <a:pt x="191" y="164"/>
                  </a:lnTo>
                  <a:lnTo>
                    <a:pt x="191" y="160"/>
                  </a:lnTo>
                  <a:lnTo>
                    <a:pt x="187" y="157"/>
                  </a:lnTo>
                  <a:lnTo>
                    <a:pt x="179" y="157"/>
                  </a:lnTo>
                  <a:lnTo>
                    <a:pt x="179" y="148"/>
                  </a:lnTo>
                  <a:lnTo>
                    <a:pt x="170" y="145"/>
                  </a:lnTo>
                  <a:lnTo>
                    <a:pt x="169" y="140"/>
                  </a:lnTo>
                  <a:lnTo>
                    <a:pt x="165" y="140"/>
                  </a:lnTo>
                  <a:lnTo>
                    <a:pt x="167" y="138"/>
                  </a:lnTo>
                  <a:lnTo>
                    <a:pt x="163" y="138"/>
                  </a:lnTo>
                  <a:lnTo>
                    <a:pt x="163" y="140"/>
                  </a:lnTo>
                  <a:lnTo>
                    <a:pt x="158" y="138"/>
                  </a:lnTo>
                  <a:lnTo>
                    <a:pt x="158" y="141"/>
                  </a:lnTo>
                  <a:lnTo>
                    <a:pt x="162" y="141"/>
                  </a:lnTo>
                  <a:lnTo>
                    <a:pt x="163" y="143"/>
                  </a:lnTo>
                  <a:lnTo>
                    <a:pt x="158" y="143"/>
                  </a:lnTo>
                  <a:lnTo>
                    <a:pt x="160" y="147"/>
                  </a:lnTo>
                  <a:lnTo>
                    <a:pt x="158" y="145"/>
                  </a:lnTo>
                  <a:lnTo>
                    <a:pt x="158" y="147"/>
                  </a:lnTo>
                  <a:lnTo>
                    <a:pt x="162" y="147"/>
                  </a:lnTo>
                  <a:lnTo>
                    <a:pt x="165" y="150"/>
                  </a:lnTo>
                  <a:lnTo>
                    <a:pt x="170" y="157"/>
                  </a:lnTo>
                  <a:lnTo>
                    <a:pt x="172" y="162"/>
                  </a:lnTo>
                  <a:lnTo>
                    <a:pt x="172" y="164"/>
                  </a:lnTo>
                  <a:lnTo>
                    <a:pt x="177" y="164"/>
                  </a:lnTo>
                  <a:lnTo>
                    <a:pt x="182" y="165"/>
                  </a:lnTo>
                  <a:lnTo>
                    <a:pt x="180" y="164"/>
                  </a:lnTo>
                  <a:lnTo>
                    <a:pt x="184" y="164"/>
                  </a:lnTo>
                  <a:lnTo>
                    <a:pt x="186" y="165"/>
                  </a:lnTo>
                  <a:lnTo>
                    <a:pt x="191" y="167"/>
                  </a:lnTo>
                  <a:lnTo>
                    <a:pt x="194" y="165"/>
                  </a:lnTo>
                  <a:lnTo>
                    <a:pt x="196" y="170"/>
                  </a:lnTo>
                  <a:lnTo>
                    <a:pt x="198" y="170"/>
                  </a:lnTo>
                  <a:lnTo>
                    <a:pt x="196" y="172"/>
                  </a:lnTo>
                  <a:lnTo>
                    <a:pt x="194" y="172"/>
                  </a:lnTo>
                  <a:lnTo>
                    <a:pt x="196" y="174"/>
                  </a:lnTo>
                  <a:lnTo>
                    <a:pt x="189" y="177"/>
                  </a:lnTo>
                  <a:lnTo>
                    <a:pt x="189" y="179"/>
                  </a:lnTo>
                  <a:lnTo>
                    <a:pt x="186" y="179"/>
                  </a:lnTo>
                  <a:lnTo>
                    <a:pt x="180" y="181"/>
                  </a:lnTo>
                  <a:lnTo>
                    <a:pt x="179" y="182"/>
                  </a:lnTo>
                  <a:lnTo>
                    <a:pt x="170" y="181"/>
                  </a:lnTo>
                  <a:lnTo>
                    <a:pt x="169" y="177"/>
                  </a:lnTo>
                  <a:lnTo>
                    <a:pt x="167" y="170"/>
                  </a:lnTo>
                  <a:lnTo>
                    <a:pt x="163" y="169"/>
                  </a:lnTo>
                  <a:lnTo>
                    <a:pt x="169" y="167"/>
                  </a:lnTo>
                  <a:lnTo>
                    <a:pt x="165" y="164"/>
                  </a:lnTo>
                  <a:lnTo>
                    <a:pt x="160" y="165"/>
                  </a:lnTo>
                  <a:lnTo>
                    <a:pt x="153" y="167"/>
                  </a:lnTo>
                  <a:lnTo>
                    <a:pt x="155" y="169"/>
                  </a:lnTo>
                  <a:lnTo>
                    <a:pt x="151" y="172"/>
                  </a:lnTo>
                  <a:lnTo>
                    <a:pt x="153" y="172"/>
                  </a:lnTo>
                  <a:lnTo>
                    <a:pt x="155" y="174"/>
                  </a:lnTo>
                  <a:lnTo>
                    <a:pt x="150" y="181"/>
                  </a:lnTo>
                  <a:lnTo>
                    <a:pt x="148" y="179"/>
                  </a:lnTo>
                  <a:lnTo>
                    <a:pt x="150" y="176"/>
                  </a:lnTo>
                  <a:lnTo>
                    <a:pt x="150" y="174"/>
                  </a:lnTo>
                  <a:lnTo>
                    <a:pt x="148" y="174"/>
                  </a:lnTo>
                  <a:lnTo>
                    <a:pt x="150" y="165"/>
                  </a:lnTo>
                  <a:lnTo>
                    <a:pt x="146" y="165"/>
                  </a:lnTo>
                  <a:lnTo>
                    <a:pt x="146" y="164"/>
                  </a:lnTo>
                  <a:lnTo>
                    <a:pt x="146" y="158"/>
                  </a:lnTo>
                  <a:lnTo>
                    <a:pt x="140" y="160"/>
                  </a:lnTo>
                  <a:lnTo>
                    <a:pt x="138" y="164"/>
                  </a:lnTo>
                  <a:lnTo>
                    <a:pt x="136" y="164"/>
                  </a:lnTo>
                  <a:lnTo>
                    <a:pt x="136" y="162"/>
                  </a:lnTo>
                  <a:lnTo>
                    <a:pt x="134" y="160"/>
                  </a:lnTo>
                  <a:lnTo>
                    <a:pt x="131" y="160"/>
                  </a:lnTo>
                  <a:lnTo>
                    <a:pt x="129" y="160"/>
                  </a:lnTo>
                  <a:lnTo>
                    <a:pt x="129" y="162"/>
                  </a:lnTo>
                  <a:lnTo>
                    <a:pt x="126" y="158"/>
                  </a:lnTo>
                  <a:lnTo>
                    <a:pt x="122" y="162"/>
                  </a:lnTo>
                  <a:lnTo>
                    <a:pt x="122" y="158"/>
                  </a:lnTo>
                  <a:lnTo>
                    <a:pt x="119" y="157"/>
                  </a:lnTo>
                  <a:lnTo>
                    <a:pt x="110" y="153"/>
                  </a:lnTo>
                  <a:lnTo>
                    <a:pt x="110" y="152"/>
                  </a:lnTo>
                  <a:lnTo>
                    <a:pt x="116" y="153"/>
                  </a:lnTo>
                  <a:lnTo>
                    <a:pt x="116" y="155"/>
                  </a:lnTo>
                  <a:lnTo>
                    <a:pt x="122" y="155"/>
                  </a:lnTo>
                  <a:lnTo>
                    <a:pt x="126" y="153"/>
                  </a:lnTo>
                  <a:lnTo>
                    <a:pt x="131" y="157"/>
                  </a:lnTo>
                  <a:lnTo>
                    <a:pt x="133" y="153"/>
                  </a:lnTo>
                  <a:lnTo>
                    <a:pt x="138" y="152"/>
                  </a:lnTo>
                  <a:lnTo>
                    <a:pt x="134" y="150"/>
                  </a:lnTo>
                  <a:lnTo>
                    <a:pt x="129" y="150"/>
                  </a:lnTo>
                  <a:lnTo>
                    <a:pt x="134" y="148"/>
                  </a:lnTo>
                  <a:lnTo>
                    <a:pt x="134" y="143"/>
                  </a:lnTo>
                  <a:lnTo>
                    <a:pt x="134" y="147"/>
                  </a:lnTo>
                  <a:lnTo>
                    <a:pt x="133" y="143"/>
                  </a:lnTo>
                  <a:lnTo>
                    <a:pt x="134" y="148"/>
                  </a:lnTo>
                  <a:lnTo>
                    <a:pt x="129" y="148"/>
                  </a:lnTo>
                  <a:lnTo>
                    <a:pt x="131" y="150"/>
                  </a:lnTo>
                  <a:lnTo>
                    <a:pt x="128" y="145"/>
                  </a:lnTo>
                  <a:lnTo>
                    <a:pt x="128" y="148"/>
                  </a:lnTo>
                  <a:lnTo>
                    <a:pt x="124" y="145"/>
                  </a:lnTo>
                  <a:lnTo>
                    <a:pt x="126" y="150"/>
                  </a:lnTo>
                  <a:lnTo>
                    <a:pt x="128" y="150"/>
                  </a:lnTo>
                  <a:lnTo>
                    <a:pt x="128" y="152"/>
                  </a:lnTo>
                  <a:lnTo>
                    <a:pt x="121" y="150"/>
                  </a:lnTo>
                  <a:lnTo>
                    <a:pt x="121" y="147"/>
                  </a:lnTo>
                  <a:lnTo>
                    <a:pt x="117" y="147"/>
                  </a:lnTo>
                  <a:lnTo>
                    <a:pt x="117" y="145"/>
                  </a:lnTo>
                  <a:lnTo>
                    <a:pt x="119" y="145"/>
                  </a:lnTo>
                  <a:lnTo>
                    <a:pt x="117" y="141"/>
                  </a:lnTo>
                  <a:lnTo>
                    <a:pt x="119" y="141"/>
                  </a:lnTo>
                  <a:lnTo>
                    <a:pt x="119" y="140"/>
                  </a:lnTo>
                  <a:lnTo>
                    <a:pt x="126" y="141"/>
                  </a:lnTo>
                  <a:lnTo>
                    <a:pt x="126" y="138"/>
                  </a:lnTo>
                  <a:lnTo>
                    <a:pt x="128" y="145"/>
                  </a:lnTo>
                  <a:lnTo>
                    <a:pt x="129" y="143"/>
                  </a:lnTo>
                  <a:lnTo>
                    <a:pt x="128" y="138"/>
                  </a:lnTo>
                  <a:lnTo>
                    <a:pt x="133" y="138"/>
                  </a:lnTo>
                  <a:lnTo>
                    <a:pt x="131" y="141"/>
                  </a:lnTo>
                  <a:lnTo>
                    <a:pt x="133" y="141"/>
                  </a:lnTo>
                  <a:lnTo>
                    <a:pt x="134" y="141"/>
                  </a:lnTo>
                  <a:lnTo>
                    <a:pt x="136" y="141"/>
                  </a:lnTo>
                  <a:lnTo>
                    <a:pt x="134" y="140"/>
                  </a:lnTo>
                  <a:lnTo>
                    <a:pt x="136" y="138"/>
                  </a:lnTo>
                  <a:lnTo>
                    <a:pt x="138" y="140"/>
                  </a:lnTo>
                  <a:lnTo>
                    <a:pt x="138" y="138"/>
                  </a:lnTo>
                  <a:lnTo>
                    <a:pt x="141" y="140"/>
                  </a:lnTo>
                  <a:lnTo>
                    <a:pt x="141" y="138"/>
                  </a:lnTo>
                  <a:lnTo>
                    <a:pt x="146" y="136"/>
                  </a:lnTo>
                  <a:lnTo>
                    <a:pt x="145" y="135"/>
                  </a:lnTo>
                  <a:lnTo>
                    <a:pt x="148" y="136"/>
                  </a:lnTo>
                  <a:lnTo>
                    <a:pt x="150" y="138"/>
                  </a:lnTo>
                  <a:lnTo>
                    <a:pt x="151" y="138"/>
                  </a:lnTo>
                  <a:lnTo>
                    <a:pt x="150" y="136"/>
                  </a:lnTo>
                  <a:lnTo>
                    <a:pt x="153" y="138"/>
                  </a:lnTo>
                  <a:lnTo>
                    <a:pt x="151" y="133"/>
                  </a:lnTo>
                  <a:lnTo>
                    <a:pt x="153" y="136"/>
                  </a:lnTo>
                  <a:lnTo>
                    <a:pt x="155" y="133"/>
                  </a:lnTo>
                  <a:lnTo>
                    <a:pt x="160" y="136"/>
                  </a:lnTo>
                  <a:lnTo>
                    <a:pt x="160" y="135"/>
                  </a:lnTo>
                  <a:lnTo>
                    <a:pt x="162" y="136"/>
                  </a:lnTo>
                  <a:lnTo>
                    <a:pt x="170" y="131"/>
                  </a:lnTo>
                  <a:lnTo>
                    <a:pt x="172" y="133"/>
                  </a:lnTo>
                  <a:lnTo>
                    <a:pt x="169" y="136"/>
                  </a:lnTo>
                  <a:lnTo>
                    <a:pt x="172" y="135"/>
                  </a:lnTo>
                  <a:lnTo>
                    <a:pt x="175" y="135"/>
                  </a:lnTo>
                  <a:lnTo>
                    <a:pt x="177" y="133"/>
                  </a:lnTo>
                  <a:lnTo>
                    <a:pt x="172" y="133"/>
                  </a:lnTo>
                  <a:lnTo>
                    <a:pt x="172" y="131"/>
                  </a:lnTo>
                  <a:lnTo>
                    <a:pt x="179" y="129"/>
                  </a:lnTo>
                  <a:close/>
                  <a:moveTo>
                    <a:pt x="100" y="126"/>
                  </a:moveTo>
                  <a:lnTo>
                    <a:pt x="100" y="128"/>
                  </a:lnTo>
                  <a:lnTo>
                    <a:pt x="99" y="128"/>
                  </a:lnTo>
                  <a:lnTo>
                    <a:pt x="97" y="128"/>
                  </a:lnTo>
                  <a:lnTo>
                    <a:pt x="97" y="129"/>
                  </a:lnTo>
                  <a:lnTo>
                    <a:pt x="100" y="131"/>
                  </a:lnTo>
                  <a:lnTo>
                    <a:pt x="97" y="133"/>
                  </a:lnTo>
                  <a:lnTo>
                    <a:pt x="102" y="135"/>
                  </a:lnTo>
                  <a:lnTo>
                    <a:pt x="102" y="133"/>
                  </a:lnTo>
                  <a:lnTo>
                    <a:pt x="104" y="136"/>
                  </a:lnTo>
                  <a:lnTo>
                    <a:pt x="100" y="140"/>
                  </a:lnTo>
                  <a:lnTo>
                    <a:pt x="95" y="136"/>
                  </a:lnTo>
                  <a:lnTo>
                    <a:pt x="95" y="133"/>
                  </a:lnTo>
                  <a:lnTo>
                    <a:pt x="97" y="133"/>
                  </a:lnTo>
                  <a:lnTo>
                    <a:pt x="93" y="128"/>
                  </a:lnTo>
                  <a:lnTo>
                    <a:pt x="100" y="126"/>
                  </a:lnTo>
                  <a:close/>
                  <a:moveTo>
                    <a:pt x="189" y="124"/>
                  </a:moveTo>
                  <a:lnTo>
                    <a:pt x="191" y="124"/>
                  </a:lnTo>
                  <a:lnTo>
                    <a:pt x="192" y="126"/>
                  </a:lnTo>
                  <a:lnTo>
                    <a:pt x="189" y="126"/>
                  </a:lnTo>
                  <a:lnTo>
                    <a:pt x="189" y="124"/>
                  </a:lnTo>
                  <a:close/>
                  <a:moveTo>
                    <a:pt x="114" y="116"/>
                  </a:moveTo>
                  <a:lnTo>
                    <a:pt x="117" y="116"/>
                  </a:lnTo>
                  <a:lnTo>
                    <a:pt x="117" y="117"/>
                  </a:lnTo>
                  <a:lnTo>
                    <a:pt x="114" y="117"/>
                  </a:lnTo>
                  <a:lnTo>
                    <a:pt x="114" y="116"/>
                  </a:lnTo>
                  <a:close/>
                  <a:moveTo>
                    <a:pt x="99" y="111"/>
                  </a:moveTo>
                  <a:lnTo>
                    <a:pt x="102" y="111"/>
                  </a:lnTo>
                  <a:lnTo>
                    <a:pt x="102" y="112"/>
                  </a:lnTo>
                  <a:lnTo>
                    <a:pt x="99" y="112"/>
                  </a:lnTo>
                  <a:lnTo>
                    <a:pt x="99" y="111"/>
                  </a:lnTo>
                  <a:close/>
                  <a:moveTo>
                    <a:pt x="88" y="107"/>
                  </a:moveTo>
                  <a:lnTo>
                    <a:pt x="92" y="109"/>
                  </a:lnTo>
                  <a:lnTo>
                    <a:pt x="90" y="111"/>
                  </a:lnTo>
                  <a:lnTo>
                    <a:pt x="88" y="109"/>
                  </a:lnTo>
                  <a:lnTo>
                    <a:pt x="90" y="109"/>
                  </a:lnTo>
                  <a:lnTo>
                    <a:pt x="88" y="107"/>
                  </a:lnTo>
                  <a:lnTo>
                    <a:pt x="87" y="107"/>
                  </a:lnTo>
                  <a:lnTo>
                    <a:pt x="88" y="109"/>
                  </a:lnTo>
                  <a:lnTo>
                    <a:pt x="83" y="107"/>
                  </a:lnTo>
                  <a:lnTo>
                    <a:pt x="88" y="107"/>
                  </a:lnTo>
                  <a:close/>
                  <a:moveTo>
                    <a:pt x="68" y="90"/>
                  </a:moveTo>
                  <a:lnTo>
                    <a:pt x="73" y="90"/>
                  </a:lnTo>
                  <a:lnTo>
                    <a:pt x="75" y="95"/>
                  </a:lnTo>
                  <a:lnTo>
                    <a:pt x="70" y="95"/>
                  </a:lnTo>
                  <a:lnTo>
                    <a:pt x="66" y="90"/>
                  </a:lnTo>
                  <a:lnTo>
                    <a:pt x="68" y="90"/>
                  </a:lnTo>
                  <a:close/>
                  <a:moveTo>
                    <a:pt x="208" y="82"/>
                  </a:moveTo>
                  <a:lnTo>
                    <a:pt x="211" y="82"/>
                  </a:lnTo>
                  <a:lnTo>
                    <a:pt x="211" y="85"/>
                  </a:lnTo>
                  <a:lnTo>
                    <a:pt x="208" y="85"/>
                  </a:lnTo>
                  <a:lnTo>
                    <a:pt x="208" y="82"/>
                  </a:lnTo>
                  <a:close/>
                  <a:moveTo>
                    <a:pt x="227" y="58"/>
                  </a:moveTo>
                  <a:lnTo>
                    <a:pt x="227" y="59"/>
                  </a:lnTo>
                  <a:lnTo>
                    <a:pt x="227" y="58"/>
                  </a:lnTo>
                  <a:close/>
                  <a:moveTo>
                    <a:pt x="232" y="5"/>
                  </a:moveTo>
                  <a:lnTo>
                    <a:pt x="233" y="5"/>
                  </a:lnTo>
                  <a:lnTo>
                    <a:pt x="233" y="6"/>
                  </a:lnTo>
                  <a:lnTo>
                    <a:pt x="232" y="6"/>
                  </a:lnTo>
                  <a:lnTo>
                    <a:pt x="232" y="5"/>
                  </a:lnTo>
                  <a:close/>
                  <a:moveTo>
                    <a:pt x="233" y="3"/>
                  </a:moveTo>
                  <a:lnTo>
                    <a:pt x="233" y="0"/>
                  </a:lnTo>
                  <a:lnTo>
                    <a:pt x="235" y="0"/>
                  </a:lnTo>
                  <a:lnTo>
                    <a:pt x="237" y="1"/>
                  </a:lnTo>
                  <a:lnTo>
                    <a:pt x="233" y="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7" name="Freeform 64"/>
            <p:cNvSpPr>
              <a:spLocks noEditPoints="1"/>
            </p:cNvSpPr>
            <p:nvPr/>
          </p:nvSpPr>
          <p:spPr bwMode="gray">
            <a:xfrm>
              <a:off x="6220045" y="2857365"/>
              <a:ext cx="1034311" cy="1094510"/>
            </a:xfrm>
            <a:custGeom>
              <a:avLst/>
              <a:gdLst>
                <a:gd name="T0" fmla="*/ 352 w 567"/>
                <a:gd name="T1" fmla="*/ 557 h 600"/>
                <a:gd name="T2" fmla="*/ 352 w 567"/>
                <a:gd name="T3" fmla="*/ 528 h 600"/>
                <a:gd name="T4" fmla="*/ 490 w 567"/>
                <a:gd name="T5" fmla="*/ 414 h 600"/>
                <a:gd name="T6" fmla="*/ 481 w 567"/>
                <a:gd name="T7" fmla="*/ 400 h 600"/>
                <a:gd name="T8" fmla="*/ 229 w 567"/>
                <a:gd name="T9" fmla="*/ 393 h 600"/>
                <a:gd name="T10" fmla="*/ 527 w 567"/>
                <a:gd name="T11" fmla="*/ 405 h 600"/>
                <a:gd name="T12" fmla="*/ 509 w 567"/>
                <a:gd name="T13" fmla="*/ 386 h 600"/>
                <a:gd name="T14" fmla="*/ 440 w 567"/>
                <a:gd name="T15" fmla="*/ 378 h 600"/>
                <a:gd name="T16" fmla="*/ 490 w 567"/>
                <a:gd name="T17" fmla="*/ 374 h 600"/>
                <a:gd name="T18" fmla="*/ 399 w 567"/>
                <a:gd name="T19" fmla="*/ 344 h 600"/>
                <a:gd name="T20" fmla="*/ 483 w 567"/>
                <a:gd name="T21" fmla="*/ 357 h 600"/>
                <a:gd name="T22" fmla="*/ 452 w 567"/>
                <a:gd name="T23" fmla="*/ 308 h 600"/>
                <a:gd name="T24" fmla="*/ 483 w 567"/>
                <a:gd name="T25" fmla="*/ 316 h 600"/>
                <a:gd name="T26" fmla="*/ 456 w 567"/>
                <a:gd name="T27" fmla="*/ 342 h 600"/>
                <a:gd name="T28" fmla="*/ 445 w 567"/>
                <a:gd name="T29" fmla="*/ 334 h 600"/>
                <a:gd name="T30" fmla="*/ 405 w 567"/>
                <a:gd name="T31" fmla="*/ 342 h 600"/>
                <a:gd name="T32" fmla="*/ 459 w 567"/>
                <a:gd name="T33" fmla="*/ 304 h 600"/>
                <a:gd name="T34" fmla="*/ 285 w 567"/>
                <a:gd name="T35" fmla="*/ 228 h 600"/>
                <a:gd name="T36" fmla="*/ 283 w 567"/>
                <a:gd name="T37" fmla="*/ 211 h 600"/>
                <a:gd name="T38" fmla="*/ 312 w 567"/>
                <a:gd name="T39" fmla="*/ 209 h 600"/>
                <a:gd name="T40" fmla="*/ 299 w 567"/>
                <a:gd name="T41" fmla="*/ 205 h 600"/>
                <a:gd name="T42" fmla="*/ 316 w 567"/>
                <a:gd name="T43" fmla="*/ 216 h 600"/>
                <a:gd name="T44" fmla="*/ 333 w 567"/>
                <a:gd name="T45" fmla="*/ 199 h 600"/>
                <a:gd name="T46" fmla="*/ 341 w 567"/>
                <a:gd name="T47" fmla="*/ 195 h 600"/>
                <a:gd name="T48" fmla="*/ 150 w 567"/>
                <a:gd name="T49" fmla="*/ 45 h 600"/>
                <a:gd name="T50" fmla="*/ 328 w 567"/>
                <a:gd name="T51" fmla="*/ 40 h 600"/>
                <a:gd name="T52" fmla="*/ 246 w 567"/>
                <a:gd name="T53" fmla="*/ 64 h 600"/>
                <a:gd name="T54" fmla="*/ 225 w 567"/>
                <a:gd name="T55" fmla="*/ 103 h 600"/>
                <a:gd name="T56" fmla="*/ 159 w 567"/>
                <a:gd name="T57" fmla="*/ 108 h 600"/>
                <a:gd name="T58" fmla="*/ 73 w 567"/>
                <a:gd name="T59" fmla="*/ 171 h 600"/>
                <a:gd name="T60" fmla="*/ 96 w 567"/>
                <a:gd name="T61" fmla="*/ 270 h 600"/>
                <a:gd name="T62" fmla="*/ 157 w 567"/>
                <a:gd name="T63" fmla="*/ 330 h 600"/>
                <a:gd name="T64" fmla="*/ 212 w 567"/>
                <a:gd name="T65" fmla="*/ 308 h 600"/>
                <a:gd name="T66" fmla="*/ 278 w 567"/>
                <a:gd name="T67" fmla="*/ 281 h 600"/>
                <a:gd name="T68" fmla="*/ 367 w 567"/>
                <a:gd name="T69" fmla="*/ 255 h 600"/>
                <a:gd name="T70" fmla="*/ 415 w 567"/>
                <a:gd name="T71" fmla="*/ 238 h 600"/>
                <a:gd name="T72" fmla="*/ 478 w 567"/>
                <a:gd name="T73" fmla="*/ 253 h 600"/>
                <a:gd name="T74" fmla="*/ 437 w 567"/>
                <a:gd name="T75" fmla="*/ 263 h 600"/>
                <a:gd name="T76" fmla="*/ 391 w 567"/>
                <a:gd name="T77" fmla="*/ 299 h 600"/>
                <a:gd name="T78" fmla="*/ 309 w 567"/>
                <a:gd name="T79" fmla="*/ 357 h 600"/>
                <a:gd name="T80" fmla="*/ 253 w 567"/>
                <a:gd name="T81" fmla="*/ 398 h 600"/>
                <a:gd name="T82" fmla="*/ 227 w 567"/>
                <a:gd name="T83" fmla="*/ 385 h 600"/>
                <a:gd name="T84" fmla="*/ 249 w 567"/>
                <a:gd name="T85" fmla="*/ 409 h 600"/>
                <a:gd name="T86" fmla="*/ 306 w 567"/>
                <a:gd name="T87" fmla="*/ 479 h 600"/>
                <a:gd name="T88" fmla="*/ 355 w 567"/>
                <a:gd name="T89" fmla="*/ 538 h 600"/>
                <a:gd name="T90" fmla="*/ 329 w 567"/>
                <a:gd name="T91" fmla="*/ 533 h 600"/>
                <a:gd name="T92" fmla="*/ 278 w 567"/>
                <a:gd name="T93" fmla="*/ 477 h 600"/>
                <a:gd name="T94" fmla="*/ 179 w 567"/>
                <a:gd name="T95" fmla="*/ 431 h 600"/>
                <a:gd name="T96" fmla="*/ 109 w 567"/>
                <a:gd name="T97" fmla="*/ 402 h 600"/>
                <a:gd name="T98" fmla="*/ 49 w 567"/>
                <a:gd name="T99" fmla="*/ 388 h 600"/>
                <a:gd name="T100" fmla="*/ 7 w 567"/>
                <a:gd name="T101" fmla="*/ 337 h 600"/>
                <a:gd name="T102" fmla="*/ 14 w 567"/>
                <a:gd name="T103" fmla="*/ 284 h 600"/>
                <a:gd name="T104" fmla="*/ 49 w 567"/>
                <a:gd name="T105" fmla="*/ 257 h 600"/>
                <a:gd name="T106" fmla="*/ 24 w 567"/>
                <a:gd name="T107" fmla="*/ 171 h 600"/>
                <a:gd name="T108" fmla="*/ 55 w 567"/>
                <a:gd name="T109" fmla="*/ 137 h 600"/>
                <a:gd name="T110" fmla="*/ 94 w 567"/>
                <a:gd name="T111" fmla="*/ 67 h 600"/>
                <a:gd name="T112" fmla="*/ 131 w 567"/>
                <a:gd name="T113" fmla="*/ 72 h 600"/>
                <a:gd name="T114" fmla="*/ 157 w 567"/>
                <a:gd name="T115" fmla="*/ 43 h 600"/>
                <a:gd name="T116" fmla="*/ 172 w 567"/>
                <a:gd name="T117" fmla="*/ 7 h 600"/>
                <a:gd name="T118" fmla="*/ 236 w 567"/>
                <a:gd name="T119" fmla="*/ 16 h 600"/>
                <a:gd name="T120" fmla="*/ 300 w 567"/>
                <a:gd name="T121" fmla="*/ 3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7" h="600">
                  <a:moveTo>
                    <a:pt x="442" y="590"/>
                  </a:moveTo>
                  <a:lnTo>
                    <a:pt x="445" y="595"/>
                  </a:lnTo>
                  <a:lnTo>
                    <a:pt x="445" y="597"/>
                  </a:lnTo>
                  <a:lnTo>
                    <a:pt x="439" y="597"/>
                  </a:lnTo>
                  <a:lnTo>
                    <a:pt x="439" y="600"/>
                  </a:lnTo>
                  <a:lnTo>
                    <a:pt x="437" y="600"/>
                  </a:lnTo>
                  <a:lnTo>
                    <a:pt x="430" y="595"/>
                  </a:lnTo>
                  <a:lnTo>
                    <a:pt x="434" y="591"/>
                  </a:lnTo>
                  <a:lnTo>
                    <a:pt x="442" y="590"/>
                  </a:lnTo>
                  <a:close/>
                  <a:moveTo>
                    <a:pt x="435" y="583"/>
                  </a:moveTo>
                  <a:lnTo>
                    <a:pt x="432" y="586"/>
                  </a:lnTo>
                  <a:lnTo>
                    <a:pt x="432" y="585"/>
                  </a:lnTo>
                  <a:lnTo>
                    <a:pt x="435" y="583"/>
                  </a:lnTo>
                  <a:close/>
                  <a:moveTo>
                    <a:pt x="352" y="561"/>
                  </a:moveTo>
                  <a:lnTo>
                    <a:pt x="353" y="561"/>
                  </a:lnTo>
                  <a:lnTo>
                    <a:pt x="353" y="562"/>
                  </a:lnTo>
                  <a:lnTo>
                    <a:pt x="352" y="562"/>
                  </a:lnTo>
                  <a:lnTo>
                    <a:pt x="352" y="561"/>
                  </a:lnTo>
                  <a:close/>
                  <a:moveTo>
                    <a:pt x="350" y="557"/>
                  </a:moveTo>
                  <a:lnTo>
                    <a:pt x="352" y="557"/>
                  </a:lnTo>
                  <a:lnTo>
                    <a:pt x="352" y="559"/>
                  </a:lnTo>
                  <a:lnTo>
                    <a:pt x="350" y="559"/>
                  </a:lnTo>
                  <a:lnTo>
                    <a:pt x="350" y="557"/>
                  </a:lnTo>
                  <a:close/>
                  <a:moveTo>
                    <a:pt x="364" y="532"/>
                  </a:moveTo>
                  <a:lnTo>
                    <a:pt x="367" y="530"/>
                  </a:lnTo>
                  <a:lnTo>
                    <a:pt x="367" y="533"/>
                  </a:lnTo>
                  <a:lnTo>
                    <a:pt x="360" y="530"/>
                  </a:lnTo>
                  <a:lnTo>
                    <a:pt x="364" y="532"/>
                  </a:lnTo>
                  <a:lnTo>
                    <a:pt x="364" y="530"/>
                  </a:lnTo>
                  <a:lnTo>
                    <a:pt x="364" y="532"/>
                  </a:lnTo>
                  <a:close/>
                  <a:moveTo>
                    <a:pt x="348" y="527"/>
                  </a:moveTo>
                  <a:lnTo>
                    <a:pt x="352" y="527"/>
                  </a:lnTo>
                  <a:lnTo>
                    <a:pt x="352" y="528"/>
                  </a:lnTo>
                  <a:lnTo>
                    <a:pt x="348" y="528"/>
                  </a:lnTo>
                  <a:lnTo>
                    <a:pt x="348" y="527"/>
                  </a:lnTo>
                  <a:close/>
                  <a:moveTo>
                    <a:pt x="353" y="527"/>
                  </a:moveTo>
                  <a:lnTo>
                    <a:pt x="357" y="528"/>
                  </a:lnTo>
                  <a:lnTo>
                    <a:pt x="355" y="530"/>
                  </a:lnTo>
                  <a:lnTo>
                    <a:pt x="353" y="530"/>
                  </a:lnTo>
                  <a:lnTo>
                    <a:pt x="352" y="528"/>
                  </a:lnTo>
                  <a:lnTo>
                    <a:pt x="353" y="525"/>
                  </a:lnTo>
                  <a:lnTo>
                    <a:pt x="353" y="527"/>
                  </a:lnTo>
                  <a:close/>
                  <a:moveTo>
                    <a:pt x="345" y="523"/>
                  </a:moveTo>
                  <a:lnTo>
                    <a:pt x="348" y="525"/>
                  </a:lnTo>
                  <a:lnTo>
                    <a:pt x="345" y="527"/>
                  </a:lnTo>
                  <a:lnTo>
                    <a:pt x="343" y="523"/>
                  </a:lnTo>
                  <a:lnTo>
                    <a:pt x="345" y="523"/>
                  </a:lnTo>
                  <a:close/>
                  <a:moveTo>
                    <a:pt x="442" y="431"/>
                  </a:moveTo>
                  <a:lnTo>
                    <a:pt x="444" y="427"/>
                  </a:lnTo>
                  <a:lnTo>
                    <a:pt x="442" y="431"/>
                  </a:lnTo>
                  <a:close/>
                  <a:moveTo>
                    <a:pt x="495" y="417"/>
                  </a:moveTo>
                  <a:lnTo>
                    <a:pt x="497" y="417"/>
                  </a:lnTo>
                  <a:lnTo>
                    <a:pt x="497" y="421"/>
                  </a:lnTo>
                  <a:lnTo>
                    <a:pt x="495" y="421"/>
                  </a:lnTo>
                  <a:lnTo>
                    <a:pt x="495" y="417"/>
                  </a:lnTo>
                  <a:close/>
                  <a:moveTo>
                    <a:pt x="490" y="414"/>
                  </a:moveTo>
                  <a:lnTo>
                    <a:pt x="492" y="414"/>
                  </a:lnTo>
                  <a:lnTo>
                    <a:pt x="492" y="415"/>
                  </a:lnTo>
                  <a:lnTo>
                    <a:pt x="490" y="415"/>
                  </a:lnTo>
                  <a:lnTo>
                    <a:pt x="490" y="414"/>
                  </a:lnTo>
                  <a:close/>
                  <a:moveTo>
                    <a:pt x="534" y="414"/>
                  </a:moveTo>
                  <a:lnTo>
                    <a:pt x="536" y="414"/>
                  </a:lnTo>
                  <a:lnTo>
                    <a:pt x="536" y="415"/>
                  </a:lnTo>
                  <a:lnTo>
                    <a:pt x="534" y="415"/>
                  </a:lnTo>
                  <a:lnTo>
                    <a:pt x="534" y="414"/>
                  </a:lnTo>
                  <a:close/>
                  <a:moveTo>
                    <a:pt x="531" y="410"/>
                  </a:moveTo>
                  <a:lnTo>
                    <a:pt x="531" y="414"/>
                  </a:lnTo>
                  <a:lnTo>
                    <a:pt x="529" y="412"/>
                  </a:lnTo>
                  <a:lnTo>
                    <a:pt x="529" y="410"/>
                  </a:lnTo>
                  <a:lnTo>
                    <a:pt x="526" y="410"/>
                  </a:lnTo>
                  <a:lnTo>
                    <a:pt x="527" y="404"/>
                  </a:lnTo>
                  <a:lnTo>
                    <a:pt x="531" y="410"/>
                  </a:lnTo>
                  <a:close/>
                  <a:moveTo>
                    <a:pt x="517" y="405"/>
                  </a:moveTo>
                  <a:lnTo>
                    <a:pt x="519" y="407"/>
                  </a:lnTo>
                  <a:lnTo>
                    <a:pt x="515" y="410"/>
                  </a:lnTo>
                  <a:lnTo>
                    <a:pt x="515" y="407"/>
                  </a:lnTo>
                  <a:lnTo>
                    <a:pt x="517" y="405"/>
                  </a:lnTo>
                  <a:lnTo>
                    <a:pt x="517" y="404"/>
                  </a:lnTo>
                  <a:lnTo>
                    <a:pt x="517" y="405"/>
                  </a:lnTo>
                  <a:close/>
                  <a:moveTo>
                    <a:pt x="481" y="400"/>
                  </a:moveTo>
                  <a:lnTo>
                    <a:pt x="483" y="400"/>
                  </a:lnTo>
                  <a:lnTo>
                    <a:pt x="483" y="404"/>
                  </a:lnTo>
                  <a:lnTo>
                    <a:pt x="481" y="404"/>
                  </a:lnTo>
                  <a:lnTo>
                    <a:pt x="481" y="400"/>
                  </a:lnTo>
                  <a:close/>
                  <a:moveTo>
                    <a:pt x="481" y="395"/>
                  </a:moveTo>
                  <a:lnTo>
                    <a:pt x="483" y="395"/>
                  </a:lnTo>
                  <a:lnTo>
                    <a:pt x="483" y="397"/>
                  </a:lnTo>
                  <a:lnTo>
                    <a:pt x="481" y="397"/>
                  </a:lnTo>
                  <a:lnTo>
                    <a:pt x="481" y="395"/>
                  </a:lnTo>
                  <a:close/>
                  <a:moveTo>
                    <a:pt x="239" y="393"/>
                  </a:moveTo>
                  <a:lnTo>
                    <a:pt x="237" y="397"/>
                  </a:lnTo>
                  <a:lnTo>
                    <a:pt x="237" y="395"/>
                  </a:lnTo>
                  <a:lnTo>
                    <a:pt x="239" y="393"/>
                  </a:lnTo>
                  <a:close/>
                  <a:moveTo>
                    <a:pt x="517" y="392"/>
                  </a:moveTo>
                  <a:lnTo>
                    <a:pt x="517" y="395"/>
                  </a:lnTo>
                  <a:lnTo>
                    <a:pt x="517" y="392"/>
                  </a:lnTo>
                  <a:close/>
                  <a:moveTo>
                    <a:pt x="229" y="392"/>
                  </a:moveTo>
                  <a:lnTo>
                    <a:pt x="230" y="392"/>
                  </a:lnTo>
                  <a:lnTo>
                    <a:pt x="230" y="393"/>
                  </a:lnTo>
                  <a:lnTo>
                    <a:pt x="229" y="393"/>
                  </a:lnTo>
                  <a:lnTo>
                    <a:pt x="229" y="392"/>
                  </a:lnTo>
                  <a:close/>
                  <a:moveTo>
                    <a:pt x="514" y="395"/>
                  </a:moveTo>
                  <a:lnTo>
                    <a:pt x="514" y="398"/>
                  </a:lnTo>
                  <a:lnTo>
                    <a:pt x="509" y="398"/>
                  </a:lnTo>
                  <a:lnTo>
                    <a:pt x="509" y="395"/>
                  </a:lnTo>
                  <a:lnTo>
                    <a:pt x="512" y="392"/>
                  </a:lnTo>
                  <a:lnTo>
                    <a:pt x="514" y="395"/>
                  </a:lnTo>
                  <a:close/>
                  <a:moveTo>
                    <a:pt x="504" y="398"/>
                  </a:moveTo>
                  <a:lnTo>
                    <a:pt x="502" y="397"/>
                  </a:lnTo>
                  <a:lnTo>
                    <a:pt x="502" y="390"/>
                  </a:lnTo>
                  <a:lnTo>
                    <a:pt x="504" y="398"/>
                  </a:lnTo>
                  <a:close/>
                  <a:moveTo>
                    <a:pt x="505" y="388"/>
                  </a:moveTo>
                  <a:lnTo>
                    <a:pt x="507" y="393"/>
                  </a:lnTo>
                  <a:lnTo>
                    <a:pt x="507" y="395"/>
                  </a:lnTo>
                  <a:lnTo>
                    <a:pt x="504" y="390"/>
                  </a:lnTo>
                  <a:lnTo>
                    <a:pt x="505" y="388"/>
                  </a:lnTo>
                  <a:close/>
                  <a:moveTo>
                    <a:pt x="522" y="393"/>
                  </a:moveTo>
                  <a:lnTo>
                    <a:pt x="526" y="397"/>
                  </a:lnTo>
                  <a:lnTo>
                    <a:pt x="529" y="400"/>
                  </a:lnTo>
                  <a:lnTo>
                    <a:pt x="527" y="405"/>
                  </a:lnTo>
                  <a:lnTo>
                    <a:pt x="526" y="402"/>
                  </a:lnTo>
                  <a:lnTo>
                    <a:pt x="524" y="407"/>
                  </a:lnTo>
                  <a:lnTo>
                    <a:pt x="519" y="402"/>
                  </a:lnTo>
                  <a:lnTo>
                    <a:pt x="519" y="397"/>
                  </a:lnTo>
                  <a:lnTo>
                    <a:pt x="517" y="397"/>
                  </a:lnTo>
                  <a:lnTo>
                    <a:pt x="519" y="393"/>
                  </a:lnTo>
                  <a:lnTo>
                    <a:pt x="517" y="390"/>
                  </a:lnTo>
                  <a:lnTo>
                    <a:pt x="519" y="388"/>
                  </a:lnTo>
                  <a:lnTo>
                    <a:pt x="522" y="393"/>
                  </a:lnTo>
                  <a:close/>
                  <a:moveTo>
                    <a:pt x="469" y="386"/>
                  </a:moveTo>
                  <a:lnTo>
                    <a:pt x="471" y="386"/>
                  </a:lnTo>
                  <a:lnTo>
                    <a:pt x="471" y="390"/>
                  </a:lnTo>
                  <a:lnTo>
                    <a:pt x="469" y="390"/>
                  </a:lnTo>
                  <a:lnTo>
                    <a:pt x="469" y="386"/>
                  </a:lnTo>
                  <a:close/>
                  <a:moveTo>
                    <a:pt x="515" y="386"/>
                  </a:moveTo>
                  <a:lnTo>
                    <a:pt x="517" y="386"/>
                  </a:lnTo>
                  <a:lnTo>
                    <a:pt x="517" y="390"/>
                  </a:lnTo>
                  <a:lnTo>
                    <a:pt x="515" y="390"/>
                  </a:lnTo>
                  <a:lnTo>
                    <a:pt x="515" y="386"/>
                  </a:lnTo>
                  <a:close/>
                  <a:moveTo>
                    <a:pt x="509" y="386"/>
                  </a:moveTo>
                  <a:lnTo>
                    <a:pt x="509" y="388"/>
                  </a:lnTo>
                  <a:lnTo>
                    <a:pt x="509" y="390"/>
                  </a:lnTo>
                  <a:lnTo>
                    <a:pt x="509" y="392"/>
                  </a:lnTo>
                  <a:lnTo>
                    <a:pt x="509" y="388"/>
                  </a:lnTo>
                  <a:lnTo>
                    <a:pt x="507" y="388"/>
                  </a:lnTo>
                  <a:lnTo>
                    <a:pt x="509" y="386"/>
                  </a:lnTo>
                  <a:close/>
                  <a:moveTo>
                    <a:pt x="234" y="383"/>
                  </a:moveTo>
                  <a:lnTo>
                    <a:pt x="234" y="386"/>
                  </a:lnTo>
                  <a:lnTo>
                    <a:pt x="230" y="386"/>
                  </a:lnTo>
                  <a:lnTo>
                    <a:pt x="232" y="383"/>
                  </a:lnTo>
                  <a:lnTo>
                    <a:pt x="234" y="383"/>
                  </a:lnTo>
                  <a:close/>
                  <a:moveTo>
                    <a:pt x="545" y="383"/>
                  </a:moveTo>
                  <a:lnTo>
                    <a:pt x="548" y="385"/>
                  </a:lnTo>
                  <a:lnTo>
                    <a:pt x="548" y="390"/>
                  </a:lnTo>
                  <a:lnTo>
                    <a:pt x="543" y="381"/>
                  </a:lnTo>
                  <a:lnTo>
                    <a:pt x="545" y="380"/>
                  </a:lnTo>
                  <a:lnTo>
                    <a:pt x="545" y="383"/>
                  </a:lnTo>
                  <a:close/>
                  <a:moveTo>
                    <a:pt x="437" y="376"/>
                  </a:moveTo>
                  <a:lnTo>
                    <a:pt x="440" y="376"/>
                  </a:lnTo>
                  <a:lnTo>
                    <a:pt x="440" y="378"/>
                  </a:lnTo>
                  <a:lnTo>
                    <a:pt x="442" y="380"/>
                  </a:lnTo>
                  <a:lnTo>
                    <a:pt x="442" y="385"/>
                  </a:lnTo>
                  <a:lnTo>
                    <a:pt x="437" y="390"/>
                  </a:lnTo>
                  <a:lnTo>
                    <a:pt x="435" y="393"/>
                  </a:lnTo>
                  <a:lnTo>
                    <a:pt x="432" y="395"/>
                  </a:lnTo>
                  <a:lnTo>
                    <a:pt x="430" y="392"/>
                  </a:lnTo>
                  <a:lnTo>
                    <a:pt x="432" y="390"/>
                  </a:lnTo>
                  <a:lnTo>
                    <a:pt x="432" y="383"/>
                  </a:lnTo>
                  <a:lnTo>
                    <a:pt x="435" y="374"/>
                  </a:lnTo>
                  <a:lnTo>
                    <a:pt x="437" y="376"/>
                  </a:lnTo>
                  <a:close/>
                  <a:moveTo>
                    <a:pt x="563" y="371"/>
                  </a:moveTo>
                  <a:lnTo>
                    <a:pt x="565" y="373"/>
                  </a:lnTo>
                  <a:lnTo>
                    <a:pt x="567" y="376"/>
                  </a:lnTo>
                  <a:lnTo>
                    <a:pt x="565" y="378"/>
                  </a:lnTo>
                  <a:lnTo>
                    <a:pt x="563" y="376"/>
                  </a:lnTo>
                  <a:lnTo>
                    <a:pt x="565" y="374"/>
                  </a:lnTo>
                  <a:lnTo>
                    <a:pt x="562" y="374"/>
                  </a:lnTo>
                  <a:lnTo>
                    <a:pt x="563" y="371"/>
                  </a:lnTo>
                  <a:close/>
                  <a:moveTo>
                    <a:pt x="490" y="371"/>
                  </a:moveTo>
                  <a:lnTo>
                    <a:pt x="490" y="374"/>
                  </a:lnTo>
                  <a:lnTo>
                    <a:pt x="488" y="374"/>
                  </a:lnTo>
                  <a:lnTo>
                    <a:pt x="488" y="376"/>
                  </a:lnTo>
                  <a:lnTo>
                    <a:pt x="490" y="371"/>
                  </a:lnTo>
                  <a:close/>
                  <a:moveTo>
                    <a:pt x="471" y="364"/>
                  </a:moveTo>
                  <a:lnTo>
                    <a:pt x="471" y="369"/>
                  </a:lnTo>
                  <a:lnTo>
                    <a:pt x="468" y="373"/>
                  </a:lnTo>
                  <a:lnTo>
                    <a:pt x="466" y="371"/>
                  </a:lnTo>
                  <a:lnTo>
                    <a:pt x="463" y="378"/>
                  </a:lnTo>
                  <a:lnTo>
                    <a:pt x="457" y="378"/>
                  </a:lnTo>
                  <a:lnTo>
                    <a:pt x="463" y="369"/>
                  </a:lnTo>
                  <a:lnTo>
                    <a:pt x="468" y="364"/>
                  </a:lnTo>
                  <a:lnTo>
                    <a:pt x="471" y="364"/>
                  </a:lnTo>
                  <a:close/>
                  <a:moveTo>
                    <a:pt x="481" y="347"/>
                  </a:moveTo>
                  <a:lnTo>
                    <a:pt x="483" y="347"/>
                  </a:lnTo>
                  <a:lnTo>
                    <a:pt x="483" y="349"/>
                  </a:lnTo>
                  <a:lnTo>
                    <a:pt x="481" y="349"/>
                  </a:lnTo>
                  <a:lnTo>
                    <a:pt x="481" y="347"/>
                  </a:lnTo>
                  <a:close/>
                  <a:moveTo>
                    <a:pt x="399" y="344"/>
                  </a:moveTo>
                  <a:lnTo>
                    <a:pt x="399" y="347"/>
                  </a:lnTo>
                  <a:lnTo>
                    <a:pt x="399" y="344"/>
                  </a:lnTo>
                  <a:close/>
                  <a:moveTo>
                    <a:pt x="488" y="340"/>
                  </a:moveTo>
                  <a:lnTo>
                    <a:pt x="493" y="349"/>
                  </a:lnTo>
                  <a:lnTo>
                    <a:pt x="492" y="356"/>
                  </a:lnTo>
                  <a:lnTo>
                    <a:pt x="493" y="356"/>
                  </a:lnTo>
                  <a:lnTo>
                    <a:pt x="497" y="354"/>
                  </a:lnTo>
                  <a:lnTo>
                    <a:pt x="500" y="357"/>
                  </a:lnTo>
                  <a:lnTo>
                    <a:pt x="500" y="359"/>
                  </a:lnTo>
                  <a:lnTo>
                    <a:pt x="497" y="359"/>
                  </a:lnTo>
                  <a:lnTo>
                    <a:pt x="500" y="361"/>
                  </a:lnTo>
                  <a:lnTo>
                    <a:pt x="498" y="366"/>
                  </a:lnTo>
                  <a:lnTo>
                    <a:pt x="493" y="371"/>
                  </a:lnTo>
                  <a:lnTo>
                    <a:pt x="490" y="371"/>
                  </a:lnTo>
                  <a:lnTo>
                    <a:pt x="486" y="368"/>
                  </a:lnTo>
                  <a:lnTo>
                    <a:pt x="486" y="369"/>
                  </a:lnTo>
                  <a:lnTo>
                    <a:pt x="483" y="369"/>
                  </a:lnTo>
                  <a:lnTo>
                    <a:pt x="481" y="364"/>
                  </a:lnTo>
                  <a:lnTo>
                    <a:pt x="483" y="364"/>
                  </a:lnTo>
                  <a:lnTo>
                    <a:pt x="481" y="361"/>
                  </a:lnTo>
                  <a:lnTo>
                    <a:pt x="483" y="359"/>
                  </a:lnTo>
                  <a:lnTo>
                    <a:pt x="483" y="357"/>
                  </a:lnTo>
                  <a:lnTo>
                    <a:pt x="485" y="354"/>
                  </a:lnTo>
                  <a:lnTo>
                    <a:pt x="483" y="354"/>
                  </a:lnTo>
                  <a:lnTo>
                    <a:pt x="483" y="349"/>
                  </a:lnTo>
                  <a:lnTo>
                    <a:pt x="486" y="342"/>
                  </a:lnTo>
                  <a:lnTo>
                    <a:pt x="488" y="344"/>
                  </a:lnTo>
                  <a:lnTo>
                    <a:pt x="488" y="342"/>
                  </a:lnTo>
                  <a:lnTo>
                    <a:pt x="488" y="340"/>
                  </a:lnTo>
                  <a:close/>
                  <a:moveTo>
                    <a:pt x="493" y="340"/>
                  </a:moveTo>
                  <a:lnTo>
                    <a:pt x="493" y="344"/>
                  </a:lnTo>
                  <a:lnTo>
                    <a:pt x="492" y="342"/>
                  </a:lnTo>
                  <a:lnTo>
                    <a:pt x="493" y="340"/>
                  </a:lnTo>
                  <a:close/>
                  <a:moveTo>
                    <a:pt x="464" y="310"/>
                  </a:moveTo>
                  <a:lnTo>
                    <a:pt x="461" y="318"/>
                  </a:lnTo>
                  <a:lnTo>
                    <a:pt x="457" y="310"/>
                  </a:lnTo>
                  <a:lnTo>
                    <a:pt x="459" y="306"/>
                  </a:lnTo>
                  <a:lnTo>
                    <a:pt x="463" y="304"/>
                  </a:lnTo>
                  <a:lnTo>
                    <a:pt x="464" y="310"/>
                  </a:lnTo>
                  <a:close/>
                  <a:moveTo>
                    <a:pt x="447" y="301"/>
                  </a:moveTo>
                  <a:lnTo>
                    <a:pt x="449" y="301"/>
                  </a:lnTo>
                  <a:lnTo>
                    <a:pt x="452" y="308"/>
                  </a:lnTo>
                  <a:lnTo>
                    <a:pt x="456" y="311"/>
                  </a:lnTo>
                  <a:lnTo>
                    <a:pt x="451" y="316"/>
                  </a:lnTo>
                  <a:lnTo>
                    <a:pt x="447" y="315"/>
                  </a:lnTo>
                  <a:lnTo>
                    <a:pt x="449" y="318"/>
                  </a:lnTo>
                  <a:lnTo>
                    <a:pt x="447" y="322"/>
                  </a:lnTo>
                  <a:lnTo>
                    <a:pt x="452" y="327"/>
                  </a:lnTo>
                  <a:lnTo>
                    <a:pt x="454" y="330"/>
                  </a:lnTo>
                  <a:lnTo>
                    <a:pt x="459" y="327"/>
                  </a:lnTo>
                  <a:lnTo>
                    <a:pt x="459" y="322"/>
                  </a:lnTo>
                  <a:lnTo>
                    <a:pt x="463" y="320"/>
                  </a:lnTo>
                  <a:lnTo>
                    <a:pt x="464" y="315"/>
                  </a:lnTo>
                  <a:lnTo>
                    <a:pt x="469" y="310"/>
                  </a:lnTo>
                  <a:lnTo>
                    <a:pt x="473" y="311"/>
                  </a:lnTo>
                  <a:lnTo>
                    <a:pt x="473" y="310"/>
                  </a:lnTo>
                  <a:lnTo>
                    <a:pt x="475" y="310"/>
                  </a:lnTo>
                  <a:lnTo>
                    <a:pt x="473" y="313"/>
                  </a:lnTo>
                  <a:lnTo>
                    <a:pt x="476" y="315"/>
                  </a:lnTo>
                  <a:lnTo>
                    <a:pt x="478" y="315"/>
                  </a:lnTo>
                  <a:lnTo>
                    <a:pt x="478" y="311"/>
                  </a:lnTo>
                  <a:lnTo>
                    <a:pt x="483" y="316"/>
                  </a:lnTo>
                  <a:lnTo>
                    <a:pt x="486" y="315"/>
                  </a:lnTo>
                  <a:lnTo>
                    <a:pt x="492" y="316"/>
                  </a:lnTo>
                  <a:lnTo>
                    <a:pt x="492" y="323"/>
                  </a:lnTo>
                  <a:lnTo>
                    <a:pt x="490" y="327"/>
                  </a:lnTo>
                  <a:lnTo>
                    <a:pt x="490" y="330"/>
                  </a:lnTo>
                  <a:lnTo>
                    <a:pt x="486" y="339"/>
                  </a:lnTo>
                  <a:lnTo>
                    <a:pt x="483" y="340"/>
                  </a:lnTo>
                  <a:lnTo>
                    <a:pt x="481" y="339"/>
                  </a:lnTo>
                  <a:lnTo>
                    <a:pt x="480" y="345"/>
                  </a:lnTo>
                  <a:lnTo>
                    <a:pt x="478" y="344"/>
                  </a:lnTo>
                  <a:lnTo>
                    <a:pt x="475" y="347"/>
                  </a:lnTo>
                  <a:lnTo>
                    <a:pt x="469" y="344"/>
                  </a:lnTo>
                  <a:lnTo>
                    <a:pt x="468" y="345"/>
                  </a:lnTo>
                  <a:lnTo>
                    <a:pt x="468" y="340"/>
                  </a:lnTo>
                  <a:lnTo>
                    <a:pt x="464" y="337"/>
                  </a:lnTo>
                  <a:lnTo>
                    <a:pt x="464" y="334"/>
                  </a:lnTo>
                  <a:lnTo>
                    <a:pt x="459" y="334"/>
                  </a:lnTo>
                  <a:lnTo>
                    <a:pt x="459" y="335"/>
                  </a:lnTo>
                  <a:lnTo>
                    <a:pt x="456" y="337"/>
                  </a:lnTo>
                  <a:lnTo>
                    <a:pt x="456" y="342"/>
                  </a:lnTo>
                  <a:lnTo>
                    <a:pt x="454" y="349"/>
                  </a:lnTo>
                  <a:lnTo>
                    <a:pt x="454" y="354"/>
                  </a:lnTo>
                  <a:lnTo>
                    <a:pt x="456" y="356"/>
                  </a:lnTo>
                  <a:lnTo>
                    <a:pt x="456" y="359"/>
                  </a:lnTo>
                  <a:lnTo>
                    <a:pt x="454" y="361"/>
                  </a:lnTo>
                  <a:lnTo>
                    <a:pt x="452" y="356"/>
                  </a:lnTo>
                  <a:lnTo>
                    <a:pt x="451" y="357"/>
                  </a:lnTo>
                  <a:lnTo>
                    <a:pt x="447" y="357"/>
                  </a:lnTo>
                  <a:lnTo>
                    <a:pt x="447" y="359"/>
                  </a:lnTo>
                  <a:lnTo>
                    <a:pt x="444" y="361"/>
                  </a:lnTo>
                  <a:lnTo>
                    <a:pt x="444" y="357"/>
                  </a:lnTo>
                  <a:lnTo>
                    <a:pt x="439" y="357"/>
                  </a:lnTo>
                  <a:lnTo>
                    <a:pt x="439" y="354"/>
                  </a:lnTo>
                  <a:lnTo>
                    <a:pt x="437" y="356"/>
                  </a:lnTo>
                  <a:lnTo>
                    <a:pt x="437" y="354"/>
                  </a:lnTo>
                  <a:lnTo>
                    <a:pt x="439" y="351"/>
                  </a:lnTo>
                  <a:lnTo>
                    <a:pt x="440" y="351"/>
                  </a:lnTo>
                  <a:lnTo>
                    <a:pt x="447" y="345"/>
                  </a:lnTo>
                  <a:lnTo>
                    <a:pt x="445" y="337"/>
                  </a:lnTo>
                  <a:lnTo>
                    <a:pt x="445" y="334"/>
                  </a:lnTo>
                  <a:lnTo>
                    <a:pt x="444" y="334"/>
                  </a:lnTo>
                  <a:lnTo>
                    <a:pt x="445" y="334"/>
                  </a:lnTo>
                  <a:lnTo>
                    <a:pt x="445" y="330"/>
                  </a:lnTo>
                  <a:lnTo>
                    <a:pt x="444" y="327"/>
                  </a:lnTo>
                  <a:lnTo>
                    <a:pt x="445" y="320"/>
                  </a:lnTo>
                  <a:lnTo>
                    <a:pt x="442" y="318"/>
                  </a:lnTo>
                  <a:lnTo>
                    <a:pt x="440" y="322"/>
                  </a:lnTo>
                  <a:lnTo>
                    <a:pt x="439" y="320"/>
                  </a:lnTo>
                  <a:lnTo>
                    <a:pt x="437" y="325"/>
                  </a:lnTo>
                  <a:lnTo>
                    <a:pt x="435" y="325"/>
                  </a:lnTo>
                  <a:lnTo>
                    <a:pt x="430" y="334"/>
                  </a:lnTo>
                  <a:lnTo>
                    <a:pt x="427" y="342"/>
                  </a:lnTo>
                  <a:lnTo>
                    <a:pt x="425" y="345"/>
                  </a:lnTo>
                  <a:lnTo>
                    <a:pt x="418" y="349"/>
                  </a:lnTo>
                  <a:lnTo>
                    <a:pt x="415" y="354"/>
                  </a:lnTo>
                  <a:lnTo>
                    <a:pt x="410" y="354"/>
                  </a:lnTo>
                  <a:lnTo>
                    <a:pt x="406" y="352"/>
                  </a:lnTo>
                  <a:lnTo>
                    <a:pt x="408" y="349"/>
                  </a:lnTo>
                  <a:lnTo>
                    <a:pt x="403" y="344"/>
                  </a:lnTo>
                  <a:lnTo>
                    <a:pt x="405" y="342"/>
                  </a:lnTo>
                  <a:lnTo>
                    <a:pt x="401" y="340"/>
                  </a:lnTo>
                  <a:lnTo>
                    <a:pt x="401" y="342"/>
                  </a:lnTo>
                  <a:lnTo>
                    <a:pt x="399" y="339"/>
                  </a:lnTo>
                  <a:lnTo>
                    <a:pt x="401" y="335"/>
                  </a:lnTo>
                  <a:lnTo>
                    <a:pt x="401" y="328"/>
                  </a:lnTo>
                  <a:lnTo>
                    <a:pt x="403" y="323"/>
                  </a:lnTo>
                  <a:lnTo>
                    <a:pt x="405" y="316"/>
                  </a:lnTo>
                  <a:lnTo>
                    <a:pt x="410" y="313"/>
                  </a:lnTo>
                  <a:lnTo>
                    <a:pt x="413" y="304"/>
                  </a:lnTo>
                  <a:lnTo>
                    <a:pt x="418" y="306"/>
                  </a:lnTo>
                  <a:lnTo>
                    <a:pt x="422" y="310"/>
                  </a:lnTo>
                  <a:lnTo>
                    <a:pt x="428" y="304"/>
                  </a:lnTo>
                  <a:lnTo>
                    <a:pt x="439" y="303"/>
                  </a:lnTo>
                  <a:lnTo>
                    <a:pt x="442" y="308"/>
                  </a:lnTo>
                  <a:lnTo>
                    <a:pt x="445" y="301"/>
                  </a:lnTo>
                  <a:lnTo>
                    <a:pt x="447" y="301"/>
                  </a:lnTo>
                  <a:close/>
                  <a:moveTo>
                    <a:pt x="459" y="304"/>
                  </a:moveTo>
                  <a:lnTo>
                    <a:pt x="459" y="303"/>
                  </a:lnTo>
                  <a:lnTo>
                    <a:pt x="461" y="301"/>
                  </a:lnTo>
                  <a:lnTo>
                    <a:pt x="459" y="304"/>
                  </a:lnTo>
                  <a:close/>
                  <a:moveTo>
                    <a:pt x="379" y="221"/>
                  </a:moveTo>
                  <a:lnTo>
                    <a:pt x="379" y="224"/>
                  </a:lnTo>
                  <a:lnTo>
                    <a:pt x="376" y="224"/>
                  </a:lnTo>
                  <a:lnTo>
                    <a:pt x="374" y="226"/>
                  </a:lnTo>
                  <a:lnTo>
                    <a:pt x="369" y="224"/>
                  </a:lnTo>
                  <a:lnTo>
                    <a:pt x="377" y="221"/>
                  </a:lnTo>
                  <a:lnTo>
                    <a:pt x="379" y="221"/>
                  </a:lnTo>
                  <a:close/>
                  <a:moveTo>
                    <a:pt x="288" y="212"/>
                  </a:moveTo>
                  <a:lnTo>
                    <a:pt x="295" y="217"/>
                  </a:lnTo>
                  <a:lnTo>
                    <a:pt x="297" y="222"/>
                  </a:lnTo>
                  <a:lnTo>
                    <a:pt x="295" y="222"/>
                  </a:lnTo>
                  <a:lnTo>
                    <a:pt x="295" y="224"/>
                  </a:lnTo>
                  <a:lnTo>
                    <a:pt x="295" y="226"/>
                  </a:lnTo>
                  <a:lnTo>
                    <a:pt x="290" y="228"/>
                  </a:lnTo>
                  <a:lnTo>
                    <a:pt x="290" y="226"/>
                  </a:lnTo>
                  <a:lnTo>
                    <a:pt x="290" y="224"/>
                  </a:lnTo>
                  <a:lnTo>
                    <a:pt x="288" y="222"/>
                  </a:lnTo>
                  <a:lnTo>
                    <a:pt x="285" y="222"/>
                  </a:lnTo>
                  <a:lnTo>
                    <a:pt x="288" y="226"/>
                  </a:lnTo>
                  <a:lnTo>
                    <a:pt x="285" y="228"/>
                  </a:lnTo>
                  <a:lnTo>
                    <a:pt x="282" y="224"/>
                  </a:lnTo>
                  <a:lnTo>
                    <a:pt x="278" y="222"/>
                  </a:lnTo>
                  <a:lnTo>
                    <a:pt x="275" y="224"/>
                  </a:lnTo>
                  <a:lnTo>
                    <a:pt x="275" y="222"/>
                  </a:lnTo>
                  <a:lnTo>
                    <a:pt x="270" y="231"/>
                  </a:lnTo>
                  <a:lnTo>
                    <a:pt x="265" y="233"/>
                  </a:lnTo>
                  <a:lnTo>
                    <a:pt x="263" y="228"/>
                  </a:lnTo>
                  <a:lnTo>
                    <a:pt x="266" y="228"/>
                  </a:lnTo>
                  <a:lnTo>
                    <a:pt x="268" y="221"/>
                  </a:lnTo>
                  <a:lnTo>
                    <a:pt x="270" y="221"/>
                  </a:lnTo>
                  <a:lnTo>
                    <a:pt x="268" y="221"/>
                  </a:lnTo>
                  <a:lnTo>
                    <a:pt x="271" y="221"/>
                  </a:lnTo>
                  <a:lnTo>
                    <a:pt x="273" y="219"/>
                  </a:lnTo>
                  <a:lnTo>
                    <a:pt x="273" y="217"/>
                  </a:lnTo>
                  <a:lnTo>
                    <a:pt x="276" y="217"/>
                  </a:lnTo>
                  <a:lnTo>
                    <a:pt x="276" y="214"/>
                  </a:lnTo>
                  <a:lnTo>
                    <a:pt x="278" y="214"/>
                  </a:lnTo>
                  <a:lnTo>
                    <a:pt x="280" y="217"/>
                  </a:lnTo>
                  <a:lnTo>
                    <a:pt x="288" y="212"/>
                  </a:lnTo>
                  <a:close/>
                  <a:moveTo>
                    <a:pt x="283" y="211"/>
                  </a:moveTo>
                  <a:lnTo>
                    <a:pt x="285" y="211"/>
                  </a:lnTo>
                  <a:lnTo>
                    <a:pt x="285" y="212"/>
                  </a:lnTo>
                  <a:lnTo>
                    <a:pt x="283" y="212"/>
                  </a:lnTo>
                  <a:lnTo>
                    <a:pt x="283" y="211"/>
                  </a:lnTo>
                  <a:close/>
                  <a:moveTo>
                    <a:pt x="290" y="205"/>
                  </a:moveTo>
                  <a:lnTo>
                    <a:pt x="288" y="207"/>
                  </a:lnTo>
                  <a:lnTo>
                    <a:pt x="287" y="207"/>
                  </a:lnTo>
                  <a:lnTo>
                    <a:pt x="290" y="205"/>
                  </a:lnTo>
                  <a:close/>
                  <a:moveTo>
                    <a:pt x="299" y="202"/>
                  </a:moveTo>
                  <a:lnTo>
                    <a:pt x="304" y="204"/>
                  </a:lnTo>
                  <a:lnTo>
                    <a:pt x="302" y="205"/>
                  </a:lnTo>
                  <a:lnTo>
                    <a:pt x="306" y="204"/>
                  </a:lnTo>
                  <a:lnTo>
                    <a:pt x="304" y="205"/>
                  </a:lnTo>
                  <a:lnTo>
                    <a:pt x="306" y="205"/>
                  </a:lnTo>
                  <a:lnTo>
                    <a:pt x="307" y="209"/>
                  </a:lnTo>
                  <a:lnTo>
                    <a:pt x="307" y="205"/>
                  </a:lnTo>
                  <a:lnTo>
                    <a:pt x="311" y="207"/>
                  </a:lnTo>
                  <a:lnTo>
                    <a:pt x="311" y="204"/>
                  </a:lnTo>
                  <a:lnTo>
                    <a:pt x="312" y="205"/>
                  </a:lnTo>
                  <a:lnTo>
                    <a:pt x="312" y="209"/>
                  </a:lnTo>
                  <a:lnTo>
                    <a:pt x="314" y="211"/>
                  </a:lnTo>
                  <a:lnTo>
                    <a:pt x="312" y="212"/>
                  </a:lnTo>
                  <a:lnTo>
                    <a:pt x="312" y="214"/>
                  </a:lnTo>
                  <a:lnTo>
                    <a:pt x="309" y="214"/>
                  </a:lnTo>
                  <a:lnTo>
                    <a:pt x="307" y="212"/>
                  </a:lnTo>
                  <a:lnTo>
                    <a:pt x="307" y="214"/>
                  </a:lnTo>
                  <a:lnTo>
                    <a:pt x="304" y="214"/>
                  </a:lnTo>
                  <a:lnTo>
                    <a:pt x="304" y="216"/>
                  </a:lnTo>
                  <a:lnTo>
                    <a:pt x="300" y="214"/>
                  </a:lnTo>
                  <a:lnTo>
                    <a:pt x="299" y="216"/>
                  </a:lnTo>
                  <a:lnTo>
                    <a:pt x="297" y="216"/>
                  </a:lnTo>
                  <a:lnTo>
                    <a:pt x="297" y="217"/>
                  </a:lnTo>
                  <a:lnTo>
                    <a:pt x="292" y="214"/>
                  </a:lnTo>
                  <a:lnTo>
                    <a:pt x="288" y="207"/>
                  </a:lnTo>
                  <a:lnTo>
                    <a:pt x="290" y="209"/>
                  </a:lnTo>
                  <a:lnTo>
                    <a:pt x="292" y="205"/>
                  </a:lnTo>
                  <a:lnTo>
                    <a:pt x="294" y="204"/>
                  </a:lnTo>
                  <a:lnTo>
                    <a:pt x="295" y="204"/>
                  </a:lnTo>
                  <a:lnTo>
                    <a:pt x="297" y="207"/>
                  </a:lnTo>
                  <a:lnTo>
                    <a:pt x="299" y="205"/>
                  </a:lnTo>
                  <a:lnTo>
                    <a:pt x="302" y="207"/>
                  </a:lnTo>
                  <a:lnTo>
                    <a:pt x="299" y="204"/>
                  </a:lnTo>
                  <a:lnTo>
                    <a:pt x="299" y="205"/>
                  </a:lnTo>
                  <a:lnTo>
                    <a:pt x="297" y="204"/>
                  </a:lnTo>
                  <a:lnTo>
                    <a:pt x="299" y="202"/>
                  </a:lnTo>
                  <a:close/>
                  <a:moveTo>
                    <a:pt x="317" y="197"/>
                  </a:moveTo>
                  <a:lnTo>
                    <a:pt x="319" y="204"/>
                  </a:lnTo>
                  <a:lnTo>
                    <a:pt x="321" y="205"/>
                  </a:lnTo>
                  <a:lnTo>
                    <a:pt x="323" y="204"/>
                  </a:lnTo>
                  <a:lnTo>
                    <a:pt x="323" y="207"/>
                  </a:lnTo>
                  <a:lnTo>
                    <a:pt x="324" y="211"/>
                  </a:lnTo>
                  <a:lnTo>
                    <a:pt x="323" y="214"/>
                  </a:lnTo>
                  <a:lnTo>
                    <a:pt x="323" y="212"/>
                  </a:lnTo>
                  <a:lnTo>
                    <a:pt x="321" y="214"/>
                  </a:lnTo>
                  <a:lnTo>
                    <a:pt x="317" y="212"/>
                  </a:lnTo>
                  <a:lnTo>
                    <a:pt x="319" y="216"/>
                  </a:lnTo>
                  <a:lnTo>
                    <a:pt x="317" y="216"/>
                  </a:lnTo>
                  <a:lnTo>
                    <a:pt x="316" y="216"/>
                  </a:lnTo>
                  <a:lnTo>
                    <a:pt x="317" y="217"/>
                  </a:lnTo>
                  <a:lnTo>
                    <a:pt x="316" y="216"/>
                  </a:lnTo>
                  <a:lnTo>
                    <a:pt x="314" y="214"/>
                  </a:lnTo>
                  <a:lnTo>
                    <a:pt x="314" y="212"/>
                  </a:lnTo>
                  <a:lnTo>
                    <a:pt x="316" y="211"/>
                  </a:lnTo>
                  <a:lnTo>
                    <a:pt x="314" y="211"/>
                  </a:lnTo>
                  <a:lnTo>
                    <a:pt x="312" y="205"/>
                  </a:lnTo>
                  <a:lnTo>
                    <a:pt x="314" y="205"/>
                  </a:lnTo>
                  <a:lnTo>
                    <a:pt x="314" y="200"/>
                  </a:lnTo>
                  <a:lnTo>
                    <a:pt x="316" y="200"/>
                  </a:lnTo>
                  <a:lnTo>
                    <a:pt x="317" y="197"/>
                  </a:lnTo>
                  <a:close/>
                  <a:moveTo>
                    <a:pt x="317" y="193"/>
                  </a:moveTo>
                  <a:lnTo>
                    <a:pt x="316" y="195"/>
                  </a:lnTo>
                  <a:lnTo>
                    <a:pt x="309" y="197"/>
                  </a:lnTo>
                  <a:lnTo>
                    <a:pt x="311" y="193"/>
                  </a:lnTo>
                  <a:lnTo>
                    <a:pt x="317" y="193"/>
                  </a:lnTo>
                  <a:close/>
                  <a:moveTo>
                    <a:pt x="331" y="188"/>
                  </a:moveTo>
                  <a:lnTo>
                    <a:pt x="328" y="193"/>
                  </a:lnTo>
                  <a:lnTo>
                    <a:pt x="333" y="195"/>
                  </a:lnTo>
                  <a:lnTo>
                    <a:pt x="333" y="197"/>
                  </a:lnTo>
                  <a:lnTo>
                    <a:pt x="336" y="197"/>
                  </a:lnTo>
                  <a:lnTo>
                    <a:pt x="333" y="199"/>
                  </a:lnTo>
                  <a:lnTo>
                    <a:pt x="335" y="197"/>
                  </a:lnTo>
                  <a:lnTo>
                    <a:pt x="331" y="199"/>
                  </a:lnTo>
                  <a:lnTo>
                    <a:pt x="329" y="197"/>
                  </a:lnTo>
                  <a:lnTo>
                    <a:pt x="328" y="197"/>
                  </a:lnTo>
                  <a:lnTo>
                    <a:pt x="326" y="193"/>
                  </a:lnTo>
                  <a:lnTo>
                    <a:pt x="324" y="195"/>
                  </a:lnTo>
                  <a:lnTo>
                    <a:pt x="323" y="193"/>
                  </a:lnTo>
                  <a:lnTo>
                    <a:pt x="331" y="188"/>
                  </a:lnTo>
                  <a:close/>
                  <a:moveTo>
                    <a:pt x="335" y="188"/>
                  </a:moveTo>
                  <a:lnTo>
                    <a:pt x="336" y="192"/>
                  </a:lnTo>
                  <a:lnTo>
                    <a:pt x="340" y="190"/>
                  </a:lnTo>
                  <a:lnTo>
                    <a:pt x="340" y="193"/>
                  </a:lnTo>
                  <a:lnTo>
                    <a:pt x="343" y="192"/>
                  </a:lnTo>
                  <a:lnTo>
                    <a:pt x="352" y="197"/>
                  </a:lnTo>
                  <a:lnTo>
                    <a:pt x="350" y="204"/>
                  </a:lnTo>
                  <a:lnTo>
                    <a:pt x="353" y="211"/>
                  </a:lnTo>
                  <a:lnTo>
                    <a:pt x="346" y="202"/>
                  </a:lnTo>
                  <a:lnTo>
                    <a:pt x="346" y="199"/>
                  </a:lnTo>
                  <a:lnTo>
                    <a:pt x="345" y="199"/>
                  </a:lnTo>
                  <a:lnTo>
                    <a:pt x="341" y="195"/>
                  </a:lnTo>
                  <a:lnTo>
                    <a:pt x="340" y="195"/>
                  </a:lnTo>
                  <a:lnTo>
                    <a:pt x="336" y="195"/>
                  </a:lnTo>
                  <a:lnTo>
                    <a:pt x="333" y="190"/>
                  </a:lnTo>
                  <a:lnTo>
                    <a:pt x="335" y="188"/>
                  </a:lnTo>
                  <a:close/>
                  <a:moveTo>
                    <a:pt x="261" y="178"/>
                  </a:moveTo>
                  <a:lnTo>
                    <a:pt x="265" y="182"/>
                  </a:lnTo>
                  <a:lnTo>
                    <a:pt x="265" y="187"/>
                  </a:lnTo>
                  <a:lnTo>
                    <a:pt x="259" y="190"/>
                  </a:lnTo>
                  <a:lnTo>
                    <a:pt x="256" y="188"/>
                  </a:lnTo>
                  <a:lnTo>
                    <a:pt x="253" y="183"/>
                  </a:lnTo>
                  <a:lnTo>
                    <a:pt x="258" y="178"/>
                  </a:lnTo>
                  <a:lnTo>
                    <a:pt x="261" y="178"/>
                  </a:lnTo>
                  <a:close/>
                  <a:moveTo>
                    <a:pt x="48" y="100"/>
                  </a:moveTo>
                  <a:lnTo>
                    <a:pt x="51" y="100"/>
                  </a:lnTo>
                  <a:lnTo>
                    <a:pt x="51" y="103"/>
                  </a:lnTo>
                  <a:lnTo>
                    <a:pt x="48" y="103"/>
                  </a:lnTo>
                  <a:lnTo>
                    <a:pt x="48" y="100"/>
                  </a:lnTo>
                  <a:close/>
                  <a:moveTo>
                    <a:pt x="154" y="43"/>
                  </a:moveTo>
                  <a:lnTo>
                    <a:pt x="152" y="45"/>
                  </a:lnTo>
                  <a:lnTo>
                    <a:pt x="150" y="45"/>
                  </a:lnTo>
                  <a:lnTo>
                    <a:pt x="154" y="43"/>
                  </a:lnTo>
                  <a:close/>
                  <a:moveTo>
                    <a:pt x="138" y="36"/>
                  </a:moveTo>
                  <a:lnTo>
                    <a:pt x="145" y="38"/>
                  </a:lnTo>
                  <a:lnTo>
                    <a:pt x="147" y="41"/>
                  </a:lnTo>
                  <a:lnTo>
                    <a:pt x="143" y="38"/>
                  </a:lnTo>
                  <a:lnTo>
                    <a:pt x="140" y="38"/>
                  </a:lnTo>
                  <a:lnTo>
                    <a:pt x="138" y="36"/>
                  </a:lnTo>
                  <a:close/>
                  <a:moveTo>
                    <a:pt x="300" y="35"/>
                  </a:moveTo>
                  <a:lnTo>
                    <a:pt x="302" y="35"/>
                  </a:lnTo>
                  <a:lnTo>
                    <a:pt x="302" y="38"/>
                  </a:lnTo>
                  <a:lnTo>
                    <a:pt x="300" y="38"/>
                  </a:lnTo>
                  <a:lnTo>
                    <a:pt x="300" y="35"/>
                  </a:lnTo>
                  <a:close/>
                  <a:moveTo>
                    <a:pt x="113" y="41"/>
                  </a:moveTo>
                  <a:lnTo>
                    <a:pt x="113" y="43"/>
                  </a:lnTo>
                  <a:lnTo>
                    <a:pt x="109" y="40"/>
                  </a:lnTo>
                  <a:lnTo>
                    <a:pt x="113" y="35"/>
                  </a:lnTo>
                  <a:lnTo>
                    <a:pt x="114" y="36"/>
                  </a:lnTo>
                  <a:lnTo>
                    <a:pt x="113" y="41"/>
                  </a:lnTo>
                  <a:close/>
                  <a:moveTo>
                    <a:pt x="329" y="40"/>
                  </a:moveTo>
                  <a:lnTo>
                    <a:pt x="328" y="40"/>
                  </a:lnTo>
                  <a:lnTo>
                    <a:pt x="326" y="40"/>
                  </a:lnTo>
                  <a:lnTo>
                    <a:pt x="316" y="43"/>
                  </a:lnTo>
                  <a:lnTo>
                    <a:pt x="312" y="45"/>
                  </a:lnTo>
                  <a:lnTo>
                    <a:pt x="309" y="50"/>
                  </a:lnTo>
                  <a:lnTo>
                    <a:pt x="306" y="50"/>
                  </a:lnTo>
                  <a:lnTo>
                    <a:pt x="304" y="55"/>
                  </a:lnTo>
                  <a:lnTo>
                    <a:pt x="300" y="55"/>
                  </a:lnTo>
                  <a:lnTo>
                    <a:pt x="297" y="52"/>
                  </a:lnTo>
                  <a:lnTo>
                    <a:pt x="295" y="52"/>
                  </a:lnTo>
                  <a:lnTo>
                    <a:pt x="294" y="48"/>
                  </a:lnTo>
                  <a:lnTo>
                    <a:pt x="290" y="45"/>
                  </a:lnTo>
                  <a:lnTo>
                    <a:pt x="283" y="50"/>
                  </a:lnTo>
                  <a:lnTo>
                    <a:pt x="282" y="50"/>
                  </a:lnTo>
                  <a:lnTo>
                    <a:pt x="271" y="53"/>
                  </a:lnTo>
                  <a:lnTo>
                    <a:pt x="270" y="55"/>
                  </a:lnTo>
                  <a:lnTo>
                    <a:pt x="259" y="57"/>
                  </a:lnTo>
                  <a:lnTo>
                    <a:pt x="258" y="59"/>
                  </a:lnTo>
                  <a:lnTo>
                    <a:pt x="251" y="59"/>
                  </a:lnTo>
                  <a:lnTo>
                    <a:pt x="249" y="62"/>
                  </a:lnTo>
                  <a:lnTo>
                    <a:pt x="246" y="64"/>
                  </a:lnTo>
                  <a:lnTo>
                    <a:pt x="241" y="62"/>
                  </a:lnTo>
                  <a:lnTo>
                    <a:pt x="234" y="62"/>
                  </a:lnTo>
                  <a:lnTo>
                    <a:pt x="232" y="60"/>
                  </a:lnTo>
                  <a:lnTo>
                    <a:pt x="227" y="62"/>
                  </a:lnTo>
                  <a:lnTo>
                    <a:pt x="229" y="67"/>
                  </a:lnTo>
                  <a:lnTo>
                    <a:pt x="227" y="69"/>
                  </a:lnTo>
                  <a:lnTo>
                    <a:pt x="224" y="69"/>
                  </a:lnTo>
                  <a:lnTo>
                    <a:pt x="215" y="67"/>
                  </a:lnTo>
                  <a:lnTo>
                    <a:pt x="212" y="69"/>
                  </a:lnTo>
                  <a:lnTo>
                    <a:pt x="212" y="70"/>
                  </a:lnTo>
                  <a:lnTo>
                    <a:pt x="208" y="72"/>
                  </a:lnTo>
                  <a:lnTo>
                    <a:pt x="208" y="77"/>
                  </a:lnTo>
                  <a:lnTo>
                    <a:pt x="205" y="82"/>
                  </a:lnTo>
                  <a:lnTo>
                    <a:pt x="210" y="86"/>
                  </a:lnTo>
                  <a:lnTo>
                    <a:pt x="213" y="86"/>
                  </a:lnTo>
                  <a:lnTo>
                    <a:pt x="215" y="91"/>
                  </a:lnTo>
                  <a:lnTo>
                    <a:pt x="222" y="94"/>
                  </a:lnTo>
                  <a:lnTo>
                    <a:pt x="227" y="94"/>
                  </a:lnTo>
                  <a:lnTo>
                    <a:pt x="227" y="100"/>
                  </a:lnTo>
                  <a:lnTo>
                    <a:pt x="225" y="103"/>
                  </a:lnTo>
                  <a:lnTo>
                    <a:pt x="229" y="105"/>
                  </a:lnTo>
                  <a:lnTo>
                    <a:pt x="225" y="106"/>
                  </a:lnTo>
                  <a:lnTo>
                    <a:pt x="220" y="105"/>
                  </a:lnTo>
                  <a:lnTo>
                    <a:pt x="217" y="105"/>
                  </a:lnTo>
                  <a:lnTo>
                    <a:pt x="213" y="108"/>
                  </a:lnTo>
                  <a:lnTo>
                    <a:pt x="207" y="108"/>
                  </a:lnTo>
                  <a:lnTo>
                    <a:pt x="205" y="113"/>
                  </a:lnTo>
                  <a:lnTo>
                    <a:pt x="200" y="115"/>
                  </a:lnTo>
                  <a:lnTo>
                    <a:pt x="195" y="115"/>
                  </a:lnTo>
                  <a:lnTo>
                    <a:pt x="189" y="111"/>
                  </a:lnTo>
                  <a:lnTo>
                    <a:pt x="181" y="113"/>
                  </a:lnTo>
                  <a:lnTo>
                    <a:pt x="179" y="111"/>
                  </a:lnTo>
                  <a:lnTo>
                    <a:pt x="179" y="113"/>
                  </a:lnTo>
                  <a:lnTo>
                    <a:pt x="181" y="113"/>
                  </a:lnTo>
                  <a:lnTo>
                    <a:pt x="177" y="115"/>
                  </a:lnTo>
                  <a:lnTo>
                    <a:pt x="174" y="117"/>
                  </a:lnTo>
                  <a:lnTo>
                    <a:pt x="169" y="110"/>
                  </a:lnTo>
                  <a:lnTo>
                    <a:pt x="164" y="110"/>
                  </a:lnTo>
                  <a:lnTo>
                    <a:pt x="164" y="106"/>
                  </a:lnTo>
                  <a:lnTo>
                    <a:pt x="159" y="108"/>
                  </a:lnTo>
                  <a:lnTo>
                    <a:pt x="154" y="106"/>
                  </a:lnTo>
                  <a:lnTo>
                    <a:pt x="148" y="103"/>
                  </a:lnTo>
                  <a:lnTo>
                    <a:pt x="143" y="101"/>
                  </a:lnTo>
                  <a:lnTo>
                    <a:pt x="135" y="103"/>
                  </a:lnTo>
                  <a:lnTo>
                    <a:pt x="126" y="101"/>
                  </a:lnTo>
                  <a:lnTo>
                    <a:pt x="118" y="108"/>
                  </a:lnTo>
                  <a:lnTo>
                    <a:pt x="114" y="106"/>
                  </a:lnTo>
                  <a:lnTo>
                    <a:pt x="107" y="110"/>
                  </a:lnTo>
                  <a:lnTo>
                    <a:pt x="102" y="113"/>
                  </a:lnTo>
                  <a:lnTo>
                    <a:pt x="99" y="120"/>
                  </a:lnTo>
                  <a:lnTo>
                    <a:pt x="96" y="122"/>
                  </a:lnTo>
                  <a:lnTo>
                    <a:pt x="92" y="129"/>
                  </a:lnTo>
                  <a:lnTo>
                    <a:pt x="90" y="132"/>
                  </a:lnTo>
                  <a:lnTo>
                    <a:pt x="85" y="137"/>
                  </a:lnTo>
                  <a:lnTo>
                    <a:pt x="80" y="144"/>
                  </a:lnTo>
                  <a:lnTo>
                    <a:pt x="82" y="147"/>
                  </a:lnTo>
                  <a:lnTo>
                    <a:pt x="78" y="152"/>
                  </a:lnTo>
                  <a:lnTo>
                    <a:pt x="78" y="158"/>
                  </a:lnTo>
                  <a:lnTo>
                    <a:pt x="77" y="168"/>
                  </a:lnTo>
                  <a:lnTo>
                    <a:pt x="73" y="171"/>
                  </a:lnTo>
                  <a:lnTo>
                    <a:pt x="72" y="170"/>
                  </a:lnTo>
                  <a:lnTo>
                    <a:pt x="70" y="171"/>
                  </a:lnTo>
                  <a:lnTo>
                    <a:pt x="72" y="180"/>
                  </a:lnTo>
                  <a:lnTo>
                    <a:pt x="67" y="185"/>
                  </a:lnTo>
                  <a:lnTo>
                    <a:pt x="67" y="193"/>
                  </a:lnTo>
                  <a:lnTo>
                    <a:pt x="67" y="197"/>
                  </a:lnTo>
                  <a:lnTo>
                    <a:pt x="70" y="200"/>
                  </a:lnTo>
                  <a:lnTo>
                    <a:pt x="70" y="207"/>
                  </a:lnTo>
                  <a:lnTo>
                    <a:pt x="75" y="216"/>
                  </a:lnTo>
                  <a:lnTo>
                    <a:pt x="72" y="222"/>
                  </a:lnTo>
                  <a:lnTo>
                    <a:pt x="72" y="228"/>
                  </a:lnTo>
                  <a:lnTo>
                    <a:pt x="73" y="236"/>
                  </a:lnTo>
                  <a:lnTo>
                    <a:pt x="73" y="240"/>
                  </a:lnTo>
                  <a:lnTo>
                    <a:pt x="77" y="246"/>
                  </a:lnTo>
                  <a:lnTo>
                    <a:pt x="78" y="248"/>
                  </a:lnTo>
                  <a:lnTo>
                    <a:pt x="82" y="257"/>
                  </a:lnTo>
                  <a:lnTo>
                    <a:pt x="87" y="258"/>
                  </a:lnTo>
                  <a:lnTo>
                    <a:pt x="89" y="265"/>
                  </a:lnTo>
                  <a:lnTo>
                    <a:pt x="92" y="265"/>
                  </a:lnTo>
                  <a:lnTo>
                    <a:pt x="96" y="270"/>
                  </a:lnTo>
                  <a:lnTo>
                    <a:pt x="99" y="274"/>
                  </a:lnTo>
                  <a:lnTo>
                    <a:pt x="102" y="279"/>
                  </a:lnTo>
                  <a:lnTo>
                    <a:pt x="107" y="279"/>
                  </a:lnTo>
                  <a:lnTo>
                    <a:pt x="111" y="275"/>
                  </a:lnTo>
                  <a:lnTo>
                    <a:pt x="114" y="274"/>
                  </a:lnTo>
                  <a:lnTo>
                    <a:pt x="121" y="282"/>
                  </a:lnTo>
                  <a:lnTo>
                    <a:pt x="126" y="282"/>
                  </a:lnTo>
                  <a:lnTo>
                    <a:pt x="130" y="289"/>
                  </a:lnTo>
                  <a:lnTo>
                    <a:pt x="137" y="298"/>
                  </a:lnTo>
                  <a:lnTo>
                    <a:pt x="137" y="303"/>
                  </a:lnTo>
                  <a:lnTo>
                    <a:pt x="135" y="308"/>
                  </a:lnTo>
                  <a:lnTo>
                    <a:pt x="135" y="315"/>
                  </a:lnTo>
                  <a:lnTo>
                    <a:pt x="142" y="320"/>
                  </a:lnTo>
                  <a:lnTo>
                    <a:pt x="143" y="327"/>
                  </a:lnTo>
                  <a:lnTo>
                    <a:pt x="147" y="334"/>
                  </a:lnTo>
                  <a:lnTo>
                    <a:pt x="148" y="334"/>
                  </a:lnTo>
                  <a:lnTo>
                    <a:pt x="154" y="330"/>
                  </a:lnTo>
                  <a:lnTo>
                    <a:pt x="155" y="328"/>
                  </a:lnTo>
                  <a:lnTo>
                    <a:pt x="155" y="330"/>
                  </a:lnTo>
                  <a:lnTo>
                    <a:pt x="157" y="330"/>
                  </a:lnTo>
                  <a:lnTo>
                    <a:pt x="155" y="330"/>
                  </a:lnTo>
                  <a:lnTo>
                    <a:pt x="157" y="327"/>
                  </a:lnTo>
                  <a:lnTo>
                    <a:pt x="160" y="328"/>
                  </a:lnTo>
                  <a:lnTo>
                    <a:pt x="162" y="325"/>
                  </a:lnTo>
                  <a:lnTo>
                    <a:pt x="167" y="327"/>
                  </a:lnTo>
                  <a:lnTo>
                    <a:pt x="167" y="330"/>
                  </a:lnTo>
                  <a:lnTo>
                    <a:pt x="169" y="334"/>
                  </a:lnTo>
                  <a:lnTo>
                    <a:pt x="179" y="334"/>
                  </a:lnTo>
                  <a:lnTo>
                    <a:pt x="183" y="332"/>
                  </a:lnTo>
                  <a:lnTo>
                    <a:pt x="188" y="334"/>
                  </a:lnTo>
                  <a:lnTo>
                    <a:pt x="189" y="334"/>
                  </a:lnTo>
                  <a:lnTo>
                    <a:pt x="189" y="335"/>
                  </a:lnTo>
                  <a:lnTo>
                    <a:pt x="198" y="335"/>
                  </a:lnTo>
                  <a:lnTo>
                    <a:pt x="201" y="330"/>
                  </a:lnTo>
                  <a:lnTo>
                    <a:pt x="205" y="327"/>
                  </a:lnTo>
                  <a:lnTo>
                    <a:pt x="205" y="325"/>
                  </a:lnTo>
                  <a:lnTo>
                    <a:pt x="207" y="322"/>
                  </a:lnTo>
                  <a:lnTo>
                    <a:pt x="208" y="316"/>
                  </a:lnTo>
                  <a:lnTo>
                    <a:pt x="210" y="315"/>
                  </a:lnTo>
                  <a:lnTo>
                    <a:pt x="212" y="308"/>
                  </a:lnTo>
                  <a:lnTo>
                    <a:pt x="218" y="303"/>
                  </a:lnTo>
                  <a:lnTo>
                    <a:pt x="220" y="298"/>
                  </a:lnTo>
                  <a:lnTo>
                    <a:pt x="225" y="291"/>
                  </a:lnTo>
                  <a:lnTo>
                    <a:pt x="232" y="287"/>
                  </a:lnTo>
                  <a:lnTo>
                    <a:pt x="234" y="284"/>
                  </a:lnTo>
                  <a:lnTo>
                    <a:pt x="239" y="281"/>
                  </a:lnTo>
                  <a:lnTo>
                    <a:pt x="242" y="272"/>
                  </a:lnTo>
                  <a:lnTo>
                    <a:pt x="251" y="269"/>
                  </a:lnTo>
                  <a:lnTo>
                    <a:pt x="256" y="267"/>
                  </a:lnTo>
                  <a:lnTo>
                    <a:pt x="258" y="265"/>
                  </a:lnTo>
                  <a:lnTo>
                    <a:pt x="256" y="263"/>
                  </a:lnTo>
                  <a:lnTo>
                    <a:pt x="258" y="262"/>
                  </a:lnTo>
                  <a:lnTo>
                    <a:pt x="261" y="260"/>
                  </a:lnTo>
                  <a:lnTo>
                    <a:pt x="265" y="260"/>
                  </a:lnTo>
                  <a:lnTo>
                    <a:pt x="265" y="262"/>
                  </a:lnTo>
                  <a:lnTo>
                    <a:pt x="266" y="267"/>
                  </a:lnTo>
                  <a:lnTo>
                    <a:pt x="265" y="272"/>
                  </a:lnTo>
                  <a:lnTo>
                    <a:pt x="270" y="274"/>
                  </a:lnTo>
                  <a:lnTo>
                    <a:pt x="271" y="277"/>
                  </a:lnTo>
                  <a:lnTo>
                    <a:pt x="278" y="281"/>
                  </a:lnTo>
                  <a:lnTo>
                    <a:pt x="283" y="279"/>
                  </a:lnTo>
                  <a:lnTo>
                    <a:pt x="294" y="281"/>
                  </a:lnTo>
                  <a:lnTo>
                    <a:pt x="295" y="282"/>
                  </a:lnTo>
                  <a:lnTo>
                    <a:pt x="299" y="282"/>
                  </a:lnTo>
                  <a:lnTo>
                    <a:pt x="306" y="275"/>
                  </a:lnTo>
                  <a:lnTo>
                    <a:pt x="314" y="277"/>
                  </a:lnTo>
                  <a:lnTo>
                    <a:pt x="317" y="279"/>
                  </a:lnTo>
                  <a:lnTo>
                    <a:pt x="319" y="277"/>
                  </a:lnTo>
                  <a:lnTo>
                    <a:pt x="323" y="272"/>
                  </a:lnTo>
                  <a:lnTo>
                    <a:pt x="323" y="267"/>
                  </a:lnTo>
                  <a:lnTo>
                    <a:pt x="326" y="263"/>
                  </a:lnTo>
                  <a:lnTo>
                    <a:pt x="324" y="262"/>
                  </a:lnTo>
                  <a:lnTo>
                    <a:pt x="328" y="262"/>
                  </a:lnTo>
                  <a:lnTo>
                    <a:pt x="329" y="258"/>
                  </a:lnTo>
                  <a:lnTo>
                    <a:pt x="340" y="258"/>
                  </a:lnTo>
                  <a:lnTo>
                    <a:pt x="343" y="258"/>
                  </a:lnTo>
                  <a:lnTo>
                    <a:pt x="346" y="257"/>
                  </a:lnTo>
                  <a:lnTo>
                    <a:pt x="355" y="257"/>
                  </a:lnTo>
                  <a:lnTo>
                    <a:pt x="360" y="255"/>
                  </a:lnTo>
                  <a:lnTo>
                    <a:pt x="367" y="255"/>
                  </a:lnTo>
                  <a:lnTo>
                    <a:pt x="369" y="258"/>
                  </a:lnTo>
                  <a:lnTo>
                    <a:pt x="374" y="258"/>
                  </a:lnTo>
                  <a:lnTo>
                    <a:pt x="379" y="255"/>
                  </a:lnTo>
                  <a:lnTo>
                    <a:pt x="387" y="260"/>
                  </a:lnTo>
                  <a:lnTo>
                    <a:pt x="393" y="262"/>
                  </a:lnTo>
                  <a:lnTo>
                    <a:pt x="399" y="257"/>
                  </a:lnTo>
                  <a:lnTo>
                    <a:pt x="410" y="257"/>
                  </a:lnTo>
                  <a:lnTo>
                    <a:pt x="420" y="253"/>
                  </a:lnTo>
                  <a:lnTo>
                    <a:pt x="420" y="252"/>
                  </a:lnTo>
                  <a:lnTo>
                    <a:pt x="413" y="252"/>
                  </a:lnTo>
                  <a:lnTo>
                    <a:pt x="410" y="248"/>
                  </a:lnTo>
                  <a:lnTo>
                    <a:pt x="399" y="248"/>
                  </a:lnTo>
                  <a:lnTo>
                    <a:pt x="393" y="243"/>
                  </a:lnTo>
                  <a:lnTo>
                    <a:pt x="399" y="245"/>
                  </a:lnTo>
                  <a:lnTo>
                    <a:pt x="403" y="240"/>
                  </a:lnTo>
                  <a:lnTo>
                    <a:pt x="406" y="240"/>
                  </a:lnTo>
                  <a:lnTo>
                    <a:pt x="410" y="238"/>
                  </a:lnTo>
                  <a:lnTo>
                    <a:pt x="411" y="240"/>
                  </a:lnTo>
                  <a:lnTo>
                    <a:pt x="413" y="238"/>
                  </a:lnTo>
                  <a:lnTo>
                    <a:pt x="415" y="238"/>
                  </a:lnTo>
                  <a:lnTo>
                    <a:pt x="420" y="238"/>
                  </a:lnTo>
                  <a:lnTo>
                    <a:pt x="418" y="240"/>
                  </a:lnTo>
                  <a:lnTo>
                    <a:pt x="420" y="241"/>
                  </a:lnTo>
                  <a:lnTo>
                    <a:pt x="422" y="238"/>
                  </a:lnTo>
                  <a:lnTo>
                    <a:pt x="423" y="238"/>
                  </a:lnTo>
                  <a:lnTo>
                    <a:pt x="430" y="234"/>
                  </a:lnTo>
                  <a:lnTo>
                    <a:pt x="432" y="231"/>
                  </a:lnTo>
                  <a:lnTo>
                    <a:pt x="435" y="233"/>
                  </a:lnTo>
                  <a:lnTo>
                    <a:pt x="445" y="233"/>
                  </a:lnTo>
                  <a:lnTo>
                    <a:pt x="449" y="231"/>
                  </a:lnTo>
                  <a:lnTo>
                    <a:pt x="456" y="233"/>
                  </a:lnTo>
                  <a:lnTo>
                    <a:pt x="463" y="236"/>
                  </a:lnTo>
                  <a:lnTo>
                    <a:pt x="471" y="241"/>
                  </a:lnTo>
                  <a:lnTo>
                    <a:pt x="475" y="241"/>
                  </a:lnTo>
                  <a:lnTo>
                    <a:pt x="471" y="245"/>
                  </a:lnTo>
                  <a:lnTo>
                    <a:pt x="473" y="243"/>
                  </a:lnTo>
                  <a:lnTo>
                    <a:pt x="476" y="250"/>
                  </a:lnTo>
                  <a:lnTo>
                    <a:pt x="478" y="248"/>
                  </a:lnTo>
                  <a:lnTo>
                    <a:pt x="476" y="253"/>
                  </a:lnTo>
                  <a:lnTo>
                    <a:pt x="478" y="253"/>
                  </a:lnTo>
                  <a:lnTo>
                    <a:pt x="480" y="255"/>
                  </a:lnTo>
                  <a:lnTo>
                    <a:pt x="478" y="260"/>
                  </a:lnTo>
                  <a:lnTo>
                    <a:pt x="478" y="263"/>
                  </a:lnTo>
                  <a:lnTo>
                    <a:pt x="473" y="269"/>
                  </a:lnTo>
                  <a:lnTo>
                    <a:pt x="471" y="275"/>
                  </a:lnTo>
                  <a:lnTo>
                    <a:pt x="473" y="279"/>
                  </a:lnTo>
                  <a:lnTo>
                    <a:pt x="471" y="281"/>
                  </a:lnTo>
                  <a:lnTo>
                    <a:pt x="469" y="284"/>
                  </a:lnTo>
                  <a:lnTo>
                    <a:pt x="466" y="287"/>
                  </a:lnTo>
                  <a:lnTo>
                    <a:pt x="463" y="289"/>
                  </a:lnTo>
                  <a:lnTo>
                    <a:pt x="457" y="289"/>
                  </a:lnTo>
                  <a:lnTo>
                    <a:pt x="456" y="286"/>
                  </a:lnTo>
                  <a:lnTo>
                    <a:pt x="456" y="284"/>
                  </a:lnTo>
                  <a:lnTo>
                    <a:pt x="451" y="282"/>
                  </a:lnTo>
                  <a:lnTo>
                    <a:pt x="447" y="279"/>
                  </a:lnTo>
                  <a:lnTo>
                    <a:pt x="442" y="277"/>
                  </a:lnTo>
                  <a:lnTo>
                    <a:pt x="442" y="272"/>
                  </a:lnTo>
                  <a:lnTo>
                    <a:pt x="444" y="272"/>
                  </a:lnTo>
                  <a:lnTo>
                    <a:pt x="444" y="270"/>
                  </a:lnTo>
                  <a:lnTo>
                    <a:pt x="437" y="263"/>
                  </a:lnTo>
                  <a:lnTo>
                    <a:pt x="432" y="267"/>
                  </a:lnTo>
                  <a:lnTo>
                    <a:pt x="434" y="269"/>
                  </a:lnTo>
                  <a:lnTo>
                    <a:pt x="432" y="270"/>
                  </a:lnTo>
                  <a:lnTo>
                    <a:pt x="435" y="270"/>
                  </a:lnTo>
                  <a:lnTo>
                    <a:pt x="430" y="272"/>
                  </a:lnTo>
                  <a:lnTo>
                    <a:pt x="430" y="269"/>
                  </a:lnTo>
                  <a:lnTo>
                    <a:pt x="428" y="270"/>
                  </a:lnTo>
                  <a:lnTo>
                    <a:pt x="430" y="272"/>
                  </a:lnTo>
                  <a:lnTo>
                    <a:pt x="427" y="270"/>
                  </a:lnTo>
                  <a:lnTo>
                    <a:pt x="425" y="272"/>
                  </a:lnTo>
                  <a:lnTo>
                    <a:pt x="423" y="272"/>
                  </a:lnTo>
                  <a:lnTo>
                    <a:pt x="415" y="274"/>
                  </a:lnTo>
                  <a:lnTo>
                    <a:pt x="413" y="275"/>
                  </a:lnTo>
                  <a:lnTo>
                    <a:pt x="410" y="274"/>
                  </a:lnTo>
                  <a:lnTo>
                    <a:pt x="401" y="275"/>
                  </a:lnTo>
                  <a:lnTo>
                    <a:pt x="399" y="281"/>
                  </a:lnTo>
                  <a:lnTo>
                    <a:pt x="401" y="284"/>
                  </a:lnTo>
                  <a:lnTo>
                    <a:pt x="398" y="289"/>
                  </a:lnTo>
                  <a:lnTo>
                    <a:pt x="393" y="294"/>
                  </a:lnTo>
                  <a:lnTo>
                    <a:pt x="391" y="299"/>
                  </a:lnTo>
                  <a:lnTo>
                    <a:pt x="386" y="299"/>
                  </a:lnTo>
                  <a:lnTo>
                    <a:pt x="384" y="303"/>
                  </a:lnTo>
                  <a:lnTo>
                    <a:pt x="382" y="304"/>
                  </a:lnTo>
                  <a:lnTo>
                    <a:pt x="381" y="311"/>
                  </a:lnTo>
                  <a:lnTo>
                    <a:pt x="372" y="315"/>
                  </a:lnTo>
                  <a:lnTo>
                    <a:pt x="372" y="318"/>
                  </a:lnTo>
                  <a:lnTo>
                    <a:pt x="374" y="318"/>
                  </a:lnTo>
                  <a:lnTo>
                    <a:pt x="372" y="320"/>
                  </a:lnTo>
                  <a:lnTo>
                    <a:pt x="365" y="325"/>
                  </a:lnTo>
                  <a:lnTo>
                    <a:pt x="362" y="332"/>
                  </a:lnTo>
                  <a:lnTo>
                    <a:pt x="355" y="335"/>
                  </a:lnTo>
                  <a:lnTo>
                    <a:pt x="352" y="342"/>
                  </a:lnTo>
                  <a:lnTo>
                    <a:pt x="348" y="345"/>
                  </a:lnTo>
                  <a:lnTo>
                    <a:pt x="341" y="347"/>
                  </a:lnTo>
                  <a:lnTo>
                    <a:pt x="335" y="352"/>
                  </a:lnTo>
                  <a:lnTo>
                    <a:pt x="331" y="356"/>
                  </a:lnTo>
                  <a:lnTo>
                    <a:pt x="328" y="357"/>
                  </a:lnTo>
                  <a:lnTo>
                    <a:pt x="324" y="356"/>
                  </a:lnTo>
                  <a:lnTo>
                    <a:pt x="316" y="357"/>
                  </a:lnTo>
                  <a:lnTo>
                    <a:pt x="309" y="357"/>
                  </a:lnTo>
                  <a:lnTo>
                    <a:pt x="304" y="361"/>
                  </a:lnTo>
                  <a:lnTo>
                    <a:pt x="300" y="364"/>
                  </a:lnTo>
                  <a:lnTo>
                    <a:pt x="297" y="364"/>
                  </a:lnTo>
                  <a:lnTo>
                    <a:pt x="294" y="368"/>
                  </a:lnTo>
                  <a:lnTo>
                    <a:pt x="292" y="364"/>
                  </a:lnTo>
                  <a:lnTo>
                    <a:pt x="292" y="366"/>
                  </a:lnTo>
                  <a:lnTo>
                    <a:pt x="288" y="364"/>
                  </a:lnTo>
                  <a:lnTo>
                    <a:pt x="288" y="368"/>
                  </a:lnTo>
                  <a:lnTo>
                    <a:pt x="290" y="368"/>
                  </a:lnTo>
                  <a:lnTo>
                    <a:pt x="292" y="368"/>
                  </a:lnTo>
                  <a:lnTo>
                    <a:pt x="288" y="368"/>
                  </a:lnTo>
                  <a:lnTo>
                    <a:pt x="287" y="366"/>
                  </a:lnTo>
                  <a:lnTo>
                    <a:pt x="282" y="371"/>
                  </a:lnTo>
                  <a:lnTo>
                    <a:pt x="282" y="374"/>
                  </a:lnTo>
                  <a:lnTo>
                    <a:pt x="278" y="380"/>
                  </a:lnTo>
                  <a:lnTo>
                    <a:pt x="276" y="385"/>
                  </a:lnTo>
                  <a:lnTo>
                    <a:pt x="275" y="390"/>
                  </a:lnTo>
                  <a:lnTo>
                    <a:pt x="266" y="397"/>
                  </a:lnTo>
                  <a:lnTo>
                    <a:pt x="261" y="398"/>
                  </a:lnTo>
                  <a:lnTo>
                    <a:pt x="253" y="398"/>
                  </a:lnTo>
                  <a:lnTo>
                    <a:pt x="251" y="397"/>
                  </a:lnTo>
                  <a:lnTo>
                    <a:pt x="253" y="398"/>
                  </a:lnTo>
                  <a:lnTo>
                    <a:pt x="253" y="397"/>
                  </a:lnTo>
                  <a:lnTo>
                    <a:pt x="247" y="392"/>
                  </a:lnTo>
                  <a:lnTo>
                    <a:pt x="246" y="392"/>
                  </a:lnTo>
                  <a:lnTo>
                    <a:pt x="244" y="388"/>
                  </a:lnTo>
                  <a:lnTo>
                    <a:pt x="241" y="388"/>
                  </a:lnTo>
                  <a:lnTo>
                    <a:pt x="242" y="386"/>
                  </a:lnTo>
                  <a:lnTo>
                    <a:pt x="239" y="386"/>
                  </a:lnTo>
                  <a:lnTo>
                    <a:pt x="242" y="383"/>
                  </a:lnTo>
                  <a:lnTo>
                    <a:pt x="239" y="380"/>
                  </a:lnTo>
                  <a:lnTo>
                    <a:pt x="236" y="381"/>
                  </a:lnTo>
                  <a:lnTo>
                    <a:pt x="234" y="380"/>
                  </a:lnTo>
                  <a:lnTo>
                    <a:pt x="230" y="380"/>
                  </a:lnTo>
                  <a:lnTo>
                    <a:pt x="224" y="374"/>
                  </a:lnTo>
                  <a:lnTo>
                    <a:pt x="224" y="378"/>
                  </a:lnTo>
                  <a:lnTo>
                    <a:pt x="222" y="380"/>
                  </a:lnTo>
                  <a:lnTo>
                    <a:pt x="220" y="386"/>
                  </a:lnTo>
                  <a:lnTo>
                    <a:pt x="225" y="386"/>
                  </a:lnTo>
                  <a:lnTo>
                    <a:pt x="227" y="385"/>
                  </a:lnTo>
                  <a:lnTo>
                    <a:pt x="227" y="386"/>
                  </a:lnTo>
                  <a:lnTo>
                    <a:pt x="229" y="388"/>
                  </a:lnTo>
                  <a:lnTo>
                    <a:pt x="225" y="388"/>
                  </a:lnTo>
                  <a:lnTo>
                    <a:pt x="225" y="390"/>
                  </a:lnTo>
                  <a:lnTo>
                    <a:pt x="227" y="392"/>
                  </a:lnTo>
                  <a:lnTo>
                    <a:pt x="225" y="392"/>
                  </a:lnTo>
                  <a:lnTo>
                    <a:pt x="224" y="395"/>
                  </a:lnTo>
                  <a:lnTo>
                    <a:pt x="227" y="397"/>
                  </a:lnTo>
                  <a:lnTo>
                    <a:pt x="227" y="404"/>
                  </a:lnTo>
                  <a:lnTo>
                    <a:pt x="230" y="400"/>
                  </a:lnTo>
                  <a:lnTo>
                    <a:pt x="230" y="393"/>
                  </a:lnTo>
                  <a:lnTo>
                    <a:pt x="234" y="392"/>
                  </a:lnTo>
                  <a:lnTo>
                    <a:pt x="236" y="398"/>
                  </a:lnTo>
                  <a:lnTo>
                    <a:pt x="239" y="404"/>
                  </a:lnTo>
                  <a:lnTo>
                    <a:pt x="244" y="405"/>
                  </a:lnTo>
                  <a:lnTo>
                    <a:pt x="242" y="407"/>
                  </a:lnTo>
                  <a:lnTo>
                    <a:pt x="244" y="405"/>
                  </a:lnTo>
                  <a:lnTo>
                    <a:pt x="244" y="409"/>
                  </a:lnTo>
                  <a:lnTo>
                    <a:pt x="247" y="410"/>
                  </a:lnTo>
                  <a:lnTo>
                    <a:pt x="249" y="409"/>
                  </a:lnTo>
                  <a:lnTo>
                    <a:pt x="249" y="410"/>
                  </a:lnTo>
                  <a:lnTo>
                    <a:pt x="249" y="409"/>
                  </a:lnTo>
                  <a:lnTo>
                    <a:pt x="251" y="419"/>
                  </a:lnTo>
                  <a:lnTo>
                    <a:pt x="251" y="424"/>
                  </a:lnTo>
                  <a:lnTo>
                    <a:pt x="259" y="426"/>
                  </a:lnTo>
                  <a:lnTo>
                    <a:pt x="266" y="426"/>
                  </a:lnTo>
                  <a:lnTo>
                    <a:pt x="266" y="424"/>
                  </a:lnTo>
                  <a:lnTo>
                    <a:pt x="271" y="427"/>
                  </a:lnTo>
                  <a:lnTo>
                    <a:pt x="273" y="429"/>
                  </a:lnTo>
                  <a:lnTo>
                    <a:pt x="278" y="434"/>
                  </a:lnTo>
                  <a:lnTo>
                    <a:pt x="280" y="438"/>
                  </a:lnTo>
                  <a:lnTo>
                    <a:pt x="283" y="438"/>
                  </a:lnTo>
                  <a:lnTo>
                    <a:pt x="287" y="445"/>
                  </a:lnTo>
                  <a:lnTo>
                    <a:pt x="290" y="451"/>
                  </a:lnTo>
                  <a:lnTo>
                    <a:pt x="294" y="455"/>
                  </a:lnTo>
                  <a:lnTo>
                    <a:pt x="295" y="458"/>
                  </a:lnTo>
                  <a:lnTo>
                    <a:pt x="300" y="467"/>
                  </a:lnTo>
                  <a:lnTo>
                    <a:pt x="304" y="475"/>
                  </a:lnTo>
                  <a:lnTo>
                    <a:pt x="306" y="477"/>
                  </a:lnTo>
                  <a:lnTo>
                    <a:pt x="306" y="479"/>
                  </a:lnTo>
                  <a:lnTo>
                    <a:pt x="309" y="482"/>
                  </a:lnTo>
                  <a:lnTo>
                    <a:pt x="309" y="484"/>
                  </a:lnTo>
                  <a:lnTo>
                    <a:pt x="306" y="484"/>
                  </a:lnTo>
                  <a:lnTo>
                    <a:pt x="306" y="489"/>
                  </a:lnTo>
                  <a:lnTo>
                    <a:pt x="312" y="492"/>
                  </a:lnTo>
                  <a:lnTo>
                    <a:pt x="316" y="497"/>
                  </a:lnTo>
                  <a:lnTo>
                    <a:pt x="321" y="497"/>
                  </a:lnTo>
                  <a:lnTo>
                    <a:pt x="324" y="501"/>
                  </a:lnTo>
                  <a:lnTo>
                    <a:pt x="328" y="503"/>
                  </a:lnTo>
                  <a:lnTo>
                    <a:pt x="328" y="504"/>
                  </a:lnTo>
                  <a:lnTo>
                    <a:pt x="328" y="508"/>
                  </a:lnTo>
                  <a:lnTo>
                    <a:pt x="329" y="511"/>
                  </a:lnTo>
                  <a:lnTo>
                    <a:pt x="335" y="508"/>
                  </a:lnTo>
                  <a:lnTo>
                    <a:pt x="343" y="513"/>
                  </a:lnTo>
                  <a:lnTo>
                    <a:pt x="341" y="518"/>
                  </a:lnTo>
                  <a:lnTo>
                    <a:pt x="335" y="527"/>
                  </a:lnTo>
                  <a:lnTo>
                    <a:pt x="338" y="528"/>
                  </a:lnTo>
                  <a:lnTo>
                    <a:pt x="345" y="533"/>
                  </a:lnTo>
                  <a:lnTo>
                    <a:pt x="350" y="540"/>
                  </a:lnTo>
                  <a:lnTo>
                    <a:pt x="355" y="538"/>
                  </a:lnTo>
                  <a:lnTo>
                    <a:pt x="358" y="542"/>
                  </a:lnTo>
                  <a:lnTo>
                    <a:pt x="362" y="540"/>
                  </a:lnTo>
                  <a:lnTo>
                    <a:pt x="360" y="542"/>
                  </a:lnTo>
                  <a:lnTo>
                    <a:pt x="364" y="545"/>
                  </a:lnTo>
                  <a:lnTo>
                    <a:pt x="357" y="545"/>
                  </a:lnTo>
                  <a:lnTo>
                    <a:pt x="355" y="557"/>
                  </a:lnTo>
                  <a:lnTo>
                    <a:pt x="353" y="552"/>
                  </a:lnTo>
                  <a:lnTo>
                    <a:pt x="350" y="554"/>
                  </a:lnTo>
                  <a:lnTo>
                    <a:pt x="350" y="552"/>
                  </a:lnTo>
                  <a:lnTo>
                    <a:pt x="346" y="554"/>
                  </a:lnTo>
                  <a:lnTo>
                    <a:pt x="348" y="550"/>
                  </a:lnTo>
                  <a:lnTo>
                    <a:pt x="343" y="550"/>
                  </a:lnTo>
                  <a:lnTo>
                    <a:pt x="341" y="556"/>
                  </a:lnTo>
                  <a:lnTo>
                    <a:pt x="340" y="554"/>
                  </a:lnTo>
                  <a:lnTo>
                    <a:pt x="341" y="552"/>
                  </a:lnTo>
                  <a:lnTo>
                    <a:pt x="340" y="550"/>
                  </a:lnTo>
                  <a:lnTo>
                    <a:pt x="343" y="544"/>
                  </a:lnTo>
                  <a:lnTo>
                    <a:pt x="340" y="540"/>
                  </a:lnTo>
                  <a:lnTo>
                    <a:pt x="336" y="540"/>
                  </a:lnTo>
                  <a:lnTo>
                    <a:pt x="329" y="533"/>
                  </a:lnTo>
                  <a:lnTo>
                    <a:pt x="328" y="525"/>
                  </a:lnTo>
                  <a:lnTo>
                    <a:pt x="324" y="523"/>
                  </a:lnTo>
                  <a:lnTo>
                    <a:pt x="317" y="523"/>
                  </a:lnTo>
                  <a:lnTo>
                    <a:pt x="312" y="516"/>
                  </a:lnTo>
                  <a:lnTo>
                    <a:pt x="304" y="518"/>
                  </a:lnTo>
                  <a:lnTo>
                    <a:pt x="295" y="521"/>
                  </a:lnTo>
                  <a:lnTo>
                    <a:pt x="288" y="518"/>
                  </a:lnTo>
                  <a:lnTo>
                    <a:pt x="285" y="520"/>
                  </a:lnTo>
                  <a:lnTo>
                    <a:pt x="278" y="516"/>
                  </a:lnTo>
                  <a:lnTo>
                    <a:pt x="276" y="515"/>
                  </a:lnTo>
                  <a:lnTo>
                    <a:pt x="270" y="513"/>
                  </a:lnTo>
                  <a:lnTo>
                    <a:pt x="266" y="509"/>
                  </a:lnTo>
                  <a:lnTo>
                    <a:pt x="268" y="508"/>
                  </a:lnTo>
                  <a:lnTo>
                    <a:pt x="265" y="504"/>
                  </a:lnTo>
                  <a:lnTo>
                    <a:pt x="271" y="499"/>
                  </a:lnTo>
                  <a:lnTo>
                    <a:pt x="271" y="494"/>
                  </a:lnTo>
                  <a:lnTo>
                    <a:pt x="275" y="494"/>
                  </a:lnTo>
                  <a:lnTo>
                    <a:pt x="276" y="487"/>
                  </a:lnTo>
                  <a:lnTo>
                    <a:pt x="280" y="484"/>
                  </a:lnTo>
                  <a:lnTo>
                    <a:pt x="278" y="477"/>
                  </a:lnTo>
                  <a:lnTo>
                    <a:pt x="273" y="474"/>
                  </a:lnTo>
                  <a:lnTo>
                    <a:pt x="270" y="467"/>
                  </a:lnTo>
                  <a:lnTo>
                    <a:pt x="263" y="468"/>
                  </a:lnTo>
                  <a:lnTo>
                    <a:pt x="259" y="462"/>
                  </a:lnTo>
                  <a:lnTo>
                    <a:pt x="253" y="462"/>
                  </a:lnTo>
                  <a:lnTo>
                    <a:pt x="247" y="456"/>
                  </a:lnTo>
                  <a:lnTo>
                    <a:pt x="246" y="458"/>
                  </a:lnTo>
                  <a:lnTo>
                    <a:pt x="244" y="455"/>
                  </a:lnTo>
                  <a:lnTo>
                    <a:pt x="239" y="451"/>
                  </a:lnTo>
                  <a:lnTo>
                    <a:pt x="232" y="451"/>
                  </a:lnTo>
                  <a:lnTo>
                    <a:pt x="224" y="450"/>
                  </a:lnTo>
                  <a:lnTo>
                    <a:pt x="218" y="448"/>
                  </a:lnTo>
                  <a:lnTo>
                    <a:pt x="213" y="446"/>
                  </a:lnTo>
                  <a:lnTo>
                    <a:pt x="208" y="448"/>
                  </a:lnTo>
                  <a:lnTo>
                    <a:pt x="205" y="446"/>
                  </a:lnTo>
                  <a:lnTo>
                    <a:pt x="203" y="441"/>
                  </a:lnTo>
                  <a:lnTo>
                    <a:pt x="196" y="434"/>
                  </a:lnTo>
                  <a:lnTo>
                    <a:pt x="189" y="436"/>
                  </a:lnTo>
                  <a:lnTo>
                    <a:pt x="183" y="431"/>
                  </a:lnTo>
                  <a:lnTo>
                    <a:pt x="179" y="431"/>
                  </a:lnTo>
                  <a:lnTo>
                    <a:pt x="171" y="429"/>
                  </a:lnTo>
                  <a:lnTo>
                    <a:pt x="169" y="429"/>
                  </a:lnTo>
                  <a:lnTo>
                    <a:pt x="164" y="429"/>
                  </a:lnTo>
                  <a:lnTo>
                    <a:pt x="155" y="433"/>
                  </a:lnTo>
                  <a:lnTo>
                    <a:pt x="152" y="429"/>
                  </a:lnTo>
                  <a:lnTo>
                    <a:pt x="148" y="427"/>
                  </a:lnTo>
                  <a:lnTo>
                    <a:pt x="145" y="424"/>
                  </a:lnTo>
                  <a:lnTo>
                    <a:pt x="140" y="422"/>
                  </a:lnTo>
                  <a:lnTo>
                    <a:pt x="138" y="419"/>
                  </a:lnTo>
                  <a:lnTo>
                    <a:pt x="137" y="419"/>
                  </a:lnTo>
                  <a:lnTo>
                    <a:pt x="137" y="417"/>
                  </a:lnTo>
                  <a:lnTo>
                    <a:pt x="133" y="414"/>
                  </a:lnTo>
                  <a:lnTo>
                    <a:pt x="131" y="410"/>
                  </a:lnTo>
                  <a:lnTo>
                    <a:pt x="128" y="409"/>
                  </a:lnTo>
                  <a:lnTo>
                    <a:pt x="123" y="404"/>
                  </a:lnTo>
                  <a:lnTo>
                    <a:pt x="121" y="397"/>
                  </a:lnTo>
                  <a:lnTo>
                    <a:pt x="114" y="390"/>
                  </a:lnTo>
                  <a:lnTo>
                    <a:pt x="113" y="390"/>
                  </a:lnTo>
                  <a:lnTo>
                    <a:pt x="111" y="397"/>
                  </a:lnTo>
                  <a:lnTo>
                    <a:pt x="109" y="402"/>
                  </a:lnTo>
                  <a:lnTo>
                    <a:pt x="109" y="407"/>
                  </a:lnTo>
                  <a:lnTo>
                    <a:pt x="106" y="409"/>
                  </a:lnTo>
                  <a:lnTo>
                    <a:pt x="101" y="409"/>
                  </a:lnTo>
                  <a:lnTo>
                    <a:pt x="96" y="405"/>
                  </a:lnTo>
                  <a:lnTo>
                    <a:pt x="92" y="407"/>
                  </a:lnTo>
                  <a:lnTo>
                    <a:pt x="85" y="407"/>
                  </a:lnTo>
                  <a:lnTo>
                    <a:pt x="80" y="405"/>
                  </a:lnTo>
                  <a:lnTo>
                    <a:pt x="78" y="402"/>
                  </a:lnTo>
                  <a:lnTo>
                    <a:pt x="72" y="402"/>
                  </a:lnTo>
                  <a:lnTo>
                    <a:pt x="67" y="398"/>
                  </a:lnTo>
                  <a:lnTo>
                    <a:pt x="63" y="400"/>
                  </a:lnTo>
                  <a:lnTo>
                    <a:pt x="60" y="407"/>
                  </a:lnTo>
                  <a:lnTo>
                    <a:pt x="56" y="407"/>
                  </a:lnTo>
                  <a:lnTo>
                    <a:pt x="55" y="410"/>
                  </a:lnTo>
                  <a:lnTo>
                    <a:pt x="49" y="405"/>
                  </a:lnTo>
                  <a:lnTo>
                    <a:pt x="51" y="405"/>
                  </a:lnTo>
                  <a:lnTo>
                    <a:pt x="51" y="397"/>
                  </a:lnTo>
                  <a:lnTo>
                    <a:pt x="49" y="393"/>
                  </a:lnTo>
                  <a:lnTo>
                    <a:pt x="51" y="390"/>
                  </a:lnTo>
                  <a:lnTo>
                    <a:pt x="49" y="388"/>
                  </a:lnTo>
                  <a:lnTo>
                    <a:pt x="51" y="386"/>
                  </a:lnTo>
                  <a:lnTo>
                    <a:pt x="49" y="380"/>
                  </a:lnTo>
                  <a:lnTo>
                    <a:pt x="51" y="376"/>
                  </a:lnTo>
                  <a:lnTo>
                    <a:pt x="48" y="376"/>
                  </a:lnTo>
                  <a:lnTo>
                    <a:pt x="43" y="373"/>
                  </a:lnTo>
                  <a:lnTo>
                    <a:pt x="41" y="366"/>
                  </a:lnTo>
                  <a:lnTo>
                    <a:pt x="38" y="361"/>
                  </a:lnTo>
                  <a:lnTo>
                    <a:pt x="34" y="361"/>
                  </a:lnTo>
                  <a:lnTo>
                    <a:pt x="36" y="356"/>
                  </a:lnTo>
                  <a:lnTo>
                    <a:pt x="27" y="349"/>
                  </a:lnTo>
                  <a:lnTo>
                    <a:pt x="27" y="344"/>
                  </a:lnTo>
                  <a:lnTo>
                    <a:pt x="31" y="339"/>
                  </a:lnTo>
                  <a:lnTo>
                    <a:pt x="26" y="337"/>
                  </a:lnTo>
                  <a:lnTo>
                    <a:pt x="26" y="334"/>
                  </a:lnTo>
                  <a:lnTo>
                    <a:pt x="20" y="330"/>
                  </a:lnTo>
                  <a:lnTo>
                    <a:pt x="17" y="330"/>
                  </a:lnTo>
                  <a:lnTo>
                    <a:pt x="15" y="334"/>
                  </a:lnTo>
                  <a:lnTo>
                    <a:pt x="12" y="335"/>
                  </a:lnTo>
                  <a:lnTo>
                    <a:pt x="10" y="334"/>
                  </a:lnTo>
                  <a:lnTo>
                    <a:pt x="7" y="337"/>
                  </a:lnTo>
                  <a:lnTo>
                    <a:pt x="8" y="334"/>
                  </a:lnTo>
                  <a:lnTo>
                    <a:pt x="8" y="330"/>
                  </a:lnTo>
                  <a:lnTo>
                    <a:pt x="3" y="332"/>
                  </a:lnTo>
                  <a:lnTo>
                    <a:pt x="0" y="327"/>
                  </a:lnTo>
                  <a:lnTo>
                    <a:pt x="2" y="322"/>
                  </a:lnTo>
                  <a:lnTo>
                    <a:pt x="8" y="322"/>
                  </a:lnTo>
                  <a:lnTo>
                    <a:pt x="8" y="318"/>
                  </a:lnTo>
                  <a:lnTo>
                    <a:pt x="3" y="320"/>
                  </a:lnTo>
                  <a:lnTo>
                    <a:pt x="3" y="318"/>
                  </a:lnTo>
                  <a:lnTo>
                    <a:pt x="8" y="313"/>
                  </a:lnTo>
                  <a:lnTo>
                    <a:pt x="10" y="308"/>
                  </a:lnTo>
                  <a:lnTo>
                    <a:pt x="14" y="306"/>
                  </a:lnTo>
                  <a:lnTo>
                    <a:pt x="15" y="301"/>
                  </a:lnTo>
                  <a:lnTo>
                    <a:pt x="19" y="303"/>
                  </a:lnTo>
                  <a:lnTo>
                    <a:pt x="19" y="299"/>
                  </a:lnTo>
                  <a:lnTo>
                    <a:pt x="19" y="298"/>
                  </a:lnTo>
                  <a:lnTo>
                    <a:pt x="17" y="298"/>
                  </a:lnTo>
                  <a:lnTo>
                    <a:pt x="15" y="289"/>
                  </a:lnTo>
                  <a:lnTo>
                    <a:pt x="15" y="286"/>
                  </a:lnTo>
                  <a:lnTo>
                    <a:pt x="14" y="284"/>
                  </a:lnTo>
                  <a:lnTo>
                    <a:pt x="12" y="275"/>
                  </a:lnTo>
                  <a:lnTo>
                    <a:pt x="15" y="269"/>
                  </a:lnTo>
                  <a:lnTo>
                    <a:pt x="14" y="265"/>
                  </a:lnTo>
                  <a:lnTo>
                    <a:pt x="19" y="263"/>
                  </a:lnTo>
                  <a:lnTo>
                    <a:pt x="20" y="260"/>
                  </a:lnTo>
                  <a:lnTo>
                    <a:pt x="27" y="255"/>
                  </a:lnTo>
                  <a:lnTo>
                    <a:pt x="27" y="252"/>
                  </a:lnTo>
                  <a:lnTo>
                    <a:pt x="26" y="250"/>
                  </a:lnTo>
                  <a:lnTo>
                    <a:pt x="31" y="246"/>
                  </a:lnTo>
                  <a:lnTo>
                    <a:pt x="34" y="241"/>
                  </a:lnTo>
                  <a:lnTo>
                    <a:pt x="38" y="245"/>
                  </a:lnTo>
                  <a:lnTo>
                    <a:pt x="38" y="248"/>
                  </a:lnTo>
                  <a:lnTo>
                    <a:pt x="41" y="255"/>
                  </a:lnTo>
                  <a:lnTo>
                    <a:pt x="43" y="260"/>
                  </a:lnTo>
                  <a:lnTo>
                    <a:pt x="44" y="263"/>
                  </a:lnTo>
                  <a:lnTo>
                    <a:pt x="46" y="269"/>
                  </a:lnTo>
                  <a:lnTo>
                    <a:pt x="49" y="270"/>
                  </a:lnTo>
                  <a:lnTo>
                    <a:pt x="51" y="267"/>
                  </a:lnTo>
                  <a:lnTo>
                    <a:pt x="51" y="262"/>
                  </a:lnTo>
                  <a:lnTo>
                    <a:pt x="49" y="257"/>
                  </a:lnTo>
                  <a:lnTo>
                    <a:pt x="49" y="250"/>
                  </a:lnTo>
                  <a:lnTo>
                    <a:pt x="44" y="246"/>
                  </a:lnTo>
                  <a:lnTo>
                    <a:pt x="43" y="241"/>
                  </a:lnTo>
                  <a:lnTo>
                    <a:pt x="43" y="240"/>
                  </a:lnTo>
                  <a:lnTo>
                    <a:pt x="41" y="236"/>
                  </a:lnTo>
                  <a:lnTo>
                    <a:pt x="41" y="229"/>
                  </a:lnTo>
                  <a:lnTo>
                    <a:pt x="38" y="222"/>
                  </a:lnTo>
                  <a:lnTo>
                    <a:pt x="38" y="212"/>
                  </a:lnTo>
                  <a:lnTo>
                    <a:pt x="36" y="207"/>
                  </a:lnTo>
                  <a:lnTo>
                    <a:pt x="38" y="205"/>
                  </a:lnTo>
                  <a:lnTo>
                    <a:pt x="39" y="197"/>
                  </a:lnTo>
                  <a:lnTo>
                    <a:pt x="41" y="193"/>
                  </a:lnTo>
                  <a:lnTo>
                    <a:pt x="44" y="187"/>
                  </a:lnTo>
                  <a:lnTo>
                    <a:pt x="41" y="182"/>
                  </a:lnTo>
                  <a:lnTo>
                    <a:pt x="43" y="180"/>
                  </a:lnTo>
                  <a:lnTo>
                    <a:pt x="41" y="178"/>
                  </a:lnTo>
                  <a:lnTo>
                    <a:pt x="34" y="182"/>
                  </a:lnTo>
                  <a:lnTo>
                    <a:pt x="31" y="180"/>
                  </a:lnTo>
                  <a:lnTo>
                    <a:pt x="26" y="176"/>
                  </a:lnTo>
                  <a:lnTo>
                    <a:pt x="24" y="171"/>
                  </a:lnTo>
                  <a:lnTo>
                    <a:pt x="19" y="164"/>
                  </a:lnTo>
                  <a:lnTo>
                    <a:pt x="26" y="166"/>
                  </a:lnTo>
                  <a:lnTo>
                    <a:pt x="26" y="161"/>
                  </a:lnTo>
                  <a:lnTo>
                    <a:pt x="34" y="166"/>
                  </a:lnTo>
                  <a:lnTo>
                    <a:pt x="34" y="171"/>
                  </a:lnTo>
                  <a:lnTo>
                    <a:pt x="38" y="173"/>
                  </a:lnTo>
                  <a:lnTo>
                    <a:pt x="39" y="176"/>
                  </a:lnTo>
                  <a:lnTo>
                    <a:pt x="44" y="178"/>
                  </a:lnTo>
                  <a:lnTo>
                    <a:pt x="46" y="176"/>
                  </a:lnTo>
                  <a:lnTo>
                    <a:pt x="49" y="170"/>
                  </a:lnTo>
                  <a:lnTo>
                    <a:pt x="51" y="166"/>
                  </a:lnTo>
                  <a:lnTo>
                    <a:pt x="51" y="158"/>
                  </a:lnTo>
                  <a:lnTo>
                    <a:pt x="51" y="154"/>
                  </a:lnTo>
                  <a:lnTo>
                    <a:pt x="48" y="149"/>
                  </a:lnTo>
                  <a:lnTo>
                    <a:pt x="46" y="147"/>
                  </a:lnTo>
                  <a:lnTo>
                    <a:pt x="39" y="141"/>
                  </a:lnTo>
                  <a:lnTo>
                    <a:pt x="39" y="137"/>
                  </a:lnTo>
                  <a:lnTo>
                    <a:pt x="43" y="135"/>
                  </a:lnTo>
                  <a:lnTo>
                    <a:pt x="46" y="137"/>
                  </a:lnTo>
                  <a:lnTo>
                    <a:pt x="55" y="137"/>
                  </a:lnTo>
                  <a:lnTo>
                    <a:pt x="53" y="129"/>
                  </a:lnTo>
                  <a:lnTo>
                    <a:pt x="51" y="129"/>
                  </a:lnTo>
                  <a:lnTo>
                    <a:pt x="48" y="123"/>
                  </a:lnTo>
                  <a:lnTo>
                    <a:pt x="53" y="117"/>
                  </a:lnTo>
                  <a:lnTo>
                    <a:pt x="51" y="108"/>
                  </a:lnTo>
                  <a:lnTo>
                    <a:pt x="55" y="106"/>
                  </a:lnTo>
                  <a:lnTo>
                    <a:pt x="60" y="106"/>
                  </a:lnTo>
                  <a:lnTo>
                    <a:pt x="67" y="106"/>
                  </a:lnTo>
                  <a:lnTo>
                    <a:pt x="72" y="101"/>
                  </a:lnTo>
                  <a:lnTo>
                    <a:pt x="70" y="98"/>
                  </a:lnTo>
                  <a:lnTo>
                    <a:pt x="70" y="91"/>
                  </a:lnTo>
                  <a:lnTo>
                    <a:pt x="68" y="84"/>
                  </a:lnTo>
                  <a:lnTo>
                    <a:pt x="70" y="81"/>
                  </a:lnTo>
                  <a:lnTo>
                    <a:pt x="70" y="77"/>
                  </a:lnTo>
                  <a:lnTo>
                    <a:pt x="72" y="77"/>
                  </a:lnTo>
                  <a:lnTo>
                    <a:pt x="73" y="76"/>
                  </a:lnTo>
                  <a:lnTo>
                    <a:pt x="78" y="74"/>
                  </a:lnTo>
                  <a:lnTo>
                    <a:pt x="80" y="74"/>
                  </a:lnTo>
                  <a:lnTo>
                    <a:pt x="87" y="72"/>
                  </a:lnTo>
                  <a:lnTo>
                    <a:pt x="94" y="67"/>
                  </a:lnTo>
                  <a:lnTo>
                    <a:pt x="96" y="64"/>
                  </a:lnTo>
                  <a:lnTo>
                    <a:pt x="94" y="57"/>
                  </a:lnTo>
                  <a:lnTo>
                    <a:pt x="96" y="48"/>
                  </a:lnTo>
                  <a:lnTo>
                    <a:pt x="99" y="48"/>
                  </a:lnTo>
                  <a:lnTo>
                    <a:pt x="99" y="45"/>
                  </a:lnTo>
                  <a:lnTo>
                    <a:pt x="107" y="45"/>
                  </a:lnTo>
                  <a:lnTo>
                    <a:pt x="109" y="47"/>
                  </a:lnTo>
                  <a:lnTo>
                    <a:pt x="107" y="48"/>
                  </a:lnTo>
                  <a:lnTo>
                    <a:pt x="106" y="50"/>
                  </a:lnTo>
                  <a:lnTo>
                    <a:pt x="106" y="57"/>
                  </a:lnTo>
                  <a:lnTo>
                    <a:pt x="106" y="60"/>
                  </a:lnTo>
                  <a:lnTo>
                    <a:pt x="109" y="64"/>
                  </a:lnTo>
                  <a:lnTo>
                    <a:pt x="111" y="60"/>
                  </a:lnTo>
                  <a:lnTo>
                    <a:pt x="111" y="64"/>
                  </a:lnTo>
                  <a:lnTo>
                    <a:pt x="114" y="69"/>
                  </a:lnTo>
                  <a:lnTo>
                    <a:pt x="123" y="70"/>
                  </a:lnTo>
                  <a:lnTo>
                    <a:pt x="125" y="69"/>
                  </a:lnTo>
                  <a:lnTo>
                    <a:pt x="130" y="69"/>
                  </a:lnTo>
                  <a:lnTo>
                    <a:pt x="133" y="70"/>
                  </a:lnTo>
                  <a:lnTo>
                    <a:pt x="131" y="72"/>
                  </a:lnTo>
                  <a:lnTo>
                    <a:pt x="137" y="74"/>
                  </a:lnTo>
                  <a:lnTo>
                    <a:pt x="135" y="70"/>
                  </a:lnTo>
                  <a:lnTo>
                    <a:pt x="137" y="67"/>
                  </a:lnTo>
                  <a:lnTo>
                    <a:pt x="138" y="67"/>
                  </a:lnTo>
                  <a:lnTo>
                    <a:pt x="138" y="64"/>
                  </a:lnTo>
                  <a:lnTo>
                    <a:pt x="138" y="60"/>
                  </a:lnTo>
                  <a:lnTo>
                    <a:pt x="138" y="59"/>
                  </a:lnTo>
                  <a:lnTo>
                    <a:pt x="142" y="53"/>
                  </a:lnTo>
                  <a:lnTo>
                    <a:pt x="142" y="52"/>
                  </a:lnTo>
                  <a:lnTo>
                    <a:pt x="147" y="50"/>
                  </a:lnTo>
                  <a:lnTo>
                    <a:pt x="147" y="48"/>
                  </a:lnTo>
                  <a:lnTo>
                    <a:pt x="148" y="50"/>
                  </a:lnTo>
                  <a:lnTo>
                    <a:pt x="147" y="48"/>
                  </a:lnTo>
                  <a:lnTo>
                    <a:pt x="148" y="48"/>
                  </a:lnTo>
                  <a:lnTo>
                    <a:pt x="147" y="47"/>
                  </a:lnTo>
                  <a:lnTo>
                    <a:pt x="150" y="45"/>
                  </a:lnTo>
                  <a:lnTo>
                    <a:pt x="152" y="47"/>
                  </a:lnTo>
                  <a:lnTo>
                    <a:pt x="152" y="48"/>
                  </a:lnTo>
                  <a:lnTo>
                    <a:pt x="154" y="48"/>
                  </a:lnTo>
                  <a:lnTo>
                    <a:pt x="157" y="43"/>
                  </a:lnTo>
                  <a:lnTo>
                    <a:pt x="160" y="40"/>
                  </a:lnTo>
                  <a:lnTo>
                    <a:pt x="162" y="40"/>
                  </a:lnTo>
                  <a:lnTo>
                    <a:pt x="162" y="33"/>
                  </a:lnTo>
                  <a:lnTo>
                    <a:pt x="159" y="31"/>
                  </a:lnTo>
                  <a:lnTo>
                    <a:pt x="160" y="24"/>
                  </a:lnTo>
                  <a:lnTo>
                    <a:pt x="162" y="24"/>
                  </a:lnTo>
                  <a:lnTo>
                    <a:pt x="166" y="23"/>
                  </a:lnTo>
                  <a:lnTo>
                    <a:pt x="166" y="19"/>
                  </a:lnTo>
                  <a:lnTo>
                    <a:pt x="162" y="18"/>
                  </a:lnTo>
                  <a:lnTo>
                    <a:pt x="164" y="12"/>
                  </a:lnTo>
                  <a:lnTo>
                    <a:pt x="162" y="12"/>
                  </a:lnTo>
                  <a:lnTo>
                    <a:pt x="164" y="9"/>
                  </a:lnTo>
                  <a:lnTo>
                    <a:pt x="162" y="4"/>
                  </a:lnTo>
                  <a:lnTo>
                    <a:pt x="171" y="6"/>
                  </a:lnTo>
                  <a:lnTo>
                    <a:pt x="174" y="0"/>
                  </a:lnTo>
                  <a:lnTo>
                    <a:pt x="176" y="2"/>
                  </a:lnTo>
                  <a:lnTo>
                    <a:pt x="174" y="4"/>
                  </a:lnTo>
                  <a:lnTo>
                    <a:pt x="174" y="6"/>
                  </a:lnTo>
                  <a:lnTo>
                    <a:pt x="172" y="4"/>
                  </a:lnTo>
                  <a:lnTo>
                    <a:pt x="172" y="7"/>
                  </a:lnTo>
                  <a:lnTo>
                    <a:pt x="176" y="4"/>
                  </a:lnTo>
                  <a:lnTo>
                    <a:pt x="177" y="6"/>
                  </a:lnTo>
                  <a:lnTo>
                    <a:pt x="176" y="4"/>
                  </a:lnTo>
                  <a:lnTo>
                    <a:pt x="179" y="2"/>
                  </a:lnTo>
                  <a:lnTo>
                    <a:pt x="188" y="4"/>
                  </a:lnTo>
                  <a:lnTo>
                    <a:pt x="193" y="7"/>
                  </a:lnTo>
                  <a:lnTo>
                    <a:pt x="195" y="6"/>
                  </a:lnTo>
                  <a:lnTo>
                    <a:pt x="198" y="6"/>
                  </a:lnTo>
                  <a:lnTo>
                    <a:pt x="203" y="9"/>
                  </a:lnTo>
                  <a:lnTo>
                    <a:pt x="210" y="14"/>
                  </a:lnTo>
                  <a:lnTo>
                    <a:pt x="217" y="16"/>
                  </a:lnTo>
                  <a:lnTo>
                    <a:pt x="222" y="12"/>
                  </a:lnTo>
                  <a:lnTo>
                    <a:pt x="225" y="12"/>
                  </a:lnTo>
                  <a:lnTo>
                    <a:pt x="229" y="14"/>
                  </a:lnTo>
                  <a:lnTo>
                    <a:pt x="234" y="12"/>
                  </a:lnTo>
                  <a:lnTo>
                    <a:pt x="237" y="7"/>
                  </a:lnTo>
                  <a:lnTo>
                    <a:pt x="241" y="7"/>
                  </a:lnTo>
                  <a:lnTo>
                    <a:pt x="242" y="12"/>
                  </a:lnTo>
                  <a:lnTo>
                    <a:pt x="241" y="14"/>
                  </a:lnTo>
                  <a:lnTo>
                    <a:pt x="236" y="16"/>
                  </a:lnTo>
                  <a:lnTo>
                    <a:pt x="237" y="18"/>
                  </a:lnTo>
                  <a:lnTo>
                    <a:pt x="236" y="21"/>
                  </a:lnTo>
                  <a:lnTo>
                    <a:pt x="237" y="26"/>
                  </a:lnTo>
                  <a:lnTo>
                    <a:pt x="242" y="31"/>
                  </a:lnTo>
                  <a:lnTo>
                    <a:pt x="247" y="33"/>
                  </a:lnTo>
                  <a:lnTo>
                    <a:pt x="253" y="36"/>
                  </a:lnTo>
                  <a:lnTo>
                    <a:pt x="261" y="36"/>
                  </a:lnTo>
                  <a:lnTo>
                    <a:pt x="263" y="38"/>
                  </a:lnTo>
                  <a:lnTo>
                    <a:pt x="263" y="36"/>
                  </a:lnTo>
                  <a:lnTo>
                    <a:pt x="268" y="35"/>
                  </a:lnTo>
                  <a:lnTo>
                    <a:pt x="270" y="40"/>
                  </a:lnTo>
                  <a:lnTo>
                    <a:pt x="271" y="38"/>
                  </a:lnTo>
                  <a:lnTo>
                    <a:pt x="270" y="35"/>
                  </a:lnTo>
                  <a:lnTo>
                    <a:pt x="271" y="35"/>
                  </a:lnTo>
                  <a:lnTo>
                    <a:pt x="275" y="36"/>
                  </a:lnTo>
                  <a:lnTo>
                    <a:pt x="285" y="33"/>
                  </a:lnTo>
                  <a:lnTo>
                    <a:pt x="292" y="35"/>
                  </a:lnTo>
                  <a:lnTo>
                    <a:pt x="297" y="31"/>
                  </a:lnTo>
                  <a:lnTo>
                    <a:pt x="299" y="36"/>
                  </a:lnTo>
                  <a:lnTo>
                    <a:pt x="300" y="36"/>
                  </a:lnTo>
                  <a:lnTo>
                    <a:pt x="300" y="40"/>
                  </a:lnTo>
                  <a:lnTo>
                    <a:pt x="304" y="41"/>
                  </a:lnTo>
                  <a:lnTo>
                    <a:pt x="311" y="38"/>
                  </a:lnTo>
                  <a:lnTo>
                    <a:pt x="312" y="35"/>
                  </a:lnTo>
                  <a:lnTo>
                    <a:pt x="314" y="36"/>
                  </a:lnTo>
                  <a:lnTo>
                    <a:pt x="319" y="36"/>
                  </a:lnTo>
                  <a:lnTo>
                    <a:pt x="319" y="38"/>
                  </a:lnTo>
                  <a:lnTo>
                    <a:pt x="324" y="38"/>
                  </a:lnTo>
                  <a:lnTo>
                    <a:pt x="324" y="40"/>
                  </a:lnTo>
                  <a:lnTo>
                    <a:pt x="328" y="36"/>
                  </a:lnTo>
                  <a:lnTo>
                    <a:pt x="329" y="4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8" name="Freeform 65"/>
            <p:cNvSpPr>
              <a:spLocks noEditPoints="1"/>
            </p:cNvSpPr>
            <p:nvPr/>
          </p:nvSpPr>
          <p:spPr bwMode="gray">
            <a:xfrm>
              <a:off x="6066813" y="3340774"/>
              <a:ext cx="246264" cy="594684"/>
            </a:xfrm>
            <a:custGeom>
              <a:avLst/>
              <a:gdLst>
                <a:gd name="T0" fmla="*/ 16 w 135"/>
                <a:gd name="T1" fmla="*/ 217 h 326"/>
                <a:gd name="T2" fmla="*/ 122 w 135"/>
                <a:gd name="T3" fmla="*/ 152 h 326"/>
                <a:gd name="T4" fmla="*/ 104 w 135"/>
                <a:gd name="T5" fmla="*/ 174 h 326"/>
                <a:gd name="T6" fmla="*/ 113 w 135"/>
                <a:gd name="T7" fmla="*/ 193 h 326"/>
                <a:gd name="T8" fmla="*/ 125 w 135"/>
                <a:gd name="T9" fmla="*/ 215 h 326"/>
                <a:gd name="T10" fmla="*/ 104 w 135"/>
                <a:gd name="T11" fmla="*/ 229 h 326"/>
                <a:gd name="T12" fmla="*/ 98 w 135"/>
                <a:gd name="T13" fmla="*/ 243 h 326"/>
                <a:gd name="T14" fmla="*/ 99 w 135"/>
                <a:gd name="T15" fmla="*/ 262 h 326"/>
                <a:gd name="T16" fmla="*/ 94 w 135"/>
                <a:gd name="T17" fmla="*/ 275 h 326"/>
                <a:gd name="T18" fmla="*/ 77 w 135"/>
                <a:gd name="T19" fmla="*/ 282 h 326"/>
                <a:gd name="T20" fmla="*/ 82 w 135"/>
                <a:gd name="T21" fmla="*/ 296 h 326"/>
                <a:gd name="T22" fmla="*/ 86 w 135"/>
                <a:gd name="T23" fmla="*/ 313 h 326"/>
                <a:gd name="T24" fmla="*/ 81 w 135"/>
                <a:gd name="T25" fmla="*/ 314 h 326"/>
                <a:gd name="T26" fmla="*/ 74 w 135"/>
                <a:gd name="T27" fmla="*/ 313 h 326"/>
                <a:gd name="T28" fmla="*/ 63 w 135"/>
                <a:gd name="T29" fmla="*/ 313 h 326"/>
                <a:gd name="T30" fmla="*/ 38 w 135"/>
                <a:gd name="T31" fmla="*/ 318 h 326"/>
                <a:gd name="T32" fmla="*/ 26 w 135"/>
                <a:gd name="T33" fmla="*/ 323 h 326"/>
                <a:gd name="T34" fmla="*/ 14 w 135"/>
                <a:gd name="T35" fmla="*/ 314 h 326"/>
                <a:gd name="T36" fmla="*/ 11 w 135"/>
                <a:gd name="T37" fmla="*/ 297 h 326"/>
                <a:gd name="T38" fmla="*/ 9 w 135"/>
                <a:gd name="T39" fmla="*/ 279 h 326"/>
                <a:gd name="T40" fmla="*/ 5 w 135"/>
                <a:gd name="T41" fmla="*/ 268 h 326"/>
                <a:gd name="T42" fmla="*/ 12 w 135"/>
                <a:gd name="T43" fmla="*/ 262 h 326"/>
                <a:gd name="T44" fmla="*/ 11 w 135"/>
                <a:gd name="T45" fmla="*/ 239 h 326"/>
                <a:gd name="T46" fmla="*/ 2 w 135"/>
                <a:gd name="T47" fmla="*/ 229 h 326"/>
                <a:gd name="T48" fmla="*/ 14 w 135"/>
                <a:gd name="T49" fmla="*/ 219 h 326"/>
                <a:gd name="T50" fmla="*/ 31 w 135"/>
                <a:gd name="T51" fmla="*/ 209 h 326"/>
                <a:gd name="T52" fmla="*/ 46 w 135"/>
                <a:gd name="T53" fmla="*/ 195 h 326"/>
                <a:gd name="T54" fmla="*/ 48 w 135"/>
                <a:gd name="T55" fmla="*/ 168 h 326"/>
                <a:gd name="T56" fmla="*/ 53 w 135"/>
                <a:gd name="T57" fmla="*/ 150 h 326"/>
                <a:gd name="T58" fmla="*/ 70 w 135"/>
                <a:gd name="T59" fmla="*/ 133 h 326"/>
                <a:gd name="T60" fmla="*/ 67 w 135"/>
                <a:gd name="T61" fmla="*/ 115 h 326"/>
                <a:gd name="T62" fmla="*/ 63 w 135"/>
                <a:gd name="T63" fmla="*/ 98 h 326"/>
                <a:gd name="T64" fmla="*/ 69 w 135"/>
                <a:gd name="T65" fmla="*/ 87 h 326"/>
                <a:gd name="T66" fmla="*/ 70 w 135"/>
                <a:gd name="T67" fmla="*/ 58 h 326"/>
                <a:gd name="T68" fmla="*/ 70 w 135"/>
                <a:gd name="T69" fmla="*/ 38 h 326"/>
                <a:gd name="T70" fmla="*/ 86 w 135"/>
                <a:gd name="T71" fmla="*/ 26 h 326"/>
                <a:gd name="T72" fmla="*/ 98 w 135"/>
                <a:gd name="T73" fmla="*/ 0 h 326"/>
                <a:gd name="T74" fmla="*/ 99 w 135"/>
                <a:gd name="T75" fmla="*/ 21 h 326"/>
                <a:gd name="T76" fmla="*/ 103 w 135"/>
                <a:gd name="T77" fmla="*/ 34 h 326"/>
                <a:gd name="T78" fmla="*/ 94 w 135"/>
                <a:gd name="T79" fmla="*/ 43 h 326"/>
                <a:gd name="T80" fmla="*/ 92 w 135"/>
                <a:gd name="T81" fmla="*/ 53 h 326"/>
                <a:gd name="T82" fmla="*/ 87 w 135"/>
                <a:gd name="T83" fmla="*/ 67 h 326"/>
                <a:gd name="T84" fmla="*/ 94 w 135"/>
                <a:gd name="T85" fmla="*/ 69 h 326"/>
                <a:gd name="T86" fmla="*/ 104 w 135"/>
                <a:gd name="T87" fmla="*/ 65 h 326"/>
                <a:gd name="T88" fmla="*/ 111 w 135"/>
                <a:gd name="T89" fmla="*/ 79 h 326"/>
                <a:gd name="T90" fmla="*/ 122 w 135"/>
                <a:gd name="T91" fmla="*/ 96 h 326"/>
                <a:gd name="T92" fmla="*/ 135 w 135"/>
                <a:gd name="T93" fmla="*/ 111 h 326"/>
                <a:gd name="T94" fmla="*/ 135 w 135"/>
                <a:gd name="T95" fmla="*/ 125 h 326"/>
                <a:gd name="T96" fmla="*/ 133 w 135"/>
                <a:gd name="T97" fmla="*/ 14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326">
                  <a:moveTo>
                    <a:pt x="16" y="217"/>
                  </a:moveTo>
                  <a:lnTo>
                    <a:pt x="16" y="214"/>
                  </a:lnTo>
                  <a:lnTo>
                    <a:pt x="17" y="212"/>
                  </a:lnTo>
                  <a:lnTo>
                    <a:pt x="16" y="217"/>
                  </a:lnTo>
                  <a:close/>
                  <a:moveTo>
                    <a:pt x="133" y="140"/>
                  </a:moveTo>
                  <a:lnTo>
                    <a:pt x="128" y="145"/>
                  </a:lnTo>
                  <a:lnTo>
                    <a:pt x="127" y="152"/>
                  </a:lnTo>
                  <a:lnTo>
                    <a:pt x="122" y="152"/>
                  </a:lnTo>
                  <a:lnTo>
                    <a:pt x="122" y="156"/>
                  </a:lnTo>
                  <a:lnTo>
                    <a:pt x="115" y="162"/>
                  </a:lnTo>
                  <a:lnTo>
                    <a:pt x="104" y="168"/>
                  </a:lnTo>
                  <a:lnTo>
                    <a:pt x="104" y="174"/>
                  </a:lnTo>
                  <a:lnTo>
                    <a:pt x="111" y="180"/>
                  </a:lnTo>
                  <a:lnTo>
                    <a:pt x="113" y="178"/>
                  </a:lnTo>
                  <a:lnTo>
                    <a:pt x="116" y="186"/>
                  </a:lnTo>
                  <a:lnTo>
                    <a:pt x="113" y="193"/>
                  </a:lnTo>
                  <a:lnTo>
                    <a:pt x="118" y="198"/>
                  </a:lnTo>
                  <a:lnTo>
                    <a:pt x="115" y="207"/>
                  </a:lnTo>
                  <a:lnTo>
                    <a:pt x="122" y="212"/>
                  </a:lnTo>
                  <a:lnTo>
                    <a:pt x="125" y="215"/>
                  </a:lnTo>
                  <a:lnTo>
                    <a:pt x="120" y="219"/>
                  </a:lnTo>
                  <a:lnTo>
                    <a:pt x="120" y="224"/>
                  </a:lnTo>
                  <a:lnTo>
                    <a:pt x="111" y="229"/>
                  </a:lnTo>
                  <a:lnTo>
                    <a:pt x="104" y="229"/>
                  </a:lnTo>
                  <a:lnTo>
                    <a:pt x="103" y="227"/>
                  </a:lnTo>
                  <a:lnTo>
                    <a:pt x="99" y="229"/>
                  </a:lnTo>
                  <a:lnTo>
                    <a:pt x="98" y="236"/>
                  </a:lnTo>
                  <a:lnTo>
                    <a:pt x="98" y="243"/>
                  </a:lnTo>
                  <a:lnTo>
                    <a:pt x="96" y="246"/>
                  </a:lnTo>
                  <a:lnTo>
                    <a:pt x="99" y="253"/>
                  </a:lnTo>
                  <a:lnTo>
                    <a:pt x="98" y="256"/>
                  </a:lnTo>
                  <a:lnTo>
                    <a:pt x="99" y="262"/>
                  </a:lnTo>
                  <a:lnTo>
                    <a:pt x="104" y="267"/>
                  </a:lnTo>
                  <a:lnTo>
                    <a:pt x="106" y="273"/>
                  </a:lnTo>
                  <a:lnTo>
                    <a:pt x="103" y="272"/>
                  </a:lnTo>
                  <a:lnTo>
                    <a:pt x="94" y="275"/>
                  </a:lnTo>
                  <a:lnTo>
                    <a:pt x="91" y="279"/>
                  </a:lnTo>
                  <a:lnTo>
                    <a:pt x="86" y="280"/>
                  </a:lnTo>
                  <a:lnTo>
                    <a:pt x="81" y="279"/>
                  </a:lnTo>
                  <a:lnTo>
                    <a:pt x="77" y="282"/>
                  </a:lnTo>
                  <a:lnTo>
                    <a:pt x="74" y="282"/>
                  </a:lnTo>
                  <a:lnTo>
                    <a:pt x="74" y="284"/>
                  </a:lnTo>
                  <a:lnTo>
                    <a:pt x="82" y="291"/>
                  </a:lnTo>
                  <a:lnTo>
                    <a:pt x="82" y="296"/>
                  </a:lnTo>
                  <a:lnTo>
                    <a:pt x="82" y="297"/>
                  </a:lnTo>
                  <a:lnTo>
                    <a:pt x="81" y="299"/>
                  </a:lnTo>
                  <a:lnTo>
                    <a:pt x="86" y="302"/>
                  </a:lnTo>
                  <a:lnTo>
                    <a:pt x="86" y="313"/>
                  </a:lnTo>
                  <a:lnTo>
                    <a:pt x="89" y="314"/>
                  </a:lnTo>
                  <a:lnTo>
                    <a:pt x="86" y="318"/>
                  </a:lnTo>
                  <a:lnTo>
                    <a:pt x="84" y="316"/>
                  </a:lnTo>
                  <a:lnTo>
                    <a:pt x="81" y="314"/>
                  </a:lnTo>
                  <a:lnTo>
                    <a:pt x="81" y="313"/>
                  </a:lnTo>
                  <a:lnTo>
                    <a:pt x="79" y="314"/>
                  </a:lnTo>
                  <a:lnTo>
                    <a:pt x="75" y="313"/>
                  </a:lnTo>
                  <a:lnTo>
                    <a:pt x="74" y="313"/>
                  </a:lnTo>
                  <a:lnTo>
                    <a:pt x="70" y="309"/>
                  </a:lnTo>
                  <a:lnTo>
                    <a:pt x="65" y="309"/>
                  </a:lnTo>
                  <a:lnTo>
                    <a:pt x="63" y="309"/>
                  </a:lnTo>
                  <a:lnTo>
                    <a:pt x="63" y="313"/>
                  </a:lnTo>
                  <a:lnTo>
                    <a:pt x="55" y="316"/>
                  </a:lnTo>
                  <a:lnTo>
                    <a:pt x="46" y="316"/>
                  </a:lnTo>
                  <a:lnTo>
                    <a:pt x="43" y="320"/>
                  </a:lnTo>
                  <a:lnTo>
                    <a:pt x="38" y="318"/>
                  </a:lnTo>
                  <a:lnTo>
                    <a:pt x="31" y="320"/>
                  </a:lnTo>
                  <a:lnTo>
                    <a:pt x="29" y="323"/>
                  </a:lnTo>
                  <a:lnTo>
                    <a:pt x="29" y="325"/>
                  </a:lnTo>
                  <a:lnTo>
                    <a:pt x="26" y="323"/>
                  </a:lnTo>
                  <a:lnTo>
                    <a:pt x="21" y="326"/>
                  </a:lnTo>
                  <a:lnTo>
                    <a:pt x="17" y="318"/>
                  </a:lnTo>
                  <a:lnTo>
                    <a:pt x="17" y="316"/>
                  </a:lnTo>
                  <a:lnTo>
                    <a:pt x="14" y="314"/>
                  </a:lnTo>
                  <a:lnTo>
                    <a:pt x="14" y="311"/>
                  </a:lnTo>
                  <a:lnTo>
                    <a:pt x="11" y="304"/>
                  </a:lnTo>
                  <a:lnTo>
                    <a:pt x="12" y="299"/>
                  </a:lnTo>
                  <a:lnTo>
                    <a:pt x="11" y="297"/>
                  </a:lnTo>
                  <a:lnTo>
                    <a:pt x="12" y="294"/>
                  </a:lnTo>
                  <a:lnTo>
                    <a:pt x="9" y="285"/>
                  </a:lnTo>
                  <a:lnTo>
                    <a:pt x="11" y="284"/>
                  </a:lnTo>
                  <a:lnTo>
                    <a:pt x="9" y="279"/>
                  </a:lnTo>
                  <a:lnTo>
                    <a:pt x="4" y="273"/>
                  </a:lnTo>
                  <a:lnTo>
                    <a:pt x="2" y="270"/>
                  </a:lnTo>
                  <a:lnTo>
                    <a:pt x="4" y="268"/>
                  </a:lnTo>
                  <a:lnTo>
                    <a:pt x="5" y="268"/>
                  </a:lnTo>
                  <a:lnTo>
                    <a:pt x="5" y="267"/>
                  </a:lnTo>
                  <a:lnTo>
                    <a:pt x="9" y="268"/>
                  </a:lnTo>
                  <a:lnTo>
                    <a:pt x="11" y="268"/>
                  </a:lnTo>
                  <a:lnTo>
                    <a:pt x="12" y="262"/>
                  </a:lnTo>
                  <a:lnTo>
                    <a:pt x="11" y="256"/>
                  </a:lnTo>
                  <a:lnTo>
                    <a:pt x="14" y="253"/>
                  </a:lnTo>
                  <a:lnTo>
                    <a:pt x="16" y="244"/>
                  </a:lnTo>
                  <a:lnTo>
                    <a:pt x="11" y="239"/>
                  </a:lnTo>
                  <a:lnTo>
                    <a:pt x="2" y="243"/>
                  </a:lnTo>
                  <a:lnTo>
                    <a:pt x="2" y="236"/>
                  </a:lnTo>
                  <a:lnTo>
                    <a:pt x="0" y="232"/>
                  </a:lnTo>
                  <a:lnTo>
                    <a:pt x="2" y="229"/>
                  </a:lnTo>
                  <a:lnTo>
                    <a:pt x="4" y="227"/>
                  </a:lnTo>
                  <a:lnTo>
                    <a:pt x="4" y="221"/>
                  </a:lnTo>
                  <a:lnTo>
                    <a:pt x="7" y="212"/>
                  </a:lnTo>
                  <a:lnTo>
                    <a:pt x="14" y="219"/>
                  </a:lnTo>
                  <a:lnTo>
                    <a:pt x="19" y="219"/>
                  </a:lnTo>
                  <a:lnTo>
                    <a:pt x="22" y="215"/>
                  </a:lnTo>
                  <a:lnTo>
                    <a:pt x="29" y="212"/>
                  </a:lnTo>
                  <a:lnTo>
                    <a:pt x="31" y="209"/>
                  </a:lnTo>
                  <a:lnTo>
                    <a:pt x="33" y="209"/>
                  </a:lnTo>
                  <a:lnTo>
                    <a:pt x="34" y="198"/>
                  </a:lnTo>
                  <a:lnTo>
                    <a:pt x="45" y="197"/>
                  </a:lnTo>
                  <a:lnTo>
                    <a:pt x="46" y="195"/>
                  </a:lnTo>
                  <a:lnTo>
                    <a:pt x="45" y="193"/>
                  </a:lnTo>
                  <a:lnTo>
                    <a:pt x="46" y="185"/>
                  </a:lnTo>
                  <a:lnTo>
                    <a:pt x="45" y="176"/>
                  </a:lnTo>
                  <a:lnTo>
                    <a:pt x="48" y="168"/>
                  </a:lnTo>
                  <a:lnTo>
                    <a:pt x="46" y="162"/>
                  </a:lnTo>
                  <a:lnTo>
                    <a:pt x="50" y="157"/>
                  </a:lnTo>
                  <a:lnTo>
                    <a:pt x="52" y="156"/>
                  </a:lnTo>
                  <a:lnTo>
                    <a:pt x="53" y="150"/>
                  </a:lnTo>
                  <a:lnTo>
                    <a:pt x="57" y="140"/>
                  </a:lnTo>
                  <a:lnTo>
                    <a:pt x="55" y="139"/>
                  </a:lnTo>
                  <a:lnTo>
                    <a:pt x="65" y="132"/>
                  </a:lnTo>
                  <a:lnTo>
                    <a:pt x="70" y="133"/>
                  </a:lnTo>
                  <a:lnTo>
                    <a:pt x="70" y="128"/>
                  </a:lnTo>
                  <a:lnTo>
                    <a:pt x="74" y="121"/>
                  </a:lnTo>
                  <a:lnTo>
                    <a:pt x="72" y="116"/>
                  </a:lnTo>
                  <a:lnTo>
                    <a:pt x="67" y="115"/>
                  </a:lnTo>
                  <a:lnTo>
                    <a:pt x="69" y="111"/>
                  </a:lnTo>
                  <a:lnTo>
                    <a:pt x="67" y="103"/>
                  </a:lnTo>
                  <a:lnTo>
                    <a:pt x="63" y="101"/>
                  </a:lnTo>
                  <a:lnTo>
                    <a:pt x="63" y="98"/>
                  </a:lnTo>
                  <a:lnTo>
                    <a:pt x="67" y="96"/>
                  </a:lnTo>
                  <a:lnTo>
                    <a:pt x="65" y="92"/>
                  </a:lnTo>
                  <a:lnTo>
                    <a:pt x="69" y="91"/>
                  </a:lnTo>
                  <a:lnTo>
                    <a:pt x="69" y="87"/>
                  </a:lnTo>
                  <a:lnTo>
                    <a:pt x="67" y="82"/>
                  </a:lnTo>
                  <a:lnTo>
                    <a:pt x="65" y="72"/>
                  </a:lnTo>
                  <a:lnTo>
                    <a:pt x="65" y="65"/>
                  </a:lnTo>
                  <a:lnTo>
                    <a:pt x="70" y="58"/>
                  </a:lnTo>
                  <a:lnTo>
                    <a:pt x="70" y="60"/>
                  </a:lnTo>
                  <a:lnTo>
                    <a:pt x="67" y="51"/>
                  </a:lnTo>
                  <a:lnTo>
                    <a:pt x="70" y="41"/>
                  </a:lnTo>
                  <a:lnTo>
                    <a:pt x="70" y="38"/>
                  </a:lnTo>
                  <a:lnTo>
                    <a:pt x="75" y="38"/>
                  </a:lnTo>
                  <a:lnTo>
                    <a:pt x="75" y="34"/>
                  </a:lnTo>
                  <a:lnTo>
                    <a:pt x="81" y="33"/>
                  </a:lnTo>
                  <a:lnTo>
                    <a:pt x="86" y="26"/>
                  </a:lnTo>
                  <a:lnTo>
                    <a:pt x="87" y="19"/>
                  </a:lnTo>
                  <a:lnTo>
                    <a:pt x="92" y="12"/>
                  </a:lnTo>
                  <a:lnTo>
                    <a:pt x="92" y="5"/>
                  </a:lnTo>
                  <a:lnTo>
                    <a:pt x="98" y="0"/>
                  </a:lnTo>
                  <a:lnTo>
                    <a:pt x="99" y="4"/>
                  </a:lnTo>
                  <a:lnTo>
                    <a:pt x="96" y="10"/>
                  </a:lnTo>
                  <a:lnTo>
                    <a:pt x="98" y="19"/>
                  </a:lnTo>
                  <a:lnTo>
                    <a:pt x="99" y="21"/>
                  </a:lnTo>
                  <a:lnTo>
                    <a:pt x="99" y="24"/>
                  </a:lnTo>
                  <a:lnTo>
                    <a:pt x="101" y="33"/>
                  </a:lnTo>
                  <a:lnTo>
                    <a:pt x="103" y="33"/>
                  </a:lnTo>
                  <a:lnTo>
                    <a:pt x="103" y="34"/>
                  </a:lnTo>
                  <a:lnTo>
                    <a:pt x="103" y="38"/>
                  </a:lnTo>
                  <a:lnTo>
                    <a:pt x="99" y="36"/>
                  </a:lnTo>
                  <a:lnTo>
                    <a:pt x="98" y="41"/>
                  </a:lnTo>
                  <a:lnTo>
                    <a:pt x="94" y="43"/>
                  </a:lnTo>
                  <a:lnTo>
                    <a:pt x="92" y="48"/>
                  </a:lnTo>
                  <a:lnTo>
                    <a:pt x="87" y="53"/>
                  </a:lnTo>
                  <a:lnTo>
                    <a:pt x="87" y="55"/>
                  </a:lnTo>
                  <a:lnTo>
                    <a:pt x="92" y="53"/>
                  </a:lnTo>
                  <a:lnTo>
                    <a:pt x="92" y="57"/>
                  </a:lnTo>
                  <a:lnTo>
                    <a:pt x="86" y="57"/>
                  </a:lnTo>
                  <a:lnTo>
                    <a:pt x="84" y="62"/>
                  </a:lnTo>
                  <a:lnTo>
                    <a:pt x="87" y="67"/>
                  </a:lnTo>
                  <a:lnTo>
                    <a:pt x="92" y="65"/>
                  </a:lnTo>
                  <a:lnTo>
                    <a:pt x="92" y="69"/>
                  </a:lnTo>
                  <a:lnTo>
                    <a:pt x="91" y="72"/>
                  </a:lnTo>
                  <a:lnTo>
                    <a:pt x="94" y="69"/>
                  </a:lnTo>
                  <a:lnTo>
                    <a:pt x="96" y="70"/>
                  </a:lnTo>
                  <a:lnTo>
                    <a:pt x="99" y="69"/>
                  </a:lnTo>
                  <a:lnTo>
                    <a:pt x="101" y="65"/>
                  </a:lnTo>
                  <a:lnTo>
                    <a:pt x="104" y="65"/>
                  </a:lnTo>
                  <a:lnTo>
                    <a:pt x="110" y="69"/>
                  </a:lnTo>
                  <a:lnTo>
                    <a:pt x="110" y="72"/>
                  </a:lnTo>
                  <a:lnTo>
                    <a:pt x="115" y="74"/>
                  </a:lnTo>
                  <a:lnTo>
                    <a:pt x="111" y="79"/>
                  </a:lnTo>
                  <a:lnTo>
                    <a:pt x="111" y="84"/>
                  </a:lnTo>
                  <a:lnTo>
                    <a:pt x="120" y="91"/>
                  </a:lnTo>
                  <a:lnTo>
                    <a:pt x="118" y="96"/>
                  </a:lnTo>
                  <a:lnTo>
                    <a:pt x="122" y="96"/>
                  </a:lnTo>
                  <a:lnTo>
                    <a:pt x="125" y="101"/>
                  </a:lnTo>
                  <a:lnTo>
                    <a:pt x="127" y="108"/>
                  </a:lnTo>
                  <a:lnTo>
                    <a:pt x="132" y="111"/>
                  </a:lnTo>
                  <a:lnTo>
                    <a:pt x="135" y="111"/>
                  </a:lnTo>
                  <a:lnTo>
                    <a:pt x="133" y="115"/>
                  </a:lnTo>
                  <a:lnTo>
                    <a:pt x="135" y="121"/>
                  </a:lnTo>
                  <a:lnTo>
                    <a:pt x="133" y="123"/>
                  </a:lnTo>
                  <a:lnTo>
                    <a:pt x="135" y="125"/>
                  </a:lnTo>
                  <a:lnTo>
                    <a:pt x="133" y="128"/>
                  </a:lnTo>
                  <a:lnTo>
                    <a:pt x="135" y="132"/>
                  </a:lnTo>
                  <a:lnTo>
                    <a:pt x="135" y="140"/>
                  </a:lnTo>
                  <a:lnTo>
                    <a:pt x="133" y="14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49" name="Freeform 66"/>
            <p:cNvSpPr>
              <a:spLocks noEditPoints="1"/>
            </p:cNvSpPr>
            <p:nvPr/>
          </p:nvSpPr>
          <p:spPr bwMode="gray">
            <a:xfrm>
              <a:off x="6528332" y="3762160"/>
              <a:ext cx="811761" cy="749740"/>
            </a:xfrm>
            <a:custGeom>
              <a:avLst/>
              <a:gdLst>
                <a:gd name="T0" fmla="*/ 377 w 445"/>
                <a:gd name="T1" fmla="*/ 376 h 411"/>
                <a:gd name="T2" fmla="*/ 364 w 445"/>
                <a:gd name="T3" fmla="*/ 365 h 411"/>
                <a:gd name="T4" fmla="*/ 364 w 445"/>
                <a:gd name="T5" fmla="*/ 353 h 411"/>
                <a:gd name="T6" fmla="*/ 355 w 445"/>
                <a:gd name="T7" fmla="*/ 331 h 411"/>
                <a:gd name="T8" fmla="*/ 142 w 445"/>
                <a:gd name="T9" fmla="*/ 326 h 411"/>
                <a:gd name="T10" fmla="*/ 352 w 445"/>
                <a:gd name="T11" fmla="*/ 338 h 411"/>
                <a:gd name="T12" fmla="*/ 208 w 445"/>
                <a:gd name="T13" fmla="*/ 319 h 411"/>
                <a:gd name="T14" fmla="*/ 415 w 445"/>
                <a:gd name="T15" fmla="*/ 309 h 411"/>
                <a:gd name="T16" fmla="*/ 106 w 445"/>
                <a:gd name="T17" fmla="*/ 297 h 411"/>
                <a:gd name="T18" fmla="*/ 217 w 445"/>
                <a:gd name="T19" fmla="*/ 302 h 411"/>
                <a:gd name="T20" fmla="*/ 131 w 445"/>
                <a:gd name="T21" fmla="*/ 275 h 411"/>
                <a:gd name="T22" fmla="*/ 140 w 445"/>
                <a:gd name="T23" fmla="*/ 304 h 411"/>
                <a:gd name="T24" fmla="*/ 119 w 445"/>
                <a:gd name="T25" fmla="*/ 312 h 411"/>
                <a:gd name="T26" fmla="*/ 119 w 445"/>
                <a:gd name="T27" fmla="*/ 280 h 411"/>
                <a:gd name="T28" fmla="*/ 140 w 445"/>
                <a:gd name="T29" fmla="*/ 253 h 411"/>
                <a:gd name="T30" fmla="*/ 261 w 445"/>
                <a:gd name="T31" fmla="*/ 249 h 411"/>
                <a:gd name="T32" fmla="*/ 258 w 445"/>
                <a:gd name="T33" fmla="*/ 237 h 411"/>
                <a:gd name="T34" fmla="*/ 171 w 445"/>
                <a:gd name="T35" fmla="*/ 232 h 411"/>
                <a:gd name="T36" fmla="*/ 177 w 445"/>
                <a:gd name="T37" fmla="*/ 222 h 411"/>
                <a:gd name="T38" fmla="*/ 227 w 445"/>
                <a:gd name="T39" fmla="*/ 254 h 411"/>
                <a:gd name="T40" fmla="*/ 208 w 445"/>
                <a:gd name="T41" fmla="*/ 297 h 411"/>
                <a:gd name="T42" fmla="*/ 198 w 445"/>
                <a:gd name="T43" fmla="*/ 299 h 411"/>
                <a:gd name="T44" fmla="*/ 167 w 445"/>
                <a:gd name="T45" fmla="*/ 314 h 411"/>
                <a:gd name="T46" fmla="*/ 179 w 445"/>
                <a:gd name="T47" fmla="*/ 271 h 411"/>
                <a:gd name="T48" fmla="*/ 205 w 445"/>
                <a:gd name="T49" fmla="*/ 227 h 411"/>
                <a:gd name="T50" fmla="*/ 220 w 445"/>
                <a:gd name="T51" fmla="*/ 217 h 411"/>
                <a:gd name="T52" fmla="*/ 263 w 445"/>
                <a:gd name="T53" fmla="*/ 200 h 411"/>
                <a:gd name="T54" fmla="*/ 280 w 445"/>
                <a:gd name="T55" fmla="*/ 230 h 411"/>
                <a:gd name="T56" fmla="*/ 268 w 445"/>
                <a:gd name="T57" fmla="*/ 239 h 411"/>
                <a:gd name="T58" fmla="*/ 251 w 445"/>
                <a:gd name="T59" fmla="*/ 261 h 411"/>
                <a:gd name="T60" fmla="*/ 266 w 445"/>
                <a:gd name="T61" fmla="*/ 292 h 411"/>
                <a:gd name="T62" fmla="*/ 251 w 445"/>
                <a:gd name="T63" fmla="*/ 314 h 411"/>
                <a:gd name="T64" fmla="*/ 224 w 445"/>
                <a:gd name="T65" fmla="*/ 343 h 411"/>
                <a:gd name="T66" fmla="*/ 210 w 445"/>
                <a:gd name="T67" fmla="*/ 323 h 411"/>
                <a:gd name="T68" fmla="*/ 232 w 445"/>
                <a:gd name="T69" fmla="*/ 294 h 411"/>
                <a:gd name="T70" fmla="*/ 227 w 445"/>
                <a:gd name="T71" fmla="*/ 268 h 411"/>
                <a:gd name="T72" fmla="*/ 236 w 445"/>
                <a:gd name="T73" fmla="*/ 217 h 411"/>
                <a:gd name="T74" fmla="*/ 68 w 445"/>
                <a:gd name="T75" fmla="*/ 160 h 411"/>
                <a:gd name="T76" fmla="*/ 61 w 445"/>
                <a:gd name="T77" fmla="*/ 157 h 411"/>
                <a:gd name="T78" fmla="*/ 273 w 445"/>
                <a:gd name="T79" fmla="*/ 176 h 411"/>
                <a:gd name="T80" fmla="*/ 177 w 445"/>
                <a:gd name="T81" fmla="*/ 92 h 411"/>
                <a:gd name="T82" fmla="*/ 188 w 445"/>
                <a:gd name="T83" fmla="*/ 89 h 411"/>
                <a:gd name="T84" fmla="*/ 143 w 445"/>
                <a:gd name="T85" fmla="*/ 20 h 411"/>
                <a:gd name="T86" fmla="*/ 171 w 445"/>
                <a:gd name="T87" fmla="*/ 65 h 411"/>
                <a:gd name="T88" fmla="*/ 164 w 445"/>
                <a:gd name="T89" fmla="*/ 73 h 411"/>
                <a:gd name="T90" fmla="*/ 159 w 445"/>
                <a:gd name="T91" fmla="*/ 95 h 411"/>
                <a:gd name="T92" fmla="*/ 193 w 445"/>
                <a:gd name="T93" fmla="*/ 126 h 411"/>
                <a:gd name="T94" fmla="*/ 213 w 445"/>
                <a:gd name="T95" fmla="*/ 148 h 411"/>
                <a:gd name="T96" fmla="*/ 236 w 445"/>
                <a:gd name="T97" fmla="*/ 165 h 411"/>
                <a:gd name="T98" fmla="*/ 241 w 445"/>
                <a:gd name="T99" fmla="*/ 183 h 411"/>
                <a:gd name="T100" fmla="*/ 213 w 445"/>
                <a:gd name="T101" fmla="*/ 189 h 411"/>
                <a:gd name="T102" fmla="*/ 205 w 445"/>
                <a:gd name="T103" fmla="*/ 194 h 411"/>
                <a:gd name="T104" fmla="*/ 154 w 445"/>
                <a:gd name="T105" fmla="*/ 210 h 411"/>
                <a:gd name="T106" fmla="*/ 145 w 445"/>
                <a:gd name="T107" fmla="*/ 246 h 411"/>
                <a:gd name="T108" fmla="*/ 97 w 445"/>
                <a:gd name="T109" fmla="*/ 249 h 411"/>
                <a:gd name="T110" fmla="*/ 77 w 445"/>
                <a:gd name="T111" fmla="*/ 201 h 411"/>
                <a:gd name="T112" fmla="*/ 89 w 445"/>
                <a:gd name="T113" fmla="*/ 155 h 411"/>
                <a:gd name="T114" fmla="*/ 48 w 445"/>
                <a:gd name="T115" fmla="*/ 133 h 411"/>
                <a:gd name="T116" fmla="*/ 2 w 445"/>
                <a:gd name="T117" fmla="*/ 90 h 411"/>
                <a:gd name="T118" fmla="*/ 20 w 445"/>
                <a:gd name="T119" fmla="*/ 39 h 411"/>
                <a:gd name="T120" fmla="*/ 26 w 445"/>
                <a:gd name="T121" fmla="*/ 10 h 411"/>
                <a:gd name="T122" fmla="*/ 34 w 445"/>
                <a:gd name="T123" fmla="*/ 5 h 411"/>
                <a:gd name="T124" fmla="*/ 78 w 445"/>
                <a:gd name="T125" fmla="*/ 22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5" h="411">
                  <a:moveTo>
                    <a:pt x="217" y="408"/>
                  </a:moveTo>
                  <a:lnTo>
                    <a:pt x="217" y="410"/>
                  </a:lnTo>
                  <a:lnTo>
                    <a:pt x="220" y="411"/>
                  </a:lnTo>
                  <a:lnTo>
                    <a:pt x="215" y="411"/>
                  </a:lnTo>
                  <a:lnTo>
                    <a:pt x="213" y="408"/>
                  </a:lnTo>
                  <a:lnTo>
                    <a:pt x="217" y="408"/>
                  </a:lnTo>
                  <a:close/>
                  <a:moveTo>
                    <a:pt x="444" y="399"/>
                  </a:moveTo>
                  <a:lnTo>
                    <a:pt x="445" y="399"/>
                  </a:lnTo>
                  <a:lnTo>
                    <a:pt x="445" y="403"/>
                  </a:lnTo>
                  <a:lnTo>
                    <a:pt x="444" y="403"/>
                  </a:lnTo>
                  <a:lnTo>
                    <a:pt x="444" y="399"/>
                  </a:lnTo>
                  <a:close/>
                  <a:moveTo>
                    <a:pt x="372" y="372"/>
                  </a:moveTo>
                  <a:lnTo>
                    <a:pt x="377" y="376"/>
                  </a:lnTo>
                  <a:lnTo>
                    <a:pt x="381" y="382"/>
                  </a:lnTo>
                  <a:lnTo>
                    <a:pt x="382" y="386"/>
                  </a:lnTo>
                  <a:lnTo>
                    <a:pt x="382" y="389"/>
                  </a:lnTo>
                  <a:lnTo>
                    <a:pt x="379" y="391"/>
                  </a:lnTo>
                  <a:lnTo>
                    <a:pt x="377" y="389"/>
                  </a:lnTo>
                  <a:lnTo>
                    <a:pt x="379" y="384"/>
                  </a:lnTo>
                  <a:lnTo>
                    <a:pt x="370" y="382"/>
                  </a:lnTo>
                  <a:lnTo>
                    <a:pt x="369" y="379"/>
                  </a:lnTo>
                  <a:lnTo>
                    <a:pt x="372" y="372"/>
                  </a:lnTo>
                  <a:close/>
                  <a:moveTo>
                    <a:pt x="362" y="364"/>
                  </a:moveTo>
                  <a:lnTo>
                    <a:pt x="365" y="364"/>
                  </a:lnTo>
                  <a:lnTo>
                    <a:pt x="367" y="365"/>
                  </a:lnTo>
                  <a:lnTo>
                    <a:pt x="364" y="365"/>
                  </a:lnTo>
                  <a:lnTo>
                    <a:pt x="362" y="364"/>
                  </a:lnTo>
                  <a:close/>
                  <a:moveTo>
                    <a:pt x="360" y="358"/>
                  </a:moveTo>
                  <a:lnTo>
                    <a:pt x="364" y="358"/>
                  </a:lnTo>
                  <a:lnTo>
                    <a:pt x="364" y="360"/>
                  </a:lnTo>
                  <a:lnTo>
                    <a:pt x="360" y="360"/>
                  </a:lnTo>
                  <a:lnTo>
                    <a:pt x="360" y="358"/>
                  </a:lnTo>
                  <a:close/>
                  <a:moveTo>
                    <a:pt x="364" y="353"/>
                  </a:moveTo>
                  <a:lnTo>
                    <a:pt x="369" y="355"/>
                  </a:lnTo>
                  <a:lnTo>
                    <a:pt x="374" y="358"/>
                  </a:lnTo>
                  <a:lnTo>
                    <a:pt x="367" y="360"/>
                  </a:lnTo>
                  <a:lnTo>
                    <a:pt x="364" y="360"/>
                  </a:lnTo>
                  <a:lnTo>
                    <a:pt x="360" y="353"/>
                  </a:lnTo>
                  <a:lnTo>
                    <a:pt x="364" y="353"/>
                  </a:lnTo>
                  <a:close/>
                  <a:moveTo>
                    <a:pt x="195" y="341"/>
                  </a:moveTo>
                  <a:lnTo>
                    <a:pt x="200" y="341"/>
                  </a:lnTo>
                  <a:lnTo>
                    <a:pt x="200" y="345"/>
                  </a:lnTo>
                  <a:lnTo>
                    <a:pt x="200" y="348"/>
                  </a:lnTo>
                  <a:lnTo>
                    <a:pt x="189" y="350"/>
                  </a:lnTo>
                  <a:lnTo>
                    <a:pt x="195" y="341"/>
                  </a:lnTo>
                  <a:close/>
                  <a:moveTo>
                    <a:pt x="355" y="333"/>
                  </a:moveTo>
                  <a:lnTo>
                    <a:pt x="358" y="336"/>
                  </a:lnTo>
                  <a:lnTo>
                    <a:pt x="357" y="338"/>
                  </a:lnTo>
                  <a:lnTo>
                    <a:pt x="353" y="336"/>
                  </a:lnTo>
                  <a:lnTo>
                    <a:pt x="353" y="335"/>
                  </a:lnTo>
                  <a:lnTo>
                    <a:pt x="355" y="333"/>
                  </a:lnTo>
                  <a:close/>
                  <a:moveTo>
                    <a:pt x="355" y="331"/>
                  </a:moveTo>
                  <a:lnTo>
                    <a:pt x="357" y="331"/>
                  </a:lnTo>
                  <a:lnTo>
                    <a:pt x="357" y="333"/>
                  </a:lnTo>
                  <a:lnTo>
                    <a:pt x="355" y="333"/>
                  </a:lnTo>
                  <a:lnTo>
                    <a:pt x="355" y="331"/>
                  </a:lnTo>
                  <a:close/>
                  <a:moveTo>
                    <a:pt x="196" y="326"/>
                  </a:moveTo>
                  <a:lnTo>
                    <a:pt x="195" y="335"/>
                  </a:lnTo>
                  <a:lnTo>
                    <a:pt x="193" y="335"/>
                  </a:lnTo>
                  <a:lnTo>
                    <a:pt x="191" y="331"/>
                  </a:lnTo>
                  <a:lnTo>
                    <a:pt x="196" y="326"/>
                  </a:lnTo>
                  <a:close/>
                  <a:moveTo>
                    <a:pt x="142" y="326"/>
                  </a:moveTo>
                  <a:lnTo>
                    <a:pt x="138" y="329"/>
                  </a:lnTo>
                  <a:lnTo>
                    <a:pt x="133" y="329"/>
                  </a:lnTo>
                  <a:lnTo>
                    <a:pt x="142" y="326"/>
                  </a:lnTo>
                  <a:close/>
                  <a:moveTo>
                    <a:pt x="143" y="323"/>
                  </a:moveTo>
                  <a:lnTo>
                    <a:pt x="145" y="323"/>
                  </a:lnTo>
                  <a:lnTo>
                    <a:pt x="145" y="326"/>
                  </a:lnTo>
                  <a:lnTo>
                    <a:pt x="143" y="326"/>
                  </a:lnTo>
                  <a:lnTo>
                    <a:pt x="143" y="323"/>
                  </a:lnTo>
                  <a:close/>
                  <a:moveTo>
                    <a:pt x="338" y="323"/>
                  </a:moveTo>
                  <a:lnTo>
                    <a:pt x="341" y="324"/>
                  </a:lnTo>
                  <a:lnTo>
                    <a:pt x="346" y="328"/>
                  </a:lnTo>
                  <a:lnTo>
                    <a:pt x="350" y="333"/>
                  </a:lnTo>
                  <a:lnTo>
                    <a:pt x="352" y="333"/>
                  </a:lnTo>
                  <a:lnTo>
                    <a:pt x="353" y="335"/>
                  </a:lnTo>
                  <a:lnTo>
                    <a:pt x="350" y="336"/>
                  </a:lnTo>
                  <a:lnTo>
                    <a:pt x="352" y="338"/>
                  </a:lnTo>
                  <a:lnTo>
                    <a:pt x="346" y="338"/>
                  </a:lnTo>
                  <a:lnTo>
                    <a:pt x="345" y="333"/>
                  </a:lnTo>
                  <a:lnTo>
                    <a:pt x="340" y="328"/>
                  </a:lnTo>
                  <a:lnTo>
                    <a:pt x="338" y="323"/>
                  </a:lnTo>
                  <a:close/>
                  <a:moveTo>
                    <a:pt x="345" y="321"/>
                  </a:moveTo>
                  <a:lnTo>
                    <a:pt x="348" y="321"/>
                  </a:lnTo>
                  <a:lnTo>
                    <a:pt x="348" y="324"/>
                  </a:lnTo>
                  <a:lnTo>
                    <a:pt x="345" y="324"/>
                  </a:lnTo>
                  <a:lnTo>
                    <a:pt x="345" y="321"/>
                  </a:lnTo>
                  <a:close/>
                  <a:moveTo>
                    <a:pt x="208" y="316"/>
                  </a:moveTo>
                  <a:lnTo>
                    <a:pt x="210" y="316"/>
                  </a:lnTo>
                  <a:lnTo>
                    <a:pt x="210" y="319"/>
                  </a:lnTo>
                  <a:lnTo>
                    <a:pt x="208" y="319"/>
                  </a:lnTo>
                  <a:lnTo>
                    <a:pt x="208" y="316"/>
                  </a:lnTo>
                  <a:close/>
                  <a:moveTo>
                    <a:pt x="328" y="316"/>
                  </a:moveTo>
                  <a:lnTo>
                    <a:pt x="331" y="317"/>
                  </a:lnTo>
                  <a:lnTo>
                    <a:pt x="329" y="319"/>
                  </a:lnTo>
                  <a:lnTo>
                    <a:pt x="324" y="316"/>
                  </a:lnTo>
                  <a:lnTo>
                    <a:pt x="328" y="316"/>
                  </a:lnTo>
                  <a:close/>
                  <a:moveTo>
                    <a:pt x="311" y="305"/>
                  </a:moveTo>
                  <a:lnTo>
                    <a:pt x="319" y="312"/>
                  </a:lnTo>
                  <a:lnTo>
                    <a:pt x="311" y="309"/>
                  </a:lnTo>
                  <a:lnTo>
                    <a:pt x="309" y="307"/>
                  </a:lnTo>
                  <a:lnTo>
                    <a:pt x="311" y="305"/>
                  </a:lnTo>
                  <a:close/>
                  <a:moveTo>
                    <a:pt x="413" y="305"/>
                  </a:moveTo>
                  <a:lnTo>
                    <a:pt x="415" y="309"/>
                  </a:lnTo>
                  <a:lnTo>
                    <a:pt x="413" y="307"/>
                  </a:lnTo>
                  <a:lnTo>
                    <a:pt x="411" y="305"/>
                  </a:lnTo>
                  <a:lnTo>
                    <a:pt x="413" y="305"/>
                  </a:lnTo>
                  <a:close/>
                  <a:moveTo>
                    <a:pt x="142" y="300"/>
                  </a:moveTo>
                  <a:lnTo>
                    <a:pt x="143" y="300"/>
                  </a:lnTo>
                  <a:lnTo>
                    <a:pt x="143" y="304"/>
                  </a:lnTo>
                  <a:lnTo>
                    <a:pt x="142" y="304"/>
                  </a:lnTo>
                  <a:lnTo>
                    <a:pt x="142" y="300"/>
                  </a:lnTo>
                  <a:close/>
                  <a:moveTo>
                    <a:pt x="106" y="297"/>
                  </a:moveTo>
                  <a:lnTo>
                    <a:pt x="107" y="297"/>
                  </a:lnTo>
                  <a:lnTo>
                    <a:pt x="107" y="300"/>
                  </a:lnTo>
                  <a:lnTo>
                    <a:pt x="106" y="300"/>
                  </a:lnTo>
                  <a:lnTo>
                    <a:pt x="106" y="297"/>
                  </a:lnTo>
                  <a:close/>
                  <a:moveTo>
                    <a:pt x="324" y="297"/>
                  </a:moveTo>
                  <a:lnTo>
                    <a:pt x="331" y="302"/>
                  </a:lnTo>
                  <a:lnTo>
                    <a:pt x="331" y="311"/>
                  </a:lnTo>
                  <a:lnTo>
                    <a:pt x="328" y="312"/>
                  </a:lnTo>
                  <a:lnTo>
                    <a:pt x="323" y="312"/>
                  </a:lnTo>
                  <a:lnTo>
                    <a:pt x="319" y="309"/>
                  </a:lnTo>
                  <a:lnTo>
                    <a:pt x="317" y="304"/>
                  </a:lnTo>
                  <a:lnTo>
                    <a:pt x="316" y="297"/>
                  </a:lnTo>
                  <a:lnTo>
                    <a:pt x="324" y="297"/>
                  </a:lnTo>
                  <a:close/>
                  <a:moveTo>
                    <a:pt x="217" y="302"/>
                  </a:moveTo>
                  <a:lnTo>
                    <a:pt x="220" y="295"/>
                  </a:lnTo>
                  <a:lnTo>
                    <a:pt x="218" y="300"/>
                  </a:lnTo>
                  <a:lnTo>
                    <a:pt x="217" y="302"/>
                  </a:lnTo>
                  <a:close/>
                  <a:moveTo>
                    <a:pt x="220" y="288"/>
                  </a:moveTo>
                  <a:lnTo>
                    <a:pt x="222" y="288"/>
                  </a:lnTo>
                  <a:lnTo>
                    <a:pt x="222" y="292"/>
                  </a:lnTo>
                  <a:lnTo>
                    <a:pt x="220" y="292"/>
                  </a:lnTo>
                  <a:lnTo>
                    <a:pt x="220" y="288"/>
                  </a:lnTo>
                  <a:close/>
                  <a:moveTo>
                    <a:pt x="114" y="285"/>
                  </a:moveTo>
                  <a:lnTo>
                    <a:pt x="113" y="285"/>
                  </a:lnTo>
                  <a:lnTo>
                    <a:pt x="114" y="282"/>
                  </a:lnTo>
                  <a:lnTo>
                    <a:pt x="114" y="285"/>
                  </a:lnTo>
                  <a:close/>
                  <a:moveTo>
                    <a:pt x="121" y="278"/>
                  </a:moveTo>
                  <a:lnTo>
                    <a:pt x="126" y="280"/>
                  </a:lnTo>
                  <a:lnTo>
                    <a:pt x="126" y="275"/>
                  </a:lnTo>
                  <a:lnTo>
                    <a:pt x="131" y="275"/>
                  </a:lnTo>
                  <a:lnTo>
                    <a:pt x="133" y="278"/>
                  </a:lnTo>
                  <a:lnTo>
                    <a:pt x="131" y="282"/>
                  </a:lnTo>
                  <a:lnTo>
                    <a:pt x="133" y="285"/>
                  </a:lnTo>
                  <a:lnTo>
                    <a:pt x="137" y="287"/>
                  </a:lnTo>
                  <a:lnTo>
                    <a:pt x="135" y="285"/>
                  </a:lnTo>
                  <a:lnTo>
                    <a:pt x="138" y="285"/>
                  </a:lnTo>
                  <a:lnTo>
                    <a:pt x="142" y="288"/>
                  </a:lnTo>
                  <a:lnTo>
                    <a:pt x="142" y="290"/>
                  </a:lnTo>
                  <a:lnTo>
                    <a:pt x="143" y="290"/>
                  </a:lnTo>
                  <a:lnTo>
                    <a:pt x="143" y="295"/>
                  </a:lnTo>
                  <a:lnTo>
                    <a:pt x="138" y="295"/>
                  </a:lnTo>
                  <a:lnTo>
                    <a:pt x="140" y="299"/>
                  </a:lnTo>
                  <a:lnTo>
                    <a:pt x="140" y="304"/>
                  </a:lnTo>
                  <a:lnTo>
                    <a:pt x="138" y="309"/>
                  </a:lnTo>
                  <a:lnTo>
                    <a:pt x="138" y="311"/>
                  </a:lnTo>
                  <a:lnTo>
                    <a:pt x="140" y="311"/>
                  </a:lnTo>
                  <a:lnTo>
                    <a:pt x="140" y="319"/>
                  </a:lnTo>
                  <a:lnTo>
                    <a:pt x="140" y="323"/>
                  </a:lnTo>
                  <a:lnTo>
                    <a:pt x="138" y="324"/>
                  </a:lnTo>
                  <a:lnTo>
                    <a:pt x="133" y="323"/>
                  </a:lnTo>
                  <a:lnTo>
                    <a:pt x="130" y="324"/>
                  </a:lnTo>
                  <a:lnTo>
                    <a:pt x="128" y="326"/>
                  </a:lnTo>
                  <a:lnTo>
                    <a:pt x="128" y="321"/>
                  </a:lnTo>
                  <a:lnTo>
                    <a:pt x="125" y="316"/>
                  </a:lnTo>
                  <a:lnTo>
                    <a:pt x="123" y="316"/>
                  </a:lnTo>
                  <a:lnTo>
                    <a:pt x="119" y="312"/>
                  </a:lnTo>
                  <a:lnTo>
                    <a:pt x="113" y="304"/>
                  </a:lnTo>
                  <a:lnTo>
                    <a:pt x="113" y="302"/>
                  </a:lnTo>
                  <a:lnTo>
                    <a:pt x="109" y="300"/>
                  </a:lnTo>
                  <a:lnTo>
                    <a:pt x="111" y="292"/>
                  </a:lnTo>
                  <a:lnTo>
                    <a:pt x="114" y="290"/>
                  </a:lnTo>
                  <a:lnTo>
                    <a:pt x="113" y="287"/>
                  </a:lnTo>
                  <a:lnTo>
                    <a:pt x="116" y="285"/>
                  </a:lnTo>
                  <a:lnTo>
                    <a:pt x="118" y="285"/>
                  </a:lnTo>
                  <a:lnTo>
                    <a:pt x="119" y="285"/>
                  </a:lnTo>
                  <a:lnTo>
                    <a:pt x="116" y="280"/>
                  </a:lnTo>
                  <a:lnTo>
                    <a:pt x="116" y="278"/>
                  </a:lnTo>
                  <a:lnTo>
                    <a:pt x="118" y="282"/>
                  </a:lnTo>
                  <a:lnTo>
                    <a:pt x="119" y="280"/>
                  </a:lnTo>
                  <a:lnTo>
                    <a:pt x="116" y="278"/>
                  </a:lnTo>
                  <a:lnTo>
                    <a:pt x="121" y="273"/>
                  </a:lnTo>
                  <a:lnTo>
                    <a:pt x="121" y="278"/>
                  </a:lnTo>
                  <a:close/>
                  <a:moveTo>
                    <a:pt x="174" y="256"/>
                  </a:moveTo>
                  <a:lnTo>
                    <a:pt x="176" y="256"/>
                  </a:lnTo>
                  <a:lnTo>
                    <a:pt x="176" y="259"/>
                  </a:lnTo>
                  <a:lnTo>
                    <a:pt x="174" y="259"/>
                  </a:lnTo>
                  <a:lnTo>
                    <a:pt x="174" y="256"/>
                  </a:lnTo>
                  <a:close/>
                  <a:moveTo>
                    <a:pt x="140" y="253"/>
                  </a:moveTo>
                  <a:lnTo>
                    <a:pt x="142" y="253"/>
                  </a:lnTo>
                  <a:lnTo>
                    <a:pt x="142" y="254"/>
                  </a:lnTo>
                  <a:lnTo>
                    <a:pt x="140" y="254"/>
                  </a:lnTo>
                  <a:lnTo>
                    <a:pt x="140" y="253"/>
                  </a:lnTo>
                  <a:close/>
                  <a:moveTo>
                    <a:pt x="148" y="244"/>
                  </a:moveTo>
                  <a:lnTo>
                    <a:pt x="152" y="244"/>
                  </a:lnTo>
                  <a:lnTo>
                    <a:pt x="152" y="246"/>
                  </a:lnTo>
                  <a:lnTo>
                    <a:pt x="148" y="246"/>
                  </a:lnTo>
                  <a:lnTo>
                    <a:pt x="148" y="244"/>
                  </a:lnTo>
                  <a:close/>
                  <a:moveTo>
                    <a:pt x="265" y="242"/>
                  </a:moveTo>
                  <a:lnTo>
                    <a:pt x="268" y="242"/>
                  </a:lnTo>
                  <a:lnTo>
                    <a:pt x="268" y="249"/>
                  </a:lnTo>
                  <a:lnTo>
                    <a:pt x="266" y="249"/>
                  </a:lnTo>
                  <a:lnTo>
                    <a:pt x="266" y="247"/>
                  </a:lnTo>
                  <a:lnTo>
                    <a:pt x="266" y="249"/>
                  </a:lnTo>
                  <a:lnTo>
                    <a:pt x="261" y="247"/>
                  </a:lnTo>
                  <a:lnTo>
                    <a:pt x="261" y="249"/>
                  </a:lnTo>
                  <a:lnTo>
                    <a:pt x="258" y="247"/>
                  </a:lnTo>
                  <a:lnTo>
                    <a:pt x="261" y="246"/>
                  </a:lnTo>
                  <a:lnTo>
                    <a:pt x="261" y="244"/>
                  </a:lnTo>
                  <a:lnTo>
                    <a:pt x="259" y="244"/>
                  </a:lnTo>
                  <a:lnTo>
                    <a:pt x="261" y="244"/>
                  </a:lnTo>
                  <a:lnTo>
                    <a:pt x="263" y="242"/>
                  </a:lnTo>
                  <a:lnTo>
                    <a:pt x="263" y="244"/>
                  </a:lnTo>
                  <a:lnTo>
                    <a:pt x="265" y="242"/>
                  </a:lnTo>
                  <a:close/>
                  <a:moveTo>
                    <a:pt x="258" y="237"/>
                  </a:moveTo>
                  <a:lnTo>
                    <a:pt x="259" y="237"/>
                  </a:lnTo>
                  <a:lnTo>
                    <a:pt x="259" y="241"/>
                  </a:lnTo>
                  <a:lnTo>
                    <a:pt x="258" y="241"/>
                  </a:lnTo>
                  <a:lnTo>
                    <a:pt x="258" y="237"/>
                  </a:lnTo>
                  <a:close/>
                  <a:moveTo>
                    <a:pt x="268" y="235"/>
                  </a:moveTo>
                  <a:lnTo>
                    <a:pt x="270" y="235"/>
                  </a:lnTo>
                  <a:lnTo>
                    <a:pt x="270" y="239"/>
                  </a:lnTo>
                  <a:lnTo>
                    <a:pt x="268" y="239"/>
                  </a:lnTo>
                  <a:lnTo>
                    <a:pt x="268" y="235"/>
                  </a:lnTo>
                  <a:close/>
                  <a:moveTo>
                    <a:pt x="270" y="234"/>
                  </a:moveTo>
                  <a:lnTo>
                    <a:pt x="270" y="237"/>
                  </a:lnTo>
                  <a:lnTo>
                    <a:pt x="270" y="234"/>
                  </a:lnTo>
                  <a:close/>
                  <a:moveTo>
                    <a:pt x="171" y="232"/>
                  </a:moveTo>
                  <a:lnTo>
                    <a:pt x="169" y="232"/>
                  </a:lnTo>
                  <a:lnTo>
                    <a:pt x="172" y="229"/>
                  </a:lnTo>
                  <a:lnTo>
                    <a:pt x="172" y="230"/>
                  </a:lnTo>
                  <a:lnTo>
                    <a:pt x="171" y="232"/>
                  </a:lnTo>
                  <a:close/>
                  <a:moveTo>
                    <a:pt x="179" y="227"/>
                  </a:moveTo>
                  <a:lnTo>
                    <a:pt x="179" y="230"/>
                  </a:lnTo>
                  <a:lnTo>
                    <a:pt x="174" y="234"/>
                  </a:lnTo>
                  <a:lnTo>
                    <a:pt x="179" y="227"/>
                  </a:lnTo>
                  <a:close/>
                  <a:moveTo>
                    <a:pt x="176" y="224"/>
                  </a:moveTo>
                  <a:lnTo>
                    <a:pt x="177" y="224"/>
                  </a:lnTo>
                  <a:lnTo>
                    <a:pt x="177" y="227"/>
                  </a:lnTo>
                  <a:lnTo>
                    <a:pt x="176" y="227"/>
                  </a:lnTo>
                  <a:lnTo>
                    <a:pt x="176" y="224"/>
                  </a:lnTo>
                  <a:close/>
                  <a:moveTo>
                    <a:pt x="174" y="224"/>
                  </a:moveTo>
                  <a:lnTo>
                    <a:pt x="172" y="227"/>
                  </a:lnTo>
                  <a:lnTo>
                    <a:pt x="172" y="225"/>
                  </a:lnTo>
                  <a:lnTo>
                    <a:pt x="177" y="222"/>
                  </a:lnTo>
                  <a:lnTo>
                    <a:pt x="174" y="224"/>
                  </a:lnTo>
                  <a:close/>
                  <a:moveTo>
                    <a:pt x="215" y="220"/>
                  </a:moveTo>
                  <a:lnTo>
                    <a:pt x="224" y="225"/>
                  </a:lnTo>
                  <a:lnTo>
                    <a:pt x="222" y="225"/>
                  </a:lnTo>
                  <a:lnTo>
                    <a:pt x="222" y="229"/>
                  </a:lnTo>
                  <a:lnTo>
                    <a:pt x="220" y="230"/>
                  </a:lnTo>
                  <a:lnTo>
                    <a:pt x="224" y="235"/>
                  </a:lnTo>
                  <a:lnTo>
                    <a:pt x="224" y="239"/>
                  </a:lnTo>
                  <a:lnTo>
                    <a:pt x="224" y="241"/>
                  </a:lnTo>
                  <a:lnTo>
                    <a:pt x="222" y="249"/>
                  </a:lnTo>
                  <a:lnTo>
                    <a:pt x="222" y="253"/>
                  </a:lnTo>
                  <a:lnTo>
                    <a:pt x="225" y="253"/>
                  </a:lnTo>
                  <a:lnTo>
                    <a:pt x="227" y="254"/>
                  </a:lnTo>
                  <a:lnTo>
                    <a:pt x="225" y="256"/>
                  </a:lnTo>
                  <a:lnTo>
                    <a:pt x="225" y="263"/>
                  </a:lnTo>
                  <a:lnTo>
                    <a:pt x="220" y="263"/>
                  </a:lnTo>
                  <a:lnTo>
                    <a:pt x="218" y="268"/>
                  </a:lnTo>
                  <a:lnTo>
                    <a:pt x="215" y="271"/>
                  </a:lnTo>
                  <a:lnTo>
                    <a:pt x="210" y="275"/>
                  </a:lnTo>
                  <a:lnTo>
                    <a:pt x="208" y="278"/>
                  </a:lnTo>
                  <a:lnTo>
                    <a:pt x="208" y="280"/>
                  </a:lnTo>
                  <a:lnTo>
                    <a:pt x="205" y="285"/>
                  </a:lnTo>
                  <a:lnTo>
                    <a:pt x="205" y="290"/>
                  </a:lnTo>
                  <a:lnTo>
                    <a:pt x="210" y="290"/>
                  </a:lnTo>
                  <a:lnTo>
                    <a:pt x="203" y="297"/>
                  </a:lnTo>
                  <a:lnTo>
                    <a:pt x="208" y="297"/>
                  </a:lnTo>
                  <a:lnTo>
                    <a:pt x="212" y="299"/>
                  </a:lnTo>
                  <a:lnTo>
                    <a:pt x="212" y="309"/>
                  </a:lnTo>
                  <a:lnTo>
                    <a:pt x="208" y="311"/>
                  </a:lnTo>
                  <a:lnTo>
                    <a:pt x="208" y="309"/>
                  </a:lnTo>
                  <a:lnTo>
                    <a:pt x="205" y="311"/>
                  </a:lnTo>
                  <a:lnTo>
                    <a:pt x="205" y="319"/>
                  </a:lnTo>
                  <a:lnTo>
                    <a:pt x="201" y="316"/>
                  </a:lnTo>
                  <a:lnTo>
                    <a:pt x="200" y="319"/>
                  </a:lnTo>
                  <a:lnTo>
                    <a:pt x="196" y="319"/>
                  </a:lnTo>
                  <a:lnTo>
                    <a:pt x="196" y="316"/>
                  </a:lnTo>
                  <a:lnTo>
                    <a:pt x="198" y="305"/>
                  </a:lnTo>
                  <a:lnTo>
                    <a:pt x="196" y="304"/>
                  </a:lnTo>
                  <a:lnTo>
                    <a:pt x="198" y="299"/>
                  </a:lnTo>
                  <a:lnTo>
                    <a:pt x="191" y="302"/>
                  </a:lnTo>
                  <a:lnTo>
                    <a:pt x="195" y="309"/>
                  </a:lnTo>
                  <a:lnTo>
                    <a:pt x="193" y="311"/>
                  </a:lnTo>
                  <a:lnTo>
                    <a:pt x="189" y="311"/>
                  </a:lnTo>
                  <a:lnTo>
                    <a:pt x="189" y="316"/>
                  </a:lnTo>
                  <a:lnTo>
                    <a:pt x="183" y="314"/>
                  </a:lnTo>
                  <a:lnTo>
                    <a:pt x="179" y="307"/>
                  </a:lnTo>
                  <a:lnTo>
                    <a:pt x="188" y="304"/>
                  </a:lnTo>
                  <a:lnTo>
                    <a:pt x="179" y="305"/>
                  </a:lnTo>
                  <a:lnTo>
                    <a:pt x="179" y="307"/>
                  </a:lnTo>
                  <a:lnTo>
                    <a:pt x="179" y="311"/>
                  </a:lnTo>
                  <a:lnTo>
                    <a:pt x="177" y="314"/>
                  </a:lnTo>
                  <a:lnTo>
                    <a:pt x="167" y="314"/>
                  </a:lnTo>
                  <a:lnTo>
                    <a:pt x="166" y="312"/>
                  </a:lnTo>
                  <a:lnTo>
                    <a:pt x="166" y="305"/>
                  </a:lnTo>
                  <a:lnTo>
                    <a:pt x="167" y="302"/>
                  </a:lnTo>
                  <a:lnTo>
                    <a:pt x="172" y="295"/>
                  </a:lnTo>
                  <a:lnTo>
                    <a:pt x="171" y="290"/>
                  </a:lnTo>
                  <a:lnTo>
                    <a:pt x="172" y="288"/>
                  </a:lnTo>
                  <a:lnTo>
                    <a:pt x="171" y="285"/>
                  </a:lnTo>
                  <a:lnTo>
                    <a:pt x="172" y="280"/>
                  </a:lnTo>
                  <a:lnTo>
                    <a:pt x="181" y="275"/>
                  </a:lnTo>
                  <a:lnTo>
                    <a:pt x="184" y="278"/>
                  </a:lnTo>
                  <a:lnTo>
                    <a:pt x="183" y="275"/>
                  </a:lnTo>
                  <a:lnTo>
                    <a:pt x="181" y="275"/>
                  </a:lnTo>
                  <a:lnTo>
                    <a:pt x="179" y="271"/>
                  </a:lnTo>
                  <a:lnTo>
                    <a:pt x="179" y="261"/>
                  </a:lnTo>
                  <a:lnTo>
                    <a:pt x="176" y="258"/>
                  </a:lnTo>
                  <a:lnTo>
                    <a:pt x="174" y="251"/>
                  </a:lnTo>
                  <a:lnTo>
                    <a:pt x="172" y="247"/>
                  </a:lnTo>
                  <a:lnTo>
                    <a:pt x="172" y="246"/>
                  </a:lnTo>
                  <a:lnTo>
                    <a:pt x="174" y="244"/>
                  </a:lnTo>
                  <a:lnTo>
                    <a:pt x="179" y="235"/>
                  </a:lnTo>
                  <a:lnTo>
                    <a:pt x="183" y="237"/>
                  </a:lnTo>
                  <a:lnTo>
                    <a:pt x="191" y="235"/>
                  </a:lnTo>
                  <a:lnTo>
                    <a:pt x="191" y="234"/>
                  </a:lnTo>
                  <a:lnTo>
                    <a:pt x="193" y="234"/>
                  </a:lnTo>
                  <a:lnTo>
                    <a:pt x="198" y="232"/>
                  </a:lnTo>
                  <a:lnTo>
                    <a:pt x="205" y="227"/>
                  </a:lnTo>
                  <a:lnTo>
                    <a:pt x="207" y="224"/>
                  </a:lnTo>
                  <a:lnTo>
                    <a:pt x="210" y="224"/>
                  </a:lnTo>
                  <a:lnTo>
                    <a:pt x="215" y="220"/>
                  </a:lnTo>
                  <a:close/>
                  <a:moveTo>
                    <a:pt x="172" y="220"/>
                  </a:moveTo>
                  <a:lnTo>
                    <a:pt x="174" y="220"/>
                  </a:lnTo>
                  <a:lnTo>
                    <a:pt x="174" y="222"/>
                  </a:lnTo>
                  <a:lnTo>
                    <a:pt x="172" y="222"/>
                  </a:lnTo>
                  <a:lnTo>
                    <a:pt x="172" y="220"/>
                  </a:lnTo>
                  <a:close/>
                  <a:moveTo>
                    <a:pt x="220" y="217"/>
                  </a:moveTo>
                  <a:lnTo>
                    <a:pt x="222" y="217"/>
                  </a:lnTo>
                  <a:lnTo>
                    <a:pt x="222" y="218"/>
                  </a:lnTo>
                  <a:lnTo>
                    <a:pt x="220" y="218"/>
                  </a:lnTo>
                  <a:lnTo>
                    <a:pt x="220" y="217"/>
                  </a:lnTo>
                  <a:close/>
                  <a:moveTo>
                    <a:pt x="220" y="208"/>
                  </a:moveTo>
                  <a:lnTo>
                    <a:pt x="224" y="210"/>
                  </a:lnTo>
                  <a:lnTo>
                    <a:pt x="222" y="212"/>
                  </a:lnTo>
                  <a:lnTo>
                    <a:pt x="224" y="213"/>
                  </a:lnTo>
                  <a:lnTo>
                    <a:pt x="224" y="217"/>
                  </a:lnTo>
                  <a:lnTo>
                    <a:pt x="217" y="213"/>
                  </a:lnTo>
                  <a:lnTo>
                    <a:pt x="218" y="210"/>
                  </a:lnTo>
                  <a:lnTo>
                    <a:pt x="220" y="208"/>
                  </a:lnTo>
                  <a:close/>
                  <a:moveTo>
                    <a:pt x="261" y="191"/>
                  </a:moveTo>
                  <a:lnTo>
                    <a:pt x="265" y="191"/>
                  </a:lnTo>
                  <a:lnTo>
                    <a:pt x="265" y="193"/>
                  </a:lnTo>
                  <a:lnTo>
                    <a:pt x="259" y="198"/>
                  </a:lnTo>
                  <a:lnTo>
                    <a:pt x="263" y="200"/>
                  </a:lnTo>
                  <a:lnTo>
                    <a:pt x="265" y="201"/>
                  </a:lnTo>
                  <a:lnTo>
                    <a:pt x="266" y="201"/>
                  </a:lnTo>
                  <a:lnTo>
                    <a:pt x="268" y="205"/>
                  </a:lnTo>
                  <a:lnTo>
                    <a:pt x="271" y="205"/>
                  </a:lnTo>
                  <a:lnTo>
                    <a:pt x="273" y="208"/>
                  </a:lnTo>
                  <a:lnTo>
                    <a:pt x="276" y="213"/>
                  </a:lnTo>
                  <a:lnTo>
                    <a:pt x="280" y="220"/>
                  </a:lnTo>
                  <a:lnTo>
                    <a:pt x="276" y="224"/>
                  </a:lnTo>
                  <a:lnTo>
                    <a:pt x="276" y="227"/>
                  </a:lnTo>
                  <a:lnTo>
                    <a:pt x="278" y="229"/>
                  </a:lnTo>
                  <a:lnTo>
                    <a:pt x="276" y="227"/>
                  </a:lnTo>
                  <a:lnTo>
                    <a:pt x="278" y="225"/>
                  </a:lnTo>
                  <a:lnTo>
                    <a:pt x="280" y="230"/>
                  </a:lnTo>
                  <a:lnTo>
                    <a:pt x="278" y="241"/>
                  </a:lnTo>
                  <a:lnTo>
                    <a:pt x="280" y="249"/>
                  </a:lnTo>
                  <a:lnTo>
                    <a:pt x="278" y="251"/>
                  </a:lnTo>
                  <a:lnTo>
                    <a:pt x="275" y="247"/>
                  </a:lnTo>
                  <a:lnTo>
                    <a:pt x="275" y="241"/>
                  </a:lnTo>
                  <a:lnTo>
                    <a:pt x="275" y="239"/>
                  </a:lnTo>
                  <a:lnTo>
                    <a:pt x="270" y="237"/>
                  </a:lnTo>
                  <a:lnTo>
                    <a:pt x="273" y="235"/>
                  </a:lnTo>
                  <a:lnTo>
                    <a:pt x="268" y="232"/>
                  </a:lnTo>
                  <a:lnTo>
                    <a:pt x="268" y="230"/>
                  </a:lnTo>
                  <a:lnTo>
                    <a:pt x="266" y="237"/>
                  </a:lnTo>
                  <a:lnTo>
                    <a:pt x="266" y="241"/>
                  </a:lnTo>
                  <a:lnTo>
                    <a:pt x="268" y="239"/>
                  </a:lnTo>
                  <a:lnTo>
                    <a:pt x="270" y="239"/>
                  </a:lnTo>
                  <a:lnTo>
                    <a:pt x="268" y="242"/>
                  </a:lnTo>
                  <a:lnTo>
                    <a:pt x="263" y="242"/>
                  </a:lnTo>
                  <a:lnTo>
                    <a:pt x="265" y="237"/>
                  </a:lnTo>
                  <a:lnTo>
                    <a:pt x="261" y="237"/>
                  </a:lnTo>
                  <a:lnTo>
                    <a:pt x="261" y="239"/>
                  </a:lnTo>
                  <a:lnTo>
                    <a:pt x="258" y="235"/>
                  </a:lnTo>
                  <a:lnTo>
                    <a:pt x="258" y="239"/>
                  </a:lnTo>
                  <a:lnTo>
                    <a:pt x="259" y="242"/>
                  </a:lnTo>
                  <a:lnTo>
                    <a:pt x="254" y="246"/>
                  </a:lnTo>
                  <a:lnTo>
                    <a:pt x="256" y="256"/>
                  </a:lnTo>
                  <a:lnTo>
                    <a:pt x="254" y="259"/>
                  </a:lnTo>
                  <a:lnTo>
                    <a:pt x="251" y="261"/>
                  </a:lnTo>
                  <a:lnTo>
                    <a:pt x="249" y="270"/>
                  </a:lnTo>
                  <a:lnTo>
                    <a:pt x="251" y="270"/>
                  </a:lnTo>
                  <a:lnTo>
                    <a:pt x="253" y="273"/>
                  </a:lnTo>
                  <a:lnTo>
                    <a:pt x="251" y="280"/>
                  </a:lnTo>
                  <a:lnTo>
                    <a:pt x="244" y="288"/>
                  </a:lnTo>
                  <a:lnTo>
                    <a:pt x="249" y="292"/>
                  </a:lnTo>
                  <a:lnTo>
                    <a:pt x="254" y="285"/>
                  </a:lnTo>
                  <a:lnTo>
                    <a:pt x="258" y="283"/>
                  </a:lnTo>
                  <a:lnTo>
                    <a:pt x="263" y="287"/>
                  </a:lnTo>
                  <a:lnTo>
                    <a:pt x="261" y="290"/>
                  </a:lnTo>
                  <a:lnTo>
                    <a:pt x="265" y="288"/>
                  </a:lnTo>
                  <a:lnTo>
                    <a:pt x="266" y="290"/>
                  </a:lnTo>
                  <a:lnTo>
                    <a:pt x="266" y="292"/>
                  </a:lnTo>
                  <a:lnTo>
                    <a:pt x="268" y="292"/>
                  </a:lnTo>
                  <a:lnTo>
                    <a:pt x="271" y="297"/>
                  </a:lnTo>
                  <a:lnTo>
                    <a:pt x="276" y="297"/>
                  </a:lnTo>
                  <a:lnTo>
                    <a:pt x="278" y="299"/>
                  </a:lnTo>
                  <a:lnTo>
                    <a:pt x="280" y="299"/>
                  </a:lnTo>
                  <a:lnTo>
                    <a:pt x="280" y="302"/>
                  </a:lnTo>
                  <a:lnTo>
                    <a:pt x="275" y="309"/>
                  </a:lnTo>
                  <a:lnTo>
                    <a:pt x="270" y="314"/>
                  </a:lnTo>
                  <a:lnTo>
                    <a:pt x="268" y="314"/>
                  </a:lnTo>
                  <a:lnTo>
                    <a:pt x="266" y="316"/>
                  </a:lnTo>
                  <a:lnTo>
                    <a:pt x="256" y="319"/>
                  </a:lnTo>
                  <a:lnTo>
                    <a:pt x="253" y="314"/>
                  </a:lnTo>
                  <a:lnTo>
                    <a:pt x="251" y="314"/>
                  </a:lnTo>
                  <a:lnTo>
                    <a:pt x="244" y="319"/>
                  </a:lnTo>
                  <a:lnTo>
                    <a:pt x="239" y="321"/>
                  </a:lnTo>
                  <a:lnTo>
                    <a:pt x="236" y="324"/>
                  </a:lnTo>
                  <a:lnTo>
                    <a:pt x="236" y="329"/>
                  </a:lnTo>
                  <a:lnTo>
                    <a:pt x="239" y="328"/>
                  </a:lnTo>
                  <a:lnTo>
                    <a:pt x="241" y="329"/>
                  </a:lnTo>
                  <a:lnTo>
                    <a:pt x="241" y="335"/>
                  </a:lnTo>
                  <a:lnTo>
                    <a:pt x="237" y="338"/>
                  </a:lnTo>
                  <a:lnTo>
                    <a:pt x="232" y="345"/>
                  </a:lnTo>
                  <a:lnTo>
                    <a:pt x="230" y="350"/>
                  </a:lnTo>
                  <a:lnTo>
                    <a:pt x="224" y="350"/>
                  </a:lnTo>
                  <a:lnTo>
                    <a:pt x="225" y="346"/>
                  </a:lnTo>
                  <a:lnTo>
                    <a:pt x="224" y="343"/>
                  </a:lnTo>
                  <a:lnTo>
                    <a:pt x="220" y="350"/>
                  </a:lnTo>
                  <a:lnTo>
                    <a:pt x="218" y="348"/>
                  </a:lnTo>
                  <a:lnTo>
                    <a:pt x="220" y="343"/>
                  </a:lnTo>
                  <a:lnTo>
                    <a:pt x="218" y="341"/>
                  </a:lnTo>
                  <a:lnTo>
                    <a:pt x="215" y="348"/>
                  </a:lnTo>
                  <a:lnTo>
                    <a:pt x="212" y="350"/>
                  </a:lnTo>
                  <a:lnTo>
                    <a:pt x="207" y="345"/>
                  </a:lnTo>
                  <a:lnTo>
                    <a:pt x="207" y="343"/>
                  </a:lnTo>
                  <a:lnTo>
                    <a:pt x="203" y="335"/>
                  </a:lnTo>
                  <a:lnTo>
                    <a:pt x="201" y="329"/>
                  </a:lnTo>
                  <a:lnTo>
                    <a:pt x="201" y="326"/>
                  </a:lnTo>
                  <a:lnTo>
                    <a:pt x="205" y="321"/>
                  </a:lnTo>
                  <a:lnTo>
                    <a:pt x="210" y="323"/>
                  </a:lnTo>
                  <a:lnTo>
                    <a:pt x="212" y="319"/>
                  </a:lnTo>
                  <a:lnTo>
                    <a:pt x="210" y="316"/>
                  </a:lnTo>
                  <a:lnTo>
                    <a:pt x="208" y="316"/>
                  </a:lnTo>
                  <a:lnTo>
                    <a:pt x="212" y="309"/>
                  </a:lnTo>
                  <a:lnTo>
                    <a:pt x="212" y="305"/>
                  </a:lnTo>
                  <a:lnTo>
                    <a:pt x="215" y="304"/>
                  </a:lnTo>
                  <a:lnTo>
                    <a:pt x="217" y="305"/>
                  </a:lnTo>
                  <a:lnTo>
                    <a:pt x="218" y="299"/>
                  </a:lnTo>
                  <a:lnTo>
                    <a:pt x="222" y="295"/>
                  </a:lnTo>
                  <a:lnTo>
                    <a:pt x="225" y="295"/>
                  </a:lnTo>
                  <a:lnTo>
                    <a:pt x="225" y="297"/>
                  </a:lnTo>
                  <a:lnTo>
                    <a:pt x="227" y="297"/>
                  </a:lnTo>
                  <a:lnTo>
                    <a:pt x="232" y="294"/>
                  </a:lnTo>
                  <a:lnTo>
                    <a:pt x="229" y="288"/>
                  </a:lnTo>
                  <a:lnTo>
                    <a:pt x="225" y="294"/>
                  </a:lnTo>
                  <a:lnTo>
                    <a:pt x="225" y="288"/>
                  </a:lnTo>
                  <a:lnTo>
                    <a:pt x="222" y="288"/>
                  </a:lnTo>
                  <a:lnTo>
                    <a:pt x="227" y="280"/>
                  </a:lnTo>
                  <a:lnTo>
                    <a:pt x="229" y="280"/>
                  </a:lnTo>
                  <a:lnTo>
                    <a:pt x="229" y="276"/>
                  </a:lnTo>
                  <a:lnTo>
                    <a:pt x="225" y="280"/>
                  </a:lnTo>
                  <a:lnTo>
                    <a:pt x="229" y="273"/>
                  </a:lnTo>
                  <a:lnTo>
                    <a:pt x="230" y="270"/>
                  </a:lnTo>
                  <a:lnTo>
                    <a:pt x="229" y="270"/>
                  </a:lnTo>
                  <a:lnTo>
                    <a:pt x="222" y="273"/>
                  </a:lnTo>
                  <a:lnTo>
                    <a:pt x="227" y="268"/>
                  </a:lnTo>
                  <a:lnTo>
                    <a:pt x="232" y="264"/>
                  </a:lnTo>
                  <a:lnTo>
                    <a:pt x="232" y="258"/>
                  </a:lnTo>
                  <a:lnTo>
                    <a:pt x="234" y="258"/>
                  </a:lnTo>
                  <a:lnTo>
                    <a:pt x="234" y="253"/>
                  </a:lnTo>
                  <a:lnTo>
                    <a:pt x="230" y="251"/>
                  </a:lnTo>
                  <a:lnTo>
                    <a:pt x="232" y="246"/>
                  </a:lnTo>
                  <a:lnTo>
                    <a:pt x="236" y="247"/>
                  </a:lnTo>
                  <a:lnTo>
                    <a:pt x="237" y="241"/>
                  </a:lnTo>
                  <a:lnTo>
                    <a:pt x="236" y="235"/>
                  </a:lnTo>
                  <a:lnTo>
                    <a:pt x="236" y="230"/>
                  </a:lnTo>
                  <a:lnTo>
                    <a:pt x="234" y="229"/>
                  </a:lnTo>
                  <a:lnTo>
                    <a:pt x="236" y="224"/>
                  </a:lnTo>
                  <a:lnTo>
                    <a:pt x="236" y="217"/>
                  </a:lnTo>
                  <a:lnTo>
                    <a:pt x="239" y="210"/>
                  </a:lnTo>
                  <a:lnTo>
                    <a:pt x="244" y="201"/>
                  </a:lnTo>
                  <a:lnTo>
                    <a:pt x="247" y="200"/>
                  </a:lnTo>
                  <a:lnTo>
                    <a:pt x="254" y="194"/>
                  </a:lnTo>
                  <a:lnTo>
                    <a:pt x="261" y="191"/>
                  </a:lnTo>
                  <a:close/>
                  <a:moveTo>
                    <a:pt x="75" y="171"/>
                  </a:moveTo>
                  <a:lnTo>
                    <a:pt x="73" y="171"/>
                  </a:lnTo>
                  <a:lnTo>
                    <a:pt x="72" y="174"/>
                  </a:lnTo>
                  <a:lnTo>
                    <a:pt x="72" y="172"/>
                  </a:lnTo>
                  <a:lnTo>
                    <a:pt x="75" y="171"/>
                  </a:lnTo>
                  <a:close/>
                  <a:moveTo>
                    <a:pt x="67" y="157"/>
                  </a:moveTo>
                  <a:lnTo>
                    <a:pt x="65" y="160"/>
                  </a:lnTo>
                  <a:lnTo>
                    <a:pt x="68" y="160"/>
                  </a:lnTo>
                  <a:lnTo>
                    <a:pt x="72" y="159"/>
                  </a:lnTo>
                  <a:lnTo>
                    <a:pt x="70" y="164"/>
                  </a:lnTo>
                  <a:lnTo>
                    <a:pt x="67" y="162"/>
                  </a:lnTo>
                  <a:lnTo>
                    <a:pt x="68" y="167"/>
                  </a:lnTo>
                  <a:lnTo>
                    <a:pt x="65" y="165"/>
                  </a:lnTo>
                  <a:lnTo>
                    <a:pt x="63" y="167"/>
                  </a:lnTo>
                  <a:lnTo>
                    <a:pt x="63" y="164"/>
                  </a:lnTo>
                  <a:lnTo>
                    <a:pt x="61" y="159"/>
                  </a:lnTo>
                  <a:lnTo>
                    <a:pt x="63" y="160"/>
                  </a:lnTo>
                  <a:lnTo>
                    <a:pt x="65" y="157"/>
                  </a:lnTo>
                  <a:lnTo>
                    <a:pt x="67" y="157"/>
                  </a:lnTo>
                  <a:close/>
                  <a:moveTo>
                    <a:pt x="58" y="157"/>
                  </a:moveTo>
                  <a:lnTo>
                    <a:pt x="61" y="157"/>
                  </a:lnTo>
                  <a:lnTo>
                    <a:pt x="61" y="159"/>
                  </a:lnTo>
                  <a:lnTo>
                    <a:pt x="58" y="159"/>
                  </a:lnTo>
                  <a:lnTo>
                    <a:pt x="58" y="157"/>
                  </a:lnTo>
                  <a:close/>
                  <a:moveTo>
                    <a:pt x="261" y="147"/>
                  </a:moveTo>
                  <a:lnTo>
                    <a:pt x="266" y="150"/>
                  </a:lnTo>
                  <a:lnTo>
                    <a:pt x="271" y="148"/>
                  </a:lnTo>
                  <a:lnTo>
                    <a:pt x="278" y="148"/>
                  </a:lnTo>
                  <a:lnTo>
                    <a:pt x="282" y="150"/>
                  </a:lnTo>
                  <a:lnTo>
                    <a:pt x="285" y="155"/>
                  </a:lnTo>
                  <a:lnTo>
                    <a:pt x="283" y="164"/>
                  </a:lnTo>
                  <a:lnTo>
                    <a:pt x="280" y="165"/>
                  </a:lnTo>
                  <a:lnTo>
                    <a:pt x="275" y="172"/>
                  </a:lnTo>
                  <a:lnTo>
                    <a:pt x="273" y="176"/>
                  </a:lnTo>
                  <a:lnTo>
                    <a:pt x="270" y="177"/>
                  </a:lnTo>
                  <a:lnTo>
                    <a:pt x="263" y="176"/>
                  </a:lnTo>
                  <a:lnTo>
                    <a:pt x="254" y="171"/>
                  </a:lnTo>
                  <a:lnTo>
                    <a:pt x="253" y="167"/>
                  </a:lnTo>
                  <a:lnTo>
                    <a:pt x="247" y="159"/>
                  </a:lnTo>
                  <a:lnTo>
                    <a:pt x="249" y="157"/>
                  </a:lnTo>
                  <a:lnTo>
                    <a:pt x="247" y="155"/>
                  </a:lnTo>
                  <a:lnTo>
                    <a:pt x="249" y="153"/>
                  </a:lnTo>
                  <a:lnTo>
                    <a:pt x="251" y="153"/>
                  </a:lnTo>
                  <a:lnTo>
                    <a:pt x="256" y="145"/>
                  </a:lnTo>
                  <a:lnTo>
                    <a:pt x="261" y="147"/>
                  </a:lnTo>
                  <a:close/>
                  <a:moveTo>
                    <a:pt x="174" y="90"/>
                  </a:moveTo>
                  <a:lnTo>
                    <a:pt x="177" y="92"/>
                  </a:lnTo>
                  <a:lnTo>
                    <a:pt x="176" y="94"/>
                  </a:lnTo>
                  <a:lnTo>
                    <a:pt x="179" y="95"/>
                  </a:lnTo>
                  <a:lnTo>
                    <a:pt x="172" y="95"/>
                  </a:lnTo>
                  <a:lnTo>
                    <a:pt x="169" y="99"/>
                  </a:lnTo>
                  <a:lnTo>
                    <a:pt x="169" y="95"/>
                  </a:lnTo>
                  <a:lnTo>
                    <a:pt x="171" y="92"/>
                  </a:lnTo>
                  <a:lnTo>
                    <a:pt x="174" y="90"/>
                  </a:lnTo>
                  <a:close/>
                  <a:moveTo>
                    <a:pt x="188" y="80"/>
                  </a:moveTo>
                  <a:lnTo>
                    <a:pt x="191" y="83"/>
                  </a:lnTo>
                  <a:lnTo>
                    <a:pt x="189" y="85"/>
                  </a:lnTo>
                  <a:lnTo>
                    <a:pt x="188" y="85"/>
                  </a:lnTo>
                  <a:lnTo>
                    <a:pt x="189" y="87"/>
                  </a:lnTo>
                  <a:lnTo>
                    <a:pt x="188" y="89"/>
                  </a:lnTo>
                  <a:lnTo>
                    <a:pt x="184" y="83"/>
                  </a:lnTo>
                  <a:lnTo>
                    <a:pt x="183" y="80"/>
                  </a:lnTo>
                  <a:lnTo>
                    <a:pt x="184" y="75"/>
                  </a:lnTo>
                  <a:lnTo>
                    <a:pt x="188" y="80"/>
                  </a:lnTo>
                  <a:close/>
                  <a:moveTo>
                    <a:pt x="97" y="13"/>
                  </a:moveTo>
                  <a:lnTo>
                    <a:pt x="101" y="17"/>
                  </a:lnTo>
                  <a:lnTo>
                    <a:pt x="107" y="19"/>
                  </a:lnTo>
                  <a:lnTo>
                    <a:pt x="109" y="20"/>
                  </a:lnTo>
                  <a:lnTo>
                    <a:pt x="116" y="24"/>
                  </a:lnTo>
                  <a:lnTo>
                    <a:pt x="119" y="22"/>
                  </a:lnTo>
                  <a:lnTo>
                    <a:pt x="126" y="25"/>
                  </a:lnTo>
                  <a:lnTo>
                    <a:pt x="135" y="22"/>
                  </a:lnTo>
                  <a:lnTo>
                    <a:pt x="143" y="20"/>
                  </a:lnTo>
                  <a:lnTo>
                    <a:pt x="148" y="27"/>
                  </a:lnTo>
                  <a:lnTo>
                    <a:pt x="155" y="27"/>
                  </a:lnTo>
                  <a:lnTo>
                    <a:pt x="159" y="29"/>
                  </a:lnTo>
                  <a:lnTo>
                    <a:pt x="160" y="37"/>
                  </a:lnTo>
                  <a:lnTo>
                    <a:pt x="167" y="44"/>
                  </a:lnTo>
                  <a:lnTo>
                    <a:pt x="171" y="44"/>
                  </a:lnTo>
                  <a:lnTo>
                    <a:pt x="174" y="48"/>
                  </a:lnTo>
                  <a:lnTo>
                    <a:pt x="171" y="54"/>
                  </a:lnTo>
                  <a:lnTo>
                    <a:pt x="172" y="56"/>
                  </a:lnTo>
                  <a:lnTo>
                    <a:pt x="171" y="58"/>
                  </a:lnTo>
                  <a:lnTo>
                    <a:pt x="172" y="60"/>
                  </a:lnTo>
                  <a:lnTo>
                    <a:pt x="169" y="65"/>
                  </a:lnTo>
                  <a:lnTo>
                    <a:pt x="171" y="65"/>
                  </a:lnTo>
                  <a:lnTo>
                    <a:pt x="171" y="70"/>
                  </a:lnTo>
                  <a:lnTo>
                    <a:pt x="181" y="73"/>
                  </a:lnTo>
                  <a:lnTo>
                    <a:pt x="183" y="77"/>
                  </a:lnTo>
                  <a:lnTo>
                    <a:pt x="181" y="82"/>
                  </a:lnTo>
                  <a:lnTo>
                    <a:pt x="179" y="82"/>
                  </a:lnTo>
                  <a:lnTo>
                    <a:pt x="179" y="80"/>
                  </a:lnTo>
                  <a:lnTo>
                    <a:pt x="177" y="77"/>
                  </a:lnTo>
                  <a:lnTo>
                    <a:pt x="174" y="78"/>
                  </a:lnTo>
                  <a:lnTo>
                    <a:pt x="174" y="71"/>
                  </a:lnTo>
                  <a:lnTo>
                    <a:pt x="172" y="73"/>
                  </a:lnTo>
                  <a:lnTo>
                    <a:pt x="169" y="71"/>
                  </a:lnTo>
                  <a:lnTo>
                    <a:pt x="167" y="75"/>
                  </a:lnTo>
                  <a:lnTo>
                    <a:pt x="164" y="73"/>
                  </a:lnTo>
                  <a:lnTo>
                    <a:pt x="166" y="77"/>
                  </a:lnTo>
                  <a:lnTo>
                    <a:pt x="172" y="83"/>
                  </a:lnTo>
                  <a:lnTo>
                    <a:pt x="171" y="85"/>
                  </a:lnTo>
                  <a:lnTo>
                    <a:pt x="169" y="85"/>
                  </a:lnTo>
                  <a:lnTo>
                    <a:pt x="166" y="85"/>
                  </a:lnTo>
                  <a:lnTo>
                    <a:pt x="167" y="87"/>
                  </a:lnTo>
                  <a:lnTo>
                    <a:pt x="169" y="85"/>
                  </a:lnTo>
                  <a:lnTo>
                    <a:pt x="169" y="94"/>
                  </a:lnTo>
                  <a:lnTo>
                    <a:pt x="167" y="90"/>
                  </a:lnTo>
                  <a:lnTo>
                    <a:pt x="164" y="92"/>
                  </a:lnTo>
                  <a:lnTo>
                    <a:pt x="167" y="92"/>
                  </a:lnTo>
                  <a:lnTo>
                    <a:pt x="167" y="94"/>
                  </a:lnTo>
                  <a:lnTo>
                    <a:pt x="159" y="95"/>
                  </a:lnTo>
                  <a:lnTo>
                    <a:pt x="159" y="101"/>
                  </a:lnTo>
                  <a:lnTo>
                    <a:pt x="166" y="107"/>
                  </a:lnTo>
                  <a:lnTo>
                    <a:pt x="171" y="109"/>
                  </a:lnTo>
                  <a:lnTo>
                    <a:pt x="176" y="116"/>
                  </a:lnTo>
                  <a:lnTo>
                    <a:pt x="179" y="118"/>
                  </a:lnTo>
                  <a:lnTo>
                    <a:pt x="183" y="114"/>
                  </a:lnTo>
                  <a:lnTo>
                    <a:pt x="183" y="116"/>
                  </a:lnTo>
                  <a:lnTo>
                    <a:pt x="188" y="118"/>
                  </a:lnTo>
                  <a:lnTo>
                    <a:pt x="191" y="124"/>
                  </a:lnTo>
                  <a:lnTo>
                    <a:pt x="189" y="124"/>
                  </a:lnTo>
                  <a:lnTo>
                    <a:pt x="189" y="128"/>
                  </a:lnTo>
                  <a:lnTo>
                    <a:pt x="191" y="126"/>
                  </a:lnTo>
                  <a:lnTo>
                    <a:pt x="193" y="126"/>
                  </a:lnTo>
                  <a:lnTo>
                    <a:pt x="196" y="133"/>
                  </a:lnTo>
                  <a:lnTo>
                    <a:pt x="203" y="135"/>
                  </a:lnTo>
                  <a:lnTo>
                    <a:pt x="210" y="133"/>
                  </a:lnTo>
                  <a:lnTo>
                    <a:pt x="215" y="135"/>
                  </a:lnTo>
                  <a:lnTo>
                    <a:pt x="215" y="138"/>
                  </a:lnTo>
                  <a:lnTo>
                    <a:pt x="210" y="140"/>
                  </a:lnTo>
                  <a:lnTo>
                    <a:pt x="210" y="142"/>
                  </a:lnTo>
                  <a:lnTo>
                    <a:pt x="207" y="145"/>
                  </a:lnTo>
                  <a:lnTo>
                    <a:pt x="198" y="143"/>
                  </a:lnTo>
                  <a:lnTo>
                    <a:pt x="200" y="145"/>
                  </a:lnTo>
                  <a:lnTo>
                    <a:pt x="207" y="145"/>
                  </a:lnTo>
                  <a:lnTo>
                    <a:pt x="210" y="147"/>
                  </a:lnTo>
                  <a:lnTo>
                    <a:pt x="213" y="148"/>
                  </a:lnTo>
                  <a:lnTo>
                    <a:pt x="215" y="152"/>
                  </a:lnTo>
                  <a:lnTo>
                    <a:pt x="213" y="153"/>
                  </a:lnTo>
                  <a:lnTo>
                    <a:pt x="213" y="157"/>
                  </a:lnTo>
                  <a:lnTo>
                    <a:pt x="215" y="157"/>
                  </a:lnTo>
                  <a:lnTo>
                    <a:pt x="215" y="162"/>
                  </a:lnTo>
                  <a:lnTo>
                    <a:pt x="217" y="165"/>
                  </a:lnTo>
                  <a:lnTo>
                    <a:pt x="220" y="167"/>
                  </a:lnTo>
                  <a:lnTo>
                    <a:pt x="218" y="164"/>
                  </a:lnTo>
                  <a:lnTo>
                    <a:pt x="220" y="162"/>
                  </a:lnTo>
                  <a:lnTo>
                    <a:pt x="227" y="165"/>
                  </a:lnTo>
                  <a:lnTo>
                    <a:pt x="230" y="165"/>
                  </a:lnTo>
                  <a:lnTo>
                    <a:pt x="232" y="164"/>
                  </a:lnTo>
                  <a:lnTo>
                    <a:pt x="236" y="165"/>
                  </a:lnTo>
                  <a:lnTo>
                    <a:pt x="234" y="164"/>
                  </a:lnTo>
                  <a:lnTo>
                    <a:pt x="236" y="164"/>
                  </a:lnTo>
                  <a:lnTo>
                    <a:pt x="236" y="162"/>
                  </a:lnTo>
                  <a:lnTo>
                    <a:pt x="234" y="160"/>
                  </a:lnTo>
                  <a:lnTo>
                    <a:pt x="229" y="159"/>
                  </a:lnTo>
                  <a:lnTo>
                    <a:pt x="227" y="155"/>
                  </a:lnTo>
                  <a:lnTo>
                    <a:pt x="236" y="153"/>
                  </a:lnTo>
                  <a:lnTo>
                    <a:pt x="237" y="155"/>
                  </a:lnTo>
                  <a:lnTo>
                    <a:pt x="241" y="162"/>
                  </a:lnTo>
                  <a:lnTo>
                    <a:pt x="242" y="171"/>
                  </a:lnTo>
                  <a:lnTo>
                    <a:pt x="242" y="174"/>
                  </a:lnTo>
                  <a:lnTo>
                    <a:pt x="244" y="174"/>
                  </a:lnTo>
                  <a:lnTo>
                    <a:pt x="241" y="183"/>
                  </a:lnTo>
                  <a:lnTo>
                    <a:pt x="241" y="184"/>
                  </a:lnTo>
                  <a:lnTo>
                    <a:pt x="244" y="186"/>
                  </a:lnTo>
                  <a:lnTo>
                    <a:pt x="242" y="188"/>
                  </a:lnTo>
                  <a:lnTo>
                    <a:pt x="242" y="193"/>
                  </a:lnTo>
                  <a:lnTo>
                    <a:pt x="241" y="196"/>
                  </a:lnTo>
                  <a:lnTo>
                    <a:pt x="237" y="198"/>
                  </a:lnTo>
                  <a:lnTo>
                    <a:pt x="234" y="201"/>
                  </a:lnTo>
                  <a:lnTo>
                    <a:pt x="232" y="198"/>
                  </a:lnTo>
                  <a:lnTo>
                    <a:pt x="227" y="196"/>
                  </a:lnTo>
                  <a:lnTo>
                    <a:pt x="220" y="189"/>
                  </a:lnTo>
                  <a:lnTo>
                    <a:pt x="218" y="186"/>
                  </a:lnTo>
                  <a:lnTo>
                    <a:pt x="215" y="188"/>
                  </a:lnTo>
                  <a:lnTo>
                    <a:pt x="213" y="189"/>
                  </a:lnTo>
                  <a:lnTo>
                    <a:pt x="218" y="191"/>
                  </a:lnTo>
                  <a:lnTo>
                    <a:pt x="218" y="194"/>
                  </a:lnTo>
                  <a:lnTo>
                    <a:pt x="225" y="200"/>
                  </a:lnTo>
                  <a:lnTo>
                    <a:pt x="225" y="205"/>
                  </a:lnTo>
                  <a:lnTo>
                    <a:pt x="224" y="208"/>
                  </a:lnTo>
                  <a:lnTo>
                    <a:pt x="220" y="206"/>
                  </a:lnTo>
                  <a:lnTo>
                    <a:pt x="218" y="203"/>
                  </a:lnTo>
                  <a:lnTo>
                    <a:pt x="215" y="205"/>
                  </a:lnTo>
                  <a:lnTo>
                    <a:pt x="218" y="206"/>
                  </a:lnTo>
                  <a:lnTo>
                    <a:pt x="215" y="208"/>
                  </a:lnTo>
                  <a:lnTo>
                    <a:pt x="215" y="201"/>
                  </a:lnTo>
                  <a:lnTo>
                    <a:pt x="208" y="196"/>
                  </a:lnTo>
                  <a:lnTo>
                    <a:pt x="205" y="194"/>
                  </a:lnTo>
                  <a:lnTo>
                    <a:pt x="203" y="194"/>
                  </a:lnTo>
                  <a:lnTo>
                    <a:pt x="195" y="201"/>
                  </a:lnTo>
                  <a:lnTo>
                    <a:pt x="191" y="201"/>
                  </a:lnTo>
                  <a:lnTo>
                    <a:pt x="191" y="200"/>
                  </a:lnTo>
                  <a:lnTo>
                    <a:pt x="189" y="201"/>
                  </a:lnTo>
                  <a:lnTo>
                    <a:pt x="188" y="200"/>
                  </a:lnTo>
                  <a:lnTo>
                    <a:pt x="188" y="201"/>
                  </a:lnTo>
                  <a:lnTo>
                    <a:pt x="184" y="198"/>
                  </a:lnTo>
                  <a:lnTo>
                    <a:pt x="176" y="205"/>
                  </a:lnTo>
                  <a:lnTo>
                    <a:pt x="166" y="206"/>
                  </a:lnTo>
                  <a:lnTo>
                    <a:pt x="160" y="203"/>
                  </a:lnTo>
                  <a:lnTo>
                    <a:pt x="160" y="205"/>
                  </a:lnTo>
                  <a:lnTo>
                    <a:pt x="154" y="210"/>
                  </a:lnTo>
                  <a:lnTo>
                    <a:pt x="147" y="210"/>
                  </a:lnTo>
                  <a:lnTo>
                    <a:pt x="147" y="212"/>
                  </a:lnTo>
                  <a:lnTo>
                    <a:pt x="145" y="213"/>
                  </a:lnTo>
                  <a:lnTo>
                    <a:pt x="143" y="218"/>
                  </a:lnTo>
                  <a:lnTo>
                    <a:pt x="140" y="224"/>
                  </a:lnTo>
                  <a:lnTo>
                    <a:pt x="137" y="225"/>
                  </a:lnTo>
                  <a:lnTo>
                    <a:pt x="138" y="227"/>
                  </a:lnTo>
                  <a:lnTo>
                    <a:pt x="138" y="234"/>
                  </a:lnTo>
                  <a:lnTo>
                    <a:pt x="140" y="239"/>
                  </a:lnTo>
                  <a:lnTo>
                    <a:pt x="147" y="242"/>
                  </a:lnTo>
                  <a:lnTo>
                    <a:pt x="147" y="244"/>
                  </a:lnTo>
                  <a:lnTo>
                    <a:pt x="148" y="244"/>
                  </a:lnTo>
                  <a:lnTo>
                    <a:pt x="145" y="246"/>
                  </a:lnTo>
                  <a:lnTo>
                    <a:pt x="140" y="251"/>
                  </a:lnTo>
                  <a:lnTo>
                    <a:pt x="138" y="251"/>
                  </a:lnTo>
                  <a:lnTo>
                    <a:pt x="137" y="254"/>
                  </a:lnTo>
                  <a:lnTo>
                    <a:pt x="135" y="254"/>
                  </a:lnTo>
                  <a:lnTo>
                    <a:pt x="135" y="253"/>
                  </a:lnTo>
                  <a:lnTo>
                    <a:pt x="133" y="254"/>
                  </a:lnTo>
                  <a:lnTo>
                    <a:pt x="123" y="253"/>
                  </a:lnTo>
                  <a:lnTo>
                    <a:pt x="118" y="251"/>
                  </a:lnTo>
                  <a:lnTo>
                    <a:pt x="113" y="247"/>
                  </a:lnTo>
                  <a:lnTo>
                    <a:pt x="109" y="247"/>
                  </a:lnTo>
                  <a:lnTo>
                    <a:pt x="102" y="247"/>
                  </a:lnTo>
                  <a:lnTo>
                    <a:pt x="99" y="249"/>
                  </a:lnTo>
                  <a:lnTo>
                    <a:pt x="97" y="249"/>
                  </a:lnTo>
                  <a:lnTo>
                    <a:pt x="94" y="244"/>
                  </a:lnTo>
                  <a:lnTo>
                    <a:pt x="90" y="244"/>
                  </a:lnTo>
                  <a:lnTo>
                    <a:pt x="90" y="241"/>
                  </a:lnTo>
                  <a:lnTo>
                    <a:pt x="89" y="242"/>
                  </a:lnTo>
                  <a:lnTo>
                    <a:pt x="80" y="239"/>
                  </a:lnTo>
                  <a:lnTo>
                    <a:pt x="75" y="235"/>
                  </a:lnTo>
                  <a:lnTo>
                    <a:pt x="75" y="232"/>
                  </a:lnTo>
                  <a:lnTo>
                    <a:pt x="73" y="230"/>
                  </a:lnTo>
                  <a:lnTo>
                    <a:pt x="72" y="229"/>
                  </a:lnTo>
                  <a:lnTo>
                    <a:pt x="72" y="220"/>
                  </a:lnTo>
                  <a:lnTo>
                    <a:pt x="72" y="213"/>
                  </a:lnTo>
                  <a:lnTo>
                    <a:pt x="75" y="208"/>
                  </a:lnTo>
                  <a:lnTo>
                    <a:pt x="77" y="201"/>
                  </a:lnTo>
                  <a:lnTo>
                    <a:pt x="78" y="194"/>
                  </a:lnTo>
                  <a:lnTo>
                    <a:pt x="77" y="188"/>
                  </a:lnTo>
                  <a:lnTo>
                    <a:pt x="78" y="181"/>
                  </a:lnTo>
                  <a:lnTo>
                    <a:pt x="78" y="176"/>
                  </a:lnTo>
                  <a:lnTo>
                    <a:pt x="82" y="176"/>
                  </a:lnTo>
                  <a:lnTo>
                    <a:pt x="80" y="177"/>
                  </a:lnTo>
                  <a:lnTo>
                    <a:pt x="82" y="179"/>
                  </a:lnTo>
                  <a:lnTo>
                    <a:pt x="85" y="176"/>
                  </a:lnTo>
                  <a:lnTo>
                    <a:pt x="87" y="169"/>
                  </a:lnTo>
                  <a:lnTo>
                    <a:pt x="85" y="169"/>
                  </a:lnTo>
                  <a:lnTo>
                    <a:pt x="89" y="169"/>
                  </a:lnTo>
                  <a:lnTo>
                    <a:pt x="89" y="165"/>
                  </a:lnTo>
                  <a:lnTo>
                    <a:pt x="89" y="155"/>
                  </a:lnTo>
                  <a:lnTo>
                    <a:pt x="84" y="152"/>
                  </a:lnTo>
                  <a:lnTo>
                    <a:pt x="77" y="148"/>
                  </a:lnTo>
                  <a:lnTo>
                    <a:pt x="70" y="148"/>
                  </a:lnTo>
                  <a:lnTo>
                    <a:pt x="70" y="150"/>
                  </a:lnTo>
                  <a:lnTo>
                    <a:pt x="65" y="147"/>
                  </a:lnTo>
                  <a:lnTo>
                    <a:pt x="60" y="147"/>
                  </a:lnTo>
                  <a:lnTo>
                    <a:pt x="58" y="145"/>
                  </a:lnTo>
                  <a:lnTo>
                    <a:pt x="53" y="140"/>
                  </a:lnTo>
                  <a:lnTo>
                    <a:pt x="51" y="133"/>
                  </a:lnTo>
                  <a:lnTo>
                    <a:pt x="48" y="133"/>
                  </a:lnTo>
                  <a:lnTo>
                    <a:pt x="46" y="138"/>
                  </a:lnTo>
                  <a:lnTo>
                    <a:pt x="44" y="135"/>
                  </a:lnTo>
                  <a:lnTo>
                    <a:pt x="48" y="133"/>
                  </a:lnTo>
                  <a:lnTo>
                    <a:pt x="44" y="131"/>
                  </a:lnTo>
                  <a:lnTo>
                    <a:pt x="46" y="130"/>
                  </a:lnTo>
                  <a:lnTo>
                    <a:pt x="44" y="126"/>
                  </a:lnTo>
                  <a:lnTo>
                    <a:pt x="36" y="126"/>
                  </a:lnTo>
                  <a:lnTo>
                    <a:pt x="34" y="123"/>
                  </a:lnTo>
                  <a:lnTo>
                    <a:pt x="27" y="116"/>
                  </a:lnTo>
                  <a:lnTo>
                    <a:pt x="26" y="112"/>
                  </a:lnTo>
                  <a:lnTo>
                    <a:pt x="17" y="109"/>
                  </a:lnTo>
                  <a:lnTo>
                    <a:pt x="14" y="104"/>
                  </a:lnTo>
                  <a:lnTo>
                    <a:pt x="8" y="101"/>
                  </a:lnTo>
                  <a:lnTo>
                    <a:pt x="5" y="95"/>
                  </a:lnTo>
                  <a:lnTo>
                    <a:pt x="5" y="94"/>
                  </a:lnTo>
                  <a:lnTo>
                    <a:pt x="2" y="90"/>
                  </a:lnTo>
                  <a:lnTo>
                    <a:pt x="0" y="80"/>
                  </a:lnTo>
                  <a:lnTo>
                    <a:pt x="0" y="78"/>
                  </a:lnTo>
                  <a:lnTo>
                    <a:pt x="2" y="77"/>
                  </a:lnTo>
                  <a:lnTo>
                    <a:pt x="7" y="70"/>
                  </a:lnTo>
                  <a:lnTo>
                    <a:pt x="10" y="66"/>
                  </a:lnTo>
                  <a:lnTo>
                    <a:pt x="10" y="63"/>
                  </a:lnTo>
                  <a:lnTo>
                    <a:pt x="12" y="58"/>
                  </a:lnTo>
                  <a:lnTo>
                    <a:pt x="19" y="56"/>
                  </a:lnTo>
                  <a:lnTo>
                    <a:pt x="20" y="51"/>
                  </a:lnTo>
                  <a:lnTo>
                    <a:pt x="24" y="51"/>
                  </a:lnTo>
                  <a:lnTo>
                    <a:pt x="22" y="49"/>
                  </a:lnTo>
                  <a:lnTo>
                    <a:pt x="22" y="41"/>
                  </a:lnTo>
                  <a:lnTo>
                    <a:pt x="20" y="39"/>
                  </a:lnTo>
                  <a:lnTo>
                    <a:pt x="24" y="36"/>
                  </a:lnTo>
                  <a:lnTo>
                    <a:pt x="20" y="32"/>
                  </a:lnTo>
                  <a:lnTo>
                    <a:pt x="22" y="31"/>
                  </a:lnTo>
                  <a:lnTo>
                    <a:pt x="26" y="31"/>
                  </a:lnTo>
                  <a:lnTo>
                    <a:pt x="26" y="29"/>
                  </a:lnTo>
                  <a:lnTo>
                    <a:pt x="27" y="29"/>
                  </a:lnTo>
                  <a:lnTo>
                    <a:pt x="27" y="27"/>
                  </a:lnTo>
                  <a:lnTo>
                    <a:pt x="26" y="27"/>
                  </a:lnTo>
                  <a:lnTo>
                    <a:pt x="24" y="22"/>
                  </a:lnTo>
                  <a:lnTo>
                    <a:pt x="26" y="24"/>
                  </a:lnTo>
                  <a:lnTo>
                    <a:pt x="27" y="20"/>
                  </a:lnTo>
                  <a:lnTo>
                    <a:pt x="24" y="13"/>
                  </a:lnTo>
                  <a:lnTo>
                    <a:pt x="26" y="10"/>
                  </a:lnTo>
                  <a:lnTo>
                    <a:pt x="24" y="10"/>
                  </a:lnTo>
                  <a:lnTo>
                    <a:pt x="24" y="12"/>
                  </a:lnTo>
                  <a:lnTo>
                    <a:pt x="22" y="10"/>
                  </a:lnTo>
                  <a:lnTo>
                    <a:pt x="20" y="3"/>
                  </a:lnTo>
                  <a:lnTo>
                    <a:pt x="19" y="8"/>
                  </a:lnTo>
                  <a:lnTo>
                    <a:pt x="15" y="8"/>
                  </a:lnTo>
                  <a:lnTo>
                    <a:pt x="17" y="12"/>
                  </a:lnTo>
                  <a:lnTo>
                    <a:pt x="15" y="12"/>
                  </a:lnTo>
                  <a:lnTo>
                    <a:pt x="15" y="7"/>
                  </a:lnTo>
                  <a:lnTo>
                    <a:pt x="19" y="5"/>
                  </a:lnTo>
                  <a:lnTo>
                    <a:pt x="20" y="1"/>
                  </a:lnTo>
                  <a:lnTo>
                    <a:pt x="26" y="0"/>
                  </a:lnTo>
                  <a:lnTo>
                    <a:pt x="34" y="5"/>
                  </a:lnTo>
                  <a:lnTo>
                    <a:pt x="36" y="5"/>
                  </a:lnTo>
                  <a:lnTo>
                    <a:pt x="39" y="10"/>
                  </a:lnTo>
                  <a:lnTo>
                    <a:pt x="43" y="10"/>
                  </a:lnTo>
                  <a:lnTo>
                    <a:pt x="46" y="7"/>
                  </a:lnTo>
                  <a:lnTo>
                    <a:pt x="55" y="5"/>
                  </a:lnTo>
                  <a:lnTo>
                    <a:pt x="56" y="7"/>
                  </a:lnTo>
                  <a:lnTo>
                    <a:pt x="60" y="15"/>
                  </a:lnTo>
                  <a:lnTo>
                    <a:pt x="55" y="20"/>
                  </a:lnTo>
                  <a:lnTo>
                    <a:pt x="60" y="24"/>
                  </a:lnTo>
                  <a:lnTo>
                    <a:pt x="63" y="25"/>
                  </a:lnTo>
                  <a:lnTo>
                    <a:pt x="67" y="29"/>
                  </a:lnTo>
                  <a:lnTo>
                    <a:pt x="72" y="27"/>
                  </a:lnTo>
                  <a:lnTo>
                    <a:pt x="78" y="22"/>
                  </a:lnTo>
                  <a:lnTo>
                    <a:pt x="82" y="17"/>
                  </a:lnTo>
                  <a:lnTo>
                    <a:pt x="87" y="15"/>
                  </a:lnTo>
                  <a:lnTo>
                    <a:pt x="97" y="1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0" name="Freeform 67"/>
            <p:cNvSpPr>
              <a:spLocks noEditPoints="1"/>
            </p:cNvSpPr>
            <p:nvPr/>
          </p:nvSpPr>
          <p:spPr bwMode="gray">
            <a:xfrm>
              <a:off x="5714747" y="3568797"/>
              <a:ext cx="1019718" cy="1245917"/>
            </a:xfrm>
            <a:custGeom>
              <a:avLst/>
              <a:gdLst>
                <a:gd name="T0" fmla="*/ 17 w 559"/>
                <a:gd name="T1" fmla="*/ 676 h 683"/>
                <a:gd name="T2" fmla="*/ 0 w 559"/>
                <a:gd name="T3" fmla="*/ 671 h 683"/>
                <a:gd name="T4" fmla="*/ 84 w 559"/>
                <a:gd name="T5" fmla="*/ 664 h 683"/>
                <a:gd name="T6" fmla="*/ 547 w 559"/>
                <a:gd name="T7" fmla="*/ 659 h 683"/>
                <a:gd name="T8" fmla="*/ 470 w 559"/>
                <a:gd name="T9" fmla="*/ 649 h 683"/>
                <a:gd name="T10" fmla="*/ 460 w 559"/>
                <a:gd name="T11" fmla="*/ 645 h 683"/>
                <a:gd name="T12" fmla="*/ 547 w 559"/>
                <a:gd name="T13" fmla="*/ 639 h 683"/>
                <a:gd name="T14" fmla="*/ 412 w 559"/>
                <a:gd name="T15" fmla="*/ 625 h 683"/>
                <a:gd name="T16" fmla="*/ 427 w 559"/>
                <a:gd name="T17" fmla="*/ 622 h 683"/>
                <a:gd name="T18" fmla="*/ 415 w 559"/>
                <a:gd name="T19" fmla="*/ 625 h 683"/>
                <a:gd name="T20" fmla="*/ 234 w 559"/>
                <a:gd name="T21" fmla="*/ 593 h 683"/>
                <a:gd name="T22" fmla="*/ 434 w 559"/>
                <a:gd name="T23" fmla="*/ 586 h 683"/>
                <a:gd name="T24" fmla="*/ 391 w 559"/>
                <a:gd name="T25" fmla="*/ 562 h 683"/>
                <a:gd name="T26" fmla="*/ 391 w 559"/>
                <a:gd name="T27" fmla="*/ 505 h 683"/>
                <a:gd name="T28" fmla="*/ 400 w 559"/>
                <a:gd name="T29" fmla="*/ 470 h 683"/>
                <a:gd name="T30" fmla="*/ 403 w 559"/>
                <a:gd name="T31" fmla="*/ 519 h 683"/>
                <a:gd name="T32" fmla="*/ 395 w 559"/>
                <a:gd name="T33" fmla="*/ 538 h 683"/>
                <a:gd name="T34" fmla="*/ 396 w 559"/>
                <a:gd name="T35" fmla="*/ 504 h 683"/>
                <a:gd name="T36" fmla="*/ 400 w 559"/>
                <a:gd name="T37" fmla="*/ 463 h 683"/>
                <a:gd name="T38" fmla="*/ 256 w 559"/>
                <a:gd name="T39" fmla="*/ 432 h 683"/>
                <a:gd name="T40" fmla="*/ 255 w 559"/>
                <a:gd name="T41" fmla="*/ 432 h 683"/>
                <a:gd name="T42" fmla="*/ 248 w 559"/>
                <a:gd name="T43" fmla="*/ 425 h 683"/>
                <a:gd name="T44" fmla="*/ 93 w 559"/>
                <a:gd name="T45" fmla="*/ 415 h 683"/>
                <a:gd name="T46" fmla="*/ 120 w 559"/>
                <a:gd name="T47" fmla="*/ 386 h 683"/>
                <a:gd name="T48" fmla="*/ 279 w 559"/>
                <a:gd name="T49" fmla="*/ 215 h 683"/>
                <a:gd name="T50" fmla="*/ 524 w 559"/>
                <a:gd name="T51" fmla="*/ 128 h 683"/>
                <a:gd name="T52" fmla="*/ 489 w 559"/>
                <a:gd name="T53" fmla="*/ 116 h 683"/>
                <a:gd name="T54" fmla="*/ 463 w 559"/>
                <a:gd name="T55" fmla="*/ 109 h 683"/>
                <a:gd name="T56" fmla="*/ 466 w 559"/>
                <a:gd name="T57" fmla="*/ 97 h 683"/>
                <a:gd name="T58" fmla="*/ 441 w 559"/>
                <a:gd name="T59" fmla="*/ 87 h 683"/>
                <a:gd name="T60" fmla="*/ 400 w 559"/>
                <a:gd name="T61" fmla="*/ 107 h 683"/>
                <a:gd name="T62" fmla="*/ 369 w 559"/>
                <a:gd name="T63" fmla="*/ 138 h 683"/>
                <a:gd name="T64" fmla="*/ 393 w 559"/>
                <a:gd name="T65" fmla="*/ 166 h 683"/>
                <a:gd name="T66" fmla="*/ 393 w 559"/>
                <a:gd name="T67" fmla="*/ 207 h 683"/>
                <a:gd name="T68" fmla="*/ 384 w 559"/>
                <a:gd name="T69" fmla="*/ 256 h 683"/>
                <a:gd name="T70" fmla="*/ 390 w 559"/>
                <a:gd name="T71" fmla="*/ 311 h 683"/>
                <a:gd name="T72" fmla="*/ 378 w 559"/>
                <a:gd name="T73" fmla="*/ 359 h 683"/>
                <a:gd name="T74" fmla="*/ 376 w 559"/>
                <a:gd name="T75" fmla="*/ 386 h 683"/>
                <a:gd name="T76" fmla="*/ 395 w 559"/>
                <a:gd name="T77" fmla="*/ 430 h 683"/>
                <a:gd name="T78" fmla="*/ 347 w 559"/>
                <a:gd name="T79" fmla="*/ 442 h 683"/>
                <a:gd name="T80" fmla="*/ 323 w 559"/>
                <a:gd name="T81" fmla="*/ 451 h 683"/>
                <a:gd name="T82" fmla="*/ 287 w 559"/>
                <a:gd name="T83" fmla="*/ 451 h 683"/>
                <a:gd name="T84" fmla="*/ 279 w 559"/>
                <a:gd name="T85" fmla="*/ 446 h 683"/>
                <a:gd name="T86" fmla="*/ 265 w 559"/>
                <a:gd name="T87" fmla="*/ 415 h 683"/>
                <a:gd name="T88" fmla="*/ 275 w 559"/>
                <a:gd name="T89" fmla="*/ 382 h 683"/>
                <a:gd name="T90" fmla="*/ 284 w 559"/>
                <a:gd name="T91" fmla="*/ 338 h 683"/>
                <a:gd name="T92" fmla="*/ 299 w 559"/>
                <a:gd name="T93" fmla="*/ 289 h 683"/>
                <a:gd name="T94" fmla="*/ 297 w 559"/>
                <a:gd name="T95" fmla="*/ 249 h 683"/>
                <a:gd name="T96" fmla="*/ 285 w 559"/>
                <a:gd name="T97" fmla="*/ 241 h 683"/>
                <a:gd name="T98" fmla="*/ 277 w 559"/>
                <a:gd name="T99" fmla="*/ 210 h 683"/>
                <a:gd name="T100" fmla="*/ 275 w 559"/>
                <a:gd name="T101" fmla="*/ 166 h 683"/>
                <a:gd name="T102" fmla="*/ 297 w 559"/>
                <a:gd name="T103" fmla="*/ 142 h 683"/>
                <a:gd name="T104" fmla="*/ 304 w 559"/>
                <a:gd name="T105" fmla="*/ 104 h 683"/>
                <a:gd name="T106" fmla="*/ 304 w 559"/>
                <a:gd name="T107" fmla="*/ 55 h 683"/>
                <a:gd name="T108" fmla="*/ 333 w 559"/>
                <a:gd name="T109" fmla="*/ 17 h 683"/>
                <a:gd name="T110" fmla="*/ 378 w 559"/>
                <a:gd name="T111" fmla="*/ 19 h 683"/>
                <a:gd name="T112" fmla="*/ 408 w 559"/>
                <a:gd name="T113" fmla="*/ 20 h 683"/>
                <a:gd name="T114" fmla="*/ 441 w 559"/>
                <a:gd name="T115" fmla="*/ 39 h 683"/>
                <a:gd name="T116" fmla="*/ 490 w 559"/>
                <a:gd name="T117" fmla="*/ 56 h 683"/>
                <a:gd name="T118" fmla="*/ 540 w 559"/>
                <a:gd name="T119" fmla="*/ 78 h 683"/>
                <a:gd name="T120" fmla="*/ 545 w 559"/>
                <a:gd name="T121" fmla="*/ 118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9" h="683">
                  <a:moveTo>
                    <a:pt x="33" y="681"/>
                  </a:moveTo>
                  <a:lnTo>
                    <a:pt x="35" y="681"/>
                  </a:lnTo>
                  <a:lnTo>
                    <a:pt x="35" y="683"/>
                  </a:lnTo>
                  <a:lnTo>
                    <a:pt x="33" y="683"/>
                  </a:lnTo>
                  <a:lnTo>
                    <a:pt x="33" y="681"/>
                  </a:lnTo>
                  <a:close/>
                  <a:moveTo>
                    <a:pt x="17" y="676"/>
                  </a:moveTo>
                  <a:lnTo>
                    <a:pt x="21" y="676"/>
                  </a:lnTo>
                  <a:lnTo>
                    <a:pt x="17" y="676"/>
                  </a:lnTo>
                  <a:lnTo>
                    <a:pt x="14" y="676"/>
                  </a:lnTo>
                  <a:lnTo>
                    <a:pt x="17" y="676"/>
                  </a:lnTo>
                  <a:close/>
                  <a:moveTo>
                    <a:pt x="31" y="675"/>
                  </a:moveTo>
                  <a:lnTo>
                    <a:pt x="33" y="675"/>
                  </a:lnTo>
                  <a:lnTo>
                    <a:pt x="33" y="676"/>
                  </a:lnTo>
                  <a:lnTo>
                    <a:pt x="31" y="676"/>
                  </a:lnTo>
                  <a:lnTo>
                    <a:pt x="31" y="675"/>
                  </a:lnTo>
                  <a:close/>
                  <a:moveTo>
                    <a:pt x="0" y="671"/>
                  </a:moveTo>
                  <a:lnTo>
                    <a:pt x="4" y="671"/>
                  </a:lnTo>
                  <a:lnTo>
                    <a:pt x="4" y="673"/>
                  </a:lnTo>
                  <a:lnTo>
                    <a:pt x="0" y="673"/>
                  </a:lnTo>
                  <a:lnTo>
                    <a:pt x="0" y="671"/>
                  </a:lnTo>
                  <a:close/>
                  <a:moveTo>
                    <a:pt x="36" y="669"/>
                  </a:moveTo>
                  <a:lnTo>
                    <a:pt x="38" y="669"/>
                  </a:lnTo>
                  <a:lnTo>
                    <a:pt x="38" y="673"/>
                  </a:lnTo>
                  <a:lnTo>
                    <a:pt x="36" y="673"/>
                  </a:lnTo>
                  <a:lnTo>
                    <a:pt x="36" y="669"/>
                  </a:lnTo>
                  <a:close/>
                  <a:moveTo>
                    <a:pt x="555" y="669"/>
                  </a:moveTo>
                  <a:lnTo>
                    <a:pt x="553" y="671"/>
                  </a:lnTo>
                  <a:lnTo>
                    <a:pt x="545" y="671"/>
                  </a:lnTo>
                  <a:lnTo>
                    <a:pt x="555" y="669"/>
                  </a:lnTo>
                  <a:close/>
                  <a:moveTo>
                    <a:pt x="84" y="664"/>
                  </a:moveTo>
                  <a:lnTo>
                    <a:pt x="86" y="664"/>
                  </a:lnTo>
                  <a:lnTo>
                    <a:pt x="86" y="668"/>
                  </a:lnTo>
                  <a:lnTo>
                    <a:pt x="84" y="668"/>
                  </a:lnTo>
                  <a:lnTo>
                    <a:pt x="84" y="664"/>
                  </a:lnTo>
                  <a:close/>
                  <a:moveTo>
                    <a:pt x="557" y="652"/>
                  </a:moveTo>
                  <a:lnTo>
                    <a:pt x="559" y="654"/>
                  </a:lnTo>
                  <a:lnTo>
                    <a:pt x="557" y="659"/>
                  </a:lnTo>
                  <a:lnTo>
                    <a:pt x="552" y="663"/>
                  </a:lnTo>
                  <a:lnTo>
                    <a:pt x="548" y="663"/>
                  </a:lnTo>
                  <a:lnTo>
                    <a:pt x="547" y="659"/>
                  </a:lnTo>
                  <a:lnTo>
                    <a:pt x="548" y="654"/>
                  </a:lnTo>
                  <a:lnTo>
                    <a:pt x="557" y="652"/>
                  </a:lnTo>
                  <a:close/>
                  <a:moveTo>
                    <a:pt x="470" y="649"/>
                  </a:moveTo>
                  <a:lnTo>
                    <a:pt x="478" y="654"/>
                  </a:lnTo>
                  <a:lnTo>
                    <a:pt x="478" y="657"/>
                  </a:lnTo>
                  <a:lnTo>
                    <a:pt x="470" y="661"/>
                  </a:lnTo>
                  <a:lnTo>
                    <a:pt x="466" y="657"/>
                  </a:lnTo>
                  <a:lnTo>
                    <a:pt x="468" y="656"/>
                  </a:lnTo>
                  <a:lnTo>
                    <a:pt x="468" y="649"/>
                  </a:lnTo>
                  <a:lnTo>
                    <a:pt x="470" y="649"/>
                  </a:lnTo>
                  <a:close/>
                  <a:moveTo>
                    <a:pt x="550" y="644"/>
                  </a:moveTo>
                  <a:lnTo>
                    <a:pt x="552" y="645"/>
                  </a:lnTo>
                  <a:lnTo>
                    <a:pt x="552" y="647"/>
                  </a:lnTo>
                  <a:lnTo>
                    <a:pt x="545" y="647"/>
                  </a:lnTo>
                  <a:lnTo>
                    <a:pt x="547" y="645"/>
                  </a:lnTo>
                  <a:lnTo>
                    <a:pt x="550" y="644"/>
                  </a:lnTo>
                  <a:close/>
                  <a:moveTo>
                    <a:pt x="437" y="644"/>
                  </a:moveTo>
                  <a:lnTo>
                    <a:pt x="446" y="645"/>
                  </a:lnTo>
                  <a:lnTo>
                    <a:pt x="449" y="647"/>
                  </a:lnTo>
                  <a:lnTo>
                    <a:pt x="460" y="645"/>
                  </a:lnTo>
                  <a:lnTo>
                    <a:pt x="466" y="649"/>
                  </a:lnTo>
                  <a:lnTo>
                    <a:pt x="465" y="652"/>
                  </a:lnTo>
                  <a:lnTo>
                    <a:pt x="458" y="652"/>
                  </a:lnTo>
                  <a:lnTo>
                    <a:pt x="449" y="649"/>
                  </a:lnTo>
                  <a:lnTo>
                    <a:pt x="446" y="649"/>
                  </a:lnTo>
                  <a:lnTo>
                    <a:pt x="441" y="647"/>
                  </a:lnTo>
                  <a:lnTo>
                    <a:pt x="439" y="649"/>
                  </a:lnTo>
                  <a:lnTo>
                    <a:pt x="434" y="645"/>
                  </a:lnTo>
                  <a:lnTo>
                    <a:pt x="437" y="644"/>
                  </a:lnTo>
                  <a:close/>
                  <a:moveTo>
                    <a:pt x="547" y="639"/>
                  </a:moveTo>
                  <a:lnTo>
                    <a:pt x="548" y="639"/>
                  </a:lnTo>
                  <a:lnTo>
                    <a:pt x="548" y="640"/>
                  </a:lnTo>
                  <a:lnTo>
                    <a:pt x="547" y="640"/>
                  </a:lnTo>
                  <a:lnTo>
                    <a:pt x="547" y="639"/>
                  </a:lnTo>
                  <a:close/>
                  <a:moveTo>
                    <a:pt x="149" y="634"/>
                  </a:moveTo>
                  <a:lnTo>
                    <a:pt x="144" y="637"/>
                  </a:lnTo>
                  <a:lnTo>
                    <a:pt x="149" y="634"/>
                  </a:lnTo>
                  <a:close/>
                  <a:moveTo>
                    <a:pt x="407" y="622"/>
                  </a:moveTo>
                  <a:lnTo>
                    <a:pt x="412" y="623"/>
                  </a:lnTo>
                  <a:lnTo>
                    <a:pt x="412" y="625"/>
                  </a:lnTo>
                  <a:lnTo>
                    <a:pt x="407" y="623"/>
                  </a:lnTo>
                  <a:lnTo>
                    <a:pt x="407" y="622"/>
                  </a:lnTo>
                  <a:close/>
                  <a:moveTo>
                    <a:pt x="118" y="622"/>
                  </a:moveTo>
                  <a:lnTo>
                    <a:pt x="122" y="622"/>
                  </a:lnTo>
                  <a:lnTo>
                    <a:pt x="122" y="623"/>
                  </a:lnTo>
                  <a:lnTo>
                    <a:pt x="118" y="623"/>
                  </a:lnTo>
                  <a:lnTo>
                    <a:pt x="118" y="622"/>
                  </a:lnTo>
                  <a:close/>
                  <a:moveTo>
                    <a:pt x="415" y="613"/>
                  </a:moveTo>
                  <a:lnTo>
                    <a:pt x="420" y="618"/>
                  </a:lnTo>
                  <a:lnTo>
                    <a:pt x="427" y="622"/>
                  </a:lnTo>
                  <a:lnTo>
                    <a:pt x="431" y="622"/>
                  </a:lnTo>
                  <a:lnTo>
                    <a:pt x="434" y="620"/>
                  </a:lnTo>
                  <a:lnTo>
                    <a:pt x="431" y="628"/>
                  </a:lnTo>
                  <a:lnTo>
                    <a:pt x="422" y="628"/>
                  </a:lnTo>
                  <a:lnTo>
                    <a:pt x="419" y="627"/>
                  </a:lnTo>
                  <a:lnTo>
                    <a:pt x="417" y="628"/>
                  </a:lnTo>
                  <a:lnTo>
                    <a:pt x="420" y="630"/>
                  </a:lnTo>
                  <a:lnTo>
                    <a:pt x="419" y="630"/>
                  </a:lnTo>
                  <a:lnTo>
                    <a:pt x="415" y="628"/>
                  </a:lnTo>
                  <a:lnTo>
                    <a:pt x="415" y="625"/>
                  </a:lnTo>
                  <a:lnTo>
                    <a:pt x="414" y="623"/>
                  </a:lnTo>
                  <a:lnTo>
                    <a:pt x="412" y="622"/>
                  </a:lnTo>
                  <a:lnTo>
                    <a:pt x="414" y="618"/>
                  </a:lnTo>
                  <a:lnTo>
                    <a:pt x="414" y="613"/>
                  </a:lnTo>
                  <a:lnTo>
                    <a:pt x="415" y="613"/>
                  </a:lnTo>
                  <a:close/>
                  <a:moveTo>
                    <a:pt x="234" y="593"/>
                  </a:moveTo>
                  <a:lnTo>
                    <a:pt x="234" y="596"/>
                  </a:lnTo>
                  <a:lnTo>
                    <a:pt x="231" y="596"/>
                  </a:lnTo>
                  <a:lnTo>
                    <a:pt x="231" y="594"/>
                  </a:lnTo>
                  <a:lnTo>
                    <a:pt x="234" y="593"/>
                  </a:lnTo>
                  <a:close/>
                  <a:moveTo>
                    <a:pt x="239" y="591"/>
                  </a:moveTo>
                  <a:lnTo>
                    <a:pt x="243" y="591"/>
                  </a:lnTo>
                  <a:lnTo>
                    <a:pt x="243" y="594"/>
                  </a:lnTo>
                  <a:lnTo>
                    <a:pt x="239" y="594"/>
                  </a:lnTo>
                  <a:lnTo>
                    <a:pt x="239" y="591"/>
                  </a:lnTo>
                  <a:close/>
                  <a:moveTo>
                    <a:pt x="436" y="587"/>
                  </a:moveTo>
                  <a:lnTo>
                    <a:pt x="437" y="593"/>
                  </a:lnTo>
                  <a:lnTo>
                    <a:pt x="434" y="596"/>
                  </a:lnTo>
                  <a:lnTo>
                    <a:pt x="432" y="589"/>
                  </a:lnTo>
                  <a:lnTo>
                    <a:pt x="434" y="586"/>
                  </a:lnTo>
                  <a:lnTo>
                    <a:pt x="436" y="587"/>
                  </a:lnTo>
                  <a:close/>
                  <a:moveTo>
                    <a:pt x="391" y="579"/>
                  </a:moveTo>
                  <a:lnTo>
                    <a:pt x="391" y="572"/>
                  </a:lnTo>
                  <a:lnTo>
                    <a:pt x="393" y="574"/>
                  </a:lnTo>
                  <a:lnTo>
                    <a:pt x="391" y="579"/>
                  </a:lnTo>
                  <a:close/>
                  <a:moveTo>
                    <a:pt x="393" y="563"/>
                  </a:moveTo>
                  <a:lnTo>
                    <a:pt x="393" y="569"/>
                  </a:lnTo>
                  <a:lnTo>
                    <a:pt x="391" y="569"/>
                  </a:lnTo>
                  <a:lnTo>
                    <a:pt x="390" y="563"/>
                  </a:lnTo>
                  <a:lnTo>
                    <a:pt x="391" y="562"/>
                  </a:lnTo>
                  <a:lnTo>
                    <a:pt x="393" y="563"/>
                  </a:lnTo>
                  <a:close/>
                  <a:moveTo>
                    <a:pt x="458" y="552"/>
                  </a:moveTo>
                  <a:lnTo>
                    <a:pt x="460" y="552"/>
                  </a:lnTo>
                  <a:lnTo>
                    <a:pt x="460" y="553"/>
                  </a:lnTo>
                  <a:lnTo>
                    <a:pt x="458" y="553"/>
                  </a:lnTo>
                  <a:lnTo>
                    <a:pt x="458" y="552"/>
                  </a:lnTo>
                  <a:close/>
                  <a:moveTo>
                    <a:pt x="391" y="548"/>
                  </a:moveTo>
                  <a:lnTo>
                    <a:pt x="391" y="552"/>
                  </a:lnTo>
                  <a:lnTo>
                    <a:pt x="391" y="548"/>
                  </a:lnTo>
                  <a:close/>
                  <a:moveTo>
                    <a:pt x="391" y="505"/>
                  </a:moveTo>
                  <a:lnTo>
                    <a:pt x="390" y="509"/>
                  </a:lnTo>
                  <a:lnTo>
                    <a:pt x="391" y="516"/>
                  </a:lnTo>
                  <a:lnTo>
                    <a:pt x="390" y="517"/>
                  </a:lnTo>
                  <a:lnTo>
                    <a:pt x="388" y="517"/>
                  </a:lnTo>
                  <a:lnTo>
                    <a:pt x="388" y="514"/>
                  </a:lnTo>
                  <a:lnTo>
                    <a:pt x="390" y="507"/>
                  </a:lnTo>
                  <a:lnTo>
                    <a:pt x="391" y="505"/>
                  </a:lnTo>
                  <a:close/>
                  <a:moveTo>
                    <a:pt x="400" y="464"/>
                  </a:moveTo>
                  <a:lnTo>
                    <a:pt x="402" y="466"/>
                  </a:lnTo>
                  <a:lnTo>
                    <a:pt x="400" y="470"/>
                  </a:lnTo>
                  <a:lnTo>
                    <a:pt x="403" y="473"/>
                  </a:lnTo>
                  <a:lnTo>
                    <a:pt x="405" y="482"/>
                  </a:lnTo>
                  <a:lnTo>
                    <a:pt x="407" y="492"/>
                  </a:lnTo>
                  <a:lnTo>
                    <a:pt x="408" y="499"/>
                  </a:lnTo>
                  <a:lnTo>
                    <a:pt x="407" y="502"/>
                  </a:lnTo>
                  <a:lnTo>
                    <a:pt x="407" y="507"/>
                  </a:lnTo>
                  <a:lnTo>
                    <a:pt x="405" y="507"/>
                  </a:lnTo>
                  <a:lnTo>
                    <a:pt x="407" y="509"/>
                  </a:lnTo>
                  <a:lnTo>
                    <a:pt x="403" y="516"/>
                  </a:lnTo>
                  <a:lnTo>
                    <a:pt x="403" y="519"/>
                  </a:lnTo>
                  <a:lnTo>
                    <a:pt x="405" y="523"/>
                  </a:lnTo>
                  <a:lnTo>
                    <a:pt x="405" y="531"/>
                  </a:lnTo>
                  <a:lnTo>
                    <a:pt x="402" y="533"/>
                  </a:lnTo>
                  <a:lnTo>
                    <a:pt x="400" y="540"/>
                  </a:lnTo>
                  <a:lnTo>
                    <a:pt x="402" y="546"/>
                  </a:lnTo>
                  <a:lnTo>
                    <a:pt x="398" y="552"/>
                  </a:lnTo>
                  <a:lnTo>
                    <a:pt x="396" y="545"/>
                  </a:lnTo>
                  <a:lnTo>
                    <a:pt x="395" y="541"/>
                  </a:lnTo>
                  <a:lnTo>
                    <a:pt x="396" y="541"/>
                  </a:lnTo>
                  <a:lnTo>
                    <a:pt x="395" y="538"/>
                  </a:lnTo>
                  <a:lnTo>
                    <a:pt x="396" y="538"/>
                  </a:lnTo>
                  <a:lnTo>
                    <a:pt x="396" y="528"/>
                  </a:lnTo>
                  <a:lnTo>
                    <a:pt x="398" y="526"/>
                  </a:lnTo>
                  <a:lnTo>
                    <a:pt x="393" y="524"/>
                  </a:lnTo>
                  <a:lnTo>
                    <a:pt x="393" y="517"/>
                  </a:lnTo>
                  <a:lnTo>
                    <a:pt x="391" y="516"/>
                  </a:lnTo>
                  <a:lnTo>
                    <a:pt x="393" y="512"/>
                  </a:lnTo>
                  <a:lnTo>
                    <a:pt x="391" y="514"/>
                  </a:lnTo>
                  <a:lnTo>
                    <a:pt x="393" y="512"/>
                  </a:lnTo>
                  <a:lnTo>
                    <a:pt x="396" y="504"/>
                  </a:lnTo>
                  <a:lnTo>
                    <a:pt x="395" y="500"/>
                  </a:lnTo>
                  <a:lnTo>
                    <a:pt x="395" y="493"/>
                  </a:lnTo>
                  <a:lnTo>
                    <a:pt x="393" y="487"/>
                  </a:lnTo>
                  <a:lnTo>
                    <a:pt x="395" y="480"/>
                  </a:lnTo>
                  <a:lnTo>
                    <a:pt x="395" y="475"/>
                  </a:lnTo>
                  <a:lnTo>
                    <a:pt x="396" y="468"/>
                  </a:lnTo>
                  <a:lnTo>
                    <a:pt x="400" y="464"/>
                  </a:lnTo>
                  <a:close/>
                  <a:moveTo>
                    <a:pt x="396" y="461"/>
                  </a:moveTo>
                  <a:lnTo>
                    <a:pt x="400" y="461"/>
                  </a:lnTo>
                  <a:lnTo>
                    <a:pt x="400" y="463"/>
                  </a:lnTo>
                  <a:lnTo>
                    <a:pt x="396" y="463"/>
                  </a:lnTo>
                  <a:lnTo>
                    <a:pt x="396" y="461"/>
                  </a:lnTo>
                  <a:close/>
                  <a:moveTo>
                    <a:pt x="391" y="449"/>
                  </a:moveTo>
                  <a:lnTo>
                    <a:pt x="393" y="449"/>
                  </a:lnTo>
                  <a:lnTo>
                    <a:pt x="393" y="451"/>
                  </a:lnTo>
                  <a:lnTo>
                    <a:pt x="391" y="451"/>
                  </a:lnTo>
                  <a:lnTo>
                    <a:pt x="391" y="449"/>
                  </a:lnTo>
                  <a:close/>
                  <a:moveTo>
                    <a:pt x="256" y="427"/>
                  </a:moveTo>
                  <a:lnTo>
                    <a:pt x="260" y="430"/>
                  </a:lnTo>
                  <a:lnTo>
                    <a:pt x="256" y="432"/>
                  </a:lnTo>
                  <a:lnTo>
                    <a:pt x="260" y="430"/>
                  </a:lnTo>
                  <a:lnTo>
                    <a:pt x="260" y="434"/>
                  </a:lnTo>
                  <a:lnTo>
                    <a:pt x="256" y="434"/>
                  </a:lnTo>
                  <a:lnTo>
                    <a:pt x="258" y="435"/>
                  </a:lnTo>
                  <a:lnTo>
                    <a:pt x="253" y="437"/>
                  </a:lnTo>
                  <a:lnTo>
                    <a:pt x="253" y="435"/>
                  </a:lnTo>
                  <a:lnTo>
                    <a:pt x="250" y="434"/>
                  </a:lnTo>
                  <a:lnTo>
                    <a:pt x="251" y="430"/>
                  </a:lnTo>
                  <a:lnTo>
                    <a:pt x="251" y="434"/>
                  </a:lnTo>
                  <a:lnTo>
                    <a:pt x="255" y="432"/>
                  </a:lnTo>
                  <a:lnTo>
                    <a:pt x="255" y="430"/>
                  </a:lnTo>
                  <a:lnTo>
                    <a:pt x="256" y="429"/>
                  </a:lnTo>
                  <a:lnTo>
                    <a:pt x="253" y="429"/>
                  </a:lnTo>
                  <a:lnTo>
                    <a:pt x="253" y="427"/>
                  </a:lnTo>
                  <a:lnTo>
                    <a:pt x="256" y="427"/>
                  </a:lnTo>
                  <a:close/>
                  <a:moveTo>
                    <a:pt x="248" y="425"/>
                  </a:moveTo>
                  <a:lnTo>
                    <a:pt x="250" y="425"/>
                  </a:lnTo>
                  <a:lnTo>
                    <a:pt x="250" y="429"/>
                  </a:lnTo>
                  <a:lnTo>
                    <a:pt x="248" y="429"/>
                  </a:lnTo>
                  <a:lnTo>
                    <a:pt x="248" y="425"/>
                  </a:lnTo>
                  <a:close/>
                  <a:moveTo>
                    <a:pt x="152" y="420"/>
                  </a:moveTo>
                  <a:lnTo>
                    <a:pt x="154" y="420"/>
                  </a:lnTo>
                  <a:lnTo>
                    <a:pt x="154" y="423"/>
                  </a:lnTo>
                  <a:lnTo>
                    <a:pt x="152" y="423"/>
                  </a:lnTo>
                  <a:lnTo>
                    <a:pt x="152" y="420"/>
                  </a:lnTo>
                  <a:close/>
                  <a:moveTo>
                    <a:pt x="93" y="415"/>
                  </a:moveTo>
                  <a:lnTo>
                    <a:pt x="96" y="418"/>
                  </a:lnTo>
                  <a:lnTo>
                    <a:pt x="96" y="422"/>
                  </a:lnTo>
                  <a:lnTo>
                    <a:pt x="93" y="420"/>
                  </a:lnTo>
                  <a:lnTo>
                    <a:pt x="93" y="415"/>
                  </a:lnTo>
                  <a:close/>
                  <a:moveTo>
                    <a:pt x="89" y="408"/>
                  </a:moveTo>
                  <a:lnTo>
                    <a:pt x="87" y="401"/>
                  </a:lnTo>
                  <a:lnTo>
                    <a:pt x="89" y="405"/>
                  </a:lnTo>
                  <a:lnTo>
                    <a:pt x="89" y="408"/>
                  </a:lnTo>
                  <a:close/>
                  <a:moveTo>
                    <a:pt x="60" y="400"/>
                  </a:moveTo>
                  <a:lnTo>
                    <a:pt x="62" y="394"/>
                  </a:lnTo>
                  <a:lnTo>
                    <a:pt x="64" y="396"/>
                  </a:lnTo>
                  <a:lnTo>
                    <a:pt x="60" y="400"/>
                  </a:lnTo>
                  <a:close/>
                  <a:moveTo>
                    <a:pt x="118" y="386"/>
                  </a:moveTo>
                  <a:lnTo>
                    <a:pt x="120" y="386"/>
                  </a:lnTo>
                  <a:lnTo>
                    <a:pt x="120" y="389"/>
                  </a:lnTo>
                  <a:lnTo>
                    <a:pt x="118" y="389"/>
                  </a:lnTo>
                  <a:lnTo>
                    <a:pt x="118" y="386"/>
                  </a:lnTo>
                  <a:close/>
                  <a:moveTo>
                    <a:pt x="292" y="294"/>
                  </a:moveTo>
                  <a:lnTo>
                    <a:pt x="294" y="294"/>
                  </a:lnTo>
                  <a:lnTo>
                    <a:pt x="294" y="297"/>
                  </a:lnTo>
                  <a:lnTo>
                    <a:pt x="292" y="297"/>
                  </a:lnTo>
                  <a:lnTo>
                    <a:pt x="292" y="294"/>
                  </a:lnTo>
                  <a:close/>
                  <a:moveTo>
                    <a:pt x="279" y="212"/>
                  </a:moveTo>
                  <a:lnTo>
                    <a:pt x="279" y="215"/>
                  </a:lnTo>
                  <a:lnTo>
                    <a:pt x="282" y="215"/>
                  </a:lnTo>
                  <a:lnTo>
                    <a:pt x="280" y="218"/>
                  </a:lnTo>
                  <a:lnTo>
                    <a:pt x="279" y="215"/>
                  </a:lnTo>
                  <a:lnTo>
                    <a:pt x="275" y="215"/>
                  </a:lnTo>
                  <a:lnTo>
                    <a:pt x="277" y="212"/>
                  </a:lnTo>
                  <a:lnTo>
                    <a:pt x="279" y="212"/>
                  </a:lnTo>
                  <a:close/>
                  <a:moveTo>
                    <a:pt x="543" y="119"/>
                  </a:moveTo>
                  <a:lnTo>
                    <a:pt x="533" y="121"/>
                  </a:lnTo>
                  <a:lnTo>
                    <a:pt x="528" y="123"/>
                  </a:lnTo>
                  <a:lnTo>
                    <a:pt x="524" y="128"/>
                  </a:lnTo>
                  <a:lnTo>
                    <a:pt x="518" y="133"/>
                  </a:lnTo>
                  <a:lnTo>
                    <a:pt x="513" y="135"/>
                  </a:lnTo>
                  <a:lnTo>
                    <a:pt x="509" y="131"/>
                  </a:lnTo>
                  <a:lnTo>
                    <a:pt x="506" y="130"/>
                  </a:lnTo>
                  <a:lnTo>
                    <a:pt x="501" y="126"/>
                  </a:lnTo>
                  <a:lnTo>
                    <a:pt x="506" y="121"/>
                  </a:lnTo>
                  <a:lnTo>
                    <a:pt x="502" y="113"/>
                  </a:lnTo>
                  <a:lnTo>
                    <a:pt x="501" y="111"/>
                  </a:lnTo>
                  <a:lnTo>
                    <a:pt x="492" y="113"/>
                  </a:lnTo>
                  <a:lnTo>
                    <a:pt x="489" y="116"/>
                  </a:lnTo>
                  <a:lnTo>
                    <a:pt x="485" y="116"/>
                  </a:lnTo>
                  <a:lnTo>
                    <a:pt x="482" y="111"/>
                  </a:lnTo>
                  <a:lnTo>
                    <a:pt x="480" y="111"/>
                  </a:lnTo>
                  <a:lnTo>
                    <a:pt x="472" y="106"/>
                  </a:lnTo>
                  <a:lnTo>
                    <a:pt x="466" y="107"/>
                  </a:lnTo>
                  <a:lnTo>
                    <a:pt x="465" y="111"/>
                  </a:lnTo>
                  <a:lnTo>
                    <a:pt x="461" y="113"/>
                  </a:lnTo>
                  <a:lnTo>
                    <a:pt x="460" y="109"/>
                  </a:lnTo>
                  <a:lnTo>
                    <a:pt x="461" y="111"/>
                  </a:lnTo>
                  <a:lnTo>
                    <a:pt x="463" y="109"/>
                  </a:lnTo>
                  <a:lnTo>
                    <a:pt x="465" y="111"/>
                  </a:lnTo>
                  <a:lnTo>
                    <a:pt x="466" y="106"/>
                  </a:lnTo>
                  <a:lnTo>
                    <a:pt x="470" y="106"/>
                  </a:lnTo>
                  <a:lnTo>
                    <a:pt x="470" y="102"/>
                  </a:lnTo>
                  <a:lnTo>
                    <a:pt x="472" y="102"/>
                  </a:lnTo>
                  <a:lnTo>
                    <a:pt x="473" y="99"/>
                  </a:lnTo>
                  <a:lnTo>
                    <a:pt x="472" y="97"/>
                  </a:lnTo>
                  <a:lnTo>
                    <a:pt x="468" y="97"/>
                  </a:lnTo>
                  <a:lnTo>
                    <a:pt x="468" y="96"/>
                  </a:lnTo>
                  <a:lnTo>
                    <a:pt x="466" y="97"/>
                  </a:lnTo>
                  <a:lnTo>
                    <a:pt x="466" y="94"/>
                  </a:lnTo>
                  <a:lnTo>
                    <a:pt x="468" y="92"/>
                  </a:lnTo>
                  <a:lnTo>
                    <a:pt x="465" y="90"/>
                  </a:lnTo>
                  <a:lnTo>
                    <a:pt x="465" y="94"/>
                  </a:lnTo>
                  <a:lnTo>
                    <a:pt x="461" y="94"/>
                  </a:lnTo>
                  <a:lnTo>
                    <a:pt x="460" y="92"/>
                  </a:lnTo>
                  <a:lnTo>
                    <a:pt x="451" y="92"/>
                  </a:lnTo>
                  <a:lnTo>
                    <a:pt x="449" y="90"/>
                  </a:lnTo>
                  <a:lnTo>
                    <a:pt x="444" y="92"/>
                  </a:lnTo>
                  <a:lnTo>
                    <a:pt x="441" y="87"/>
                  </a:lnTo>
                  <a:lnTo>
                    <a:pt x="432" y="87"/>
                  </a:lnTo>
                  <a:lnTo>
                    <a:pt x="432" y="89"/>
                  </a:lnTo>
                  <a:lnTo>
                    <a:pt x="422" y="90"/>
                  </a:lnTo>
                  <a:lnTo>
                    <a:pt x="422" y="92"/>
                  </a:lnTo>
                  <a:lnTo>
                    <a:pt x="419" y="96"/>
                  </a:lnTo>
                  <a:lnTo>
                    <a:pt x="412" y="96"/>
                  </a:lnTo>
                  <a:lnTo>
                    <a:pt x="410" y="96"/>
                  </a:lnTo>
                  <a:lnTo>
                    <a:pt x="412" y="97"/>
                  </a:lnTo>
                  <a:lnTo>
                    <a:pt x="407" y="104"/>
                  </a:lnTo>
                  <a:lnTo>
                    <a:pt x="400" y="107"/>
                  </a:lnTo>
                  <a:lnTo>
                    <a:pt x="396" y="113"/>
                  </a:lnTo>
                  <a:lnTo>
                    <a:pt x="395" y="113"/>
                  </a:lnTo>
                  <a:lnTo>
                    <a:pt x="384" y="118"/>
                  </a:lnTo>
                  <a:lnTo>
                    <a:pt x="381" y="121"/>
                  </a:lnTo>
                  <a:lnTo>
                    <a:pt x="376" y="123"/>
                  </a:lnTo>
                  <a:lnTo>
                    <a:pt x="373" y="126"/>
                  </a:lnTo>
                  <a:lnTo>
                    <a:pt x="366" y="128"/>
                  </a:lnTo>
                  <a:lnTo>
                    <a:pt x="366" y="130"/>
                  </a:lnTo>
                  <a:lnTo>
                    <a:pt x="367" y="131"/>
                  </a:lnTo>
                  <a:lnTo>
                    <a:pt x="369" y="138"/>
                  </a:lnTo>
                  <a:lnTo>
                    <a:pt x="373" y="140"/>
                  </a:lnTo>
                  <a:lnTo>
                    <a:pt x="374" y="143"/>
                  </a:lnTo>
                  <a:lnTo>
                    <a:pt x="373" y="152"/>
                  </a:lnTo>
                  <a:lnTo>
                    <a:pt x="378" y="154"/>
                  </a:lnTo>
                  <a:lnTo>
                    <a:pt x="384" y="157"/>
                  </a:lnTo>
                  <a:lnTo>
                    <a:pt x="388" y="157"/>
                  </a:lnTo>
                  <a:lnTo>
                    <a:pt x="390" y="164"/>
                  </a:lnTo>
                  <a:lnTo>
                    <a:pt x="391" y="164"/>
                  </a:lnTo>
                  <a:lnTo>
                    <a:pt x="391" y="162"/>
                  </a:lnTo>
                  <a:lnTo>
                    <a:pt x="393" y="166"/>
                  </a:lnTo>
                  <a:lnTo>
                    <a:pt x="390" y="167"/>
                  </a:lnTo>
                  <a:lnTo>
                    <a:pt x="391" y="169"/>
                  </a:lnTo>
                  <a:lnTo>
                    <a:pt x="390" y="171"/>
                  </a:lnTo>
                  <a:lnTo>
                    <a:pt x="391" y="174"/>
                  </a:lnTo>
                  <a:lnTo>
                    <a:pt x="390" y="177"/>
                  </a:lnTo>
                  <a:lnTo>
                    <a:pt x="391" y="184"/>
                  </a:lnTo>
                  <a:lnTo>
                    <a:pt x="390" y="186"/>
                  </a:lnTo>
                  <a:lnTo>
                    <a:pt x="388" y="193"/>
                  </a:lnTo>
                  <a:lnTo>
                    <a:pt x="391" y="201"/>
                  </a:lnTo>
                  <a:lnTo>
                    <a:pt x="393" y="207"/>
                  </a:lnTo>
                  <a:lnTo>
                    <a:pt x="391" y="213"/>
                  </a:lnTo>
                  <a:lnTo>
                    <a:pt x="395" y="215"/>
                  </a:lnTo>
                  <a:lnTo>
                    <a:pt x="395" y="222"/>
                  </a:lnTo>
                  <a:lnTo>
                    <a:pt x="390" y="227"/>
                  </a:lnTo>
                  <a:lnTo>
                    <a:pt x="386" y="234"/>
                  </a:lnTo>
                  <a:lnTo>
                    <a:pt x="384" y="236"/>
                  </a:lnTo>
                  <a:lnTo>
                    <a:pt x="383" y="246"/>
                  </a:lnTo>
                  <a:lnTo>
                    <a:pt x="384" y="249"/>
                  </a:lnTo>
                  <a:lnTo>
                    <a:pt x="383" y="253"/>
                  </a:lnTo>
                  <a:lnTo>
                    <a:pt x="384" y="256"/>
                  </a:lnTo>
                  <a:lnTo>
                    <a:pt x="384" y="261"/>
                  </a:lnTo>
                  <a:lnTo>
                    <a:pt x="381" y="265"/>
                  </a:lnTo>
                  <a:lnTo>
                    <a:pt x="388" y="273"/>
                  </a:lnTo>
                  <a:lnTo>
                    <a:pt x="386" y="280"/>
                  </a:lnTo>
                  <a:lnTo>
                    <a:pt x="384" y="289"/>
                  </a:lnTo>
                  <a:lnTo>
                    <a:pt x="388" y="292"/>
                  </a:lnTo>
                  <a:lnTo>
                    <a:pt x="386" y="297"/>
                  </a:lnTo>
                  <a:lnTo>
                    <a:pt x="384" y="297"/>
                  </a:lnTo>
                  <a:lnTo>
                    <a:pt x="383" y="304"/>
                  </a:lnTo>
                  <a:lnTo>
                    <a:pt x="390" y="311"/>
                  </a:lnTo>
                  <a:lnTo>
                    <a:pt x="386" y="314"/>
                  </a:lnTo>
                  <a:lnTo>
                    <a:pt x="388" y="316"/>
                  </a:lnTo>
                  <a:lnTo>
                    <a:pt x="390" y="324"/>
                  </a:lnTo>
                  <a:lnTo>
                    <a:pt x="396" y="331"/>
                  </a:lnTo>
                  <a:lnTo>
                    <a:pt x="390" y="338"/>
                  </a:lnTo>
                  <a:lnTo>
                    <a:pt x="390" y="343"/>
                  </a:lnTo>
                  <a:lnTo>
                    <a:pt x="386" y="350"/>
                  </a:lnTo>
                  <a:lnTo>
                    <a:pt x="388" y="353"/>
                  </a:lnTo>
                  <a:lnTo>
                    <a:pt x="381" y="353"/>
                  </a:lnTo>
                  <a:lnTo>
                    <a:pt x="378" y="359"/>
                  </a:lnTo>
                  <a:lnTo>
                    <a:pt x="378" y="362"/>
                  </a:lnTo>
                  <a:lnTo>
                    <a:pt x="376" y="364"/>
                  </a:lnTo>
                  <a:lnTo>
                    <a:pt x="378" y="365"/>
                  </a:lnTo>
                  <a:lnTo>
                    <a:pt x="376" y="367"/>
                  </a:lnTo>
                  <a:lnTo>
                    <a:pt x="378" y="372"/>
                  </a:lnTo>
                  <a:lnTo>
                    <a:pt x="376" y="377"/>
                  </a:lnTo>
                  <a:lnTo>
                    <a:pt x="378" y="379"/>
                  </a:lnTo>
                  <a:lnTo>
                    <a:pt x="376" y="386"/>
                  </a:lnTo>
                  <a:lnTo>
                    <a:pt x="374" y="386"/>
                  </a:lnTo>
                  <a:lnTo>
                    <a:pt x="376" y="386"/>
                  </a:lnTo>
                  <a:lnTo>
                    <a:pt x="374" y="389"/>
                  </a:lnTo>
                  <a:lnTo>
                    <a:pt x="378" y="398"/>
                  </a:lnTo>
                  <a:lnTo>
                    <a:pt x="381" y="406"/>
                  </a:lnTo>
                  <a:lnTo>
                    <a:pt x="384" y="410"/>
                  </a:lnTo>
                  <a:lnTo>
                    <a:pt x="384" y="411"/>
                  </a:lnTo>
                  <a:lnTo>
                    <a:pt x="390" y="413"/>
                  </a:lnTo>
                  <a:lnTo>
                    <a:pt x="390" y="418"/>
                  </a:lnTo>
                  <a:lnTo>
                    <a:pt x="393" y="427"/>
                  </a:lnTo>
                  <a:lnTo>
                    <a:pt x="391" y="429"/>
                  </a:lnTo>
                  <a:lnTo>
                    <a:pt x="395" y="430"/>
                  </a:lnTo>
                  <a:lnTo>
                    <a:pt x="395" y="439"/>
                  </a:lnTo>
                  <a:lnTo>
                    <a:pt x="396" y="447"/>
                  </a:lnTo>
                  <a:lnTo>
                    <a:pt x="388" y="442"/>
                  </a:lnTo>
                  <a:lnTo>
                    <a:pt x="383" y="435"/>
                  </a:lnTo>
                  <a:lnTo>
                    <a:pt x="379" y="434"/>
                  </a:lnTo>
                  <a:lnTo>
                    <a:pt x="374" y="437"/>
                  </a:lnTo>
                  <a:lnTo>
                    <a:pt x="367" y="437"/>
                  </a:lnTo>
                  <a:lnTo>
                    <a:pt x="364" y="441"/>
                  </a:lnTo>
                  <a:lnTo>
                    <a:pt x="355" y="444"/>
                  </a:lnTo>
                  <a:lnTo>
                    <a:pt x="347" y="442"/>
                  </a:lnTo>
                  <a:lnTo>
                    <a:pt x="342" y="441"/>
                  </a:lnTo>
                  <a:lnTo>
                    <a:pt x="333" y="437"/>
                  </a:lnTo>
                  <a:lnTo>
                    <a:pt x="332" y="439"/>
                  </a:lnTo>
                  <a:lnTo>
                    <a:pt x="325" y="446"/>
                  </a:lnTo>
                  <a:lnTo>
                    <a:pt x="323" y="449"/>
                  </a:lnTo>
                  <a:lnTo>
                    <a:pt x="321" y="449"/>
                  </a:lnTo>
                  <a:lnTo>
                    <a:pt x="321" y="451"/>
                  </a:lnTo>
                  <a:lnTo>
                    <a:pt x="320" y="452"/>
                  </a:lnTo>
                  <a:lnTo>
                    <a:pt x="321" y="452"/>
                  </a:lnTo>
                  <a:lnTo>
                    <a:pt x="323" y="451"/>
                  </a:lnTo>
                  <a:lnTo>
                    <a:pt x="321" y="452"/>
                  </a:lnTo>
                  <a:lnTo>
                    <a:pt x="316" y="456"/>
                  </a:lnTo>
                  <a:lnTo>
                    <a:pt x="306" y="458"/>
                  </a:lnTo>
                  <a:lnTo>
                    <a:pt x="297" y="454"/>
                  </a:lnTo>
                  <a:lnTo>
                    <a:pt x="297" y="452"/>
                  </a:lnTo>
                  <a:lnTo>
                    <a:pt x="299" y="449"/>
                  </a:lnTo>
                  <a:lnTo>
                    <a:pt x="294" y="446"/>
                  </a:lnTo>
                  <a:lnTo>
                    <a:pt x="291" y="446"/>
                  </a:lnTo>
                  <a:lnTo>
                    <a:pt x="291" y="451"/>
                  </a:lnTo>
                  <a:lnTo>
                    <a:pt x="287" y="451"/>
                  </a:lnTo>
                  <a:lnTo>
                    <a:pt x="285" y="449"/>
                  </a:lnTo>
                  <a:lnTo>
                    <a:pt x="287" y="444"/>
                  </a:lnTo>
                  <a:lnTo>
                    <a:pt x="282" y="441"/>
                  </a:lnTo>
                  <a:lnTo>
                    <a:pt x="284" y="437"/>
                  </a:lnTo>
                  <a:lnTo>
                    <a:pt x="282" y="439"/>
                  </a:lnTo>
                  <a:lnTo>
                    <a:pt x="279" y="439"/>
                  </a:lnTo>
                  <a:lnTo>
                    <a:pt x="275" y="442"/>
                  </a:lnTo>
                  <a:lnTo>
                    <a:pt x="279" y="444"/>
                  </a:lnTo>
                  <a:lnTo>
                    <a:pt x="279" y="442"/>
                  </a:lnTo>
                  <a:lnTo>
                    <a:pt x="279" y="446"/>
                  </a:lnTo>
                  <a:lnTo>
                    <a:pt x="277" y="446"/>
                  </a:lnTo>
                  <a:lnTo>
                    <a:pt x="272" y="442"/>
                  </a:lnTo>
                  <a:lnTo>
                    <a:pt x="272" y="439"/>
                  </a:lnTo>
                  <a:lnTo>
                    <a:pt x="274" y="437"/>
                  </a:lnTo>
                  <a:lnTo>
                    <a:pt x="270" y="432"/>
                  </a:lnTo>
                  <a:lnTo>
                    <a:pt x="272" y="430"/>
                  </a:lnTo>
                  <a:lnTo>
                    <a:pt x="272" y="429"/>
                  </a:lnTo>
                  <a:lnTo>
                    <a:pt x="270" y="432"/>
                  </a:lnTo>
                  <a:lnTo>
                    <a:pt x="265" y="423"/>
                  </a:lnTo>
                  <a:lnTo>
                    <a:pt x="265" y="415"/>
                  </a:lnTo>
                  <a:lnTo>
                    <a:pt x="263" y="411"/>
                  </a:lnTo>
                  <a:lnTo>
                    <a:pt x="267" y="405"/>
                  </a:lnTo>
                  <a:lnTo>
                    <a:pt x="267" y="396"/>
                  </a:lnTo>
                  <a:lnTo>
                    <a:pt x="270" y="396"/>
                  </a:lnTo>
                  <a:lnTo>
                    <a:pt x="267" y="396"/>
                  </a:lnTo>
                  <a:lnTo>
                    <a:pt x="268" y="393"/>
                  </a:lnTo>
                  <a:lnTo>
                    <a:pt x="270" y="391"/>
                  </a:lnTo>
                  <a:lnTo>
                    <a:pt x="270" y="386"/>
                  </a:lnTo>
                  <a:lnTo>
                    <a:pt x="275" y="386"/>
                  </a:lnTo>
                  <a:lnTo>
                    <a:pt x="275" y="382"/>
                  </a:lnTo>
                  <a:lnTo>
                    <a:pt x="279" y="379"/>
                  </a:lnTo>
                  <a:lnTo>
                    <a:pt x="277" y="376"/>
                  </a:lnTo>
                  <a:lnTo>
                    <a:pt x="279" y="372"/>
                  </a:lnTo>
                  <a:lnTo>
                    <a:pt x="284" y="364"/>
                  </a:lnTo>
                  <a:lnTo>
                    <a:pt x="282" y="360"/>
                  </a:lnTo>
                  <a:lnTo>
                    <a:pt x="284" y="359"/>
                  </a:lnTo>
                  <a:lnTo>
                    <a:pt x="282" y="355"/>
                  </a:lnTo>
                  <a:lnTo>
                    <a:pt x="280" y="345"/>
                  </a:lnTo>
                  <a:lnTo>
                    <a:pt x="279" y="343"/>
                  </a:lnTo>
                  <a:lnTo>
                    <a:pt x="284" y="338"/>
                  </a:lnTo>
                  <a:lnTo>
                    <a:pt x="284" y="333"/>
                  </a:lnTo>
                  <a:lnTo>
                    <a:pt x="287" y="331"/>
                  </a:lnTo>
                  <a:lnTo>
                    <a:pt x="287" y="330"/>
                  </a:lnTo>
                  <a:lnTo>
                    <a:pt x="294" y="321"/>
                  </a:lnTo>
                  <a:lnTo>
                    <a:pt x="291" y="316"/>
                  </a:lnTo>
                  <a:lnTo>
                    <a:pt x="294" y="307"/>
                  </a:lnTo>
                  <a:lnTo>
                    <a:pt x="294" y="302"/>
                  </a:lnTo>
                  <a:lnTo>
                    <a:pt x="297" y="297"/>
                  </a:lnTo>
                  <a:lnTo>
                    <a:pt x="296" y="294"/>
                  </a:lnTo>
                  <a:lnTo>
                    <a:pt x="299" y="289"/>
                  </a:lnTo>
                  <a:lnTo>
                    <a:pt x="292" y="282"/>
                  </a:lnTo>
                  <a:lnTo>
                    <a:pt x="297" y="282"/>
                  </a:lnTo>
                  <a:lnTo>
                    <a:pt x="296" y="277"/>
                  </a:lnTo>
                  <a:lnTo>
                    <a:pt x="299" y="273"/>
                  </a:lnTo>
                  <a:lnTo>
                    <a:pt x="296" y="270"/>
                  </a:lnTo>
                  <a:lnTo>
                    <a:pt x="296" y="266"/>
                  </a:lnTo>
                  <a:lnTo>
                    <a:pt x="294" y="265"/>
                  </a:lnTo>
                  <a:lnTo>
                    <a:pt x="297" y="258"/>
                  </a:lnTo>
                  <a:lnTo>
                    <a:pt x="296" y="253"/>
                  </a:lnTo>
                  <a:lnTo>
                    <a:pt x="297" y="249"/>
                  </a:lnTo>
                  <a:lnTo>
                    <a:pt x="296" y="251"/>
                  </a:lnTo>
                  <a:lnTo>
                    <a:pt x="292" y="249"/>
                  </a:lnTo>
                  <a:lnTo>
                    <a:pt x="292" y="253"/>
                  </a:lnTo>
                  <a:lnTo>
                    <a:pt x="296" y="253"/>
                  </a:lnTo>
                  <a:lnTo>
                    <a:pt x="292" y="256"/>
                  </a:lnTo>
                  <a:lnTo>
                    <a:pt x="294" y="258"/>
                  </a:lnTo>
                  <a:lnTo>
                    <a:pt x="292" y="258"/>
                  </a:lnTo>
                  <a:lnTo>
                    <a:pt x="292" y="256"/>
                  </a:lnTo>
                  <a:lnTo>
                    <a:pt x="291" y="246"/>
                  </a:lnTo>
                  <a:lnTo>
                    <a:pt x="285" y="241"/>
                  </a:lnTo>
                  <a:lnTo>
                    <a:pt x="282" y="230"/>
                  </a:lnTo>
                  <a:lnTo>
                    <a:pt x="280" y="224"/>
                  </a:lnTo>
                  <a:lnTo>
                    <a:pt x="277" y="218"/>
                  </a:lnTo>
                  <a:lnTo>
                    <a:pt x="277" y="215"/>
                  </a:lnTo>
                  <a:lnTo>
                    <a:pt x="279" y="217"/>
                  </a:lnTo>
                  <a:lnTo>
                    <a:pt x="280" y="218"/>
                  </a:lnTo>
                  <a:lnTo>
                    <a:pt x="282" y="215"/>
                  </a:lnTo>
                  <a:lnTo>
                    <a:pt x="279" y="215"/>
                  </a:lnTo>
                  <a:lnTo>
                    <a:pt x="280" y="212"/>
                  </a:lnTo>
                  <a:lnTo>
                    <a:pt x="277" y="210"/>
                  </a:lnTo>
                  <a:lnTo>
                    <a:pt x="284" y="205"/>
                  </a:lnTo>
                  <a:lnTo>
                    <a:pt x="284" y="201"/>
                  </a:lnTo>
                  <a:lnTo>
                    <a:pt x="279" y="193"/>
                  </a:lnTo>
                  <a:lnTo>
                    <a:pt x="282" y="189"/>
                  </a:lnTo>
                  <a:lnTo>
                    <a:pt x="279" y="188"/>
                  </a:lnTo>
                  <a:lnTo>
                    <a:pt x="279" y="177"/>
                  </a:lnTo>
                  <a:lnTo>
                    <a:pt x="274" y="174"/>
                  </a:lnTo>
                  <a:lnTo>
                    <a:pt x="275" y="172"/>
                  </a:lnTo>
                  <a:lnTo>
                    <a:pt x="275" y="171"/>
                  </a:lnTo>
                  <a:lnTo>
                    <a:pt x="275" y="166"/>
                  </a:lnTo>
                  <a:lnTo>
                    <a:pt x="267" y="159"/>
                  </a:lnTo>
                  <a:lnTo>
                    <a:pt x="267" y="157"/>
                  </a:lnTo>
                  <a:lnTo>
                    <a:pt x="270" y="157"/>
                  </a:lnTo>
                  <a:lnTo>
                    <a:pt x="274" y="154"/>
                  </a:lnTo>
                  <a:lnTo>
                    <a:pt x="279" y="155"/>
                  </a:lnTo>
                  <a:lnTo>
                    <a:pt x="284" y="154"/>
                  </a:lnTo>
                  <a:lnTo>
                    <a:pt x="287" y="150"/>
                  </a:lnTo>
                  <a:lnTo>
                    <a:pt x="296" y="147"/>
                  </a:lnTo>
                  <a:lnTo>
                    <a:pt x="299" y="148"/>
                  </a:lnTo>
                  <a:lnTo>
                    <a:pt x="297" y="142"/>
                  </a:lnTo>
                  <a:lnTo>
                    <a:pt x="292" y="137"/>
                  </a:lnTo>
                  <a:lnTo>
                    <a:pt x="291" y="131"/>
                  </a:lnTo>
                  <a:lnTo>
                    <a:pt x="292" y="128"/>
                  </a:lnTo>
                  <a:lnTo>
                    <a:pt x="289" y="121"/>
                  </a:lnTo>
                  <a:lnTo>
                    <a:pt x="291" y="118"/>
                  </a:lnTo>
                  <a:lnTo>
                    <a:pt x="291" y="111"/>
                  </a:lnTo>
                  <a:lnTo>
                    <a:pt x="292" y="104"/>
                  </a:lnTo>
                  <a:lnTo>
                    <a:pt x="296" y="102"/>
                  </a:lnTo>
                  <a:lnTo>
                    <a:pt x="297" y="104"/>
                  </a:lnTo>
                  <a:lnTo>
                    <a:pt x="304" y="104"/>
                  </a:lnTo>
                  <a:lnTo>
                    <a:pt x="313" y="99"/>
                  </a:lnTo>
                  <a:lnTo>
                    <a:pt x="313" y="94"/>
                  </a:lnTo>
                  <a:lnTo>
                    <a:pt x="318" y="90"/>
                  </a:lnTo>
                  <a:lnTo>
                    <a:pt x="315" y="87"/>
                  </a:lnTo>
                  <a:lnTo>
                    <a:pt x="308" y="82"/>
                  </a:lnTo>
                  <a:lnTo>
                    <a:pt x="311" y="73"/>
                  </a:lnTo>
                  <a:lnTo>
                    <a:pt x="306" y="68"/>
                  </a:lnTo>
                  <a:lnTo>
                    <a:pt x="309" y="61"/>
                  </a:lnTo>
                  <a:lnTo>
                    <a:pt x="306" y="53"/>
                  </a:lnTo>
                  <a:lnTo>
                    <a:pt x="304" y="55"/>
                  </a:lnTo>
                  <a:lnTo>
                    <a:pt x="297" y="49"/>
                  </a:lnTo>
                  <a:lnTo>
                    <a:pt x="297" y="43"/>
                  </a:lnTo>
                  <a:lnTo>
                    <a:pt x="308" y="37"/>
                  </a:lnTo>
                  <a:lnTo>
                    <a:pt x="315" y="31"/>
                  </a:lnTo>
                  <a:lnTo>
                    <a:pt x="315" y="27"/>
                  </a:lnTo>
                  <a:lnTo>
                    <a:pt x="320" y="27"/>
                  </a:lnTo>
                  <a:lnTo>
                    <a:pt x="321" y="20"/>
                  </a:lnTo>
                  <a:lnTo>
                    <a:pt x="326" y="15"/>
                  </a:lnTo>
                  <a:lnTo>
                    <a:pt x="332" y="20"/>
                  </a:lnTo>
                  <a:lnTo>
                    <a:pt x="333" y="17"/>
                  </a:lnTo>
                  <a:lnTo>
                    <a:pt x="337" y="17"/>
                  </a:lnTo>
                  <a:lnTo>
                    <a:pt x="340" y="10"/>
                  </a:lnTo>
                  <a:lnTo>
                    <a:pt x="344" y="8"/>
                  </a:lnTo>
                  <a:lnTo>
                    <a:pt x="349" y="12"/>
                  </a:lnTo>
                  <a:lnTo>
                    <a:pt x="355" y="12"/>
                  </a:lnTo>
                  <a:lnTo>
                    <a:pt x="357" y="15"/>
                  </a:lnTo>
                  <a:lnTo>
                    <a:pt x="362" y="17"/>
                  </a:lnTo>
                  <a:lnTo>
                    <a:pt x="369" y="17"/>
                  </a:lnTo>
                  <a:lnTo>
                    <a:pt x="373" y="15"/>
                  </a:lnTo>
                  <a:lnTo>
                    <a:pt x="378" y="19"/>
                  </a:lnTo>
                  <a:lnTo>
                    <a:pt x="383" y="19"/>
                  </a:lnTo>
                  <a:lnTo>
                    <a:pt x="386" y="17"/>
                  </a:lnTo>
                  <a:lnTo>
                    <a:pt x="386" y="12"/>
                  </a:lnTo>
                  <a:lnTo>
                    <a:pt x="388" y="7"/>
                  </a:lnTo>
                  <a:lnTo>
                    <a:pt x="390" y="0"/>
                  </a:lnTo>
                  <a:lnTo>
                    <a:pt x="391" y="0"/>
                  </a:lnTo>
                  <a:lnTo>
                    <a:pt x="398" y="7"/>
                  </a:lnTo>
                  <a:lnTo>
                    <a:pt x="400" y="14"/>
                  </a:lnTo>
                  <a:lnTo>
                    <a:pt x="405" y="19"/>
                  </a:lnTo>
                  <a:lnTo>
                    <a:pt x="408" y="20"/>
                  </a:lnTo>
                  <a:lnTo>
                    <a:pt x="410" y="24"/>
                  </a:lnTo>
                  <a:lnTo>
                    <a:pt x="414" y="27"/>
                  </a:lnTo>
                  <a:lnTo>
                    <a:pt x="414" y="29"/>
                  </a:lnTo>
                  <a:lnTo>
                    <a:pt x="415" y="29"/>
                  </a:lnTo>
                  <a:lnTo>
                    <a:pt x="417" y="32"/>
                  </a:lnTo>
                  <a:lnTo>
                    <a:pt x="422" y="34"/>
                  </a:lnTo>
                  <a:lnTo>
                    <a:pt x="425" y="37"/>
                  </a:lnTo>
                  <a:lnTo>
                    <a:pt x="429" y="39"/>
                  </a:lnTo>
                  <a:lnTo>
                    <a:pt x="432" y="43"/>
                  </a:lnTo>
                  <a:lnTo>
                    <a:pt x="441" y="39"/>
                  </a:lnTo>
                  <a:lnTo>
                    <a:pt x="446" y="39"/>
                  </a:lnTo>
                  <a:lnTo>
                    <a:pt x="448" y="39"/>
                  </a:lnTo>
                  <a:lnTo>
                    <a:pt x="456" y="41"/>
                  </a:lnTo>
                  <a:lnTo>
                    <a:pt x="460" y="41"/>
                  </a:lnTo>
                  <a:lnTo>
                    <a:pt x="466" y="46"/>
                  </a:lnTo>
                  <a:lnTo>
                    <a:pt x="473" y="44"/>
                  </a:lnTo>
                  <a:lnTo>
                    <a:pt x="480" y="51"/>
                  </a:lnTo>
                  <a:lnTo>
                    <a:pt x="482" y="56"/>
                  </a:lnTo>
                  <a:lnTo>
                    <a:pt x="485" y="58"/>
                  </a:lnTo>
                  <a:lnTo>
                    <a:pt x="490" y="56"/>
                  </a:lnTo>
                  <a:lnTo>
                    <a:pt x="495" y="58"/>
                  </a:lnTo>
                  <a:lnTo>
                    <a:pt x="501" y="60"/>
                  </a:lnTo>
                  <a:lnTo>
                    <a:pt x="509" y="61"/>
                  </a:lnTo>
                  <a:lnTo>
                    <a:pt x="516" y="61"/>
                  </a:lnTo>
                  <a:lnTo>
                    <a:pt x="521" y="65"/>
                  </a:lnTo>
                  <a:lnTo>
                    <a:pt x="523" y="68"/>
                  </a:lnTo>
                  <a:lnTo>
                    <a:pt x="524" y="66"/>
                  </a:lnTo>
                  <a:lnTo>
                    <a:pt x="530" y="72"/>
                  </a:lnTo>
                  <a:lnTo>
                    <a:pt x="536" y="72"/>
                  </a:lnTo>
                  <a:lnTo>
                    <a:pt x="540" y="78"/>
                  </a:lnTo>
                  <a:lnTo>
                    <a:pt x="547" y="77"/>
                  </a:lnTo>
                  <a:lnTo>
                    <a:pt x="550" y="84"/>
                  </a:lnTo>
                  <a:lnTo>
                    <a:pt x="555" y="87"/>
                  </a:lnTo>
                  <a:lnTo>
                    <a:pt x="557" y="94"/>
                  </a:lnTo>
                  <a:lnTo>
                    <a:pt x="553" y="97"/>
                  </a:lnTo>
                  <a:lnTo>
                    <a:pt x="552" y="104"/>
                  </a:lnTo>
                  <a:lnTo>
                    <a:pt x="548" y="104"/>
                  </a:lnTo>
                  <a:lnTo>
                    <a:pt x="548" y="109"/>
                  </a:lnTo>
                  <a:lnTo>
                    <a:pt x="542" y="114"/>
                  </a:lnTo>
                  <a:lnTo>
                    <a:pt x="545" y="118"/>
                  </a:lnTo>
                  <a:lnTo>
                    <a:pt x="543" y="119"/>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1" name="Freeform 68"/>
            <p:cNvSpPr>
              <a:spLocks noEditPoints="1"/>
            </p:cNvSpPr>
            <p:nvPr/>
          </p:nvSpPr>
          <p:spPr bwMode="gray">
            <a:xfrm>
              <a:off x="5101821" y="3441104"/>
              <a:ext cx="485233" cy="793520"/>
            </a:xfrm>
            <a:custGeom>
              <a:avLst/>
              <a:gdLst>
                <a:gd name="T0" fmla="*/ 181 w 266"/>
                <a:gd name="T1" fmla="*/ 417 h 435"/>
                <a:gd name="T2" fmla="*/ 164 w 266"/>
                <a:gd name="T3" fmla="*/ 410 h 435"/>
                <a:gd name="T4" fmla="*/ 220 w 266"/>
                <a:gd name="T5" fmla="*/ 328 h 435"/>
                <a:gd name="T6" fmla="*/ 237 w 266"/>
                <a:gd name="T7" fmla="*/ 302 h 435"/>
                <a:gd name="T8" fmla="*/ 202 w 266"/>
                <a:gd name="T9" fmla="*/ 258 h 435"/>
                <a:gd name="T10" fmla="*/ 248 w 266"/>
                <a:gd name="T11" fmla="*/ 266 h 435"/>
                <a:gd name="T12" fmla="*/ 241 w 266"/>
                <a:gd name="T13" fmla="*/ 271 h 435"/>
                <a:gd name="T14" fmla="*/ 203 w 266"/>
                <a:gd name="T15" fmla="*/ 247 h 435"/>
                <a:gd name="T16" fmla="*/ 232 w 266"/>
                <a:gd name="T17" fmla="*/ 229 h 435"/>
                <a:gd name="T18" fmla="*/ 232 w 266"/>
                <a:gd name="T19" fmla="*/ 266 h 435"/>
                <a:gd name="T20" fmla="*/ 239 w 266"/>
                <a:gd name="T21" fmla="*/ 290 h 435"/>
                <a:gd name="T22" fmla="*/ 236 w 266"/>
                <a:gd name="T23" fmla="*/ 312 h 435"/>
                <a:gd name="T24" fmla="*/ 212 w 266"/>
                <a:gd name="T25" fmla="*/ 328 h 435"/>
                <a:gd name="T26" fmla="*/ 205 w 266"/>
                <a:gd name="T27" fmla="*/ 326 h 435"/>
                <a:gd name="T28" fmla="*/ 208 w 266"/>
                <a:gd name="T29" fmla="*/ 302 h 435"/>
                <a:gd name="T30" fmla="*/ 203 w 266"/>
                <a:gd name="T31" fmla="*/ 261 h 435"/>
                <a:gd name="T32" fmla="*/ 213 w 266"/>
                <a:gd name="T33" fmla="*/ 239 h 435"/>
                <a:gd name="T34" fmla="*/ 266 w 266"/>
                <a:gd name="T35" fmla="*/ 131 h 435"/>
                <a:gd name="T36" fmla="*/ 251 w 266"/>
                <a:gd name="T37" fmla="*/ 143 h 435"/>
                <a:gd name="T38" fmla="*/ 239 w 266"/>
                <a:gd name="T39" fmla="*/ 152 h 435"/>
                <a:gd name="T40" fmla="*/ 243 w 266"/>
                <a:gd name="T41" fmla="*/ 148 h 435"/>
                <a:gd name="T42" fmla="*/ 243 w 266"/>
                <a:gd name="T43" fmla="*/ 188 h 435"/>
                <a:gd name="T44" fmla="*/ 222 w 266"/>
                <a:gd name="T45" fmla="*/ 193 h 435"/>
                <a:gd name="T46" fmla="*/ 219 w 266"/>
                <a:gd name="T47" fmla="*/ 184 h 435"/>
                <a:gd name="T48" fmla="*/ 213 w 266"/>
                <a:gd name="T49" fmla="*/ 188 h 435"/>
                <a:gd name="T50" fmla="*/ 208 w 266"/>
                <a:gd name="T51" fmla="*/ 201 h 435"/>
                <a:gd name="T52" fmla="*/ 215 w 266"/>
                <a:gd name="T53" fmla="*/ 200 h 435"/>
                <a:gd name="T54" fmla="*/ 232 w 266"/>
                <a:gd name="T55" fmla="*/ 218 h 435"/>
                <a:gd name="T56" fmla="*/ 208 w 266"/>
                <a:gd name="T57" fmla="*/ 224 h 435"/>
                <a:gd name="T58" fmla="*/ 208 w 266"/>
                <a:gd name="T59" fmla="*/ 241 h 435"/>
                <a:gd name="T60" fmla="*/ 198 w 266"/>
                <a:gd name="T61" fmla="*/ 271 h 435"/>
                <a:gd name="T62" fmla="*/ 159 w 266"/>
                <a:gd name="T63" fmla="*/ 292 h 435"/>
                <a:gd name="T64" fmla="*/ 111 w 266"/>
                <a:gd name="T65" fmla="*/ 311 h 435"/>
                <a:gd name="T66" fmla="*/ 82 w 266"/>
                <a:gd name="T67" fmla="*/ 324 h 435"/>
                <a:gd name="T68" fmla="*/ 50 w 266"/>
                <a:gd name="T69" fmla="*/ 341 h 435"/>
                <a:gd name="T70" fmla="*/ 33 w 266"/>
                <a:gd name="T71" fmla="*/ 309 h 435"/>
                <a:gd name="T72" fmla="*/ 21 w 266"/>
                <a:gd name="T73" fmla="*/ 268 h 435"/>
                <a:gd name="T74" fmla="*/ 4 w 266"/>
                <a:gd name="T75" fmla="*/ 258 h 435"/>
                <a:gd name="T76" fmla="*/ 12 w 266"/>
                <a:gd name="T77" fmla="*/ 224 h 435"/>
                <a:gd name="T78" fmla="*/ 27 w 266"/>
                <a:gd name="T79" fmla="*/ 188 h 435"/>
                <a:gd name="T80" fmla="*/ 55 w 266"/>
                <a:gd name="T81" fmla="*/ 164 h 435"/>
                <a:gd name="T82" fmla="*/ 84 w 266"/>
                <a:gd name="T83" fmla="*/ 126 h 435"/>
                <a:gd name="T84" fmla="*/ 114 w 266"/>
                <a:gd name="T85" fmla="*/ 111 h 435"/>
                <a:gd name="T86" fmla="*/ 128 w 266"/>
                <a:gd name="T87" fmla="*/ 78 h 435"/>
                <a:gd name="T88" fmla="*/ 130 w 266"/>
                <a:gd name="T89" fmla="*/ 70 h 435"/>
                <a:gd name="T90" fmla="*/ 118 w 266"/>
                <a:gd name="T91" fmla="*/ 63 h 435"/>
                <a:gd name="T92" fmla="*/ 126 w 266"/>
                <a:gd name="T93" fmla="*/ 24 h 435"/>
                <a:gd name="T94" fmla="*/ 149 w 266"/>
                <a:gd name="T95" fmla="*/ 10 h 435"/>
                <a:gd name="T96" fmla="*/ 164 w 266"/>
                <a:gd name="T97" fmla="*/ 14 h 435"/>
                <a:gd name="T98" fmla="*/ 157 w 266"/>
                <a:gd name="T99" fmla="*/ 36 h 435"/>
                <a:gd name="T100" fmla="*/ 167 w 266"/>
                <a:gd name="T101" fmla="*/ 60 h 435"/>
                <a:gd name="T102" fmla="*/ 169 w 266"/>
                <a:gd name="T103" fmla="*/ 82 h 435"/>
                <a:gd name="T104" fmla="*/ 176 w 266"/>
                <a:gd name="T105" fmla="*/ 106 h 435"/>
                <a:gd name="T106" fmla="*/ 186 w 266"/>
                <a:gd name="T107" fmla="*/ 123 h 435"/>
                <a:gd name="T108" fmla="*/ 237 w 266"/>
                <a:gd name="T109" fmla="*/ 12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435">
                  <a:moveTo>
                    <a:pt x="155" y="435"/>
                  </a:moveTo>
                  <a:lnTo>
                    <a:pt x="155" y="434"/>
                  </a:lnTo>
                  <a:lnTo>
                    <a:pt x="161" y="430"/>
                  </a:lnTo>
                  <a:lnTo>
                    <a:pt x="155" y="435"/>
                  </a:lnTo>
                  <a:close/>
                  <a:moveTo>
                    <a:pt x="181" y="413"/>
                  </a:moveTo>
                  <a:lnTo>
                    <a:pt x="179" y="417"/>
                  </a:lnTo>
                  <a:lnTo>
                    <a:pt x="181" y="417"/>
                  </a:lnTo>
                  <a:lnTo>
                    <a:pt x="179" y="418"/>
                  </a:lnTo>
                  <a:lnTo>
                    <a:pt x="174" y="422"/>
                  </a:lnTo>
                  <a:lnTo>
                    <a:pt x="171" y="423"/>
                  </a:lnTo>
                  <a:lnTo>
                    <a:pt x="174" y="418"/>
                  </a:lnTo>
                  <a:lnTo>
                    <a:pt x="181" y="413"/>
                  </a:lnTo>
                  <a:close/>
                  <a:moveTo>
                    <a:pt x="169" y="406"/>
                  </a:moveTo>
                  <a:lnTo>
                    <a:pt x="164" y="410"/>
                  </a:lnTo>
                  <a:lnTo>
                    <a:pt x="164" y="408"/>
                  </a:lnTo>
                  <a:lnTo>
                    <a:pt x="169" y="406"/>
                  </a:lnTo>
                  <a:close/>
                  <a:moveTo>
                    <a:pt x="205" y="331"/>
                  </a:moveTo>
                  <a:lnTo>
                    <a:pt x="205" y="335"/>
                  </a:lnTo>
                  <a:lnTo>
                    <a:pt x="205" y="331"/>
                  </a:lnTo>
                  <a:close/>
                  <a:moveTo>
                    <a:pt x="219" y="328"/>
                  </a:moveTo>
                  <a:lnTo>
                    <a:pt x="220" y="328"/>
                  </a:lnTo>
                  <a:lnTo>
                    <a:pt x="220" y="329"/>
                  </a:lnTo>
                  <a:lnTo>
                    <a:pt x="219" y="329"/>
                  </a:lnTo>
                  <a:lnTo>
                    <a:pt x="219" y="328"/>
                  </a:lnTo>
                  <a:close/>
                  <a:moveTo>
                    <a:pt x="237" y="302"/>
                  </a:moveTo>
                  <a:lnTo>
                    <a:pt x="234" y="304"/>
                  </a:lnTo>
                  <a:lnTo>
                    <a:pt x="237" y="300"/>
                  </a:lnTo>
                  <a:lnTo>
                    <a:pt x="237" y="302"/>
                  </a:lnTo>
                  <a:close/>
                  <a:moveTo>
                    <a:pt x="239" y="273"/>
                  </a:moveTo>
                  <a:lnTo>
                    <a:pt x="241" y="273"/>
                  </a:lnTo>
                  <a:lnTo>
                    <a:pt x="241" y="277"/>
                  </a:lnTo>
                  <a:lnTo>
                    <a:pt x="239" y="277"/>
                  </a:lnTo>
                  <a:lnTo>
                    <a:pt x="239" y="273"/>
                  </a:lnTo>
                  <a:close/>
                  <a:moveTo>
                    <a:pt x="203" y="253"/>
                  </a:moveTo>
                  <a:lnTo>
                    <a:pt x="202" y="258"/>
                  </a:lnTo>
                  <a:lnTo>
                    <a:pt x="202" y="256"/>
                  </a:lnTo>
                  <a:lnTo>
                    <a:pt x="203" y="253"/>
                  </a:lnTo>
                  <a:close/>
                  <a:moveTo>
                    <a:pt x="248" y="246"/>
                  </a:moveTo>
                  <a:lnTo>
                    <a:pt x="251" y="247"/>
                  </a:lnTo>
                  <a:lnTo>
                    <a:pt x="251" y="254"/>
                  </a:lnTo>
                  <a:lnTo>
                    <a:pt x="249" y="258"/>
                  </a:lnTo>
                  <a:lnTo>
                    <a:pt x="248" y="266"/>
                  </a:lnTo>
                  <a:lnTo>
                    <a:pt x="248" y="271"/>
                  </a:lnTo>
                  <a:lnTo>
                    <a:pt x="248" y="278"/>
                  </a:lnTo>
                  <a:lnTo>
                    <a:pt x="246" y="278"/>
                  </a:lnTo>
                  <a:lnTo>
                    <a:pt x="244" y="282"/>
                  </a:lnTo>
                  <a:lnTo>
                    <a:pt x="243" y="282"/>
                  </a:lnTo>
                  <a:lnTo>
                    <a:pt x="241" y="275"/>
                  </a:lnTo>
                  <a:lnTo>
                    <a:pt x="241" y="271"/>
                  </a:lnTo>
                  <a:lnTo>
                    <a:pt x="236" y="270"/>
                  </a:lnTo>
                  <a:lnTo>
                    <a:pt x="239" y="263"/>
                  </a:lnTo>
                  <a:lnTo>
                    <a:pt x="241" y="258"/>
                  </a:lnTo>
                  <a:lnTo>
                    <a:pt x="246" y="253"/>
                  </a:lnTo>
                  <a:lnTo>
                    <a:pt x="248" y="246"/>
                  </a:lnTo>
                  <a:close/>
                  <a:moveTo>
                    <a:pt x="203" y="251"/>
                  </a:moveTo>
                  <a:lnTo>
                    <a:pt x="203" y="247"/>
                  </a:lnTo>
                  <a:lnTo>
                    <a:pt x="205" y="246"/>
                  </a:lnTo>
                  <a:lnTo>
                    <a:pt x="203" y="251"/>
                  </a:lnTo>
                  <a:close/>
                  <a:moveTo>
                    <a:pt x="208" y="246"/>
                  </a:moveTo>
                  <a:lnTo>
                    <a:pt x="207" y="249"/>
                  </a:lnTo>
                  <a:lnTo>
                    <a:pt x="207" y="246"/>
                  </a:lnTo>
                  <a:lnTo>
                    <a:pt x="208" y="246"/>
                  </a:lnTo>
                  <a:close/>
                  <a:moveTo>
                    <a:pt x="232" y="229"/>
                  </a:moveTo>
                  <a:lnTo>
                    <a:pt x="232" y="232"/>
                  </a:lnTo>
                  <a:lnTo>
                    <a:pt x="231" y="242"/>
                  </a:lnTo>
                  <a:lnTo>
                    <a:pt x="229" y="247"/>
                  </a:lnTo>
                  <a:lnTo>
                    <a:pt x="236" y="256"/>
                  </a:lnTo>
                  <a:lnTo>
                    <a:pt x="237" y="259"/>
                  </a:lnTo>
                  <a:lnTo>
                    <a:pt x="236" y="263"/>
                  </a:lnTo>
                  <a:lnTo>
                    <a:pt x="232" y="266"/>
                  </a:lnTo>
                  <a:lnTo>
                    <a:pt x="232" y="270"/>
                  </a:lnTo>
                  <a:lnTo>
                    <a:pt x="236" y="273"/>
                  </a:lnTo>
                  <a:lnTo>
                    <a:pt x="234" y="277"/>
                  </a:lnTo>
                  <a:lnTo>
                    <a:pt x="236" y="280"/>
                  </a:lnTo>
                  <a:lnTo>
                    <a:pt x="236" y="288"/>
                  </a:lnTo>
                  <a:lnTo>
                    <a:pt x="237" y="290"/>
                  </a:lnTo>
                  <a:lnTo>
                    <a:pt x="239" y="290"/>
                  </a:lnTo>
                  <a:lnTo>
                    <a:pt x="237" y="295"/>
                  </a:lnTo>
                  <a:lnTo>
                    <a:pt x="232" y="299"/>
                  </a:lnTo>
                  <a:lnTo>
                    <a:pt x="232" y="300"/>
                  </a:lnTo>
                  <a:lnTo>
                    <a:pt x="234" y="306"/>
                  </a:lnTo>
                  <a:lnTo>
                    <a:pt x="237" y="306"/>
                  </a:lnTo>
                  <a:lnTo>
                    <a:pt x="236" y="309"/>
                  </a:lnTo>
                  <a:lnTo>
                    <a:pt x="236" y="312"/>
                  </a:lnTo>
                  <a:lnTo>
                    <a:pt x="232" y="312"/>
                  </a:lnTo>
                  <a:lnTo>
                    <a:pt x="229" y="316"/>
                  </a:lnTo>
                  <a:lnTo>
                    <a:pt x="224" y="318"/>
                  </a:lnTo>
                  <a:lnTo>
                    <a:pt x="224" y="321"/>
                  </a:lnTo>
                  <a:lnTo>
                    <a:pt x="220" y="323"/>
                  </a:lnTo>
                  <a:lnTo>
                    <a:pt x="215" y="328"/>
                  </a:lnTo>
                  <a:lnTo>
                    <a:pt x="212" y="328"/>
                  </a:lnTo>
                  <a:lnTo>
                    <a:pt x="210" y="333"/>
                  </a:lnTo>
                  <a:lnTo>
                    <a:pt x="210" y="331"/>
                  </a:lnTo>
                  <a:lnTo>
                    <a:pt x="208" y="331"/>
                  </a:lnTo>
                  <a:lnTo>
                    <a:pt x="210" y="329"/>
                  </a:lnTo>
                  <a:lnTo>
                    <a:pt x="207" y="328"/>
                  </a:lnTo>
                  <a:lnTo>
                    <a:pt x="205" y="329"/>
                  </a:lnTo>
                  <a:lnTo>
                    <a:pt x="205" y="326"/>
                  </a:lnTo>
                  <a:lnTo>
                    <a:pt x="203" y="326"/>
                  </a:lnTo>
                  <a:lnTo>
                    <a:pt x="205" y="324"/>
                  </a:lnTo>
                  <a:lnTo>
                    <a:pt x="208" y="314"/>
                  </a:lnTo>
                  <a:lnTo>
                    <a:pt x="208" y="312"/>
                  </a:lnTo>
                  <a:lnTo>
                    <a:pt x="205" y="311"/>
                  </a:lnTo>
                  <a:lnTo>
                    <a:pt x="207" y="306"/>
                  </a:lnTo>
                  <a:lnTo>
                    <a:pt x="208" y="302"/>
                  </a:lnTo>
                  <a:lnTo>
                    <a:pt x="205" y="294"/>
                  </a:lnTo>
                  <a:lnTo>
                    <a:pt x="202" y="290"/>
                  </a:lnTo>
                  <a:lnTo>
                    <a:pt x="200" y="285"/>
                  </a:lnTo>
                  <a:lnTo>
                    <a:pt x="200" y="280"/>
                  </a:lnTo>
                  <a:lnTo>
                    <a:pt x="203" y="273"/>
                  </a:lnTo>
                  <a:lnTo>
                    <a:pt x="205" y="268"/>
                  </a:lnTo>
                  <a:lnTo>
                    <a:pt x="203" y="261"/>
                  </a:lnTo>
                  <a:lnTo>
                    <a:pt x="207" y="256"/>
                  </a:lnTo>
                  <a:lnTo>
                    <a:pt x="208" y="253"/>
                  </a:lnTo>
                  <a:lnTo>
                    <a:pt x="212" y="246"/>
                  </a:lnTo>
                  <a:lnTo>
                    <a:pt x="212" y="244"/>
                  </a:lnTo>
                  <a:lnTo>
                    <a:pt x="213" y="244"/>
                  </a:lnTo>
                  <a:lnTo>
                    <a:pt x="212" y="244"/>
                  </a:lnTo>
                  <a:lnTo>
                    <a:pt x="213" y="239"/>
                  </a:lnTo>
                  <a:lnTo>
                    <a:pt x="215" y="239"/>
                  </a:lnTo>
                  <a:lnTo>
                    <a:pt x="217" y="239"/>
                  </a:lnTo>
                  <a:lnTo>
                    <a:pt x="220" y="236"/>
                  </a:lnTo>
                  <a:lnTo>
                    <a:pt x="227" y="230"/>
                  </a:lnTo>
                  <a:lnTo>
                    <a:pt x="229" y="229"/>
                  </a:lnTo>
                  <a:lnTo>
                    <a:pt x="232" y="229"/>
                  </a:lnTo>
                  <a:close/>
                  <a:moveTo>
                    <a:pt x="266" y="131"/>
                  </a:moveTo>
                  <a:lnTo>
                    <a:pt x="265" y="138"/>
                  </a:lnTo>
                  <a:lnTo>
                    <a:pt x="263" y="145"/>
                  </a:lnTo>
                  <a:lnTo>
                    <a:pt x="263" y="147"/>
                  </a:lnTo>
                  <a:lnTo>
                    <a:pt x="261" y="150"/>
                  </a:lnTo>
                  <a:lnTo>
                    <a:pt x="258" y="152"/>
                  </a:lnTo>
                  <a:lnTo>
                    <a:pt x="256" y="145"/>
                  </a:lnTo>
                  <a:lnTo>
                    <a:pt x="251" y="143"/>
                  </a:lnTo>
                  <a:lnTo>
                    <a:pt x="248" y="147"/>
                  </a:lnTo>
                  <a:lnTo>
                    <a:pt x="243" y="145"/>
                  </a:lnTo>
                  <a:lnTo>
                    <a:pt x="239" y="147"/>
                  </a:lnTo>
                  <a:lnTo>
                    <a:pt x="236" y="145"/>
                  </a:lnTo>
                  <a:lnTo>
                    <a:pt x="232" y="148"/>
                  </a:lnTo>
                  <a:lnTo>
                    <a:pt x="237" y="147"/>
                  </a:lnTo>
                  <a:lnTo>
                    <a:pt x="239" y="152"/>
                  </a:lnTo>
                  <a:lnTo>
                    <a:pt x="234" y="157"/>
                  </a:lnTo>
                  <a:lnTo>
                    <a:pt x="232" y="157"/>
                  </a:lnTo>
                  <a:lnTo>
                    <a:pt x="232" y="160"/>
                  </a:lnTo>
                  <a:lnTo>
                    <a:pt x="229" y="157"/>
                  </a:lnTo>
                  <a:lnTo>
                    <a:pt x="231" y="162"/>
                  </a:lnTo>
                  <a:lnTo>
                    <a:pt x="237" y="157"/>
                  </a:lnTo>
                  <a:lnTo>
                    <a:pt x="243" y="148"/>
                  </a:lnTo>
                  <a:lnTo>
                    <a:pt x="246" y="154"/>
                  </a:lnTo>
                  <a:lnTo>
                    <a:pt x="249" y="152"/>
                  </a:lnTo>
                  <a:lnTo>
                    <a:pt x="246" y="159"/>
                  </a:lnTo>
                  <a:lnTo>
                    <a:pt x="244" y="162"/>
                  </a:lnTo>
                  <a:lnTo>
                    <a:pt x="243" y="172"/>
                  </a:lnTo>
                  <a:lnTo>
                    <a:pt x="244" y="179"/>
                  </a:lnTo>
                  <a:lnTo>
                    <a:pt x="243" y="188"/>
                  </a:lnTo>
                  <a:lnTo>
                    <a:pt x="241" y="191"/>
                  </a:lnTo>
                  <a:lnTo>
                    <a:pt x="237" y="196"/>
                  </a:lnTo>
                  <a:lnTo>
                    <a:pt x="232" y="203"/>
                  </a:lnTo>
                  <a:lnTo>
                    <a:pt x="225" y="203"/>
                  </a:lnTo>
                  <a:lnTo>
                    <a:pt x="224" y="196"/>
                  </a:lnTo>
                  <a:lnTo>
                    <a:pt x="222" y="195"/>
                  </a:lnTo>
                  <a:lnTo>
                    <a:pt x="222" y="193"/>
                  </a:lnTo>
                  <a:lnTo>
                    <a:pt x="220" y="193"/>
                  </a:lnTo>
                  <a:lnTo>
                    <a:pt x="224" y="196"/>
                  </a:lnTo>
                  <a:lnTo>
                    <a:pt x="222" y="196"/>
                  </a:lnTo>
                  <a:lnTo>
                    <a:pt x="217" y="195"/>
                  </a:lnTo>
                  <a:lnTo>
                    <a:pt x="217" y="191"/>
                  </a:lnTo>
                  <a:lnTo>
                    <a:pt x="219" y="191"/>
                  </a:lnTo>
                  <a:lnTo>
                    <a:pt x="219" y="184"/>
                  </a:lnTo>
                  <a:lnTo>
                    <a:pt x="217" y="184"/>
                  </a:lnTo>
                  <a:lnTo>
                    <a:pt x="215" y="183"/>
                  </a:lnTo>
                  <a:lnTo>
                    <a:pt x="217" y="177"/>
                  </a:lnTo>
                  <a:lnTo>
                    <a:pt x="215" y="181"/>
                  </a:lnTo>
                  <a:lnTo>
                    <a:pt x="213" y="181"/>
                  </a:lnTo>
                  <a:lnTo>
                    <a:pt x="215" y="186"/>
                  </a:lnTo>
                  <a:lnTo>
                    <a:pt x="213" y="188"/>
                  </a:lnTo>
                  <a:lnTo>
                    <a:pt x="215" y="189"/>
                  </a:lnTo>
                  <a:lnTo>
                    <a:pt x="212" y="195"/>
                  </a:lnTo>
                  <a:lnTo>
                    <a:pt x="213" y="198"/>
                  </a:lnTo>
                  <a:lnTo>
                    <a:pt x="212" y="198"/>
                  </a:lnTo>
                  <a:lnTo>
                    <a:pt x="213" y="200"/>
                  </a:lnTo>
                  <a:lnTo>
                    <a:pt x="210" y="201"/>
                  </a:lnTo>
                  <a:lnTo>
                    <a:pt x="208" y="201"/>
                  </a:lnTo>
                  <a:lnTo>
                    <a:pt x="210" y="201"/>
                  </a:lnTo>
                  <a:lnTo>
                    <a:pt x="207" y="205"/>
                  </a:lnTo>
                  <a:lnTo>
                    <a:pt x="210" y="203"/>
                  </a:lnTo>
                  <a:lnTo>
                    <a:pt x="207" y="205"/>
                  </a:lnTo>
                  <a:lnTo>
                    <a:pt x="210" y="203"/>
                  </a:lnTo>
                  <a:lnTo>
                    <a:pt x="208" y="205"/>
                  </a:lnTo>
                  <a:lnTo>
                    <a:pt x="215" y="200"/>
                  </a:lnTo>
                  <a:lnTo>
                    <a:pt x="220" y="203"/>
                  </a:lnTo>
                  <a:lnTo>
                    <a:pt x="220" y="207"/>
                  </a:lnTo>
                  <a:lnTo>
                    <a:pt x="222" y="208"/>
                  </a:lnTo>
                  <a:lnTo>
                    <a:pt x="220" y="210"/>
                  </a:lnTo>
                  <a:lnTo>
                    <a:pt x="225" y="213"/>
                  </a:lnTo>
                  <a:lnTo>
                    <a:pt x="231" y="217"/>
                  </a:lnTo>
                  <a:lnTo>
                    <a:pt x="232" y="218"/>
                  </a:lnTo>
                  <a:lnTo>
                    <a:pt x="224" y="218"/>
                  </a:lnTo>
                  <a:lnTo>
                    <a:pt x="220" y="222"/>
                  </a:lnTo>
                  <a:lnTo>
                    <a:pt x="215" y="220"/>
                  </a:lnTo>
                  <a:lnTo>
                    <a:pt x="212" y="220"/>
                  </a:lnTo>
                  <a:lnTo>
                    <a:pt x="212" y="218"/>
                  </a:lnTo>
                  <a:lnTo>
                    <a:pt x="208" y="222"/>
                  </a:lnTo>
                  <a:lnTo>
                    <a:pt x="208" y="224"/>
                  </a:lnTo>
                  <a:lnTo>
                    <a:pt x="212" y="220"/>
                  </a:lnTo>
                  <a:lnTo>
                    <a:pt x="219" y="222"/>
                  </a:lnTo>
                  <a:lnTo>
                    <a:pt x="222" y="230"/>
                  </a:lnTo>
                  <a:lnTo>
                    <a:pt x="220" y="234"/>
                  </a:lnTo>
                  <a:lnTo>
                    <a:pt x="212" y="237"/>
                  </a:lnTo>
                  <a:lnTo>
                    <a:pt x="208" y="236"/>
                  </a:lnTo>
                  <a:lnTo>
                    <a:pt x="208" y="241"/>
                  </a:lnTo>
                  <a:lnTo>
                    <a:pt x="207" y="241"/>
                  </a:lnTo>
                  <a:lnTo>
                    <a:pt x="207" y="242"/>
                  </a:lnTo>
                  <a:lnTo>
                    <a:pt x="203" y="246"/>
                  </a:lnTo>
                  <a:lnTo>
                    <a:pt x="200" y="254"/>
                  </a:lnTo>
                  <a:lnTo>
                    <a:pt x="202" y="261"/>
                  </a:lnTo>
                  <a:lnTo>
                    <a:pt x="198" y="265"/>
                  </a:lnTo>
                  <a:lnTo>
                    <a:pt x="198" y="271"/>
                  </a:lnTo>
                  <a:lnTo>
                    <a:pt x="195" y="277"/>
                  </a:lnTo>
                  <a:lnTo>
                    <a:pt x="190" y="277"/>
                  </a:lnTo>
                  <a:lnTo>
                    <a:pt x="183" y="278"/>
                  </a:lnTo>
                  <a:lnTo>
                    <a:pt x="178" y="280"/>
                  </a:lnTo>
                  <a:lnTo>
                    <a:pt x="174" y="285"/>
                  </a:lnTo>
                  <a:lnTo>
                    <a:pt x="166" y="290"/>
                  </a:lnTo>
                  <a:lnTo>
                    <a:pt x="159" y="292"/>
                  </a:lnTo>
                  <a:lnTo>
                    <a:pt x="152" y="295"/>
                  </a:lnTo>
                  <a:lnTo>
                    <a:pt x="142" y="297"/>
                  </a:lnTo>
                  <a:lnTo>
                    <a:pt x="138" y="300"/>
                  </a:lnTo>
                  <a:lnTo>
                    <a:pt x="135" y="300"/>
                  </a:lnTo>
                  <a:lnTo>
                    <a:pt x="125" y="306"/>
                  </a:lnTo>
                  <a:lnTo>
                    <a:pt x="120" y="309"/>
                  </a:lnTo>
                  <a:lnTo>
                    <a:pt x="111" y="311"/>
                  </a:lnTo>
                  <a:lnTo>
                    <a:pt x="109" y="312"/>
                  </a:lnTo>
                  <a:lnTo>
                    <a:pt x="109" y="311"/>
                  </a:lnTo>
                  <a:lnTo>
                    <a:pt x="109" y="312"/>
                  </a:lnTo>
                  <a:lnTo>
                    <a:pt x="104" y="314"/>
                  </a:lnTo>
                  <a:lnTo>
                    <a:pt x="94" y="319"/>
                  </a:lnTo>
                  <a:lnTo>
                    <a:pt x="89" y="321"/>
                  </a:lnTo>
                  <a:lnTo>
                    <a:pt x="82" y="324"/>
                  </a:lnTo>
                  <a:lnTo>
                    <a:pt x="74" y="328"/>
                  </a:lnTo>
                  <a:lnTo>
                    <a:pt x="72" y="329"/>
                  </a:lnTo>
                  <a:lnTo>
                    <a:pt x="70" y="329"/>
                  </a:lnTo>
                  <a:lnTo>
                    <a:pt x="63" y="333"/>
                  </a:lnTo>
                  <a:lnTo>
                    <a:pt x="60" y="335"/>
                  </a:lnTo>
                  <a:lnTo>
                    <a:pt x="53" y="338"/>
                  </a:lnTo>
                  <a:lnTo>
                    <a:pt x="50" y="341"/>
                  </a:lnTo>
                  <a:lnTo>
                    <a:pt x="43" y="343"/>
                  </a:lnTo>
                  <a:lnTo>
                    <a:pt x="36" y="343"/>
                  </a:lnTo>
                  <a:lnTo>
                    <a:pt x="34" y="341"/>
                  </a:lnTo>
                  <a:lnTo>
                    <a:pt x="34" y="331"/>
                  </a:lnTo>
                  <a:lnTo>
                    <a:pt x="36" y="326"/>
                  </a:lnTo>
                  <a:lnTo>
                    <a:pt x="34" y="319"/>
                  </a:lnTo>
                  <a:lnTo>
                    <a:pt x="33" y="309"/>
                  </a:lnTo>
                  <a:lnTo>
                    <a:pt x="33" y="302"/>
                  </a:lnTo>
                  <a:lnTo>
                    <a:pt x="33" y="292"/>
                  </a:lnTo>
                  <a:lnTo>
                    <a:pt x="34" y="288"/>
                  </a:lnTo>
                  <a:lnTo>
                    <a:pt x="34" y="283"/>
                  </a:lnTo>
                  <a:lnTo>
                    <a:pt x="33" y="278"/>
                  </a:lnTo>
                  <a:lnTo>
                    <a:pt x="27" y="271"/>
                  </a:lnTo>
                  <a:lnTo>
                    <a:pt x="21" y="268"/>
                  </a:lnTo>
                  <a:lnTo>
                    <a:pt x="22" y="258"/>
                  </a:lnTo>
                  <a:lnTo>
                    <a:pt x="21" y="251"/>
                  </a:lnTo>
                  <a:lnTo>
                    <a:pt x="19" y="251"/>
                  </a:lnTo>
                  <a:lnTo>
                    <a:pt x="21" y="256"/>
                  </a:lnTo>
                  <a:lnTo>
                    <a:pt x="17" y="263"/>
                  </a:lnTo>
                  <a:lnTo>
                    <a:pt x="12" y="263"/>
                  </a:lnTo>
                  <a:lnTo>
                    <a:pt x="4" y="258"/>
                  </a:lnTo>
                  <a:lnTo>
                    <a:pt x="0" y="258"/>
                  </a:lnTo>
                  <a:lnTo>
                    <a:pt x="4" y="249"/>
                  </a:lnTo>
                  <a:lnTo>
                    <a:pt x="2" y="246"/>
                  </a:lnTo>
                  <a:lnTo>
                    <a:pt x="4" y="242"/>
                  </a:lnTo>
                  <a:lnTo>
                    <a:pt x="5" y="236"/>
                  </a:lnTo>
                  <a:lnTo>
                    <a:pt x="14" y="229"/>
                  </a:lnTo>
                  <a:lnTo>
                    <a:pt x="12" y="224"/>
                  </a:lnTo>
                  <a:lnTo>
                    <a:pt x="14" y="220"/>
                  </a:lnTo>
                  <a:lnTo>
                    <a:pt x="26" y="212"/>
                  </a:lnTo>
                  <a:lnTo>
                    <a:pt x="19" y="205"/>
                  </a:lnTo>
                  <a:lnTo>
                    <a:pt x="26" y="196"/>
                  </a:lnTo>
                  <a:lnTo>
                    <a:pt x="22" y="195"/>
                  </a:lnTo>
                  <a:lnTo>
                    <a:pt x="24" y="195"/>
                  </a:lnTo>
                  <a:lnTo>
                    <a:pt x="27" y="188"/>
                  </a:lnTo>
                  <a:lnTo>
                    <a:pt x="34" y="189"/>
                  </a:lnTo>
                  <a:lnTo>
                    <a:pt x="33" y="181"/>
                  </a:lnTo>
                  <a:lnTo>
                    <a:pt x="39" y="179"/>
                  </a:lnTo>
                  <a:lnTo>
                    <a:pt x="41" y="171"/>
                  </a:lnTo>
                  <a:lnTo>
                    <a:pt x="46" y="172"/>
                  </a:lnTo>
                  <a:lnTo>
                    <a:pt x="51" y="169"/>
                  </a:lnTo>
                  <a:lnTo>
                    <a:pt x="55" y="164"/>
                  </a:lnTo>
                  <a:lnTo>
                    <a:pt x="55" y="154"/>
                  </a:lnTo>
                  <a:lnTo>
                    <a:pt x="62" y="147"/>
                  </a:lnTo>
                  <a:lnTo>
                    <a:pt x="67" y="143"/>
                  </a:lnTo>
                  <a:lnTo>
                    <a:pt x="68" y="138"/>
                  </a:lnTo>
                  <a:lnTo>
                    <a:pt x="70" y="138"/>
                  </a:lnTo>
                  <a:lnTo>
                    <a:pt x="79" y="133"/>
                  </a:lnTo>
                  <a:lnTo>
                    <a:pt x="84" y="126"/>
                  </a:lnTo>
                  <a:lnTo>
                    <a:pt x="92" y="121"/>
                  </a:lnTo>
                  <a:lnTo>
                    <a:pt x="96" y="118"/>
                  </a:lnTo>
                  <a:lnTo>
                    <a:pt x="101" y="114"/>
                  </a:lnTo>
                  <a:lnTo>
                    <a:pt x="109" y="109"/>
                  </a:lnTo>
                  <a:lnTo>
                    <a:pt x="109" y="107"/>
                  </a:lnTo>
                  <a:lnTo>
                    <a:pt x="111" y="111"/>
                  </a:lnTo>
                  <a:lnTo>
                    <a:pt x="114" y="111"/>
                  </a:lnTo>
                  <a:lnTo>
                    <a:pt x="116" y="101"/>
                  </a:lnTo>
                  <a:lnTo>
                    <a:pt x="118" y="97"/>
                  </a:lnTo>
                  <a:lnTo>
                    <a:pt x="118" y="92"/>
                  </a:lnTo>
                  <a:lnTo>
                    <a:pt x="121" y="94"/>
                  </a:lnTo>
                  <a:lnTo>
                    <a:pt x="128" y="90"/>
                  </a:lnTo>
                  <a:lnTo>
                    <a:pt x="125" y="84"/>
                  </a:lnTo>
                  <a:lnTo>
                    <a:pt x="128" y="78"/>
                  </a:lnTo>
                  <a:lnTo>
                    <a:pt x="128" y="80"/>
                  </a:lnTo>
                  <a:lnTo>
                    <a:pt x="132" y="80"/>
                  </a:lnTo>
                  <a:lnTo>
                    <a:pt x="133" y="77"/>
                  </a:lnTo>
                  <a:lnTo>
                    <a:pt x="130" y="75"/>
                  </a:lnTo>
                  <a:lnTo>
                    <a:pt x="132" y="73"/>
                  </a:lnTo>
                  <a:lnTo>
                    <a:pt x="130" y="73"/>
                  </a:lnTo>
                  <a:lnTo>
                    <a:pt x="130" y="70"/>
                  </a:lnTo>
                  <a:lnTo>
                    <a:pt x="128" y="72"/>
                  </a:lnTo>
                  <a:lnTo>
                    <a:pt x="128" y="70"/>
                  </a:lnTo>
                  <a:lnTo>
                    <a:pt x="128" y="72"/>
                  </a:lnTo>
                  <a:lnTo>
                    <a:pt x="125" y="70"/>
                  </a:lnTo>
                  <a:lnTo>
                    <a:pt x="118" y="70"/>
                  </a:lnTo>
                  <a:lnTo>
                    <a:pt x="116" y="61"/>
                  </a:lnTo>
                  <a:lnTo>
                    <a:pt x="118" y="63"/>
                  </a:lnTo>
                  <a:lnTo>
                    <a:pt x="116" y="60"/>
                  </a:lnTo>
                  <a:lnTo>
                    <a:pt x="120" y="53"/>
                  </a:lnTo>
                  <a:lnTo>
                    <a:pt x="121" y="43"/>
                  </a:lnTo>
                  <a:lnTo>
                    <a:pt x="123" y="43"/>
                  </a:lnTo>
                  <a:lnTo>
                    <a:pt x="121" y="41"/>
                  </a:lnTo>
                  <a:lnTo>
                    <a:pt x="125" y="32"/>
                  </a:lnTo>
                  <a:lnTo>
                    <a:pt x="126" y="24"/>
                  </a:lnTo>
                  <a:lnTo>
                    <a:pt x="126" y="22"/>
                  </a:lnTo>
                  <a:lnTo>
                    <a:pt x="130" y="15"/>
                  </a:lnTo>
                  <a:lnTo>
                    <a:pt x="130" y="14"/>
                  </a:lnTo>
                  <a:lnTo>
                    <a:pt x="133" y="15"/>
                  </a:lnTo>
                  <a:lnTo>
                    <a:pt x="138" y="12"/>
                  </a:lnTo>
                  <a:lnTo>
                    <a:pt x="147" y="10"/>
                  </a:lnTo>
                  <a:lnTo>
                    <a:pt x="149" y="10"/>
                  </a:lnTo>
                  <a:lnTo>
                    <a:pt x="154" y="7"/>
                  </a:lnTo>
                  <a:lnTo>
                    <a:pt x="159" y="3"/>
                  </a:lnTo>
                  <a:lnTo>
                    <a:pt x="161" y="3"/>
                  </a:lnTo>
                  <a:lnTo>
                    <a:pt x="166" y="3"/>
                  </a:lnTo>
                  <a:lnTo>
                    <a:pt x="171" y="0"/>
                  </a:lnTo>
                  <a:lnTo>
                    <a:pt x="169" y="7"/>
                  </a:lnTo>
                  <a:lnTo>
                    <a:pt x="164" y="14"/>
                  </a:lnTo>
                  <a:lnTo>
                    <a:pt x="161" y="19"/>
                  </a:lnTo>
                  <a:lnTo>
                    <a:pt x="159" y="20"/>
                  </a:lnTo>
                  <a:lnTo>
                    <a:pt x="159" y="25"/>
                  </a:lnTo>
                  <a:lnTo>
                    <a:pt x="155" y="27"/>
                  </a:lnTo>
                  <a:lnTo>
                    <a:pt x="157" y="31"/>
                  </a:lnTo>
                  <a:lnTo>
                    <a:pt x="155" y="32"/>
                  </a:lnTo>
                  <a:lnTo>
                    <a:pt x="157" y="36"/>
                  </a:lnTo>
                  <a:lnTo>
                    <a:pt x="161" y="39"/>
                  </a:lnTo>
                  <a:lnTo>
                    <a:pt x="161" y="48"/>
                  </a:lnTo>
                  <a:lnTo>
                    <a:pt x="164" y="51"/>
                  </a:lnTo>
                  <a:lnTo>
                    <a:pt x="162" y="58"/>
                  </a:lnTo>
                  <a:lnTo>
                    <a:pt x="162" y="60"/>
                  </a:lnTo>
                  <a:lnTo>
                    <a:pt x="164" y="58"/>
                  </a:lnTo>
                  <a:lnTo>
                    <a:pt x="167" y="60"/>
                  </a:lnTo>
                  <a:lnTo>
                    <a:pt x="167" y="66"/>
                  </a:lnTo>
                  <a:lnTo>
                    <a:pt x="166" y="73"/>
                  </a:lnTo>
                  <a:lnTo>
                    <a:pt x="167" y="73"/>
                  </a:lnTo>
                  <a:lnTo>
                    <a:pt x="164" y="80"/>
                  </a:lnTo>
                  <a:lnTo>
                    <a:pt x="166" y="82"/>
                  </a:lnTo>
                  <a:lnTo>
                    <a:pt x="166" y="80"/>
                  </a:lnTo>
                  <a:lnTo>
                    <a:pt x="169" y="82"/>
                  </a:lnTo>
                  <a:lnTo>
                    <a:pt x="167" y="87"/>
                  </a:lnTo>
                  <a:lnTo>
                    <a:pt x="171" y="89"/>
                  </a:lnTo>
                  <a:lnTo>
                    <a:pt x="176" y="89"/>
                  </a:lnTo>
                  <a:lnTo>
                    <a:pt x="179" y="90"/>
                  </a:lnTo>
                  <a:lnTo>
                    <a:pt x="178" y="95"/>
                  </a:lnTo>
                  <a:lnTo>
                    <a:pt x="176" y="104"/>
                  </a:lnTo>
                  <a:lnTo>
                    <a:pt x="176" y="106"/>
                  </a:lnTo>
                  <a:lnTo>
                    <a:pt x="179" y="111"/>
                  </a:lnTo>
                  <a:lnTo>
                    <a:pt x="178" y="114"/>
                  </a:lnTo>
                  <a:lnTo>
                    <a:pt x="183" y="118"/>
                  </a:lnTo>
                  <a:lnTo>
                    <a:pt x="179" y="121"/>
                  </a:lnTo>
                  <a:lnTo>
                    <a:pt x="181" y="130"/>
                  </a:lnTo>
                  <a:lnTo>
                    <a:pt x="186" y="128"/>
                  </a:lnTo>
                  <a:lnTo>
                    <a:pt x="186" y="123"/>
                  </a:lnTo>
                  <a:lnTo>
                    <a:pt x="193" y="123"/>
                  </a:lnTo>
                  <a:lnTo>
                    <a:pt x="198" y="121"/>
                  </a:lnTo>
                  <a:lnTo>
                    <a:pt x="200" y="121"/>
                  </a:lnTo>
                  <a:lnTo>
                    <a:pt x="202" y="121"/>
                  </a:lnTo>
                  <a:lnTo>
                    <a:pt x="222" y="121"/>
                  </a:lnTo>
                  <a:lnTo>
                    <a:pt x="229" y="121"/>
                  </a:lnTo>
                  <a:lnTo>
                    <a:pt x="237" y="125"/>
                  </a:lnTo>
                  <a:lnTo>
                    <a:pt x="244" y="126"/>
                  </a:lnTo>
                  <a:lnTo>
                    <a:pt x="248" y="126"/>
                  </a:lnTo>
                  <a:lnTo>
                    <a:pt x="258" y="128"/>
                  </a:lnTo>
                  <a:lnTo>
                    <a:pt x="266" y="13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2" name="Freeform 69"/>
            <p:cNvSpPr>
              <a:spLocks noEditPoints="1"/>
            </p:cNvSpPr>
            <p:nvPr/>
          </p:nvSpPr>
          <p:spPr bwMode="gray">
            <a:xfrm>
              <a:off x="3850431" y="2698662"/>
              <a:ext cx="1224027" cy="1121873"/>
            </a:xfrm>
            <a:custGeom>
              <a:avLst/>
              <a:gdLst>
                <a:gd name="T0" fmla="*/ 177 w 671"/>
                <a:gd name="T1" fmla="*/ 581 h 615"/>
                <a:gd name="T2" fmla="*/ 19 w 671"/>
                <a:gd name="T3" fmla="*/ 439 h 615"/>
                <a:gd name="T4" fmla="*/ 25 w 671"/>
                <a:gd name="T5" fmla="*/ 448 h 615"/>
                <a:gd name="T6" fmla="*/ 61 w 671"/>
                <a:gd name="T7" fmla="*/ 405 h 615"/>
                <a:gd name="T8" fmla="*/ 66 w 671"/>
                <a:gd name="T9" fmla="*/ 403 h 615"/>
                <a:gd name="T10" fmla="*/ 124 w 671"/>
                <a:gd name="T11" fmla="*/ 369 h 615"/>
                <a:gd name="T12" fmla="*/ 130 w 671"/>
                <a:gd name="T13" fmla="*/ 397 h 615"/>
                <a:gd name="T14" fmla="*/ 101 w 671"/>
                <a:gd name="T15" fmla="*/ 374 h 615"/>
                <a:gd name="T16" fmla="*/ 118 w 671"/>
                <a:gd name="T17" fmla="*/ 333 h 615"/>
                <a:gd name="T18" fmla="*/ 90 w 671"/>
                <a:gd name="T19" fmla="*/ 328 h 615"/>
                <a:gd name="T20" fmla="*/ 56 w 671"/>
                <a:gd name="T21" fmla="*/ 282 h 615"/>
                <a:gd name="T22" fmla="*/ 63 w 671"/>
                <a:gd name="T23" fmla="*/ 270 h 615"/>
                <a:gd name="T24" fmla="*/ 65 w 671"/>
                <a:gd name="T25" fmla="*/ 270 h 615"/>
                <a:gd name="T26" fmla="*/ 0 w 671"/>
                <a:gd name="T27" fmla="*/ 236 h 615"/>
                <a:gd name="T28" fmla="*/ 12 w 671"/>
                <a:gd name="T29" fmla="*/ 161 h 615"/>
                <a:gd name="T30" fmla="*/ 666 w 671"/>
                <a:gd name="T31" fmla="*/ 99 h 615"/>
                <a:gd name="T32" fmla="*/ 637 w 671"/>
                <a:gd name="T33" fmla="*/ 132 h 615"/>
                <a:gd name="T34" fmla="*/ 608 w 671"/>
                <a:gd name="T35" fmla="*/ 190 h 615"/>
                <a:gd name="T36" fmla="*/ 573 w 671"/>
                <a:gd name="T37" fmla="*/ 234 h 615"/>
                <a:gd name="T38" fmla="*/ 553 w 671"/>
                <a:gd name="T39" fmla="*/ 287 h 615"/>
                <a:gd name="T40" fmla="*/ 512 w 671"/>
                <a:gd name="T41" fmla="*/ 316 h 615"/>
                <a:gd name="T42" fmla="*/ 464 w 671"/>
                <a:gd name="T43" fmla="*/ 339 h 615"/>
                <a:gd name="T44" fmla="*/ 427 w 671"/>
                <a:gd name="T45" fmla="*/ 337 h 615"/>
                <a:gd name="T46" fmla="*/ 381 w 671"/>
                <a:gd name="T47" fmla="*/ 359 h 615"/>
                <a:gd name="T48" fmla="*/ 357 w 671"/>
                <a:gd name="T49" fmla="*/ 393 h 615"/>
                <a:gd name="T50" fmla="*/ 304 w 671"/>
                <a:gd name="T51" fmla="*/ 426 h 615"/>
                <a:gd name="T52" fmla="*/ 275 w 671"/>
                <a:gd name="T53" fmla="*/ 456 h 615"/>
                <a:gd name="T54" fmla="*/ 293 w 671"/>
                <a:gd name="T55" fmla="*/ 492 h 615"/>
                <a:gd name="T56" fmla="*/ 300 w 671"/>
                <a:gd name="T57" fmla="*/ 555 h 615"/>
                <a:gd name="T58" fmla="*/ 270 w 671"/>
                <a:gd name="T59" fmla="*/ 598 h 615"/>
                <a:gd name="T60" fmla="*/ 229 w 671"/>
                <a:gd name="T61" fmla="*/ 591 h 615"/>
                <a:gd name="T62" fmla="*/ 184 w 671"/>
                <a:gd name="T63" fmla="*/ 564 h 615"/>
                <a:gd name="T64" fmla="*/ 181 w 671"/>
                <a:gd name="T65" fmla="*/ 506 h 615"/>
                <a:gd name="T66" fmla="*/ 160 w 671"/>
                <a:gd name="T67" fmla="*/ 461 h 615"/>
                <a:gd name="T68" fmla="*/ 162 w 671"/>
                <a:gd name="T69" fmla="*/ 403 h 615"/>
                <a:gd name="T70" fmla="*/ 135 w 671"/>
                <a:gd name="T71" fmla="*/ 361 h 615"/>
                <a:gd name="T72" fmla="*/ 101 w 671"/>
                <a:gd name="T73" fmla="*/ 352 h 615"/>
                <a:gd name="T74" fmla="*/ 77 w 671"/>
                <a:gd name="T75" fmla="*/ 333 h 615"/>
                <a:gd name="T76" fmla="*/ 101 w 671"/>
                <a:gd name="T77" fmla="*/ 335 h 615"/>
                <a:gd name="T78" fmla="*/ 94 w 671"/>
                <a:gd name="T79" fmla="*/ 321 h 615"/>
                <a:gd name="T80" fmla="*/ 60 w 671"/>
                <a:gd name="T81" fmla="*/ 294 h 615"/>
                <a:gd name="T82" fmla="*/ 68 w 671"/>
                <a:gd name="T83" fmla="*/ 246 h 615"/>
                <a:gd name="T84" fmla="*/ 41 w 671"/>
                <a:gd name="T85" fmla="*/ 204 h 615"/>
                <a:gd name="T86" fmla="*/ 39 w 671"/>
                <a:gd name="T87" fmla="*/ 146 h 615"/>
                <a:gd name="T88" fmla="*/ 53 w 671"/>
                <a:gd name="T89" fmla="*/ 76 h 615"/>
                <a:gd name="T90" fmla="*/ 89 w 671"/>
                <a:gd name="T91" fmla="*/ 26 h 615"/>
                <a:gd name="T92" fmla="*/ 116 w 671"/>
                <a:gd name="T93" fmla="*/ 19 h 615"/>
                <a:gd name="T94" fmla="*/ 142 w 671"/>
                <a:gd name="T95" fmla="*/ 69 h 615"/>
                <a:gd name="T96" fmla="*/ 174 w 671"/>
                <a:gd name="T97" fmla="*/ 106 h 615"/>
                <a:gd name="T98" fmla="*/ 208 w 671"/>
                <a:gd name="T99" fmla="*/ 130 h 615"/>
                <a:gd name="T100" fmla="*/ 258 w 671"/>
                <a:gd name="T101" fmla="*/ 142 h 615"/>
                <a:gd name="T102" fmla="*/ 317 w 671"/>
                <a:gd name="T103" fmla="*/ 123 h 615"/>
                <a:gd name="T104" fmla="*/ 365 w 671"/>
                <a:gd name="T105" fmla="*/ 125 h 615"/>
                <a:gd name="T106" fmla="*/ 423 w 671"/>
                <a:gd name="T107" fmla="*/ 115 h 615"/>
                <a:gd name="T108" fmla="*/ 440 w 671"/>
                <a:gd name="T109" fmla="*/ 74 h 615"/>
                <a:gd name="T110" fmla="*/ 500 w 671"/>
                <a:gd name="T111" fmla="*/ 64 h 615"/>
                <a:gd name="T112" fmla="*/ 529 w 671"/>
                <a:gd name="T113" fmla="*/ 82 h 615"/>
                <a:gd name="T114" fmla="*/ 592 w 671"/>
                <a:gd name="T115" fmla="*/ 93 h 615"/>
                <a:gd name="T116" fmla="*/ 628 w 671"/>
                <a:gd name="T117" fmla="*/ 8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615">
                  <a:moveTo>
                    <a:pt x="191" y="596"/>
                  </a:moveTo>
                  <a:lnTo>
                    <a:pt x="189" y="600"/>
                  </a:lnTo>
                  <a:lnTo>
                    <a:pt x="188" y="600"/>
                  </a:lnTo>
                  <a:lnTo>
                    <a:pt x="183" y="596"/>
                  </a:lnTo>
                  <a:lnTo>
                    <a:pt x="186" y="596"/>
                  </a:lnTo>
                  <a:lnTo>
                    <a:pt x="188" y="593"/>
                  </a:lnTo>
                  <a:lnTo>
                    <a:pt x="191" y="596"/>
                  </a:lnTo>
                  <a:close/>
                  <a:moveTo>
                    <a:pt x="181" y="571"/>
                  </a:moveTo>
                  <a:lnTo>
                    <a:pt x="183" y="574"/>
                  </a:lnTo>
                  <a:lnTo>
                    <a:pt x="181" y="576"/>
                  </a:lnTo>
                  <a:lnTo>
                    <a:pt x="183" y="579"/>
                  </a:lnTo>
                  <a:lnTo>
                    <a:pt x="177" y="581"/>
                  </a:lnTo>
                  <a:lnTo>
                    <a:pt x="172" y="579"/>
                  </a:lnTo>
                  <a:lnTo>
                    <a:pt x="176" y="578"/>
                  </a:lnTo>
                  <a:lnTo>
                    <a:pt x="179" y="571"/>
                  </a:lnTo>
                  <a:lnTo>
                    <a:pt x="181" y="571"/>
                  </a:lnTo>
                  <a:close/>
                  <a:moveTo>
                    <a:pt x="17" y="455"/>
                  </a:moveTo>
                  <a:lnTo>
                    <a:pt x="20" y="455"/>
                  </a:lnTo>
                  <a:lnTo>
                    <a:pt x="22" y="456"/>
                  </a:lnTo>
                  <a:lnTo>
                    <a:pt x="14" y="458"/>
                  </a:lnTo>
                  <a:lnTo>
                    <a:pt x="8" y="456"/>
                  </a:lnTo>
                  <a:lnTo>
                    <a:pt x="10" y="455"/>
                  </a:lnTo>
                  <a:lnTo>
                    <a:pt x="17" y="455"/>
                  </a:lnTo>
                  <a:close/>
                  <a:moveTo>
                    <a:pt x="19" y="439"/>
                  </a:moveTo>
                  <a:lnTo>
                    <a:pt x="20" y="439"/>
                  </a:lnTo>
                  <a:lnTo>
                    <a:pt x="20" y="441"/>
                  </a:lnTo>
                  <a:lnTo>
                    <a:pt x="19" y="441"/>
                  </a:lnTo>
                  <a:lnTo>
                    <a:pt x="19" y="439"/>
                  </a:lnTo>
                  <a:close/>
                  <a:moveTo>
                    <a:pt x="36" y="436"/>
                  </a:moveTo>
                  <a:lnTo>
                    <a:pt x="43" y="438"/>
                  </a:lnTo>
                  <a:lnTo>
                    <a:pt x="46" y="443"/>
                  </a:lnTo>
                  <a:lnTo>
                    <a:pt x="44" y="446"/>
                  </a:lnTo>
                  <a:lnTo>
                    <a:pt x="39" y="450"/>
                  </a:lnTo>
                  <a:lnTo>
                    <a:pt x="32" y="451"/>
                  </a:lnTo>
                  <a:lnTo>
                    <a:pt x="27" y="450"/>
                  </a:lnTo>
                  <a:lnTo>
                    <a:pt x="25" y="448"/>
                  </a:lnTo>
                  <a:lnTo>
                    <a:pt x="29" y="446"/>
                  </a:lnTo>
                  <a:lnTo>
                    <a:pt x="27" y="441"/>
                  </a:lnTo>
                  <a:lnTo>
                    <a:pt x="29" y="441"/>
                  </a:lnTo>
                  <a:lnTo>
                    <a:pt x="24" y="441"/>
                  </a:lnTo>
                  <a:lnTo>
                    <a:pt x="22" y="439"/>
                  </a:lnTo>
                  <a:lnTo>
                    <a:pt x="25" y="439"/>
                  </a:lnTo>
                  <a:lnTo>
                    <a:pt x="27" y="436"/>
                  </a:lnTo>
                  <a:lnTo>
                    <a:pt x="29" y="439"/>
                  </a:lnTo>
                  <a:lnTo>
                    <a:pt x="32" y="438"/>
                  </a:lnTo>
                  <a:lnTo>
                    <a:pt x="34" y="434"/>
                  </a:lnTo>
                  <a:lnTo>
                    <a:pt x="36" y="436"/>
                  </a:lnTo>
                  <a:close/>
                  <a:moveTo>
                    <a:pt x="61" y="405"/>
                  </a:moveTo>
                  <a:lnTo>
                    <a:pt x="63" y="405"/>
                  </a:lnTo>
                  <a:lnTo>
                    <a:pt x="63" y="409"/>
                  </a:lnTo>
                  <a:lnTo>
                    <a:pt x="61" y="409"/>
                  </a:lnTo>
                  <a:lnTo>
                    <a:pt x="61" y="405"/>
                  </a:lnTo>
                  <a:close/>
                  <a:moveTo>
                    <a:pt x="65" y="405"/>
                  </a:moveTo>
                  <a:lnTo>
                    <a:pt x="66" y="405"/>
                  </a:lnTo>
                  <a:lnTo>
                    <a:pt x="63" y="410"/>
                  </a:lnTo>
                  <a:lnTo>
                    <a:pt x="65" y="405"/>
                  </a:lnTo>
                  <a:close/>
                  <a:moveTo>
                    <a:pt x="66" y="402"/>
                  </a:moveTo>
                  <a:lnTo>
                    <a:pt x="68" y="403"/>
                  </a:lnTo>
                  <a:lnTo>
                    <a:pt x="68" y="405"/>
                  </a:lnTo>
                  <a:lnTo>
                    <a:pt x="66" y="403"/>
                  </a:lnTo>
                  <a:lnTo>
                    <a:pt x="66" y="402"/>
                  </a:lnTo>
                  <a:close/>
                  <a:moveTo>
                    <a:pt x="80" y="395"/>
                  </a:moveTo>
                  <a:lnTo>
                    <a:pt x="80" y="397"/>
                  </a:lnTo>
                  <a:lnTo>
                    <a:pt x="77" y="400"/>
                  </a:lnTo>
                  <a:lnTo>
                    <a:pt x="73" y="398"/>
                  </a:lnTo>
                  <a:lnTo>
                    <a:pt x="75" y="395"/>
                  </a:lnTo>
                  <a:lnTo>
                    <a:pt x="78" y="391"/>
                  </a:lnTo>
                  <a:lnTo>
                    <a:pt x="80" y="395"/>
                  </a:lnTo>
                  <a:close/>
                  <a:moveTo>
                    <a:pt x="109" y="369"/>
                  </a:moveTo>
                  <a:lnTo>
                    <a:pt x="114" y="371"/>
                  </a:lnTo>
                  <a:lnTo>
                    <a:pt x="119" y="368"/>
                  </a:lnTo>
                  <a:lnTo>
                    <a:pt x="124" y="369"/>
                  </a:lnTo>
                  <a:lnTo>
                    <a:pt x="124" y="371"/>
                  </a:lnTo>
                  <a:lnTo>
                    <a:pt x="128" y="373"/>
                  </a:lnTo>
                  <a:lnTo>
                    <a:pt x="133" y="369"/>
                  </a:lnTo>
                  <a:lnTo>
                    <a:pt x="138" y="371"/>
                  </a:lnTo>
                  <a:lnTo>
                    <a:pt x="138" y="373"/>
                  </a:lnTo>
                  <a:lnTo>
                    <a:pt x="140" y="380"/>
                  </a:lnTo>
                  <a:lnTo>
                    <a:pt x="140" y="383"/>
                  </a:lnTo>
                  <a:lnTo>
                    <a:pt x="142" y="388"/>
                  </a:lnTo>
                  <a:lnTo>
                    <a:pt x="140" y="388"/>
                  </a:lnTo>
                  <a:lnTo>
                    <a:pt x="138" y="390"/>
                  </a:lnTo>
                  <a:lnTo>
                    <a:pt x="130" y="393"/>
                  </a:lnTo>
                  <a:lnTo>
                    <a:pt x="130" y="397"/>
                  </a:lnTo>
                  <a:lnTo>
                    <a:pt x="126" y="397"/>
                  </a:lnTo>
                  <a:lnTo>
                    <a:pt x="118" y="400"/>
                  </a:lnTo>
                  <a:lnTo>
                    <a:pt x="111" y="403"/>
                  </a:lnTo>
                  <a:lnTo>
                    <a:pt x="107" y="407"/>
                  </a:lnTo>
                  <a:lnTo>
                    <a:pt x="106" y="407"/>
                  </a:lnTo>
                  <a:lnTo>
                    <a:pt x="99" y="405"/>
                  </a:lnTo>
                  <a:lnTo>
                    <a:pt x="92" y="402"/>
                  </a:lnTo>
                  <a:lnTo>
                    <a:pt x="95" y="400"/>
                  </a:lnTo>
                  <a:lnTo>
                    <a:pt x="99" y="395"/>
                  </a:lnTo>
                  <a:lnTo>
                    <a:pt x="99" y="388"/>
                  </a:lnTo>
                  <a:lnTo>
                    <a:pt x="101" y="383"/>
                  </a:lnTo>
                  <a:lnTo>
                    <a:pt x="101" y="374"/>
                  </a:lnTo>
                  <a:lnTo>
                    <a:pt x="102" y="371"/>
                  </a:lnTo>
                  <a:lnTo>
                    <a:pt x="106" y="368"/>
                  </a:lnTo>
                  <a:lnTo>
                    <a:pt x="109" y="369"/>
                  </a:lnTo>
                  <a:close/>
                  <a:moveTo>
                    <a:pt x="94" y="330"/>
                  </a:moveTo>
                  <a:lnTo>
                    <a:pt x="95" y="332"/>
                  </a:lnTo>
                  <a:lnTo>
                    <a:pt x="92" y="332"/>
                  </a:lnTo>
                  <a:lnTo>
                    <a:pt x="89" y="328"/>
                  </a:lnTo>
                  <a:lnTo>
                    <a:pt x="94" y="330"/>
                  </a:lnTo>
                  <a:close/>
                  <a:moveTo>
                    <a:pt x="106" y="327"/>
                  </a:moveTo>
                  <a:lnTo>
                    <a:pt x="113" y="328"/>
                  </a:lnTo>
                  <a:lnTo>
                    <a:pt x="118" y="328"/>
                  </a:lnTo>
                  <a:lnTo>
                    <a:pt x="118" y="333"/>
                  </a:lnTo>
                  <a:lnTo>
                    <a:pt x="113" y="335"/>
                  </a:lnTo>
                  <a:lnTo>
                    <a:pt x="106" y="333"/>
                  </a:lnTo>
                  <a:lnTo>
                    <a:pt x="104" y="330"/>
                  </a:lnTo>
                  <a:lnTo>
                    <a:pt x="99" y="328"/>
                  </a:lnTo>
                  <a:lnTo>
                    <a:pt x="106" y="327"/>
                  </a:lnTo>
                  <a:close/>
                  <a:moveTo>
                    <a:pt x="94" y="325"/>
                  </a:moveTo>
                  <a:lnTo>
                    <a:pt x="101" y="330"/>
                  </a:lnTo>
                  <a:lnTo>
                    <a:pt x="104" y="333"/>
                  </a:lnTo>
                  <a:lnTo>
                    <a:pt x="101" y="330"/>
                  </a:lnTo>
                  <a:lnTo>
                    <a:pt x="95" y="332"/>
                  </a:lnTo>
                  <a:lnTo>
                    <a:pt x="92" y="328"/>
                  </a:lnTo>
                  <a:lnTo>
                    <a:pt x="90" y="328"/>
                  </a:lnTo>
                  <a:lnTo>
                    <a:pt x="90" y="325"/>
                  </a:lnTo>
                  <a:lnTo>
                    <a:pt x="94" y="325"/>
                  </a:lnTo>
                  <a:close/>
                  <a:moveTo>
                    <a:pt x="82" y="321"/>
                  </a:moveTo>
                  <a:lnTo>
                    <a:pt x="84" y="321"/>
                  </a:lnTo>
                  <a:lnTo>
                    <a:pt x="84" y="323"/>
                  </a:lnTo>
                  <a:lnTo>
                    <a:pt x="82" y="323"/>
                  </a:lnTo>
                  <a:lnTo>
                    <a:pt x="82" y="321"/>
                  </a:lnTo>
                  <a:close/>
                  <a:moveTo>
                    <a:pt x="65" y="275"/>
                  </a:moveTo>
                  <a:lnTo>
                    <a:pt x="70" y="277"/>
                  </a:lnTo>
                  <a:lnTo>
                    <a:pt x="63" y="279"/>
                  </a:lnTo>
                  <a:lnTo>
                    <a:pt x="61" y="282"/>
                  </a:lnTo>
                  <a:lnTo>
                    <a:pt x="56" y="282"/>
                  </a:lnTo>
                  <a:lnTo>
                    <a:pt x="60" y="287"/>
                  </a:lnTo>
                  <a:lnTo>
                    <a:pt x="60" y="291"/>
                  </a:lnTo>
                  <a:lnTo>
                    <a:pt x="54" y="284"/>
                  </a:lnTo>
                  <a:lnTo>
                    <a:pt x="54" y="277"/>
                  </a:lnTo>
                  <a:lnTo>
                    <a:pt x="65" y="275"/>
                  </a:lnTo>
                  <a:close/>
                  <a:moveTo>
                    <a:pt x="61" y="270"/>
                  </a:moveTo>
                  <a:lnTo>
                    <a:pt x="68" y="275"/>
                  </a:lnTo>
                  <a:lnTo>
                    <a:pt x="58" y="274"/>
                  </a:lnTo>
                  <a:lnTo>
                    <a:pt x="58" y="272"/>
                  </a:lnTo>
                  <a:lnTo>
                    <a:pt x="61" y="270"/>
                  </a:lnTo>
                  <a:close/>
                  <a:moveTo>
                    <a:pt x="66" y="272"/>
                  </a:moveTo>
                  <a:lnTo>
                    <a:pt x="63" y="270"/>
                  </a:lnTo>
                  <a:lnTo>
                    <a:pt x="63" y="269"/>
                  </a:lnTo>
                  <a:lnTo>
                    <a:pt x="66" y="272"/>
                  </a:lnTo>
                  <a:close/>
                  <a:moveTo>
                    <a:pt x="63" y="269"/>
                  </a:moveTo>
                  <a:lnTo>
                    <a:pt x="63" y="270"/>
                  </a:lnTo>
                  <a:lnTo>
                    <a:pt x="60" y="269"/>
                  </a:lnTo>
                  <a:lnTo>
                    <a:pt x="58" y="269"/>
                  </a:lnTo>
                  <a:lnTo>
                    <a:pt x="61" y="265"/>
                  </a:lnTo>
                  <a:lnTo>
                    <a:pt x="63" y="269"/>
                  </a:lnTo>
                  <a:close/>
                  <a:moveTo>
                    <a:pt x="68" y="265"/>
                  </a:moveTo>
                  <a:lnTo>
                    <a:pt x="70" y="267"/>
                  </a:lnTo>
                  <a:lnTo>
                    <a:pt x="68" y="274"/>
                  </a:lnTo>
                  <a:lnTo>
                    <a:pt x="65" y="270"/>
                  </a:lnTo>
                  <a:lnTo>
                    <a:pt x="63" y="265"/>
                  </a:lnTo>
                  <a:lnTo>
                    <a:pt x="66" y="258"/>
                  </a:lnTo>
                  <a:lnTo>
                    <a:pt x="68" y="265"/>
                  </a:lnTo>
                  <a:close/>
                  <a:moveTo>
                    <a:pt x="72" y="245"/>
                  </a:moveTo>
                  <a:lnTo>
                    <a:pt x="77" y="248"/>
                  </a:lnTo>
                  <a:lnTo>
                    <a:pt x="68" y="246"/>
                  </a:lnTo>
                  <a:lnTo>
                    <a:pt x="68" y="245"/>
                  </a:lnTo>
                  <a:lnTo>
                    <a:pt x="72" y="245"/>
                  </a:lnTo>
                  <a:close/>
                  <a:moveTo>
                    <a:pt x="0" y="234"/>
                  </a:moveTo>
                  <a:lnTo>
                    <a:pt x="2" y="234"/>
                  </a:lnTo>
                  <a:lnTo>
                    <a:pt x="2" y="236"/>
                  </a:lnTo>
                  <a:lnTo>
                    <a:pt x="0" y="236"/>
                  </a:lnTo>
                  <a:lnTo>
                    <a:pt x="0" y="234"/>
                  </a:lnTo>
                  <a:close/>
                  <a:moveTo>
                    <a:pt x="31" y="188"/>
                  </a:moveTo>
                  <a:lnTo>
                    <a:pt x="31" y="193"/>
                  </a:lnTo>
                  <a:lnTo>
                    <a:pt x="27" y="190"/>
                  </a:lnTo>
                  <a:lnTo>
                    <a:pt x="31" y="188"/>
                  </a:lnTo>
                  <a:close/>
                  <a:moveTo>
                    <a:pt x="20" y="163"/>
                  </a:moveTo>
                  <a:lnTo>
                    <a:pt x="19" y="163"/>
                  </a:lnTo>
                  <a:lnTo>
                    <a:pt x="19" y="159"/>
                  </a:lnTo>
                  <a:lnTo>
                    <a:pt x="20" y="163"/>
                  </a:lnTo>
                  <a:close/>
                  <a:moveTo>
                    <a:pt x="14" y="157"/>
                  </a:moveTo>
                  <a:lnTo>
                    <a:pt x="15" y="163"/>
                  </a:lnTo>
                  <a:lnTo>
                    <a:pt x="12" y="161"/>
                  </a:lnTo>
                  <a:lnTo>
                    <a:pt x="10" y="156"/>
                  </a:lnTo>
                  <a:lnTo>
                    <a:pt x="14" y="154"/>
                  </a:lnTo>
                  <a:lnTo>
                    <a:pt x="14" y="157"/>
                  </a:lnTo>
                  <a:close/>
                  <a:moveTo>
                    <a:pt x="20" y="149"/>
                  </a:moveTo>
                  <a:lnTo>
                    <a:pt x="22" y="149"/>
                  </a:lnTo>
                  <a:lnTo>
                    <a:pt x="22" y="152"/>
                  </a:lnTo>
                  <a:lnTo>
                    <a:pt x="20" y="152"/>
                  </a:lnTo>
                  <a:lnTo>
                    <a:pt x="20" y="149"/>
                  </a:lnTo>
                  <a:close/>
                  <a:moveTo>
                    <a:pt x="671" y="81"/>
                  </a:moveTo>
                  <a:lnTo>
                    <a:pt x="664" y="87"/>
                  </a:lnTo>
                  <a:lnTo>
                    <a:pt x="664" y="96"/>
                  </a:lnTo>
                  <a:lnTo>
                    <a:pt x="666" y="99"/>
                  </a:lnTo>
                  <a:lnTo>
                    <a:pt x="662" y="101"/>
                  </a:lnTo>
                  <a:lnTo>
                    <a:pt x="664" y="108"/>
                  </a:lnTo>
                  <a:lnTo>
                    <a:pt x="661" y="113"/>
                  </a:lnTo>
                  <a:lnTo>
                    <a:pt x="659" y="113"/>
                  </a:lnTo>
                  <a:lnTo>
                    <a:pt x="657" y="110"/>
                  </a:lnTo>
                  <a:lnTo>
                    <a:pt x="652" y="115"/>
                  </a:lnTo>
                  <a:lnTo>
                    <a:pt x="645" y="113"/>
                  </a:lnTo>
                  <a:lnTo>
                    <a:pt x="642" y="116"/>
                  </a:lnTo>
                  <a:lnTo>
                    <a:pt x="640" y="122"/>
                  </a:lnTo>
                  <a:lnTo>
                    <a:pt x="633" y="125"/>
                  </a:lnTo>
                  <a:lnTo>
                    <a:pt x="633" y="127"/>
                  </a:lnTo>
                  <a:lnTo>
                    <a:pt x="637" y="132"/>
                  </a:lnTo>
                  <a:lnTo>
                    <a:pt x="631" y="139"/>
                  </a:lnTo>
                  <a:lnTo>
                    <a:pt x="631" y="144"/>
                  </a:lnTo>
                  <a:lnTo>
                    <a:pt x="637" y="149"/>
                  </a:lnTo>
                  <a:lnTo>
                    <a:pt x="633" y="156"/>
                  </a:lnTo>
                  <a:lnTo>
                    <a:pt x="633" y="164"/>
                  </a:lnTo>
                  <a:lnTo>
                    <a:pt x="626" y="168"/>
                  </a:lnTo>
                  <a:lnTo>
                    <a:pt x="628" y="171"/>
                  </a:lnTo>
                  <a:lnTo>
                    <a:pt x="625" y="175"/>
                  </a:lnTo>
                  <a:lnTo>
                    <a:pt x="620" y="183"/>
                  </a:lnTo>
                  <a:lnTo>
                    <a:pt x="616" y="183"/>
                  </a:lnTo>
                  <a:lnTo>
                    <a:pt x="614" y="187"/>
                  </a:lnTo>
                  <a:lnTo>
                    <a:pt x="608" y="190"/>
                  </a:lnTo>
                  <a:lnTo>
                    <a:pt x="606" y="197"/>
                  </a:lnTo>
                  <a:lnTo>
                    <a:pt x="597" y="202"/>
                  </a:lnTo>
                  <a:lnTo>
                    <a:pt x="596" y="204"/>
                  </a:lnTo>
                  <a:lnTo>
                    <a:pt x="589" y="210"/>
                  </a:lnTo>
                  <a:lnTo>
                    <a:pt x="589" y="212"/>
                  </a:lnTo>
                  <a:lnTo>
                    <a:pt x="580" y="217"/>
                  </a:lnTo>
                  <a:lnTo>
                    <a:pt x="579" y="219"/>
                  </a:lnTo>
                  <a:lnTo>
                    <a:pt x="568" y="217"/>
                  </a:lnTo>
                  <a:lnTo>
                    <a:pt x="560" y="222"/>
                  </a:lnTo>
                  <a:lnTo>
                    <a:pt x="563" y="229"/>
                  </a:lnTo>
                  <a:lnTo>
                    <a:pt x="572" y="233"/>
                  </a:lnTo>
                  <a:lnTo>
                    <a:pt x="573" y="234"/>
                  </a:lnTo>
                  <a:lnTo>
                    <a:pt x="575" y="236"/>
                  </a:lnTo>
                  <a:lnTo>
                    <a:pt x="573" y="243"/>
                  </a:lnTo>
                  <a:lnTo>
                    <a:pt x="579" y="250"/>
                  </a:lnTo>
                  <a:lnTo>
                    <a:pt x="577" y="257"/>
                  </a:lnTo>
                  <a:lnTo>
                    <a:pt x="580" y="258"/>
                  </a:lnTo>
                  <a:lnTo>
                    <a:pt x="575" y="265"/>
                  </a:lnTo>
                  <a:lnTo>
                    <a:pt x="577" y="269"/>
                  </a:lnTo>
                  <a:lnTo>
                    <a:pt x="573" y="274"/>
                  </a:lnTo>
                  <a:lnTo>
                    <a:pt x="568" y="277"/>
                  </a:lnTo>
                  <a:lnTo>
                    <a:pt x="561" y="279"/>
                  </a:lnTo>
                  <a:lnTo>
                    <a:pt x="558" y="284"/>
                  </a:lnTo>
                  <a:lnTo>
                    <a:pt x="553" y="287"/>
                  </a:lnTo>
                  <a:lnTo>
                    <a:pt x="553" y="292"/>
                  </a:lnTo>
                  <a:lnTo>
                    <a:pt x="558" y="298"/>
                  </a:lnTo>
                  <a:lnTo>
                    <a:pt x="558" y="301"/>
                  </a:lnTo>
                  <a:lnTo>
                    <a:pt x="553" y="311"/>
                  </a:lnTo>
                  <a:lnTo>
                    <a:pt x="551" y="311"/>
                  </a:lnTo>
                  <a:lnTo>
                    <a:pt x="550" y="306"/>
                  </a:lnTo>
                  <a:lnTo>
                    <a:pt x="543" y="304"/>
                  </a:lnTo>
                  <a:lnTo>
                    <a:pt x="536" y="309"/>
                  </a:lnTo>
                  <a:lnTo>
                    <a:pt x="527" y="309"/>
                  </a:lnTo>
                  <a:lnTo>
                    <a:pt x="522" y="311"/>
                  </a:lnTo>
                  <a:lnTo>
                    <a:pt x="514" y="315"/>
                  </a:lnTo>
                  <a:lnTo>
                    <a:pt x="512" y="316"/>
                  </a:lnTo>
                  <a:lnTo>
                    <a:pt x="507" y="320"/>
                  </a:lnTo>
                  <a:lnTo>
                    <a:pt x="497" y="318"/>
                  </a:lnTo>
                  <a:lnTo>
                    <a:pt x="495" y="320"/>
                  </a:lnTo>
                  <a:lnTo>
                    <a:pt x="497" y="325"/>
                  </a:lnTo>
                  <a:lnTo>
                    <a:pt x="492" y="325"/>
                  </a:lnTo>
                  <a:lnTo>
                    <a:pt x="490" y="328"/>
                  </a:lnTo>
                  <a:lnTo>
                    <a:pt x="480" y="330"/>
                  </a:lnTo>
                  <a:lnTo>
                    <a:pt x="478" y="333"/>
                  </a:lnTo>
                  <a:lnTo>
                    <a:pt x="471" y="333"/>
                  </a:lnTo>
                  <a:lnTo>
                    <a:pt x="466" y="333"/>
                  </a:lnTo>
                  <a:lnTo>
                    <a:pt x="466" y="337"/>
                  </a:lnTo>
                  <a:lnTo>
                    <a:pt x="464" y="339"/>
                  </a:lnTo>
                  <a:lnTo>
                    <a:pt x="459" y="332"/>
                  </a:lnTo>
                  <a:lnTo>
                    <a:pt x="452" y="335"/>
                  </a:lnTo>
                  <a:lnTo>
                    <a:pt x="449" y="337"/>
                  </a:lnTo>
                  <a:lnTo>
                    <a:pt x="447" y="335"/>
                  </a:lnTo>
                  <a:lnTo>
                    <a:pt x="444" y="339"/>
                  </a:lnTo>
                  <a:lnTo>
                    <a:pt x="442" y="339"/>
                  </a:lnTo>
                  <a:lnTo>
                    <a:pt x="442" y="333"/>
                  </a:lnTo>
                  <a:lnTo>
                    <a:pt x="437" y="327"/>
                  </a:lnTo>
                  <a:lnTo>
                    <a:pt x="432" y="323"/>
                  </a:lnTo>
                  <a:lnTo>
                    <a:pt x="427" y="328"/>
                  </a:lnTo>
                  <a:lnTo>
                    <a:pt x="425" y="333"/>
                  </a:lnTo>
                  <a:lnTo>
                    <a:pt x="427" y="337"/>
                  </a:lnTo>
                  <a:lnTo>
                    <a:pt x="422" y="337"/>
                  </a:lnTo>
                  <a:lnTo>
                    <a:pt x="416" y="335"/>
                  </a:lnTo>
                  <a:lnTo>
                    <a:pt x="410" y="335"/>
                  </a:lnTo>
                  <a:lnTo>
                    <a:pt x="411" y="345"/>
                  </a:lnTo>
                  <a:lnTo>
                    <a:pt x="410" y="347"/>
                  </a:lnTo>
                  <a:lnTo>
                    <a:pt x="401" y="349"/>
                  </a:lnTo>
                  <a:lnTo>
                    <a:pt x="396" y="344"/>
                  </a:lnTo>
                  <a:lnTo>
                    <a:pt x="394" y="349"/>
                  </a:lnTo>
                  <a:lnTo>
                    <a:pt x="396" y="356"/>
                  </a:lnTo>
                  <a:lnTo>
                    <a:pt x="392" y="354"/>
                  </a:lnTo>
                  <a:lnTo>
                    <a:pt x="387" y="361"/>
                  </a:lnTo>
                  <a:lnTo>
                    <a:pt x="381" y="359"/>
                  </a:lnTo>
                  <a:lnTo>
                    <a:pt x="375" y="361"/>
                  </a:lnTo>
                  <a:lnTo>
                    <a:pt x="374" y="362"/>
                  </a:lnTo>
                  <a:lnTo>
                    <a:pt x="370" y="364"/>
                  </a:lnTo>
                  <a:lnTo>
                    <a:pt x="362" y="369"/>
                  </a:lnTo>
                  <a:lnTo>
                    <a:pt x="362" y="373"/>
                  </a:lnTo>
                  <a:lnTo>
                    <a:pt x="362" y="374"/>
                  </a:lnTo>
                  <a:lnTo>
                    <a:pt x="358" y="380"/>
                  </a:lnTo>
                  <a:lnTo>
                    <a:pt x="355" y="380"/>
                  </a:lnTo>
                  <a:lnTo>
                    <a:pt x="353" y="383"/>
                  </a:lnTo>
                  <a:lnTo>
                    <a:pt x="355" y="388"/>
                  </a:lnTo>
                  <a:lnTo>
                    <a:pt x="353" y="390"/>
                  </a:lnTo>
                  <a:lnTo>
                    <a:pt x="357" y="393"/>
                  </a:lnTo>
                  <a:lnTo>
                    <a:pt x="355" y="395"/>
                  </a:lnTo>
                  <a:lnTo>
                    <a:pt x="346" y="398"/>
                  </a:lnTo>
                  <a:lnTo>
                    <a:pt x="336" y="400"/>
                  </a:lnTo>
                  <a:lnTo>
                    <a:pt x="334" y="403"/>
                  </a:lnTo>
                  <a:lnTo>
                    <a:pt x="333" y="403"/>
                  </a:lnTo>
                  <a:lnTo>
                    <a:pt x="329" y="409"/>
                  </a:lnTo>
                  <a:lnTo>
                    <a:pt x="328" y="410"/>
                  </a:lnTo>
                  <a:lnTo>
                    <a:pt x="322" y="417"/>
                  </a:lnTo>
                  <a:lnTo>
                    <a:pt x="314" y="421"/>
                  </a:lnTo>
                  <a:lnTo>
                    <a:pt x="311" y="422"/>
                  </a:lnTo>
                  <a:lnTo>
                    <a:pt x="305" y="422"/>
                  </a:lnTo>
                  <a:lnTo>
                    <a:pt x="304" y="426"/>
                  </a:lnTo>
                  <a:lnTo>
                    <a:pt x="300" y="432"/>
                  </a:lnTo>
                  <a:lnTo>
                    <a:pt x="300" y="436"/>
                  </a:lnTo>
                  <a:lnTo>
                    <a:pt x="295" y="438"/>
                  </a:lnTo>
                  <a:lnTo>
                    <a:pt x="293" y="434"/>
                  </a:lnTo>
                  <a:lnTo>
                    <a:pt x="288" y="438"/>
                  </a:lnTo>
                  <a:lnTo>
                    <a:pt x="285" y="434"/>
                  </a:lnTo>
                  <a:lnTo>
                    <a:pt x="282" y="439"/>
                  </a:lnTo>
                  <a:lnTo>
                    <a:pt x="276" y="441"/>
                  </a:lnTo>
                  <a:lnTo>
                    <a:pt x="270" y="446"/>
                  </a:lnTo>
                  <a:lnTo>
                    <a:pt x="270" y="451"/>
                  </a:lnTo>
                  <a:lnTo>
                    <a:pt x="273" y="451"/>
                  </a:lnTo>
                  <a:lnTo>
                    <a:pt x="275" y="456"/>
                  </a:lnTo>
                  <a:lnTo>
                    <a:pt x="280" y="455"/>
                  </a:lnTo>
                  <a:lnTo>
                    <a:pt x="283" y="451"/>
                  </a:lnTo>
                  <a:lnTo>
                    <a:pt x="285" y="451"/>
                  </a:lnTo>
                  <a:lnTo>
                    <a:pt x="288" y="455"/>
                  </a:lnTo>
                  <a:lnTo>
                    <a:pt x="288" y="463"/>
                  </a:lnTo>
                  <a:lnTo>
                    <a:pt x="285" y="472"/>
                  </a:lnTo>
                  <a:lnTo>
                    <a:pt x="283" y="475"/>
                  </a:lnTo>
                  <a:lnTo>
                    <a:pt x="287" y="479"/>
                  </a:lnTo>
                  <a:lnTo>
                    <a:pt x="285" y="484"/>
                  </a:lnTo>
                  <a:lnTo>
                    <a:pt x="288" y="485"/>
                  </a:lnTo>
                  <a:lnTo>
                    <a:pt x="293" y="489"/>
                  </a:lnTo>
                  <a:lnTo>
                    <a:pt x="293" y="492"/>
                  </a:lnTo>
                  <a:lnTo>
                    <a:pt x="297" y="492"/>
                  </a:lnTo>
                  <a:lnTo>
                    <a:pt x="297" y="496"/>
                  </a:lnTo>
                  <a:lnTo>
                    <a:pt x="293" y="497"/>
                  </a:lnTo>
                  <a:lnTo>
                    <a:pt x="293" y="502"/>
                  </a:lnTo>
                  <a:lnTo>
                    <a:pt x="297" y="509"/>
                  </a:lnTo>
                  <a:lnTo>
                    <a:pt x="295" y="513"/>
                  </a:lnTo>
                  <a:lnTo>
                    <a:pt x="290" y="520"/>
                  </a:lnTo>
                  <a:lnTo>
                    <a:pt x="293" y="523"/>
                  </a:lnTo>
                  <a:lnTo>
                    <a:pt x="297" y="532"/>
                  </a:lnTo>
                  <a:lnTo>
                    <a:pt x="297" y="537"/>
                  </a:lnTo>
                  <a:lnTo>
                    <a:pt x="299" y="545"/>
                  </a:lnTo>
                  <a:lnTo>
                    <a:pt x="300" y="555"/>
                  </a:lnTo>
                  <a:lnTo>
                    <a:pt x="304" y="562"/>
                  </a:lnTo>
                  <a:lnTo>
                    <a:pt x="300" y="569"/>
                  </a:lnTo>
                  <a:lnTo>
                    <a:pt x="304" y="571"/>
                  </a:lnTo>
                  <a:lnTo>
                    <a:pt x="307" y="571"/>
                  </a:lnTo>
                  <a:lnTo>
                    <a:pt x="307" y="574"/>
                  </a:lnTo>
                  <a:lnTo>
                    <a:pt x="302" y="581"/>
                  </a:lnTo>
                  <a:lnTo>
                    <a:pt x="299" y="583"/>
                  </a:lnTo>
                  <a:lnTo>
                    <a:pt x="292" y="584"/>
                  </a:lnTo>
                  <a:lnTo>
                    <a:pt x="288" y="584"/>
                  </a:lnTo>
                  <a:lnTo>
                    <a:pt x="283" y="593"/>
                  </a:lnTo>
                  <a:lnTo>
                    <a:pt x="273" y="595"/>
                  </a:lnTo>
                  <a:lnTo>
                    <a:pt x="270" y="598"/>
                  </a:lnTo>
                  <a:lnTo>
                    <a:pt x="261" y="600"/>
                  </a:lnTo>
                  <a:lnTo>
                    <a:pt x="258" y="603"/>
                  </a:lnTo>
                  <a:lnTo>
                    <a:pt x="254" y="608"/>
                  </a:lnTo>
                  <a:lnTo>
                    <a:pt x="254" y="610"/>
                  </a:lnTo>
                  <a:lnTo>
                    <a:pt x="244" y="615"/>
                  </a:lnTo>
                  <a:lnTo>
                    <a:pt x="241" y="608"/>
                  </a:lnTo>
                  <a:lnTo>
                    <a:pt x="244" y="608"/>
                  </a:lnTo>
                  <a:lnTo>
                    <a:pt x="242" y="602"/>
                  </a:lnTo>
                  <a:lnTo>
                    <a:pt x="242" y="596"/>
                  </a:lnTo>
                  <a:lnTo>
                    <a:pt x="239" y="593"/>
                  </a:lnTo>
                  <a:lnTo>
                    <a:pt x="234" y="591"/>
                  </a:lnTo>
                  <a:lnTo>
                    <a:pt x="229" y="591"/>
                  </a:lnTo>
                  <a:lnTo>
                    <a:pt x="223" y="595"/>
                  </a:lnTo>
                  <a:lnTo>
                    <a:pt x="217" y="598"/>
                  </a:lnTo>
                  <a:lnTo>
                    <a:pt x="210" y="603"/>
                  </a:lnTo>
                  <a:lnTo>
                    <a:pt x="203" y="610"/>
                  </a:lnTo>
                  <a:lnTo>
                    <a:pt x="198" y="605"/>
                  </a:lnTo>
                  <a:lnTo>
                    <a:pt x="194" y="596"/>
                  </a:lnTo>
                  <a:lnTo>
                    <a:pt x="198" y="590"/>
                  </a:lnTo>
                  <a:lnTo>
                    <a:pt x="198" y="581"/>
                  </a:lnTo>
                  <a:lnTo>
                    <a:pt x="193" y="579"/>
                  </a:lnTo>
                  <a:lnTo>
                    <a:pt x="194" y="574"/>
                  </a:lnTo>
                  <a:lnTo>
                    <a:pt x="193" y="567"/>
                  </a:lnTo>
                  <a:lnTo>
                    <a:pt x="184" y="564"/>
                  </a:lnTo>
                  <a:lnTo>
                    <a:pt x="189" y="559"/>
                  </a:lnTo>
                  <a:lnTo>
                    <a:pt x="191" y="554"/>
                  </a:lnTo>
                  <a:lnTo>
                    <a:pt x="189" y="545"/>
                  </a:lnTo>
                  <a:lnTo>
                    <a:pt x="184" y="542"/>
                  </a:lnTo>
                  <a:lnTo>
                    <a:pt x="186" y="540"/>
                  </a:lnTo>
                  <a:lnTo>
                    <a:pt x="184" y="530"/>
                  </a:lnTo>
                  <a:lnTo>
                    <a:pt x="183" y="523"/>
                  </a:lnTo>
                  <a:lnTo>
                    <a:pt x="177" y="520"/>
                  </a:lnTo>
                  <a:lnTo>
                    <a:pt x="174" y="520"/>
                  </a:lnTo>
                  <a:lnTo>
                    <a:pt x="177" y="518"/>
                  </a:lnTo>
                  <a:lnTo>
                    <a:pt x="177" y="511"/>
                  </a:lnTo>
                  <a:lnTo>
                    <a:pt x="181" y="506"/>
                  </a:lnTo>
                  <a:lnTo>
                    <a:pt x="181" y="499"/>
                  </a:lnTo>
                  <a:lnTo>
                    <a:pt x="181" y="496"/>
                  </a:lnTo>
                  <a:lnTo>
                    <a:pt x="179" y="487"/>
                  </a:lnTo>
                  <a:lnTo>
                    <a:pt x="174" y="482"/>
                  </a:lnTo>
                  <a:lnTo>
                    <a:pt x="167" y="479"/>
                  </a:lnTo>
                  <a:lnTo>
                    <a:pt x="157" y="473"/>
                  </a:lnTo>
                  <a:lnTo>
                    <a:pt x="155" y="470"/>
                  </a:lnTo>
                  <a:lnTo>
                    <a:pt x="159" y="470"/>
                  </a:lnTo>
                  <a:lnTo>
                    <a:pt x="157" y="467"/>
                  </a:lnTo>
                  <a:lnTo>
                    <a:pt x="157" y="463"/>
                  </a:lnTo>
                  <a:lnTo>
                    <a:pt x="160" y="463"/>
                  </a:lnTo>
                  <a:lnTo>
                    <a:pt x="160" y="461"/>
                  </a:lnTo>
                  <a:lnTo>
                    <a:pt x="164" y="460"/>
                  </a:lnTo>
                  <a:lnTo>
                    <a:pt x="171" y="451"/>
                  </a:lnTo>
                  <a:lnTo>
                    <a:pt x="171" y="448"/>
                  </a:lnTo>
                  <a:lnTo>
                    <a:pt x="172" y="439"/>
                  </a:lnTo>
                  <a:lnTo>
                    <a:pt x="171" y="432"/>
                  </a:lnTo>
                  <a:lnTo>
                    <a:pt x="174" y="426"/>
                  </a:lnTo>
                  <a:lnTo>
                    <a:pt x="174" y="422"/>
                  </a:lnTo>
                  <a:lnTo>
                    <a:pt x="176" y="419"/>
                  </a:lnTo>
                  <a:lnTo>
                    <a:pt x="174" y="412"/>
                  </a:lnTo>
                  <a:lnTo>
                    <a:pt x="169" y="405"/>
                  </a:lnTo>
                  <a:lnTo>
                    <a:pt x="167" y="403"/>
                  </a:lnTo>
                  <a:lnTo>
                    <a:pt x="162" y="403"/>
                  </a:lnTo>
                  <a:lnTo>
                    <a:pt x="160" y="400"/>
                  </a:lnTo>
                  <a:lnTo>
                    <a:pt x="160" y="398"/>
                  </a:lnTo>
                  <a:lnTo>
                    <a:pt x="159" y="397"/>
                  </a:lnTo>
                  <a:lnTo>
                    <a:pt x="155" y="395"/>
                  </a:lnTo>
                  <a:lnTo>
                    <a:pt x="160" y="385"/>
                  </a:lnTo>
                  <a:lnTo>
                    <a:pt x="150" y="381"/>
                  </a:lnTo>
                  <a:lnTo>
                    <a:pt x="145" y="381"/>
                  </a:lnTo>
                  <a:lnTo>
                    <a:pt x="143" y="376"/>
                  </a:lnTo>
                  <a:lnTo>
                    <a:pt x="140" y="376"/>
                  </a:lnTo>
                  <a:lnTo>
                    <a:pt x="138" y="369"/>
                  </a:lnTo>
                  <a:lnTo>
                    <a:pt x="135" y="369"/>
                  </a:lnTo>
                  <a:lnTo>
                    <a:pt x="135" y="361"/>
                  </a:lnTo>
                  <a:lnTo>
                    <a:pt x="135" y="368"/>
                  </a:lnTo>
                  <a:lnTo>
                    <a:pt x="130" y="373"/>
                  </a:lnTo>
                  <a:lnTo>
                    <a:pt x="128" y="369"/>
                  </a:lnTo>
                  <a:lnTo>
                    <a:pt x="124" y="371"/>
                  </a:lnTo>
                  <a:lnTo>
                    <a:pt x="123" y="366"/>
                  </a:lnTo>
                  <a:lnTo>
                    <a:pt x="123" y="368"/>
                  </a:lnTo>
                  <a:lnTo>
                    <a:pt x="121" y="368"/>
                  </a:lnTo>
                  <a:lnTo>
                    <a:pt x="118" y="359"/>
                  </a:lnTo>
                  <a:lnTo>
                    <a:pt x="114" y="357"/>
                  </a:lnTo>
                  <a:lnTo>
                    <a:pt x="111" y="357"/>
                  </a:lnTo>
                  <a:lnTo>
                    <a:pt x="102" y="354"/>
                  </a:lnTo>
                  <a:lnTo>
                    <a:pt x="101" y="352"/>
                  </a:lnTo>
                  <a:lnTo>
                    <a:pt x="97" y="356"/>
                  </a:lnTo>
                  <a:lnTo>
                    <a:pt x="99" y="357"/>
                  </a:lnTo>
                  <a:lnTo>
                    <a:pt x="97" y="361"/>
                  </a:lnTo>
                  <a:lnTo>
                    <a:pt x="95" y="357"/>
                  </a:lnTo>
                  <a:lnTo>
                    <a:pt x="97" y="361"/>
                  </a:lnTo>
                  <a:lnTo>
                    <a:pt x="95" y="362"/>
                  </a:lnTo>
                  <a:lnTo>
                    <a:pt x="90" y="361"/>
                  </a:lnTo>
                  <a:lnTo>
                    <a:pt x="85" y="359"/>
                  </a:lnTo>
                  <a:lnTo>
                    <a:pt x="78" y="352"/>
                  </a:lnTo>
                  <a:lnTo>
                    <a:pt x="75" y="347"/>
                  </a:lnTo>
                  <a:lnTo>
                    <a:pt x="77" y="342"/>
                  </a:lnTo>
                  <a:lnTo>
                    <a:pt x="77" y="333"/>
                  </a:lnTo>
                  <a:lnTo>
                    <a:pt x="77" y="330"/>
                  </a:lnTo>
                  <a:lnTo>
                    <a:pt x="85" y="335"/>
                  </a:lnTo>
                  <a:lnTo>
                    <a:pt x="94" y="335"/>
                  </a:lnTo>
                  <a:lnTo>
                    <a:pt x="104" y="340"/>
                  </a:lnTo>
                  <a:lnTo>
                    <a:pt x="111" y="339"/>
                  </a:lnTo>
                  <a:lnTo>
                    <a:pt x="116" y="342"/>
                  </a:lnTo>
                  <a:lnTo>
                    <a:pt x="116" y="340"/>
                  </a:lnTo>
                  <a:lnTo>
                    <a:pt x="113" y="339"/>
                  </a:lnTo>
                  <a:lnTo>
                    <a:pt x="114" y="337"/>
                  </a:lnTo>
                  <a:lnTo>
                    <a:pt x="113" y="339"/>
                  </a:lnTo>
                  <a:lnTo>
                    <a:pt x="102" y="339"/>
                  </a:lnTo>
                  <a:lnTo>
                    <a:pt x="101" y="335"/>
                  </a:lnTo>
                  <a:lnTo>
                    <a:pt x="102" y="335"/>
                  </a:lnTo>
                  <a:lnTo>
                    <a:pt x="97" y="332"/>
                  </a:lnTo>
                  <a:lnTo>
                    <a:pt x="101" y="330"/>
                  </a:lnTo>
                  <a:lnTo>
                    <a:pt x="107" y="335"/>
                  </a:lnTo>
                  <a:lnTo>
                    <a:pt x="113" y="335"/>
                  </a:lnTo>
                  <a:lnTo>
                    <a:pt x="118" y="333"/>
                  </a:lnTo>
                  <a:lnTo>
                    <a:pt x="118" y="328"/>
                  </a:lnTo>
                  <a:lnTo>
                    <a:pt x="113" y="328"/>
                  </a:lnTo>
                  <a:lnTo>
                    <a:pt x="104" y="325"/>
                  </a:lnTo>
                  <a:lnTo>
                    <a:pt x="97" y="327"/>
                  </a:lnTo>
                  <a:lnTo>
                    <a:pt x="94" y="323"/>
                  </a:lnTo>
                  <a:lnTo>
                    <a:pt x="94" y="321"/>
                  </a:lnTo>
                  <a:lnTo>
                    <a:pt x="95" y="320"/>
                  </a:lnTo>
                  <a:lnTo>
                    <a:pt x="94" y="320"/>
                  </a:lnTo>
                  <a:lnTo>
                    <a:pt x="92" y="321"/>
                  </a:lnTo>
                  <a:lnTo>
                    <a:pt x="84" y="321"/>
                  </a:lnTo>
                  <a:lnTo>
                    <a:pt x="77" y="323"/>
                  </a:lnTo>
                  <a:lnTo>
                    <a:pt x="72" y="316"/>
                  </a:lnTo>
                  <a:lnTo>
                    <a:pt x="70" y="316"/>
                  </a:lnTo>
                  <a:lnTo>
                    <a:pt x="70" y="318"/>
                  </a:lnTo>
                  <a:lnTo>
                    <a:pt x="65" y="318"/>
                  </a:lnTo>
                  <a:lnTo>
                    <a:pt x="61" y="311"/>
                  </a:lnTo>
                  <a:lnTo>
                    <a:pt x="61" y="303"/>
                  </a:lnTo>
                  <a:lnTo>
                    <a:pt x="60" y="294"/>
                  </a:lnTo>
                  <a:lnTo>
                    <a:pt x="60" y="292"/>
                  </a:lnTo>
                  <a:lnTo>
                    <a:pt x="66" y="294"/>
                  </a:lnTo>
                  <a:lnTo>
                    <a:pt x="61" y="292"/>
                  </a:lnTo>
                  <a:lnTo>
                    <a:pt x="58" y="284"/>
                  </a:lnTo>
                  <a:lnTo>
                    <a:pt x="61" y="282"/>
                  </a:lnTo>
                  <a:lnTo>
                    <a:pt x="63" y="279"/>
                  </a:lnTo>
                  <a:lnTo>
                    <a:pt x="72" y="277"/>
                  </a:lnTo>
                  <a:lnTo>
                    <a:pt x="70" y="274"/>
                  </a:lnTo>
                  <a:lnTo>
                    <a:pt x="70" y="267"/>
                  </a:lnTo>
                  <a:lnTo>
                    <a:pt x="70" y="262"/>
                  </a:lnTo>
                  <a:lnTo>
                    <a:pt x="66" y="255"/>
                  </a:lnTo>
                  <a:lnTo>
                    <a:pt x="68" y="246"/>
                  </a:lnTo>
                  <a:lnTo>
                    <a:pt x="73" y="248"/>
                  </a:lnTo>
                  <a:lnTo>
                    <a:pt x="77" y="248"/>
                  </a:lnTo>
                  <a:lnTo>
                    <a:pt x="78" y="248"/>
                  </a:lnTo>
                  <a:lnTo>
                    <a:pt x="75" y="246"/>
                  </a:lnTo>
                  <a:lnTo>
                    <a:pt x="68" y="241"/>
                  </a:lnTo>
                  <a:lnTo>
                    <a:pt x="63" y="234"/>
                  </a:lnTo>
                  <a:lnTo>
                    <a:pt x="61" y="226"/>
                  </a:lnTo>
                  <a:lnTo>
                    <a:pt x="58" y="221"/>
                  </a:lnTo>
                  <a:lnTo>
                    <a:pt x="49" y="216"/>
                  </a:lnTo>
                  <a:lnTo>
                    <a:pt x="43" y="212"/>
                  </a:lnTo>
                  <a:lnTo>
                    <a:pt x="37" y="212"/>
                  </a:lnTo>
                  <a:lnTo>
                    <a:pt x="41" y="204"/>
                  </a:lnTo>
                  <a:lnTo>
                    <a:pt x="41" y="197"/>
                  </a:lnTo>
                  <a:lnTo>
                    <a:pt x="36" y="193"/>
                  </a:lnTo>
                  <a:lnTo>
                    <a:pt x="39" y="183"/>
                  </a:lnTo>
                  <a:lnTo>
                    <a:pt x="39" y="176"/>
                  </a:lnTo>
                  <a:lnTo>
                    <a:pt x="36" y="169"/>
                  </a:lnTo>
                  <a:lnTo>
                    <a:pt x="32" y="166"/>
                  </a:lnTo>
                  <a:lnTo>
                    <a:pt x="32" y="157"/>
                  </a:lnTo>
                  <a:lnTo>
                    <a:pt x="31" y="156"/>
                  </a:lnTo>
                  <a:lnTo>
                    <a:pt x="29" y="152"/>
                  </a:lnTo>
                  <a:lnTo>
                    <a:pt x="36" y="146"/>
                  </a:lnTo>
                  <a:lnTo>
                    <a:pt x="37" y="147"/>
                  </a:lnTo>
                  <a:lnTo>
                    <a:pt x="39" y="146"/>
                  </a:lnTo>
                  <a:lnTo>
                    <a:pt x="44" y="137"/>
                  </a:lnTo>
                  <a:lnTo>
                    <a:pt x="44" y="127"/>
                  </a:lnTo>
                  <a:lnTo>
                    <a:pt x="39" y="118"/>
                  </a:lnTo>
                  <a:lnTo>
                    <a:pt x="39" y="116"/>
                  </a:lnTo>
                  <a:lnTo>
                    <a:pt x="36" y="111"/>
                  </a:lnTo>
                  <a:lnTo>
                    <a:pt x="44" y="110"/>
                  </a:lnTo>
                  <a:lnTo>
                    <a:pt x="43" y="105"/>
                  </a:lnTo>
                  <a:lnTo>
                    <a:pt x="46" y="98"/>
                  </a:lnTo>
                  <a:lnTo>
                    <a:pt x="53" y="91"/>
                  </a:lnTo>
                  <a:lnTo>
                    <a:pt x="53" y="86"/>
                  </a:lnTo>
                  <a:lnTo>
                    <a:pt x="51" y="81"/>
                  </a:lnTo>
                  <a:lnTo>
                    <a:pt x="53" y="76"/>
                  </a:lnTo>
                  <a:lnTo>
                    <a:pt x="53" y="70"/>
                  </a:lnTo>
                  <a:lnTo>
                    <a:pt x="54" y="67"/>
                  </a:lnTo>
                  <a:lnTo>
                    <a:pt x="63" y="60"/>
                  </a:lnTo>
                  <a:lnTo>
                    <a:pt x="65" y="58"/>
                  </a:lnTo>
                  <a:lnTo>
                    <a:pt x="73" y="55"/>
                  </a:lnTo>
                  <a:lnTo>
                    <a:pt x="78" y="52"/>
                  </a:lnTo>
                  <a:lnTo>
                    <a:pt x="80" y="45"/>
                  </a:lnTo>
                  <a:lnTo>
                    <a:pt x="84" y="36"/>
                  </a:lnTo>
                  <a:lnTo>
                    <a:pt x="87" y="36"/>
                  </a:lnTo>
                  <a:lnTo>
                    <a:pt x="82" y="38"/>
                  </a:lnTo>
                  <a:lnTo>
                    <a:pt x="87" y="31"/>
                  </a:lnTo>
                  <a:lnTo>
                    <a:pt x="89" y="26"/>
                  </a:lnTo>
                  <a:lnTo>
                    <a:pt x="85" y="19"/>
                  </a:lnTo>
                  <a:lnTo>
                    <a:pt x="89" y="17"/>
                  </a:lnTo>
                  <a:lnTo>
                    <a:pt x="99" y="17"/>
                  </a:lnTo>
                  <a:lnTo>
                    <a:pt x="104" y="12"/>
                  </a:lnTo>
                  <a:lnTo>
                    <a:pt x="111" y="12"/>
                  </a:lnTo>
                  <a:lnTo>
                    <a:pt x="118" y="12"/>
                  </a:lnTo>
                  <a:lnTo>
                    <a:pt x="123" y="2"/>
                  </a:lnTo>
                  <a:lnTo>
                    <a:pt x="124" y="0"/>
                  </a:lnTo>
                  <a:lnTo>
                    <a:pt x="124" y="7"/>
                  </a:lnTo>
                  <a:lnTo>
                    <a:pt x="121" y="12"/>
                  </a:lnTo>
                  <a:lnTo>
                    <a:pt x="118" y="14"/>
                  </a:lnTo>
                  <a:lnTo>
                    <a:pt x="116" y="19"/>
                  </a:lnTo>
                  <a:lnTo>
                    <a:pt x="111" y="21"/>
                  </a:lnTo>
                  <a:lnTo>
                    <a:pt x="114" y="28"/>
                  </a:lnTo>
                  <a:lnTo>
                    <a:pt x="116" y="29"/>
                  </a:lnTo>
                  <a:lnTo>
                    <a:pt x="118" y="35"/>
                  </a:lnTo>
                  <a:lnTo>
                    <a:pt x="126" y="35"/>
                  </a:lnTo>
                  <a:lnTo>
                    <a:pt x="130" y="36"/>
                  </a:lnTo>
                  <a:lnTo>
                    <a:pt x="128" y="43"/>
                  </a:lnTo>
                  <a:lnTo>
                    <a:pt x="126" y="48"/>
                  </a:lnTo>
                  <a:lnTo>
                    <a:pt x="126" y="57"/>
                  </a:lnTo>
                  <a:lnTo>
                    <a:pt x="130" y="58"/>
                  </a:lnTo>
                  <a:lnTo>
                    <a:pt x="133" y="64"/>
                  </a:lnTo>
                  <a:lnTo>
                    <a:pt x="142" y="69"/>
                  </a:lnTo>
                  <a:lnTo>
                    <a:pt x="143" y="70"/>
                  </a:lnTo>
                  <a:lnTo>
                    <a:pt x="143" y="76"/>
                  </a:lnTo>
                  <a:lnTo>
                    <a:pt x="147" y="72"/>
                  </a:lnTo>
                  <a:lnTo>
                    <a:pt x="148" y="81"/>
                  </a:lnTo>
                  <a:lnTo>
                    <a:pt x="155" y="81"/>
                  </a:lnTo>
                  <a:lnTo>
                    <a:pt x="159" y="81"/>
                  </a:lnTo>
                  <a:lnTo>
                    <a:pt x="162" y="82"/>
                  </a:lnTo>
                  <a:lnTo>
                    <a:pt x="164" y="84"/>
                  </a:lnTo>
                  <a:lnTo>
                    <a:pt x="165" y="94"/>
                  </a:lnTo>
                  <a:lnTo>
                    <a:pt x="174" y="99"/>
                  </a:lnTo>
                  <a:lnTo>
                    <a:pt x="176" y="103"/>
                  </a:lnTo>
                  <a:lnTo>
                    <a:pt x="174" y="106"/>
                  </a:lnTo>
                  <a:lnTo>
                    <a:pt x="177" y="105"/>
                  </a:lnTo>
                  <a:lnTo>
                    <a:pt x="179" y="106"/>
                  </a:lnTo>
                  <a:lnTo>
                    <a:pt x="186" y="106"/>
                  </a:lnTo>
                  <a:lnTo>
                    <a:pt x="191" y="110"/>
                  </a:lnTo>
                  <a:lnTo>
                    <a:pt x="193" y="113"/>
                  </a:lnTo>
                  <a:lnTo>
                    <a:pt x="193" y="116"/>
                  </a:lnTo>
                  <a:lnTo>
                    <a:pt x="196" y="116"/>
                  </a:lnTo>
                  <a:lnTo>
                    <a:pt x="200" y="125"/>
                  </a:lnTo>
                  <a:lnTo>
                    <a:pt x="201" y="125"/>
                  </a:lnTo>
                  <a:lnTo>
                    <a:pt x="200" y="132"/>
                  </a:lnTo>
                  <a:lnTo>
                    <a:pt x="206" y="132"/>
                  </a:lnTo>
                  <a:lnTo>
                    <a:pt x="208" y="130"/>
                  </a:lnTo>
                  <a:lnTo>
                    <a:pt x="210" y="132"/>
                  </a:lnTo>
                  <a:lnTo>
                    <a:pt x="215" y="130"/>
                  </a:lnTo>
                  <a:lnTo>
                    <a:pt x="217" y="137"/>
                  </a:lnTo>
                  <a:lnTo>
                    <a:pt x="220" y="137"/>
                  </a:lnTo>
                  <a:lnTo>
                    <a:pt x="220" y="142"/>
                  </a:lnTo>
                  <a:lnTo>
                    <a:pt x="227" y="146"/>
                  </a:lnTo>
                  <a:lnTo>
                    <a:pt x="237" y="147"/>
                  </a:lnTo>
                  <a:lnTo>
                    <a:pt x="242" y="146"/>
                  </a:lnTo>
                  <a:lnTo>
                    <a:pt x="242" y="144"/>
                  </a:lnTo>
                  <a:lnTo>
                    <a:pt x="247" y="146"/>
                  </a:lnTo>
                  <a:lnTo>
                    <a:pt x="253" y="142"/>
                  </a:lnTo>
                  <a:lnTo>
                    <a:pt x="258" y="142"/>
                  </a:lnTo>
                  <a:lnTo>
                    <a:pt x="259" y="139"/>
                  </a:lnTo>
                  <a:lnTo>
                    <a:pt x="264" y="142"/>
                  </a:lnTo>
                  <a:lnTo>
                    <a:pt x="264" y="137"/>
                  </a:lnTo>
                  <a:lnTo>
                    <a:pt x="270" y="137"/>
                  </a:lnTo>
                  <a:lnTo>
                    <a:pt x="273" y="134"/>
                  </a:lnTo>
                  <a:lnTo>
                    <a:pt x="276" y="127"/>
                  </a:lnTo>
                  <a:lnTo>
                    <a:pt x="280" y="127"/>
                  </a:lnTo>
                  <a:lnTo>
                    <a:pt x="287" y="127"/>
                  </a:lnTo>
                  <a:lnTo>
                    <a:pt x="295" y="125"/>
                  </a:lnTo>
                  <a:lnTo>
                    <a:pt x="305" y="125"/>
                  </a:lnTo>
                  <a:lnTo>
                    <a:pt x="314" y="120"/>
                  </a:lnTo>
                  <a:lnTo>
                    <a:pt x="317" y="123"/>
                  </a:lnTo>
                  <a:lnTo>
                    <a:pt x="319" y="123"/>
                  </a:lnTo>
                  <a:lnTo>
                    <a:pt x="328" y="127"/>
                  </a:lnTo>
                  <a:lnTo>
                    <a:pt x="333" y="128"/>
                  </a:lnTo>
                  <a:lnTo>
                    <a:pt x="338" y="130"/>
                  </a:lnTo>
                  <a:lnTo>
                    <a:pt x="343" y="127"/>
                  </a:lnTo>
                  <a:lnTo>
                    <a:pt x="345" y="127"/>
                  </a:lnTo>
                  <a:lnTo>
                    <a:pt x="348" y="130"/>
                  </a:lnTo>
                  <a:lnTo>
                    <a:pt x="350" y="135"/>
                  </a:lnTo>
                  <a:lnTo>
                    <a:pt x="353" y="137"/>
                  </a:lnTo>
                  <a:lnTo>
                    <a:pt x="353" y="132"/>
                  </a:lnTo>
                  <a:lnTo>
                    <a:pt x="357" y="132"/>
                  </a:lnTo>
                  <a:lnTo>
                    <a:pt x="365" y="125"/>
                  </a:lnTo>
                  <a:lnTo>
                    <a:pt x="374" y="130"/>
                  </a:lnTo>
                  <a:lnTo>
                    <a:pt x="379" y="128"/>
                  </a:lnTo>
                  <a:lnTo>
                    <a:pt x="381" y="130"/>
                  </a:lnTo>
                  <a:lnTo>
                    <a:pt x="386" y="132"/>
                  </a:lnTo>
                  <a:lnTo>
                    <a:pt x="391" y="130"/>
                  </a:lnTo>
                  <a:lnTo>
                    <a:pt x="392" y="123"/>
                  </a:lnTo>
                  <a:lnTo>
                    <a:pt x="398" y="120"/>
                  </a:lnTo>
                  <a:lnTo>
                    <a:pt x="399" y="116"/>
                  </a:lnTo>
                  <a:lnTo>
                    <a:pt x="406" y="115"/>
                  </a:lnTo>
                  <a:lnTo>
                    <a:pt x="410" y="115"/>
                  </a:lnTo>
                  <a:lnTo>
                    <a:pt x="413" y="115"/>
                  </a:lnTo>
                  <a:lnTo>
                    <a:pt x="423" y="115"/>
                  </a:lnTo>
                  <a:lnTo>
                    <a:pt x="425" y="111"/>
                  </a:lnTo>
                  <a:lnTo>
                    <a:pt x="423" y="110"/>
                  </a:lnTo>
                  <a:lnTo>
                    <a:pt x="427" y="105"/>
                  </a:lnTo>
                  <a:lnTo>
                    <a:pt x="425" y="101"/>
                  </a:lnTo>
                  <a:lnTo>
                    <a:pt x="427" y="101"/>
                  </a:lnTo>
                  <a:lnTo>
                    <a:pt x="428" y="94"/>
                  </a:lnTo>
                  <a:lnTo>
                    <a:pt x="432" y="93"/>
                  </a:lnTo>
                  <a:lnTo>
                    <a:pt x="435" y="86"/>
                  </a:lnTo>
                  <a:lnTo>
                    <a:pt x="435" y="82"/>
                  </a:lnTo>
                  <a:lnTo>
                    <a:pt x="430" y="82"/>
                  </a:lnTo>
                  <a:lnTo>
                    <a:pt x="432" y="77"/>
                  </a:lnTo>
                  <a:lnTo>
                    <a:pt x="440" y="74"/>
                  </a:lnTo>
                  <a:lnTo>
                    <a:pt x="445" y="70"/>
                  </a:lnTo>
                  <a:lnTo>
                    <a:pt x="451" y="70"/>
                  </a:lnTo>
                  <a:lnTo>
                    <a:pt x="459" y="67"/>
                  </a:lnTo>
                  <a:lnTo>
                    <a:pt x="461" y="64"/>
                  </a:lnTo>
                  <a:lnTo>
                    <a:pt x="466" y="60"/>
                  </a:lnTo>
                  <a:lnTo>
                    <a:pt x="468" y="62"/>
                  </a:lnTo>
                  <a:lnTo>
                    <a:pt x="476" y="62"/>
                  </a:lnTo>
                  <a:lnTo>
                    <a:pt x="481" y="64"/>
                  </a:lnTo>
                  <a:lnTo>
                    <a:pt x="485" y="62"/>
                  </a:lnTo>
                  <a:lnTo>
                    <a:pt x="486" y="64"/>
                  </a:lnTo>
                  <a:lnTo>
                    <a:pt x="493" y="64"/>
                  </a:lnTo>
                  <a:lnTo>
                    <a:pt x="500" y="64"/>
                  </a:lnTo>
                  <a:lnTo>
                    <a:pt x="507" y="67"/>
                  </a:lnTo>
                  <a:lnTo>
                    <a:pt x="512" y="60"/>
                  </a:lnTo>
                  <a:lnTo>
                    <a:pt x="521" y="62"/>
                  </a:lnTo>
                  <a:lnTo>
                    <a:pt x="524" y="64"/>
                  </a:lnTo>
                  <a:lnTo>
                    <a:pt x="526" y="62"/>
                  </a:lnTo>
                  <a:lnTo>
                    <a:pt x="534" y="64"/>
                  </a:lnTo>
                  <a:lnTo>
                    <a:pt x="534" y="67"/>
                  </a:lnTo>
                  <a:lnTo>
                    <a:pt x="531" y="72"/>
                  </a:lnTo>
                  <a:lnTo>
                    <a:pt x="531" y="74"/>
                  </a:lnTo>
                  <a:lnTo>
                    <a:pt x="524" y="77"/>
                  </a:lnTo>
                  <a:lnTo>
                    <a:pt x="524" y="82"/>
                  </a:lnTo>
                  <a:lnTo>
                    <a:pt x="529" y="82"/>
                  </a:lnTo>
                  <a:lnTo>
                    <a:pt x="532" y="81"/>
                  </a:lnTo>
                  <a:lnTo>
                    <a:pt x="538" y="79"/>
                  </a:lnTo>
                  <a:lnTo>
                    <a:pt x="539" y="77"/>
                  </a:lnTo>
                  <a:lnTo>
                    <a:pt x="544" y="84"/>
                  </a:lnTo>
                  <a:lnTo>
                    <a:pt x="548" y="86"/>
                  </a:lnTo>
                  <a:lnTo>
                    <a:pt x="555" y="82"/>
                  </a:lnTo>
                  <a:lnTo>
                    <a:pt x="565" y="86"/>
                  </a:lnTo>
                  <a:lnTo>
                    <a:pt x="570" y="89"/>
                  </a:lnTo>
                  <a:lnTo>
                    <a:pt x="572" y="93"/>
                  </a:lnTo>
                  <a:lnTo>
                    <a:pt x="579" y="96"/>
                  </a:lnTo>
                  <a:lnTo>
                    <a:pt x="585" y="93"/>
                  </a:lnTo>
                  <a:lnTo>
                    <a:pt x="592" y="93"/>
                  </a:lnTo>
                  <a:lnTo>
                    <a:pt x="596" y="94"/>
                  </a:lnTo>
                  <a:lnTo>
                    <a:pt x="597" y="99"/>
                  </a:lnTo>
                  <a:lnTo>
                    <a:pt x="601" y="101"/>
                  </a:lnTo>
                  <a:lnTo>
                    <a:pt x="601" y="105"/>
                  </a:lnTo>
                  <a:lnTo>
                    <a:pt x="602" y="105"/>
                  </a:lnTo>
                  <a:lnTo>
                    <a:pt x="606" y="105"/>
                  </a:lnTo>
                  <a:lnTo>
                    <a:pt x="611" y="99"/>
                  </a:lnTo>
                  <a:lnTo>
                    <a:pt x="616" y="98"/>
                  </a:lnTo>
                  <a:lnTo>
                    <a:pt x="623" y="94"/>
                  </a:lnTo>
                  <a:lnTo>
                    <a:pt x="626" y="91"/>
                  </a:lnTo>
                  <a:lnTo>
                    <a:pt x="625" y="86"/>
                  </a:lnTo>
                  <a:lnTo>
                    <a:pt x="628" y="84"/>
                  </a:lnTo>
                  <a:lnTo>
                    <a:pt x="637" y="81"/>
                  </a:lnTo>
                  <a:lnTo>
                    <a:pt x="640" y="77"/>
                  </a:lnTo>
                  <a:lnTo>
                    <a:pt x="652" y="77"/>
                  </a:lnTo>
                  <a:lnTo>
                    <a:pt x="655" y="76"/>
                  </a:lnTo>
                  <a:lnTo>
                    <a:pt x="659" y="76"/>
                  </a:lnTo>
                  <a:lnTo>
                    <a:pt x="662" y="76"/>
                  </a:lnTo>
                  <a:lnTo>
                    <a:pt x="671" y="8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3" name="Freeform 70"/>
            <p:cNvSpPr>
              <a:spLocks noEditPoints="1"/>
            </p:cNvSpPr>
            <p:nvPr/>
          </p:nvSpPr>
          <p:spPr bwMode="gray">
            <a:xfrm>
              <a:off x="3087922" y="3406445"/>
              <a:ext cx="749739" cy="470639"/>
            </a:xfrm>
            <a:custGeom>
              <a:avLst/>
              <a:gdLst>
                <a:gd name="T0" fmla="*/ 392 w 411"/>
                <a:gd name="T1" fmla="*/ 251 h 258"/>
                <a:gd name="T2" fmla="*/ 379 w 411"/>
                <a:gd name="T3" fmla="*/ 249 h 258"/>
                <a:gd name="T4" fmla="*/ 290 w 411"/>
                <a:gd name="T5" fmla="*/ 246 h 258"/>
                <a:gd name="T6" fmla="*/ 329 w 411"/>
                <a:gd name="T7" fmla="*/ 234 h 258"/>
                <a:gd name="T8" fmla="*/ 373 w 411"/>
                <a:gd name="T9" fmla="*/ 229 h 258"/>
                <a:gd name="T10" fmla="*/ 285 w 411"/>
                <a:gd name="T11" fmla="*/ 222 h 258"/>
                <a:gd name="T12" fmla="*/ 191 w 411"/>
                <a:gd name="T13" fmla="*/ 220 h 258"/>
                <a:gd name="T14" fmla="*/ 288 w 411"/>
                <a:gd name="T15" fmla="*/ 219 h 258"/>
                <a:gd name="T16" fmla="*/ 286 w 411"/>
                <a:gd name="T17" fmla="*/ 214 h 258"/>
                <a:gd name="T18" fmla="*/ 285 w 411"/>
                <a:gd name="T19" fmla="*/ 212 h 258"/>
                <a:gd name="T20" fmla="*/ 211 w 411"/>
                <a:gd name="T21" fmla="*/ 224 h 258"/>
                <a:gd name="T22" fmla="*/ 204 w 411"/>
                <a:gd name="T23" fmla="*/ 210 h 258"/>
                <a:gd name="T24" fmla="*/ 286 w 411"/>
                <a:gd name="T25" fmla="*/ 203 h 258"/>
                <a:gd name="T26" fmla="*/ 204 w 411"/>
                <a:gd name="T27" fmla="*/ 205 h 258"/>
                <a:gd name="T28" fmla="*/ 278 w 411"/>
                <a:gd name="T29" fmla="*/ 212 h 258"/>
                <a:gd name="T30" fmla="*/ 269 w 411"/>
                <a:gd name="T31" fmla="*/ 208 h 258"/>
                <a:gd name="T32" fmla="*/ 283 w 411"/>
                <a:gd name="T33" fmla="*/ 203 h 258"/>
                <a:gd name="T34" fmla="*/ 228 w 411"/>
                <a:gd name="T35" fmla="*/ 207 h 258"/>
                <a:gd name="T36" fmla="*/ 274 w 411"/>
                <a:gd name="T37" fmla="*/ 200 h 258"/>
                <a:gd name="T38" fmla="*/ 334 w 411"/>
                <a:gd name="T39" fmla="*/ 171 h 258"/>
                <a:gd name="T40" fmla="*/ 350 w 411"/>
                <a:gd name="T41" fmla="*/ 174 h 258"/>
                <a:gd name="T42" fmla="*/ 375 w 411"/>
                <a:gd name="T43" fmla="*/ 191 h 258"/>
                <a:gd name="T44" fmla="*/ 375 w 411"/>
                <a:gd name="T45" fmla="*/ 217 h 258"/>
                <a:gd name="T46" fmla="*/ 355 w 411"/>
                <a:gd name="T47" fmla="*/ 243 h 258"/>
                <a:gd name="T48" fmla="*/ 343 w 411"/>
                <a:gd name="T49" fmla="*/ 246 h 258"/>
                <a:gd name="T50" fmla="*/ 322 w 411"/>
                <a:gd name="T51" fmla="*/ 232 h 258"/>
                <a:gd name="T52" fmla="*/ 295 w 411"/>
                <a:gd name="T53" fmla="*/ 246 h 258"/>
                <a:gd name="T54" fmla="*/ 292 w 411"/>
                <a:gd name="T55" fmla="*/ 214 h 258"/>
                <a:gd name="T56" fmla="*/ 298 w 411"/>
                <a:gd name="T57" fmla="*/ 196 h 258"/>
                <a:gd name="T58" fmla="*/ 302 w 411"/>
                <a:gd name="T59" fmla="*/ 174 h 258"/>
                <a:gd name="T60" fmla="*/ 411 w 411"/>
                <a:gd name="T61" fmla="*/ 162 h 258"/>
                <a:gd name="T62" fmla="*/ 80 w 411"/>
                <a:gd name="T63" fmla="*/ 152 h 258"/>
                <a:gd name="T64" fmla="*/ 112 w 411"/>
                <a:gd name="T65" fmla="*/ 55 h 258"/>
                <a:gd name="T66" fmla="*/ 117 w 411"/>
                <a:gd name="T67" fmla="*/ 73 h 258"/>
                <a:gd name="T68" fmla="*/ 124 w 411"/>
                <a:gd name="T69" fmla="*/ 99 h 258"/>
                <a:gd name="T70" fmla="*/ 134 w 411"/>
                <a:gd name="T71" fmla="*/ 142 h 258"/>
                <a:gd name="T72" fmla="*/ 174 w 411"/>
                <a:gd name="T73" fmla="*/ 164 h 258"/>
                <a:gd name="T74" fmla="*/ 203 w 411"/>
                <a:gd name="T75" fmla="*/ 171 h 258"/>
                <a:gd name="T76" fmla="*/ 181 w 411"/>
                <a:gd name="T77" fmla="*/ 202 h 258"/>
                <a:gd name="T78" fmla="*/ 193 w 411"/>
                <a:gd name="T79" fmla="*/ 226 h 258"/>
                <a:gd name="T80" fmla="*/ 172 w 411"/>
                <a:gd name="T81" fmla="*/ 232 h 258"/>
                <a:gd name="T82" fmla="*/ 157 w 411"/>
                <a:gd name="T83" fmla="*/ 219 h 258"/>
                <a:gd name="T84" fmla="*/ 117 w 411"/>
                <a:gd name="T85" fmla="*/ 203 h 258"/>
                <a:gd name="T86" fmla="*/ 92 w 411"/>
                <a:gd name="T87" fmla="*/ 179 h 258"/>
                <a:gd name="T88" fmla="*/ 82 w 411"/>
                <a:gd name="T89" fmla="*/ 145 h 258"/>
                <a:gd name="T90" fmla="*/ 58 w 411"/>
                <a:gd name="T91" fmla="*/ 116 h 258"/>
                <a:gd name="T92" fmla="*/ 32 w 411"/>
                <a:gd name="T93" fmla="*/ 118 h 258"/>
                <a:gd name="T94" fmla="*/ 1 w 411"/>
                <a:gd name="T95" fmla="*/ 111 h 258"/>
                <a:gd name="T96" fmla="*/ 22 w 411"/>
                <a:gd name="T97" fmla="*/ 87 h 258"/>
                <a:gd name="T98" fmla="*/ 25 w 411"/>
                <a:gd name="T99" fmla="*/ 67 h 258"/>
                <a:gd name="T100" fmla="*/ 42 w 411"/>
                <a:gd name="T101" fmla="*/ 50 h 258"/>
                <a:gd name="T102" fmla="*/ 63 w 411"/>
                <a:gd name="T103" fmla="*/ 60 h 258"/>
                <a:gd name="T104" fmla="*/ 75 w 411"/>
                <a:gd name="T105" fmla="*/ 77 h 258"/>
                <a:gd name="T106" fmla="*/ 78 w 411"/>
                <a:gd name="T107" fmla="*/ 70 h 258"/>
                <a:gd name="T108" fmla="*/ 75 w 411"/>
                <a:gd name="T109" fmla="*/ 56 h 258"/>
                <a:gd name="T110" fmla="*/ 92 w 411"/>
                <a:gd name="T111" fmla="*/ 43 h 258"/>
                <a:gd name="T112" fmla="*/ 20 w 411"/>
                <a:gd name="T11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258">
                  <a:moveTo>
                    <a:pt x="391" y="256"/>
                  </a:moveTo>
                  <a:lnTo>
                    <a:pt x="392" y="256"/>
                  </a:lnTo>
                  <a:lnTo>
                    <a:pt x="392" y="258"/>
                  </a:lnTo>
                  <a:lnTo>
                    <a:pt x="391" y="258"/>
                  </a:lnTo>
                  <a:lnTo>
                    <a:pt x="391" y="256"/>
                  </a:lnTo>
                  <a:close/>
                  <a:moveTo>
                    <a:pt x="391" y="251"/>
                  </a:moveTo>
                  <a:lnTo>
                    <a:pt x="392" y="251"/>
                  </a:lnTo>
                  <a:lnTo>
                    <a:pt x="392" y="253"/>
                  </a:lnTo>
                  <a:lnTo>
                    <a:pt x="391" y="253"/>
                  </a:lnTo>
                  <a:lnTo>
                    <a:pt x="391" y="251"/>
                  </a:lnTo>
                  <a:close/>
                  <a:moveTo>
                    <a:pt x="379" y="248"/>
                  </a:moveTo>
                  <a:lnTo>
                    <a:pt x="380" y="248"/>
                  </a:lnTo>
                  <a:lnTo>
                    <a:pt x="380" y="249"/>
                  </a:lnTo>
                  <a:lnTo>
                    <a:pt x="379" y="249"/>
                  </a:lnTo>
                  <a:lnTo>
                    <a:pt x="379" y="248"/>
                  </a:lnTo>
                  <a:close/>
                  <a:moveTo>
                    <a:pt x="368" y="246"/>
                  </a:moveTo>
                  <a:lnTo>
                    <a:pt x="370" y="246"/>
                  </a:lnTo>
                  <a:lnTo>
                    <a:pt x="370" y="248"/>
                  </a:lnTo>
                  <a:lnTo>
                    <a:pt x="368" y="248"/>
                  </a:lnTo>
                  <a:lnTo>
                    <a:pt x="368" y="246"/>
                  </a:lnTo>
                  <a:close/>
                  <a:moveTo>
                    <a:pt x="290" y="246"/>
                  </a:moveTo>
                  <a:lnTo>
                    <a:pt x="292" y="246"/>
                  </a:lnTo>
                  <a:lnTo>
                    <a:pt x="292" y="248"/>
                  </a:lnTo>
                  <a:lnTo>
                    <a:pt x="288" y="253"/>
                  </a:lnTo>
                  <a:lnTo>
                    <a:pt x="288" y="246"/>
                  </a:lnTo>
                  <a:lnTo>
                    <a:pt x="290" y="246"/>
                  </a:lnTo>
                  <a:close/>
                  <a:moveTo>
                    <a:pt x="326" y="234"/>
                  </a:moveTo>
                  <a:lnTo>
                    <a:pt x="329" y="234"/>
                  </a:lnTo>
                  <a:lnTo>
                    <a:pt x="329" y="237"/>
                  </a:lnTo>
                  <a:lnTo>
                    <a:pt x="326" y="237"/>
                  </a:lnTo>
                  <a:lnTo>
                    <a:pt x="326" y="234"/>
                  </a:lnTo>
                  <a:close/>
                  <a:moveTo>
                    <a:pt x="377" y="227"/>
                  </a:moveTo>
                  <a:lnTo>
                    <a:pt x="379" y="229"/>
                  </a:lnTo>
                  <a:lnTo>
                    <a:pt x="375" y="231"/>
                  </a:lnTo>
                  <a:lnTo>
                    <a:pt x="373" y="229"/>
                  </a:lnTo>
                  <a:lnTo>
                    <a:pt x="377" y="227"/>
                  </a:lnTo>
                  <a:close/>
                  <a:moveTo>
                    <a:pt x="285" y="226"/>
                  </a:moveTo>
                  <a:lnTo>
                    <a:pt x="286" y="226"/>
                  </a:lnTo>
                  <a:lnTo>
                    <a:pt x="286" y="229"/>
                  </a:lnTo>
                  <a:lnTo>
                    <a:pt x="285" y="229"/>
                  </a:lnTo>
                  <a:lnTo>
                    <a:pt x="285" y="226"/>
                  </a:lnTo>
                  <a:close/>
                  <a:moveTo>
                    <a:pt x="285" y="222"/>
                  </a:moveTo>
                  <a:lnTo>
                    <a:pt x="286" y="222"/>
                  </a:lnTo>
                  <a:lnTo>
                    <a:pt x="286" y="224"/>
                  </a:lnTo>
                  <a:lnTo>
                    <a:pt x="285" y="224"/>
                  </a:lnTo>
                  <a:lnTo>
                    <a:pt x="285" y="222"/>
                  </a:lnTo>
                  <a:close/>
                  <a:moveTo>
                    <a:pt x="189" y="219"/>
                  </a:moveTo>
                  <a:lnTo>
                    <a:pt x="191" y="219"/>
                  </a:lnTo>
                  <a:lnTo>
                    <a:pt x="191" y="220"/>
                  </a:lnTo>
                  <a:lnTo>
                    <a:pt x="189" y="220"/>
                  </a:lnTo>
                  <a:lnTo>
                    <a:pt x="189" y="219"/>
                  </a:lnTo>
                  <a:close/>
                  <a:moveTo>
                    <a:pt x="286" y="219"/>
                  </a:moveTo>
                  <a:lnTo>
                    <a:pt x="286" y="222"/>
                  </a:lnTo>
                  <a:lnTo>
                    <a:pt x="286" y="219"/>
                  </a:lnTo>
                  <a:close/>
                  <a:moveTo>
                    <a:pt x="288" y="222"/>
                  </a:moveTo>
                  <a:lnTo>
                    <a:pt x="288" y="219"/>
                  </a:lnTo>
                  <a:lnTo>
                    <a:pt x="290" y="219"/>
                  </a:lnTo>
                  <a:lnTo>
                    <a:pt x="288" y="222"/>
                  </a:lnTo>
                  <a:close/>
                  <a:moveTo>
                    <a:pt x="286" y="214"/>
                  </a:moveTo>
                  <a:lnTo>
                    <a:pt x="288" y="214"/>
                  </a:lnTo>
                  <a:lnTo>
                    <a:pt x="288" y="217"/>
                  </a:lnTo>
                  <a:lnTo>
                    <a:pt x="286" y="217"/>
                  </a:lnTo>
                  <a:lnTo>
                    <a:pt x="286" y="214"/>
                  </a:lnTo>
                  <a:close/>
                  <a:moveTo>
                    <a:pt x="281" y="214"/>
                  </a:moveTo>
                  <a:lnTo>
                    <a:pt x="281" y="219"/>
                  </a:lnTo>
                  <a:lnTo>
                    <a:pt x="278" y="220"/>
                  </a:lnTo>
                  <a:lnTo>
                    <a:pt x="276" y="215"/>
                  </a:lnTo>
                  <a:lnTo>
                    <a:pt x="281" y="214"/>
                  </a:lnTo>
                  <a:close/>
                  <a:moveTo>
                    <a:pt x="283" y="212"/>
                  </a:moveTo>
                  <a:lnTo>
                    <a:pt x="285" y="212"/>
                  </a:lnTo>
                  <a:lnTo>
                    <a:pt x="285" y="215"/>
                  </a:lnTo>
                  <a:lnTo>
                    <a:pt x="283" y="215"/>
                  </a:lnTo>
                  <a:lnTo>
                    <a:pt x="283" y="212"/>
                  </a:lnTo>
                  <a:close/>
                  <a:moveTo>
                    <a:pt x="204" y="210"/>
                  </a:moveTo>
                  <a:lnTo>
                    <a:pt x="208" y="212"/>
                  </a:lnTo>
                  <a:lnTo>
                    <a:pt x="215" y="215"/>
                  </a:lnTo>
                  <a:lnTo>
                    <a:pt x="211" y="224"/>
                  </a:lnTo>
                  <a:lnTo>
                    <a:pt x="213" y="226"/>
                  </a:lnTo>
                  <a:lnTo>
                    <a:pt x="204" y="226"/>
                  </a:lnTo>
                  <a:lnTo>
                    <a:pt x="198" y="222"/>
                  </a:lnTo>
                  <a:lnTo>
                    <a:pt x="191" y="219"/>
                  </a:lnTo>
                  <a:lnTo>
                    <a:pt x="194" y="214"/>
                  </a:lnTo>
                  <a:lnTo>
                    <a:pt x="201" y="208"/>
                  </a:lnTo>
                  <a:lnTo>
                    <a:pt x="204" y="210"/>
                  </a:lnTo>
                  <a:close/>
                  <a:moveTo>
                    <a:pt x="194" y="207"/>
                  </a:moveTo>
                  <a:lnTo>
                    <a:pt x="196" y="208"/>
                  </a:lnTo>
                  <a:lnTo>
                    <a:pt x="193" y="210"/>
                  </a:lnTo>
                  <a:lnTo>
                    <a:pt x="193" y="208"/>
                  </a:lnTo>
                  <a:lnTo>
                    <a:pt x="194" y="205"/>
                  </a:lnTo>
                  <a:lnTo>
                    <a:pt x="194" y="207"/>
                  </a:lnTo>
                  <a:close/>
                  <a:moveTo>
                    <a:pt x="286" y="203"/>
                  </a:moveTo>
                  <a:lnTo>
                    <a:pt x="285" y="207"/>
                  </a:lnTo>
                  <a:lnTo>
                    <a:pt x="283" y="205"/>
                  </a:lnTo>
                  <a:lnTo>
                    <a:pt x="286" y="203"/>
                  </a:lnTo>
                  <a:close/>
                  <a:moveTo>
                    <a:pt x="204" y="203"/>
                  </a:moveTo>
                  <a:lnTo>
                    <a:pt x="208" y="203"/>
                  </a:lnTo>
                  <a:lnTo>
                    <a:pt x="208" y="205"/>
                  </a:lnTo>
                  <a:lnTo>
                    <a:pt x="204" y="205"/>
                  </a:lnTo>
                  <a:lnTo>
                    <a:pt x="204" y="203"/>
                  </a:lnTo>
                  <a:close/>
                  <a:moveTo>
                    <a:pt x="281" y="200"/>
                  </a:moveTo>
                  <a:lnTo>
                    <a:pt x="283" y="203"/>
                  </a:lnTo>
                  <a:lnTo>
                    <a:pt x="281" y="203"/>
                  </a:lnTo>
                  <a:lnTo>
                    <a:pt x="285" y="203"/>
                  </a:lnTo>
                  <a:lnTo>
                    <a:pt x="281" y="210"/>
                  </a:lnTo>
                  <a:lnTo>
                    <a:pt x="278" y="212"/>
                  </a:lnTo>
                  <a:lnTo>
                    <a:pt x="278" y="214"/>
                  </a:lnTo>
                  <a:lnTo>
                    <a:pt x="274" y="212"/>
                  </a:lnTo>
                  <a:lnTo>
                    <a:pt x="276" y="214"/>
                  </a:lnTo>
                  <a:lnTo>
                    <a:pt x="274" y="215"/>
                  </a:lnTo>
                  <a:lnTo>
                    <a:pt x="268" y="208"/>
                  </a:lnTo>
                  <a:lnTo>
                    <a:pt x="266" y="208"/>
                  </a:lnTo>
                  <a:lnTo>
                    <a:pt x="269" y="208"/>
                  </a:lnTo>
                  <a:lnTo>
                    <a:pt x="269" y="207"/>
                  </a:lnTo>
                  <a:lnTo>
                    <a:pt x="271" y="203"/>
                  </a:lnTo>
                  <a:lnTo>
                    <a:pt x="281" y="200"/>
                  </a:lnTo>
                  <a:close/>
                  <a:moveTo>
                    <a:pt x="283" y="200"/>
                  </a:moveTo>
                  <a:lnTo>
                    <a:pt x="286" y="200"/>
                  </a:lnTo>
                  <a:lnTo>
                    <a:pt x="286" y="203"/>
                  </a:lnTo>
                  <a:lnTo>
                    <a:pt x="283" y="203"/>
                  </a:lnTo>
                  <a:lnTo>
                    <a:pt x="283" y="200"/>
                  </a:lnTo>
                  <a:close/>
                  <a:moveTo>
                    <a:pt x="233" y="203"/>
                  </a:moveTo>
                  <a:lnTo>
                    <a:pt x="235" y="203"/>
                  </a:lnTo>
                  <a:lnTo>
                    <a:pt x="237" y="205"/>
                  </a:lnTo>
                  <a:lnTo>
                    <a:pt x="235" y="212"/>
                  </a:lnTo>
                  <a:lnTo>
                    <a:pt x="232" y="210"/>
                  </a:lnTo>
                  <a:lnTo>
                    <a:pt x="228" y="207"/>
                  </a:lnTo>
                  <a:lnTo>
                    <a:pt x="232" y="200"/>
                  </a:lnTo>
                  <a:lnTo>
                    <a:pt x="233" y="203"/>
                  </a:lnTo>
                  <a:close/>
                  <a:moveTo>
                    <a:pt x="276" y="196"/>
                  </a:moveTo>
                  <a:lnTo>
                    <a:pt x="278" y="200"/>
                  </a:lnTo>
                  <a:lnTo>
                    <a:pt x="274" y="202"/>
                  </a:lnTo>
                  <a:lnTo>
                    <a:pt x="269" y="200"/>
                  </a:lnTo>
                  <a:lnTo>
                    <a:pt x="274" y="200"/>
                  </a:lnTo>
                  <a:lnTo>
                    <a:pt x="271" y="198"/>
                  </a:lnTo>
                  <a:lnTo>
                    <a:pt x="276" y="196"/>
                  </a:lnTo>
                  <a:close/>
                  <a:moveTo>
                    <a:pt x="324" y="166"/>
                  </a:moveTo>
                  <a:lnTo>
                    <a:pt x="326" y="166"/>
                  </a:lnTo>
                  <a:lnTo>
                    <a:pt x="326" y="169"/>
                  </a:lnTo>
                  <a:lnTo>
                    <a:pt x="333" y="171"/>
                  </a:lnTo>
                  <a:lnTo>
                    <a:pt x="334" y="171"/>
                  </a:lnTo>
                  <a:lnTo>
                    <a:pt x="336" y="169"/>
                  </a:lnTo>
                  <a:lnTo>
                    <a:pt x="346" y="171"/>
                  </a:lnTo>
                  <a:lnTo>
                    <a:pt x="348" y="174"/>
                  </a:lnTo>
                  <a:lnTo>
                    <a:pt x="346" y="176"/>
                  </a:lnTo>
                  <a:lnTo>
                    <a:pt x="350" y="178"/>
                  </a:lnTo>
                  <a:lnTo>
                    <a:pt x="348" y="181"/>
                  </a:lnTo>
                  <a:lnTo>
                    <a:pt x="350" y="174"/>
                  </a:lnTo>
                  <a:lnTo>
                    <a:pt x="356" y="174"/>
                  </a:lnTo>
                  <a:lnTo>
                    <a:pt x="363" y="181"/>
                  </a:lnTo>
                  <a:lnTo>
                    <a:pt x="363" y="183"/>
                  </a:lnTo>
                  <a:lnTo>
                    <a:pt x="365" y="185"/>
                  </a:lnTo>
                  <a:lnTo>
                    <a:pt x="367" y="183"/>
                  </a:lnTo>
                  <a:lnTo>
                    <a:pt x="368" y="183"/>
                  </a:lnTo>
                  <a:lnTo>
                    <a:pt x="375" y="191"/>
                  </a:lnTo>
                  <a:lnTo>
                    <a:pt x="377" y="191"/>
                  </a:lnTo>
                  <a:lnTo>
                    <a:pt x="377" y="195"/>
                  </a:lnTo>
                  <a:lnTo>
                    <a:pt x="380" y="203"/>
                  </a:lnTo>
                  <a:lnTo>
                    <a:pt x="380" y="205"/>
                  </a:lnTo>
                  <a:lnTo>
                    <a:pt x="380" y="207"/>
                  </a:lnTo>
                  <a:lnTo>
                    <a:pt x="375" y="212"/>
                  </a:lnTo>
                  <a:lnTo>
                    <a:pt x="375" y="217"/>
                  </a:lnTo>
                  <a:lnTo>
                    <a:pt x="370" y="224"/>
                  </a:lnTo>
                  <a:lnTo>
                    <a:pt x="372" y="231"/>
                  </a:lnTo>
                  <a:lnTo>
                    <a:pt x="367" y="236"/>
                  </a:lnTo>
                  <a:lnTo>
                    <a:pt x="370" y="239"/>
                  </a:lnTo>
                  <a:lnTo>
                    <a:pt x="368" y="239"/>
                  </a:lnTo>
                  <a:lnTo>
                    <a:pt x="363" y="243"/>
                  </a:lnTo>
                  <a:lnTo>
                    <a:pt x="355" y="243"/>
                  </a:lnTo>
                  <a:lnTo>
                    <a:pt x="353" y="244"/>
                  </a:lnTo>
                  <a:lnTo>
                    <a:pt x="356" y="248"/>
                  </a:lnTo>
                  <a:lnTo>
                    <a:pt x="355" y="251"/>
                  </a:lnTo>
                  <a:lnTo>
                    <a:pt x="348" y="251"/>
                  </a:lnTo>
                  <a:lnTo>
                    <a:pt x="344" y="255"/>
                  </a:lnTo>
                  <a:lnTo>
                    <a:pt x="341" y="251"/>
                  </a:lnTo>
                  <a:lnTo>
                    <a:pt x="343" y="246"/>
                  </a:lnTo>
                  <a:lnTo>
                    <a:pt x="341" y="243"/>
                  </a:lnTo>
                  <a:lnTo>
                    <a:pt x="338" y="241"/>
                  </a:lnTo>
                  <a:lnTo>
                    <a:pt x="338" y="237"/>
                  </a:lnTo>
                  <a:lnTo>
                    <a:pt x="333" y="236"/>
                  </a:lnTo>
                  <a:lnTo>
                    <a:pt x="333" y="234"/>
                  </a:lnTo>
                  <a:lnTo>
                    <a:pt x="329" y="229"/>
                  </a:lnTo>
                  <a:lnTo>
                    <a:pt x="322" y="232"/>
                  </a:lnTo>
                  <a:lnTo>
                    <a:pt x="327" y="236"/>
                  </a:lnTo>
                  <a:lnTo>
                    <a:pt x="326" y="243"/>
                  </a:lnTo>
                  <a:lnTo>
                    <a:pt x="315" y="246"/>
                  </a:lnTo>
                  <a:lnTo>
                    <a:pt x="310" y="246"/>
                  </a:lnTo>
                  <a:lnTo>
                    <a:pt x="302" y="251"/>
                  </a:lnTo>
                  <a:lnTo>
                    <a:pt x="298" y="251"/>
                  </a:lnTo>
                  <a:lnTo>
                    <a:pt x="295" y="246"/>
                  </a:lnTo>
                  <a:lnTo>
                    <a:pt x="302" y="239"/>
                  </a:lnTo>
                  <a:lnTo>
                    <a:pt x="295" y="232"/>
                  </a:lnTo>
                  <a:lnTo>
                    <a:pt x="295" y="227"/>
                  </a:lnTo>
                  <a:lnTo>
                    <a:pt x="293" y="222"/>
                  </a:lnTo>
                  <a:lnTo>
                    <a:pt x="297" y="219"/>
                  </a:lnTo>
                  <a:lnTo>
                    <a:pt x="300" y="212"/>
                  </a:lnTo>
                  <a:lnTo>
                    <a:pt x="292" y="214"/>
                  </a:lnTo>
                  <a:lnTo>
                    <a:pt x="290" y="214"/>
                  </a:lnTo>
                  <a:lnTo>
                    <a:pt x="288" y="212"/>
                  </a:lnTo>
                  <a:lnTo>
                    <a:pt x="295" y="208"/>
                  </a:lnTo>
                  <a:lnTo>
                    <a:pt x="297" y="205"/>
                  </a:lnTo>
                  <a:lnTo>
                    <a:pt x="297" y="200"/>
                  </a:lnTo>
                  <a:lnTo>
                    <a:pt x="295" y="198"/>
                  </a:lnTo>
                  <a:lnTo>
                    <a:pt x="298" y="196"/>
                  </a:lnTo>
                  <a:lnTo>
                    <a:pt x="298" y="195"/>
                  </a:lnTo>
                  <a:lnTo>
                    <a:pt x="298" y="193"/>
                  </a:lnTo>
                  <a:lnTo>
                    <a:pt x="302" y="191"/>
                  </a:lnTo>
                  <a:lnTo>
                    <a:pt x="300" y="188"/>
                  </a:lnTo>
                  <a:lnTo>
                    <a:pt x="298" y="186"/>
                  </a:lnTo>
                  <a:lnTo>
                    <a:pt x="303" y="178"/>
                  </a:lnTo>
                  <a:lnTo>
                    <a:pt x="302" y="174"/>
                  </a:lnTo>
                  <a:lnTo>
                    <a:pt x="305" y="169"/>
                  </a:lnTo>
                  <a:lnTo>
                    <a:pt x="309" y="169"/>
                  </a:lnTo>
                  <a:lnTo>
                    <a:pt x="312" y="167"/>
                  </a:lnTo>
                  <a:lnTo>
                    <a:pt x="317" y="169"/>
                  </a:lnTo>
                  <a:lnTo>
                    <a:pt x="324" y="166"/>
                  </a:lnTo>
                  <a:close/>
                  <a:moveTo>
                    <a:pt x="409" y="162"/>
                  </a:moveTo>
                  <a:lnTo>
                    <a:pt x="411" y="162"/>
                  </a:lnTo>
                  <a:lnTo>
                    <a:pt x="411" y="164"/>
                  </a:lnTo>
                  <a:lnTo>
                    <a:pt x="409" y="164"/>
                  </a:lnTo>
                  <a:lnTo>
                    <a:pt x="409" y="162"/>
                  </a:lnTo>
                  <a:close/>
                  <a:moveTo>
                    <a:pt x="80" y="150"/>
                  </a:moveTo>
                  <a:lnTo>
                    <a:pt x="83" y="150"/>
                  </a:lnTo>
                  <a:lnTo>
                    <a:pt x="83" y="152"/>
                  </a:lnTo>
                  <a:lnTo>
                    <a:pt x="80" y="152"/>
                  </a:lnTo>
                  <a:lnTo>
                    <a:pt x="80" y="150"/>
                  </a:lnTo>
                  <a:close/>
                  <a:moveTo>
                    <a:pt x="97" y="43"/>
                  </a:moveTo>
                  <a:lnTo>
                    <a:pt x="95" y="46"/>
                  </a:lnTo>
                  <a:lnTo>
                    <a:pt x="97" y="48"/>
                  </a:lnTo>
                  <a:lnTo>
                    <a:pt x="100" y="50"/>
                  </a:lnTo>
                  <a:lnTo>
                    <a:pt x="104" y="48"/>
                  </a:lnTo>
                  <a:lnTo>
                    <a:pt x="112" y="55"/>
                  </a:lnTo>
                  <a:lnTo>
                    <a:pt x="112" y="56"/>
                  </a:lnTo>
                  <a:lnTo>
                    <a:pt x="111" y="56"/>
                  </a:lnTo>
                  <a:lnTo>
                    <a:pt x="109" y="58"/>
                  </a:lnTo>
                  <a:lnTo>
                    <a:pt x="109" y="63"/>
                  </a:lnTo>
                  <a:lnTo>
                    <a:pt x="114" y="68"/>
                  </a:lnTo>
                  <a:lnTo>
                    <a:pt x="116" y="72"/>
                  </a:lnTo>
                  <a:lnTo>
                    <a:pt x="117" y="73"/>
                  </a:lnTo>
                  <a:lnTo>
                    <a:pt x="119" y="77"/>
                  </a:lnTo>
                  <a:lnTo>
                    <a:pt x="123" y="79"/>
                  </a:lnTo>
                  <a:lnTo>
                    <a:pt x="121" y="80"/>
                  </a:lnTo>
                  <a:lnTo>
                    <a:pt x="123" y="85"/>
                  </a:lnTo>
                  <a:lnTo>
                    <a:pt x="128" y="89"/>
                  </a:lnTo>
                  <a:lnTo>
                    <a:pt x="126" y="94"/>
                  </a:lnTo>
                  <a:lnTo>
                    <a:pt x="124" y="99"/>
                  </a:lnTo>
                  <a:lnTo>
                    <a:pt x="126" y="111"/>
                  </a:lnTo>
                  <a:lnTo>
                    <a:pt x="124" y="113"/>
                  </a:lnTo>
                  <a:lnTo>
                    <a:pt x="128" y="118"/>
                  </a:lnTo>
                  <a:lnTo>
                    <a:pt x="128" y="120"/>
                  </a:lnTo>
                  <a:lnTo>
                    <a:pt x="131" y="125"/>
                  </a:lnTo>
                  <a:lnTo>
                    <a:pt x="133" y="133"/>
                  </a:lnTo>
                  <a:lnTo>
                    <a:pt x="134" y="142"/>
                  </a:lnTo>
                  <a:lnTo>
                    <a:pt x="136" y="144"/>
                  </a:lnTo>
                  <a:lnTo>
                    <a:pt x="141" y="152"/>
                  </a:lnTo>
                  <a:lnTo>
                    <a:pt x="146" y="157"/>
                  </a:lnTo>
                  <a:lnTo>
                    <a:pt x="152" y="159"/>
                  </a:lnTo>
                  <a:lnTo>
                    <a:pt x="160" y="159"/>
                  </a:lnTo>
                  <a:lnTo>
                    <a:pt x="165" y="162"/>
                  </a:lnTo>
                  <a:lnTo>
                    <a:pt x="174" y="164"/>
                  </a:lnTo>
                  <a:lnTo>
                    <a:pt x="181" y="166"/>
                  </a:lnTo>
                  <a:lnTo>
                    <a:pt x="189" y="167"/>
                  </a:lnTo>
                  <a:lnTo>
                    <a:pt x="196" y="169"/>
                  </a:lnTo>
                  <a:lnTo>
                    <a:pt x="206" y="171"/>
                  </a:lnTo>
                  <a:lnTo>
                    <a:pt x="208" y="171"/>
                  </a:lnTo>
                  <a:lnTo>
                    <a:pt x="206" y="173"/>
                  </a:lnTo>
                  <a:lnTo>
                    <a:pt x="203" y="171"/>
                  </a:lnTo>
                  <a:lnTo>
                    <a:pt x="198" y="174"/>
                  </a:lnTo>
                  <a:lnTo>
                    <a:pt x="196" y="174"/>
                  </a:lnTo>
                  <a:lnTo>
                    <a:pt x="191" y="179"/>
                  </a:lnTo>
                  <a:lnTo>
                    <a:pt x="189" y="183"/>
                  </a:lnTo>
                  <a:lnTo>
                    <a:pt x="186" y="188"/>
                  </a:lnTo>
                  <a:lnTo>
                    <a:pt x="182" y="196"/>
                  </a:lnTo>
                  <a:lnTo>
                    <a:pt x="181" y="202"/>
                  </a:lnTo>
                  <a:lnTo>
                    <a:pt x="179" y="205"/>
                  </a:lnTo>
                  <a:lnTo>
                    <a:pt x="177" y="210"/>
                  </a:lnTo>
                  <a:lnTo>
                    <a:pt x="179" y="217"/>
                  </a:lnTo>
                  <a:lnTo>
                    <a:pt x="187" y="219"/>
                  </a:lnTo>
                  <a:lnTo>
                    <a:pt x="189" y="222"/>
                  </a:lnTo>
                  <a:lnTo>
                    <a:pt x="194" y="222"/>
                  </a:lnTo>
                  <a:lnTo>
                    <a:pt x="193" y="226"/>
                  </a:lnTo>
                  <a:lnTo>
                    <a:pt x="194" y="229"/>
                  </a:lnTo>
                  <a:lnTo>
                    <a:pt x="194" y="232"/>
                  </a:lnTo>
                  <a:lnTo>
                    <a:pt x="184" y="234"/>
                  </a:lnTo>
                  <a:lnTo>
                    <a:pt x="184" y="232"/>
                  </a:lnTo>
                  <a:lnTo>
                    <a:pt x="179" y="232"/>
                  </a:lnTo>
                  <a:lnTo>
                    <a:pt x="175" y="231"/>
                  </a:lnTo>
                  <a:lnTo>
                    <a:pt x="172" y="232"/>
                  </a:lnTo>
                  <a:lnTo>
                    <a:pt x="172" y="236"/>
                  </a:lnTo>
                  <a:lnTo>
                    <a:pt x="170" y="234"/>
                  </a:lnTo>
                  <a:lnTo>
                    <a:pt x="167" y="236"/>
                  </a:lnTo>
                  <a:lnTo>
                    <a:pt x="165" y="232"/>
                  </a:lnTo>
                  <a:lnTo>
                    <a:pt x="165" y="229"/>
                  </a:lnTo>
                  <a:lnTo>
                    <a:pt x="158" y="224"/>
                  </a:lnTo>
                  <a:lnTo>
                    <a:pt x="157" y="219"/>
                  </a:lnTo>
                  <a:lnTo>
                    <a:pt x="146" y="219"/>
                  </a:lnTo>
                  <a:lnTo>
                    <a:pt x="145" y="214"/>
                  </a:lnTo>
                  <a:lnTo>
                    <a:pt x="140" y="210"/>
                  </a:lnTo>
                  <a:lnTo>
                    <a:pt x="134" y="210"/>
                  </a:lnTo>
                  <a:lnTo>
                    <a:pt x="128" y="207"/>
                  </a:lnTo>
                  <a:lnTo>
                    <a:pt x="123" y="207"/>
                  </a:lnTo>
                  <a:lnTo>
                    <a:pt x="117" y="203"/>
                  </a:lnTo>
                  <a:lnTo>
                    <a:pt x="111" y="202"/>
                  </a:lnTo>
                  <a:lnTo>
                    <a:pt x="104" y="200"/>
                  </a:lnTo>
                  <a:lnTo>
                    <a:pt x="100" y="200"/>
                  </a:lnTo>
                  <a:lnTo>
                    <a:pt x="100" y="196"/>
                  </a:lnTo>
                  <a:lnTo>
                    <a:pt x="97" y="191"/>
                  </a:lnTo>
                  <a:lnTo>
                    <a:pt x="94" y="181"/>
                  </a:lnTo>
                  <a:lnTo>
                    <a:pt x="92" y="179"/>
                  </a:lnTo>
                  <a:lnTo>
                    <a:pt x="94" y="174"/>
                  </a:lnTo>
                  <a:lnTo>
                    <a:pt x="94" y="173"/>
                  </a:lnTo>
                  <a:lnTo>
                    <a:pt x="99" y="166"/>
                  </a:lnTo>
                  <a:lnTo>
                    <a:pt x="99" y="159"/>
                  </a:lnTo>
                  <a:lnTo>
                    <a:pt x="92" y="154"/>
                  </a:lnTo>
                  <a:lnTo>
                    <a:pt x="87" y="152"/>
                  </a:lnTo>
                  <a:lnTo>
                    <a:pt x="82" y="145"/>
                  </a:lnTo>
                  <a:lnTo>
                    <a:pt x="85" y="138"/>
                  </a:lnTo>
                  <a:lnTo>
                    <a:pt x="80" y="132"/>
                  </a:lnTo>
                  <a:lnTo>
                    <a:pt x="82" y="123"/>
                  </a:lnTo>
                  <a:lnTo>
                    <a:pt x="76" y="118"/>
                  </a:lnTo>
                  <a:lnTo>
                    <a:pt x="66" y="118"/>
                  </a:lnTo>
                  <a:lnTo>
                    <a:pt x="64" y="116"/>
                  </a:lnTo>
                  <a:lnTo>
                    <a:pt x="58" y="116"/>
                  </a:lnTo>
                  <a:lnTo>
                    <a:pt x="53" y="113"/>
                  </a:lnTo>
                  <a:lnTo>
                    <a:pt x="54" y="109"/>
                  </a:lnTo>
                  <a:lnTo>
                    <a:pt x="49" y="113"/>
                  </a:lnTo>
                  <a:lnTo>
                    <a:pt x="44" y="113"/>
                  </a:lnTo>
                  <a:lnTo>
                    <a:pt x="41" y="118"/>
                  </a:lnTo>
                  <a:lnTo>
                    <a:pt x="37" y="116"/>
                  </a:lnTo>
                  <a:lnTo>
                    <a:pt x="32" y="118"/>
                  </a:lnTo>
                  <a:lnTo>
                    <a:pt x="29" y="116"/>
                  </a:lnTo>
                  <a:lnTo>
                    <a:pt x="22" y="121"/>
                  </a:lnTo>
                  <a:lnTo>
                    <a:pt x="17" y="113"/>
                  </a:lnTo>
                  <a:lnTo>
                    <a:pt x="15" y="111"/>
                  </a:lnTo>
                  <a:lnTo>
                    <a:pt x="5" y="111"/>
                  </a:lnTo>
                  <a:lnTo>
                    <a:pt x="1" y="113"/>
                  </a:lnTo>
                  <a:lnTo>
                    <a:pt x="1" y="111"/>
                  </a:lnTo>
                  <a:lnTo>
                    <a:pt x="0" y="104"/>
                  </a:lnTo>
                  <a:lnTo>
                    <a:pt x="1" y="99"/>
                  </a:lnTo>
                  <a:lnTo>
                    <a:pt x="1" y="97"/>
                  </a:lnTo>
                  <a:lnTo>
                    <a:pt x="6" y="94"/>
                  </a:lnTo>
                  <a:lnTo>
                    <a:pt x="15" y="91"/>
                  </a:lnTo>
                  <a:lnTo>
                    <a:pt x="18" y="91"/>
                  </a:lnTo>
                  <a:lnTo>
                    <a:pt x="22" y="87"/>
                  </a:lnTo>
                  <a:lnTo>
                    <a:pt x="29" y="84"/>
                  </a:lnTo>
                  <a:lnTo>
                    <a:pt x="32" y="79"/>
                  </a:lnTo>
                  <a:lnTo>
                    <a:pt x="34" y="72"/>
                  </a:lnTo>
                  <a:lnTo>
                    <a:pt x="35" y="72"/>
                  </a:lnTo>
                  <a:lnTo>
                    <a:pt x="32" y="72"/>
                  </a:lnTo>
                  <a:lnTo>
                    <a:pt x="34" y="70"/>
                  </a:lnTo>
                  <a:lnTo>
                    <a:pt x="25" y="67"/>
                  </a:lnTo>
                  <a:lnTo>
                    <a:pt x="30" y="63"/>
                  </a:lnTo>
                  <a:lnTo>
                    <a:pt x="27" y="63"/>
                  </a:lnTo>
                  <a:lnTo>
                    <a:pt x="27" y="60"/>
                  </a:lnTo>
                  <a:lnTo>
                    <a:pt x="32" y="60"/>
                  </a:lnTo>
                  <a:lnTo>
                    <a:pt x="34" y="55"/>
                  </a:lnTo>
                  <a:lnTo>
                    <a:pt x="37" y="55"/>
                  </a:lnTo>
                  <a:lnTo>
                    <a:pt x="42" y="50"/>
                  </a:lnTo>
                  <a:lnTo>
                    <a:pt x="51" y="50"/>
                  </a:lnTo>
                  <a:lnTo>
                    <a:pt x="53" y="48"/>
                  </a:lnTo>
                  <a:lnTo>
                    <a:pt x="54" y="46"/>
                  </a:lnTo>
                  <a:lnTo>
                    <a:pt x="58" y="46"/>
                  </a:lnTo>
                  <a:lnTo>
                    <a:pt x="58" y="48"/>
                  </a:lnTo>
                  <a:lnTo>
                    <a:pt x="61" y="56"/>
                  </a:lnTo>
                  <a:lnTo>
                    <a:pt x="63" y="60"/>
                  </a:lnTo>
                  <a:lnTo>
                    <a:pt x="68" y="62"/>
                  </a:lnTo>
                  <a:lnTo>
                    <a:pt x="73" y="60"/>
                  </a:lnTo>
                  <a:lnTo>
                    <a:pt x="70" y="63"/>
                  </a:lnTo>
                  <a:lnTo>
                    <a:pt x="64" y="68"/>
                  </a:lnTo>
                  <a:lnTo>
                    <a:pt x="64" y="72"/>
                  </a:lnTo>
                  <a:lnTo>
                    <a:pt x="70" y="77"/>
                  </a:lnTo>
                  <a:lnTo>
                    <a:pt x="75" y="77"/>
                  </a:lnTo>
                  <a:lnTo>
                    <a:pt x="80" y="73"/>
                  </a:lnTo>
                  <a:lnTo>
                    <a:pt x="80" y="79"/>
                  </a:lnTo>
                  <a:lnTo>
                    <a:pt x="83" y="80"/>
                  </a:lnTo>
                  <a:lnTo>
                    <a:pt x="85" y="79"/>
                  </a:lnTo>
                  <a:lnTo>
                    <a:pt x="82" y="75"/>
                  </a:lnTo>
                  <a:lnTo>
                    <a:pt x="80" y="73"/>
                  </a:lnTo>
                  <a:lnTo>
                    <a:pt x="78" y="70"/>
                  </a:lnTo>
                  <a:lnTo>
                    <a:pt x="76" y="70"/>
                  </a:lnTo>
                  <a:lnTo>
                    <a:pt x="75" y="65"/>
                  </a:lnTo>
                  <a:lnTo>
                    <a:pt x="78" y="63"/>
                  </a:lnTo>
                  <a:lnTo>
                    <a:pt x="76" y="60"/>
                  </a:lnTo>
                  <a:lnTo>
                    <a:pt x="78" y="60"/>
                  </a:lnTo>
                  <a:lnTo>
                    <a:pt x="75" y="58"/>
                  </a:lnTo>
                  <a:lnTo>
                    <a:pt x="75" y="56"/>
                  </a:lnTo>
                  <a:lnTo>
                    <a:pt x="73" y="53"/>
                  </a:lnTo>
                  <a:lnTo>
                    <a:pt x="73" y="48"/>
                  </a:lnTo>
                  <a:lnTo>
                    <a:pt x="71" y="46"/>
                  </a:lnTo>
                  <a:lnTo>
                    <a:pt x="76" y="46"/>
                  </a:lnTo>
                  <a:lnTo>
                    <a:pt x="82" y="46"/>
                  </a:lnTo>
                  <a:lnTo>
                    <a:pt x="92" y="44"/>
                  </a:lnTo>
                  <a:lnTo>
                    <a:pt x="92" y="43"/>
                  </a:lnTo>
                  <a:lnTo>
                    <a:pt x="97" y="43"/>
                  </a:lnTo>
                  <a:close/>
                  <a:moveTo>
                    <a:pt x="17" y="7"/>
                  </a:moveTo>
                  <a:lnTo>
                    <a:pt x="18" y="7"/>
                  </a:lnTo>
                  <a:lnTo>
                    <a:pt x="18" y="9"/>
                  </a:lnTo>
                  <a:lnTo>
                    <a:pt x="17" y="9"/>
                  </a:lnTo>
                  <a:lnTo>
                    <a:pt x="17" y="7"/>
                  </a:lnTo>
                  <a:close/>
                  <a:moveTo>
                    <a:pt x="20" y="0"/>
                  </a:moveTo>
                  <a:lnTo>
                    <a:pt x="24" y="0"/>
                  </a:lnTo>
                  <a:lnTo>
                    <a:pt x="24" y="3"/>
                  </a:lnTo>
                  <a:lnTo>
                    <a:pt x="20" y="3"/>
                  </a:lnTo>
                  <a:lnTo>
                    <a:pt x="2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4" name="Freeform 71"/>
            <p:cNvSpPr>
              <a:spLocks noEditPoints="1"/>
            </p:cNvSpPr>
            <p:nvPr/>
          </p:nvSpPr>
          <p:spPr bwMode="gray">
            <a:xfrm>
              <a:off x="2692074" y="2107627"/>
              <a:ext cx="1269632" cy="2307592"/>
            </a:xfrm>
            <a:custGeom>
              <a:avLst/>
              <a:gdLst>
                <a:gd name="T0" fmla="*/ 116 w 696"/>
                <a:gd name="T1" fmla="*/ 618 h 1265"/>
                <a:gd name="T2" fmla="*/ 126 w 696"/>
                <a:gd name="T3" fmla="*/ 656 h 1265"/>
                <a:gd name="T4" fmla="*/ 111 w 696"/>
                <a:gd name="T5" fmla="*/ 615 h 1265"/>
                <a:gd name="T6" fmla="*/ 186 w 696"/>
                <a:gd name="T7" fmla="*/ 582 h 1265"/>
                <a:gd name="T8" fmla="*/ 162 w 696"/>
                <a:gd name="T9" fmla="*/ 586 h 1265"/>
                <a:gd name="T10" fmla="*/ 174 w 696"/>
                <a:gd name="T11" fmla="*/ 604 h 1265"/>
                <a:gd name="T12" fmla="*/ 150 w 696"/>
                <a:gd name="T13" fmla="*/ 574 h 1265"/>
                <a:gd name="T14" fmla="*/ 176 w 696"/>
                <a:gd name="T15" fmla="*/ 567 h 1265"/>
                <a:gd name="T16" fmla="*/ 468 w 696"/>
                <a:gd name="T17" fmla="*/ 558 h 1265"/>
                <a:gd name="T18" fmla="*/ 130 w 696"/>
                <a:gd name="T19" fmla="*/ 560 h 1265"/>
                <a:gd name="T20" fmla="*/ 138 w 696"/>
                <a:gd name="T21" fmla="*/ 553 h 1265"/>
                <a:gd name="T22" fmla="*/ 142 w 696"/>
                <a:gd name="T23" fmla="*/ 548 h 1265"/>
                <a:gd name="T24" fmla="*/ 143 w 696"/>
                <a:gd name="T25" fmla="*/ 552 h 1265"/>
                <a:gd name="T26" fmla="*/ 130 w 696"/>
                <a:gd name="T27" fmla="*/ 541 h 1265"/>
                <a:gd name="T28" fmla="*/ 130 w 696"/>
                <a:gd name="T29" fmla="*/ 538 h 1265"/>
                <a:gd name="T30" fmla="*/ 147 w 696"/>
                <a:gd name="T31" fmla="*/ 531 h 1265"/>
                <a:gd name="T32" fmla="*/ 130 w 696"/>
                <a:gd name="T33" fmla="*/ 516 h 1265"/>
                <a:gd name="T34" fmla="*/ 36 w 696"/>
                <a:gd name="T35" fmla="*/ 511 h 1265"/>
                <a:gd name="T36" fmla="*/ 94 w 696"/>
                <a:gd name="T37" fmla="*/ 497 h 1265"/>
                <a:gd name="T38" fmla="*/ 119 w 696"/>
                <a:gd name="T39" fmla="*/ 492 h 1265"/>
                <a:gd name="T40" fmla="*/ 109 w 696"/>
                <a:gd name="T41" fmla="*/ 488 h 1265"/>
                <a:gd name="T42" fmla="*/ 49 w 696"/>
                <a:gd name="T43" fmla="*/ 485 h 1265"/>
                <a:gd name="T44" fmla="*/ 66 w 696"/>
                <a:gd name="T45" fmla="*/ 480 h 1265"/>
                <a:gd name="T46" fmla="*/ 145 w 696"/>
                <a:gd name="T47" fmla="*/ 481 h 1265"/>
                <a:gd name="T48" fmla="*/ 48 w 696"/>
                <a:gd name="T49" fmla="*/ 483 h 1265"/>
                <a:gd name="T50" fmla="*/ 164 w 696"/>
                <a:gd name="T51" fmla="*/ 473 h 1265"/>
                <a:gd name="T52" fmla="*/ 49 w 696"/>
                <a:gd name="T53" fmla="*/ 473 h 1265"/>
                <a:gd name="T54" fmla="*/ 10 w 696"/>
                <a:gd name="T55" fmla="*/ 468 h 1265"/>
                <a:gd name="T56" fmla="*/ 73 w 696"/>
                <a:gd name="T57" fmla="*/ 481 h 1265"/>
                <a:gd name="T58" fmla="*/ 107 w 696"/>
                <a:gd name="T59" fmla="*/ 466 h 1265"/>
                <a:gd name="T60" fmla="*/ 102 w 696"/>
                <a:gd name="T61" fmla="*/ 463 h 1265"/>
                <a:gd name="T62" fmla="*/ 112 w 696"/>
                <a:gd name="T63" fmla="*/ 471 h 1265"/>
                <a:gd name="T64" fmla="*/ 493 w 696"/>
                <a:gd name="T65" fmla="*/ 461 h 1265"/>
                <a:gd name="T66" fmla="*/ 498 w 696"/>
                <a:gd name="T67" fmla="*/ 464 h 1265"/>
                <a:gd name="T68" fmla="*/ 490 w 696"/>
                <a:gd name="T69" fmla="*/ 454 h 1265"/>
                <a:gd name="T70" fmla="*/ 507 w 696"/>
                <a:gd name="T71" fmla="*/ 451 h 1265"/>
                <a:gd name="T72" fmla="*/ 73 w 696"/>
                <a:gd name="T73" fmla="*/ 463 h 1265"/>
                <a:gd name="T74" fmla="*/ 106 w 696"/>
                <a:gd name="T75" fmla="*/ 451 h 1265"/>
                <a:gd name="T76" fmla="*/ 490 w 696"/>
                <a:gd name="T77" fmla="*/ 444 h 1265"/>
                <a:gd name="T78" fmla="*/ 68 w 696"/>
                <a:gd name="T79" fmla="*/ 437 h 1265"/>
                <a:gd name="T80" fmla="*/ 92 w 696"/>
                <a:gd name="T81" fmla="*/ 449 h 1265"/>
                <a:gd name="T82" fmla="*/ 82 w 696"/>
                <a:gd name="T83" fmla="*/ 437 h 1265"/>
                <a:gd name="T84" fmla="*/ 155 w 696"/>
                <a:gd name="T85" fmla="*/ 478 h 1265"/>
                <a:gd name="T86" fmla="*/ 138 w 696"/>
                <a:gd name="T87" fmla="*/ 447 h 1265"/>
                <a:gd name="T88" fmla="*/ 143 w 696"/>
                <a:gd name="T89" fmla="*/ 434 h 1265"/>
                <a:gd name="T90" fmla="*/ 684 w 696"/>
                <a:gd name="T91" fmla="*/ 277 h 1265"/>
                <a:gd name="T92" fmla="*/ 353 w 696"/>
                <a:gd name="T93" fmla="*/ 242 h 1265"/>
                <a:gd name="T94" fmla="*/ 666 w 696"/>
                <a:gd name="T95" fmla="*/ 213 h 1265"/>
                <a:gd name="T96" fmla="*/ 664 w 696"/>
                <a:gd name="T97" fmla="*/ 208 h 1265"/>
                <a:gd name="T98" fmla="*/ 293 w 696"/>
                <a:gd name="T99" fmla="*/ 232 h 1265"/>
                <a:gd name="T100" fmla="*/ 316 w 696"/>
                <a:gd name="T101" fmla="*/ 205 h 1265"/>
                <a:gd name="T102" fmla="*/ 370 w 696"/>
                <a:gd name="T103" fmla="*/ 200 h 1265"/>
                <a:gd name="T104" fmla="*/ 363 w 696"/>
                <a:gd name="T105" fmla="*/ 196 h 1265"/>
                <a:gd name="T106" fmla="*/ 360 w 696"/>
                <a:gd name="T107" fmla="*/ 191 h 1265"/>
                <a:gd name="T108" fmla="*/ 346 w 696"/>
                <a:gd name="T109" fmla="*/ 188 h 1265"/>
                <a:gd name="T110" fmla="*/ 372 w 696"/>
                <a:gd name="T111" fmla="*/ 181 h 1265"/>
                <a:gd name="T112" fmla="*/ 355 w 696"/>
                <a:gd name="T113" fmla="*/ 169 h 1265"/>
                <a:gd name="T114" fmla="*/ 363 w 696"/>
                <a:gd name="T115" fmla="*/ 166 h 1265"/>
                <a:gd name="T116" fmla="*/ 572 w 696"/>
                <a:gd name="T117" fmla="*/ 131 h 1265"/>
                <a:gd name="T118" fmla="*/ 597 w 696"/>
                <a:gd name="T119" fmla="*/ 89 h 1265"/>
                <a:gd name="T120" fmla="*/ 577 w 696"/>
                <a:gd name="T121" fmla="*/ 135 h 1265"/>
                <a:gd name="T122" fmla="*/ 563 w 696"/>
                <a:gd name="T123" fmla="*/ 106 h 1265"/>
                <a:gd name="T124" fmla="*/ 553 w 696"/>
                <a:gd name="T125" fmla="*/ 12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6" h="1265">
                  <a:moveTo>
                    <a:pt x="273" y="1262"/>
                  </a:moveTo>
                  <a:lnTo>
                    <a:pt x="273" y="1265"/>
                  </a:lnTo>
                  <a:lnTo>
                    <a:pt x="273" y="1262"/>
                  </a:lnTo>
                  <a:close/>
                  <a:moveTo>
                    <a:pt x="107" y="622"/>
                  </a:moveTo>
                  <a:lnTo>
                    <a:pt x="111" y="622"/>
                  </a:lnTo>
                  <a:lnTo>
                    <a:pt x="111" y="627"/>
                  </a:lnTo>
                  <a:lnTo>
                    <a:pt x="107" y="625"/>
                  </a:lnTo>
                  <a:lnTo>
                    <a:pt x="107" y="622"/>
                  </a:lnTo>
                  <a:close/>
                  <a:moveTo>
                    <a:pt x="102" y="618"/>
                  </a:moveTo>
                  <a:lnTo>
                    <a:pt x="104" y="618"/>
                  </a:lnTo>
                  <a:lnTo>
                    <a:pt x="104" y="622"/>
                  </a:lnTo>
                  <a:lnTo>
                    <a:pt x="102" y="622"/>
                  </a:lnTo>
                  <a:lnTo>
                    <a:pt x="102" y="618"/>
                  </a:lnTo>
                  <a:close/>
                  <a:moveTo>
                    <a:pt x="106" y="618"/>
                  </a:moveTo>
                  <a:lnTo>
                    <a:pt x="107" y="620"/>
                  </a:lnTo>
                  <a:lnTo>
                    <a:pt x="111" y="618"/>
                  </a:lnTo>
                  <a:lnTo>
                    <a:pt x="111" y="622"/>
                  </a:lnTo>
                  <a:lnTo>
                    <a:pt x="106" y="622"/>
                  </a:lnTo>
                  <a:lnTo>
                    <a:pt x="104" y="620"/>
                  </a:lnTo>
                  <a:lnTo>
                    <a:pt x="106" y="618"/>
                  </a:lnTo>
                  <a:close/>
                  <a:moveTo>
                    <a:pt x="114" y="615"/>
                  </a:moveTo>
                  <a:lnTo>
                    <a:pt x="116" y="615"/>
                  </a:lnTo>
                  <a:lnTo>
                    <a:pt x="116" y="618"/>
                  </a:lnTo>
                  <a:lnTo>
                    <a:pt x="114" y="618"/>
                  </a:lnTo>
                  <a:lnTo>
                    <a:pt x="114" y="615"/>
                  </a:lnTo>
                  <a:close/>
                  <a:moveTo>
                    <a:pt x="102" y="615"/>
                  </a:moveTo>
                  <a:lnTo>
                    <a:pt x="106" y="616"/>
                  </a:lnTo>
                  <a:lnTo>
                    <a:pt x="102" y="616"/>
                  </a:lnTo>
                  <a:lnTo>
                    <a:pt x="102" y="618"/>
                  </a:lnTo>
                  <a:lnTo>
                    <a:pt x="101" y="616"/>
                  </a:lnTo>
                  <a:lnTo>
                    <a:pt x="102" y="615"/>
                  </a:lnTo>
                  <a:close/>
                  <a:moveTo>
                    <a:pt x="142" y="615"/>
                  </a:moveTo>
                  <a:lnTo>
                    <a:pt x="143" y="618"/>
                  </a:lnTo>
                  <a:lnTo>
                    <a:pt x="148" y="620"/>
                  </a:lnTo>
                  <a:lnTo>
                    <a:pt x="152" y="627"/>
                  </a:lnTo>
                  <a:lnTo>
                    <a:pt x="155" y="630"/>
                  </a:lnTo>
                  <a:lnTo>
                    <a:pt x="155" y="633"/>
                  </a:lnTo>
                  <a:lnTo>
                    <a:pt x="152" y="633"/>
                  </a:lnTo>
                  <a:lnTo>
                    <a:pt x="148" y="639"/>
                  </a:lnTo>
                  <a:lnTo>
                    <a:pt x="145" y="645"/>
                  </a:lnTo>
                  <a:lnTo>
                    <a:pt x="143" y="652"/>
                  </a:lnTo>
                  <a:lnTo>
                    <a:pt x="138" y="649"/>
                  </a:lnTo>
                  <a:lnTo>
                    <a:pt x="135" y="644"/>
                  </a:lnTo>
                  <a:lnTo>
                    <a:pt x="131" y="647"/>
                  </a:lnTo>
                  <a:lnTo>
                    <a:pt x="130" y="654"/>
                  </a:lnTo>
                  <a:lnTo>
                    <a:pt x="126" y="656"/>
                  </a:lnTo>
                  <a:lnTo>
                    <a:pt x="124" y="652"/>
                  </a:lnTo>
                  <a:lnTo>
                    <a:pt x="124" y="649"/>
                  </a:lnTo>
                  <a:lnTo>
                    <a:pt x="121" y="640"/>
                  </a:lnTo>
                  <a:lnTo>
                    <a:pt x="123" y="637"/>
                  </a:lnTo>
                  <a:lnTo>
                    <a:pt x="121" y="639"/>
                  </a:lnTo>
                  <a:lnTo>
                    <a:pt x="112" y="633"/>
                  </a:lnTo>
                  <a:lnTo>
                    <a:pt x="114" y="632"/>
                  </a:lnTo>
                  <a:lnTo>
                    <a:pt x="116" y="622"/>
                  </a:lnTo>
                  <a:lnTo>
                    <a:pt x="121" y="622"/>
                  </a:lnTo>
                  <a:lnTo>
                    <a:pt x="123" y="615"/>
                  </a:lnTo>
                  <a:lnTo>
                    <a:pt x="124" y="622"/>
                  </a:lnTo>
                  <a:lnTo>
                    <a:pt x="121" y="625"/>
                  </a:lnTo>
                  <a:lnTo>
                    <a:pt x="124" y="628"/>
                  </a:lnTo>
                  <a:lnTo>
                    <a:pt x="124" y="625"/>
                  </a:lnTo>
                  <a:lnTo>
                    <a:pt x="124" y="622"/>
                  </a:lnTo>
                  <a:lnTo>
                    <a:pt x="130" y="623"/>
                  </a:lnTo>
                  <a:lnTo>
                    <a:pt x="135" y="620"/>
                  </a:lnTo>
                  <a:lnTo>
                    <a:pt x="135" y="618"/>
                  </a:lnTo>
                  <a:lnTo>
                    <a:pt x="136" y="615"/>
                  </a:lnTo>
                  <a:lnTo>
                    <a:pt x="142" y="615"/>
                  </a:lnTo>
                  <a:close/>
                  <a:moveTo>
                    <a:pt x="111" y="615"/>
                  </a:moveTo>
                  <a:lnTo>
                    <a:pt x="111" y="616"/>
                  </a:lnTo>
                  <a:lnTo>
                    <a:pt x="111" y="615"/>
                  </a:lnTo>
                  <a:close/>
                  <a:moveTo>
                    <a:pt x="140" y="608"/>
                  </a:moveTo>
                  <a:lnTo>
                    <a:pt x="143" y="611"/>
                  </a:lnTo>
                  <a:lnTo>
                    <a:pt x="140" y="611"/>
                  </a:lnTo>
                  <a:lnTo>
                    <a:pt x="138" y="613"/>
                  </a:lnTo>
                  <a:lnTo>
                    <a:pt x="133" y="613"/>
                  </a:lnTo>
                  <a:lnTo>
                    <a:pt x="130" y="610"/>
                  </a:lnTo>
                  <a:lnTo>
                    <a:pt x="133" y="608"/>
                  </a:lnTo>
                  <a:lnTo>
                    <a:pt x="135" y="610"/>
                  </a:lnTo>
                  <a:lnTo>
                    <a:pt x="140" y="608"/>
                  </a:lnTo>
                  <a:close/>
                  <a:moveTo>
                    <a:pt x="174" y="593"/>
                  </a:moveTo>
                  <a:lnTo>
                    <a:pt x="171" y="586"/>
                  </a:lnTo>
                  <a:lnTo>
                    <a:pt x="176" y="593"/>
                  </a:lnTo>
                  <a:lnTo>
                    <a:pt x="174" y="593"/>
                  </a:lnTo>
                  <a:close/>
                  <a:moveTo>
                    <a:pt x="184" y="581"/>
                  </a:moveTo>
                  <a:lnTo>
                    <a:pt x="184" y="582"/>
                  </a:lnTo>
                  <a:lnTo>
                    <a:pt x="184" y="581"/>
                  </a:lnTo>
                  <a:close/>
                  <a:moveTo>
                    <a:pt x="167" y="581"/>
                  </a:moveTo>
                  <a:lnTo>
                    <a:pt x="171" y="586"/>
                  </a:lnTo>
                  <a:lnTo>
                    <a:pt x="167" y="582"/>
                  </a:lnTo>
                  <a:lnTo>
                    <a:pt x="167" y="581"/>
                  </a:lnTo>
                  <a:close/>
                  <a:moveTo>
                    <a:pt x="184" y="579"/>
                  </a:moveTo>
                  <a:lnTo>
                    <a:pt x="189" y="584"/>
                  </a:lnTo>
                  <a:lnTo>
                    <a:pt x="186" y="582"/>
                  </a:lnTo>
                  <a:lnTo>
                    <a:pt x="184" y="581"/>
                  </a:lnTo>
                  <a:lnTo>
                    <a:pt x="184" y="579"/>
                  </a:lnTo>
                  <a:close/>
                  <a:moveTo>
                    <a:pt x="162" y="575"/>
                  </a:moveTo>
                  <a:lnTo>
                    <a:pt x="164" y="575"/>
                  </a:lnTo>
                  <a:lnTo>
                    <a:pt x="164" y="579"/>
                  </a:lnTo>
                  <a:lnTo>
                    <a:pt x="162" y="579"/>
                  </a:lnTo>
                  <a:lnTo>
                    <a:pt x="162" y="575"/>
                  </a:lnTo>
                  <a:close/>
                  <a:moveTo>
                    <a:pt x="148" y="572"/>
                  </a:moveTo>
                  <a:lnTo>
                    <a:pt x="148" y="574"/>
                  </a:lnTo>
                  <a:lnTo>
                    <a:pt x="147" y="575"/>
                  </a:lnTo>
                  <a:lnTo>
                    <a:pt x="145" y="572"/>
                  </a:lnTo>
                  <a:lnTo>
                    <a:pt x="148" y="572"/>
                  </a:lnTo>
                  <a:close/>
                  <a:moveTo>
                    <a:pt x="150" y="570"/>
                  </a:moveTo>
                  <a:lnTo>
                    <a:pt x="155" y="575"/>
                  </a:lnTo>
                  <a:lnTo>
                    <a:pt x="159" y="579"/>
                  </a:lnTo>
                  <a:lnTo>
                    <a:pt x="160" y="579"/>
                  </a:lnTo>
                  <a:lnTo>
                    <a:pt x="162" y="581"/>
                  </a:lnTo>
                  <a:lnTo>
                    <a:pt x="164" y="584"/>
                  </a:lnTo>
                  <a:lnTo>
                    <a:pt x="162" y="584"/>
                  </a:lnTo>
                  <a:lnTo>
                    <a:pt x="159" y="584"/>
                  </a:lnTo>
                  <a:lnTo>
                    <a:pt x="160" y="587"/>
                  </a:lnTo>
                  <a:lnTo>
                    <a:pt x="164" y="589"/>
                  </a:lnTo>
                  <a:lnTo>
                    <a:pt x="162" y="586"/>
                  </a:lnTo>
                  <a:lnTo>
                    <a:pt x="165" y="584"/>
                  </a:lnTo>
                  <a:lnTo>
                    <a:pt x="172" y="591"/>
                  </a:lnTo>
                  <a:lnTo>
                    <a:pt x="174" y="598"/>
                  </a:lnTo>
                  <a:lnTo>
                    <a:pt x="177" y="599"/>
                  </a:lnTo>
                  <a:lnTo>
                    <a:pt x="182" y="598"/>
                  </a:lnTo>
                  <a:lnTo>
                    <a:pt x="181" y="593"/>
                  </a:lnTo>
                  <a:lnTo>
                    <a:pt x="182" y="591"/>
                  </a:lnTo>
                  <a:lnTo>
                    <a:pt x="189" y="598"/>
                  </a:lnTo>
                  <a:lnTo>
                    <a:pt x="191" y="603"/>
                  </a:lnTo>
                  <a:lnTo>
                    <a:pt x="198" y="608"/>
                  </a:lnTo>
                  <a:lnTo>
                    <a:pt x="203" y="608"/>
                  </a:lnTo>
                  <a:lnTo>
                    <a:pt x="203" y="611"/>
                  </a:lnTo>
                  <a:lnTo>
                    <a:pt x="201" y="611"/>
                  </a:lnTo>
                  <a:lnTo>
                    <a:pt x="194" y="608"/>
                  </a:lnTo>
                  <a:lnTo>
                    <a:pt x="191" y="610"/>
                  </a:lnTo>
                  <a:lnTo>
                    <a:pt x="194" y="613"/>
                  </a:lnTo>
                  <a:lnTo>
                    <a:pt x="193" y="615"/>
                  </a:lnTo>
                  <a:lnTo>
                    <a:pt x="188" y="611"/>
                  </a:lnTo>
                  <a:lnTo>
                    <a:pt x="186" y="613"/>
                  </a:lnTo>
                  <a:lnTo>
                    <a:pt x="182" y="610"/>
                  </a:lnTo>
                  <a:lnTo>
                    <a:pt x="177" y="608"/>
                  </a:lnTo>
                  <a:lnTo>
                    <a:pt x="177" y="606"/>
                  </a:lnTo>
                  <a:lnTo>
                    <a:pt x="174" y="604"/>
                  </a:lnTo>
                  <a:lnTo>
                    <a:pt x="174" y="603"/>
                  </a:lnTo>
                  <a:lnTo>
                    <a:pt x="167" y="599"/>
                  </a:lnTo>
                  <a:lnTo>
                    <a:pt x="162" y="601"/>
                  </a:lnTo>
                  <a:lnTo>
                    <a:pt x="155" y="604"/>
                  </a:lnTo>
                  <a:lnTo>
                    <a:pt x="152" y="603"/>
                  </a:lnTo>
                  <a:lnTo>
                    <a:pt x="147" y="608"/>
                  </a:lnTo>
                  <a:lnTo>
                    <a:pt x="143" y="606"/>
                  </a:lnTo>
                  <a:lnTo>
                    <a:pt x="143" y="603"/>
                  </a:lnTo>
                  <a:lnTo>
                    <a:pt x="135" y="603"/>
                  </a:lnTo>
                  <a:lnTo>
                    <a:pt x="135" y="596"/>
                  </a:lnTo>
                  <a:lnTo>
                    <a:pt x="138" y="596"/>
                  </a:lnTo>
                  <a:lnTo>
                    <a:pt x="138" y="594"/>
                  </a:lnTo>
                  <a:lnTo>
                    <a:pt x="140" y="594"/>
                  </a:lnTo>
                  <a:lnTo>
                    <a:pt x="140" y="591"/>
                  </a:lnTo>
                  <a:lnTo>
                    <a:pt x="143" y="591"/>
                  </a:lnTo>
                  <a:lnTo>
                    <a:pt x="145" y="582"/>
                  </a:lnTo>
                  <a:lnTo>
                    <a:pt x="143" y="581"/>
                  </a:lnTo>
                  <a:lnTo>
                    <a:pt x="143" y="575"/>
                  </a:lnTo>
                  <a:lnTo>
                    <a:pt x="143" y="574"/>
                  </a:lnTo>
                  <a:lnTo>
                    <a:pt x="145" y="575"/>
                  </a:lnTo>
                  <a:lnTo>
                    <a:pt x="148" y="575"/>
                  </a:lnTo>
                  <a:lnTo>
                    <a:pt x="147" y="577"/>
                  </a:lnTo>
                  <a:lnTo>
                    <a:pt x="150" y="574"/>
                  </a:lnTo>
                  <a:lnTo>
                    <a:pt x="152" y="575"/>
                  </a:lnTo>
                  <a:lnTo>
                    <a:pt x="150" y="570"/>
                  </a:lnTo>
                  <a:close/>
                  <a:moveTo>
                    <a:pt x="160" y="569"/>
                  </a:moveTo>
                  <a:lnTo>
                    <a:pt x="162" y="569"/>
                  </a:lnTo>
                  <a:lnTo>
                    <a:pt x="162" y="570"/>
                  </a:lnTo>
                  <a:lnTo>
                    <a:pt x="160" y="570"/>
                  </a:lnTo>
                  <a:lnTo>
                    <a:pt x="160" y="569"/>
                  </a:lnTo>
                  <a:close/>
                  <a:moveTo>
                    <a:pt x="143" y="569"/>
                  </a:moveTo>
                  <a:lnTo>
                    <a:pt x="145" y="569"/>
                  </a:lnTo>
                  <a:lnTo>
                    <a:pt x="145" y="570"/>
                  </a:lnTo>
                  <a:lnTo>
                    <a:pt x="143" y="570"/>
                  </a:lnTo>
                  <a:lnTo>
                    <a:pt x="143" y="569"/>
                  </a:lnTo>
                  <a:close/>
                  <a:moveTo>
                    <a:pt x="147" y="569"/>
                  </a:moveTo>
                  <a:lnTo>
                    <a:pt x="148" y="569"/>
                  </a:lnTo>
                  <a:lnTo>
                    <a:pt x="148" y="570"/>
                  </a:lnTo>
                  <a:lnTo>
                    <a:pt x="147" y="570"/>
                  </a:lnTo>
                  <a:lnTo>
                    <a:pt x="147" y="569"/>
                  </a:lnTo>
                  <a:close/>
                  <a:moveTo>
                    <a:pt x="176" y="567"/>
                  </a:moveTo>
                  <a:lnTo>
                    <a:pt x="177" y="570"/>
                  </a:lnTo>
                  <a:lnTo>
                    <a:pt x="172" y="570"/>
                  </a:lnTo>
                  <a:lnTo>
                    <a:pt x="172" y="569"/>
                  </a:lnTo>
                  <a:lnTo>
                    <a:pt x="174" y="569"/>
                  </a:lnTo>
                  <a:lnTo>
                    <a:pt x="176" y="567"/>
                  </a:lnTo>
                  <a:close/>
                  <a:moveTo>
                    <a:pt x="145" y="567"/>
                  </a:moveTo>
                  <a:lnTo>
                    <a:pt x="147" y="567"/>
                  </a:lnTo>
                  <a:lnTo>
                    <a:pt x="147" y="569"/>
                  </a:lnTo>
                  <a:lnTo>
                    <a:pt x="145" y="569"/>
                  </a:lnTo>
                  <a:lnTo>
                    <a:pt x="145" y="567"/>
                  </a:lnTo>
                  <a:close/>
                  <a:moveTo>
                    <a:pt x="142" y="563"/>
                  </a:moveTo>
                  <a:lnTo>
                    <a:pt x="143" y="563"/>
                  </a:lnTo>
                  <a:lnTo>
                    <a:pt x="143" y="565"/>
                  </a:lnTo>
                  <a:lnTo>
                    <a:pt x="142" y="565"/>
                  </a:lnTo>
                  <a:lnTo>
                    <a:pt x="142" y="563"/>
                  </a:lnTo>
                  <a:close/>
                  <a:moveTo>
                    <a:pt x="148" y="562"/>
                  </a:moveTo>
                  <a:lnTo>
                    <a:pt x="150" y="565"/>
                  </a:lnTo>
                  <a:lnTo>
                    <a:pt x="148" y="563"/>
                  </a:lnTo>
                  <a:lnTo>
                    <a:pt x="148" y="562"/>
                  </a:lnTo>
                  <a:close/>
                  <a:moveTo>
                    <a:pt x="138" y="558"/>
                  </a:moveTo>
                  <a:lnTo>
                    <a:pt x="142" y="563"/>
                  </a:lnTo>
                  <a:lnTo>
                    <a:pt x="136" y="560"/>
                  </a:lnTo>
                  <a:lnTo>
                    <a:pt x="138" y="558"/>
                  </a:lnTo>
                  <a:close/>
                  <a:moveTo>
                    <a:pt x="473" y="557"/>
                  </a:moveTo>
                  <a:lnTo>
                    <a:pt x="471" y="560"/>
                  </a:lnTo>
                  <a:lnTo>
                    <a:pt x="471" y="562"/>
                  </a:lnTo>
                  <a:lnTo>
                    <a:pt x="469" y="562"/>
                  </a:lnTo>
                  <a:lnTo>
                    <a:pt x="468" y="558"/>
                  </a:lnTo>
                  <a:lnTo>
                    <a:pt x="473" y="557"/>
                  </a:lnTo>
                  <a:close/>
                  <a:moveTo>
                    <a:pt x="143" y="557"/>
                  </a:moveTo>
                  <a:lnTo>
                    <a:pt x="145" y="558"/>
                  </a:lnTo>
                  <a:lnTo>
                    <a:pt x="145" y="562"/>
                  </a:lnTo>
                  <a:lnTo>
                    <a:pt x="142" y="558"/>
                  </a:lnTo>
                  <a:lnTo>
                    <a:pt x="143" y="557"/>
                  </a:lnTo>
                  <a:close/>
                  <a:moveTo>
                    <a:pt x="135" y="555"/>
                  </a:moveTo>
                  <a:lnTo>
                    <a:pt x="136" y="555"/>
                  </a:lnTo>
                  <a:lnTo>
                    <a:pt x="136" y="557"/>
                  </a:lnTo>
                  <a:lnTo>
                    <a:pt x="135" y="557"/>
                  </a:lnTo>
                  <a:lnTo>
                    <a:pt x="135" y="555"/>
                  </a:lnTo>
                  <a:close/>
                  <a:moveTo>
                    <a:pt x="133" y="557"/>
                  </a:moveTo>
                  <a:lnTo>
                    <a:pt x="138" y="562"/>
                  </a:lnTo>
                  <a:lnTo>
                    <a:pt x="140" y="562"/>
                  </a:lnTo>
                  <a:lnTo>
                    <a:pt x="142" y="565"/>
                  </a:lnTo>
                  <a:lnTo>
                    <a:pt x="143" y="565"/>
                  </a:lnTo>
                  <a:lnTo>
                    <a:pt x="142" y="569"/>
                  </a:lnTo>
                  <a:lnTo>
                    <a:pt x="140" y="567"/>
                  </a:lnTo>
                  <a:lnTo>
                    <a:pt x="143" y="572"/>
                  </a:lnTo>
                  <a:lnTo>
                    <a:pt x="140" y="572"/>
                  </a:lnTo>
                  <a:lnTo>
                    <a:pt x="133" y="563"/>
                  </a:lnTo>
                  <a:lnTo>
                    <a:pt x="131" y="563"/>
                  </a:lnTo>
                  <a:lnTo>
                    <a:pt x="130" y="560"/>
                  </a:lnTo>
                  <a:lnTo>
                    <a:pt x="135" y="563"/>
                  </a:lnTo>
                  <a:lnTo>
                    <a:pt x="133" y="560"/>
                  </a:lnTo>
                  <a:lnTo>
                    <a:pt x="135" y="560"/>
                  </a:lnTo>
                  <a:lnTo>
                    <a:pt x="131" y="557"/>
                  </a:lnTo>
                  <a:lnTo>
                    <a:pt x="131" y="555"/>
                  </a:lnTo>
                  <a:lnTo>
                    <a:pt x="133" y="557"/>
                  </a:lnTo>
                  <a:close/>
                  <a:moveTo>
                    <a:pt x="116" y="555"/>
                  </a:moveTo>
                  <a:lnTo>
                    <a:pt x="119" y="555"/>
                  </a:lnTo>
                  <a:lnTo>
                    <a:pt x="119" y="557"/>
                  </a:lnTo>
                  <a:lnTo>
                    <a:pt x="116" y="557"/>
                  </a:lnTo>
                  <a:lnTo>
                    <a:pt x="116" y="555"/>
                  </a:lnTo>
                  <a:close/>
                  <a:moveTo>
                    <a:pt x="119" y="555"/>
                  </a:moveTo>
                  <a:lnTo>
                    <a:pt x="124" y="558"/>
                  </a:lnTo>
                  <a:lnTo>
                    <a:pt x="124" y="562"/>
                  </a:lnTo>
                  <a:lnTo>
                    <a:pt x="123" y="562"/>
                  </a:lnTo>
                  <a:lnTo>
                    <a:pt x="121" y="558"/>
                  </a:lnTo>
                  <a:lnTo>
                    <a:pt x="119" y="558"/>
                  </a:lnTo>
                  <a:lnTo>
                    <a:pt x="119" y="555"/>
                  </a:lnTo>
                  <a:close/>
                  <a:moveTo>
                    <a:pt x="138" y="553"/>
                  </a:moveTo>
                  <a:lnTo>
                    <a:pt x="142" y="553"/>
                  </a:lnTo>
                  <a:lnTo>
                    <a:pt x="142" y="555"/>
                  </a:lnTo>
                  <a:lnTo>
                    <a:pt x="138" y="555"/>
                  </a:lnTo>
                  <a:lnTo>
                    <a:pt x="138" y="553"/>
                  </a:lnTo>
                  <a:close/>
                  <a:moveTo>
                    <a:pt x="131" y="553"/>
                  </a:moveTo>
                  <a:lnTo>
                    <a:pt x="135" y="553"/>
                  </a:lnTo>
                  <a:lnTo>
                    <a:pt x="135" y="555"/>
                  </a:lnTo>
                  <a:lnTo>
                    <a:pt x="131" y="555"/>
                  </a:lnTo>
                  <a:lnTo>
                    <a:pt x="131" y="553"/>
                  </a:lnTo>
                  <a:close/>
                  <a:moveTo>
                    <a:pt x="126" y="552"/>
                  </a:moveTo>
                  <a:lnTo>
                    <a:pt x="128" y="555"/>
                  </a:lnTo>
                  <a:lnTo>
                    <a:pt x="130" y="557"/>
                  </a:lnTo>
                  <a:lnTo>
                    <a:pt x="128" y="555"/>
                  </a:lnTo>
                  <a:lnTo>
                    <a:pt x="130" y="557"/>
                  </a:lnTo>
                  <a:lnTo>
                    <a:pt x="131" y="560"/>
                  </a:lnTo>
                  <a:lnTo>
                    <a:pt x="126" y="555"/>
                  </a:lnTo>
                  <a:lnTo>
                    <a:pt x="126" y="552"/>
                  </a:lnTo>
                  <a:close/>
                  <a:moveTo>
                    <a:pt x="111" y="550"/>
                  </a:moveTo>
                  <a:lnTo>
                    <a:pt x="112" y="553"/>
                  </a:lnTo>
                  <a:lnTo>
                    <a:pt x="111" y="557"/>
                  </a:lnTo>
                  <a:lnTo>
                    <a:pt x="107" y="553"/>
                  </a:lnTo>
                  <a:lnTo>
                    <a:pt x="111" y="550"/>
                  </a:lnTo>
                  <a:close/>
                  <a:moveTo>
                    <a:pt x="124" y="553"/>
                  </a:moveTo>
                  <a:lnTo>
                    <a:pt x="123" y="550"/>
                  </a:lnTo>
                  <a:lnTo>
                    <a:pt x="124" y="552"/>
                  </a:lnTo>
                  <a:lnTo>
                    <a:pt x="124" y="553"/>
                  </a:lnTo>
                  <a:close/>
                  <a:moveTo>
                    <a:pt x="142" y="548"/>
                  </a:moveTo>
                  <a:lnTo>
                    <a:pt x="143" y="548"/>
                  </a:lnTo>
                  <a:lnTo>
                    <a:pt x="143" y="552"/>
                  </a:lnTo>
                  <a:lnTo>
                    <a:pt x="142" y="552"/>
                  </a:lnTo>
                  <a:lnTo>
                    <a:pt x="142" y="548"/>
                  </a:lnTo>
                  <a:close/>
                  <a:moveTo>
                    <a:pt x="150" y="550"/>
                  </a:moveTo>
                  <a:lnTo>
                    <a:pt x="153" y="555"/>
                  </a:lnTo>
                  <a:lnTo>
                    <a:pt x="159" y="560"/>
                  </a:lnTo>
                  <a:lnTo>
                    <a:pt x="164" y="565"/>
                  </a:lnTo>
                  <a:lnTo>
                    <a:pt x="167" y="569"/>
                  </a:lnTo>
                  <a:lnTo>
                    <a:pt x="167" y="572"/>
                  </a:lnTo>
                  <a:lnTo>
                    <a:pt x="165" y="572"/>
                  </a:lnTo>
                  <a:lnTo>
                    <a:pt x="159" y="565"/>
                  </a:lnTo>
                  <a:lnTo>
                    <a:pt x="160" y="565"/>
                  </a:lnTo>
                  <a:lnTo>
                    <a:pt x="159" y="563"/>
                  </a:lnTo>
                  <a:lnTo>
                    <a:pt x="157" y="563"/>
                  </a:lnTo>
                  <a:lnTo>
                    <a:pt x="157" y="565"/>
                  </a:lnTo>
                  <a:lnTo>
                    <a:pt x="150" y="560"/>
                  </a:lnTo>
                  <a:lnTo>
                    <a:pt x="150" y="557"/>
                  </a:lnTo>
                  <a:lnTo>
                    <a:pt x="152" y="557"/>
                  </a:lnTo>
                  <a:lnTo>
                    <a:pt x="148" y="555"/>
                  </a:lnTo>
                  <a:lnTo>
                    <a:pt x="150" y="557"/>
                  </a:lnTo>
                  <a:lnTo>
                    <a:pt x="148" y="557"/>
                  </a:lnTo>
                  <a:lnTo>
                    <a:pt x="143" y="552"/>
                  </a:lnTo>
                  <a:lnTo>
                    <a:pt x="147" y="552"/>
                  </a:lnTo>
                  <a:lnTo>
                    <a:pt x="140" y="545"/>
                  </a:lnTo>
                  <a:lnTo>
                    <a:pt x="143" y="545"/>
                  </a:lnTo>
                  <a:lnTo>
                    <a:pt x="147" y="550"/>
                  </a:lnTo>
                  <a:lnTo>
                    <a:pt x="145" y="545"/>
                  </a:lnTo>
                  <a:lnTo>
                    <a:pt x="150" y="550"/>
                  </a:lnTo>
                  <a:close/>
                  <a:moveTo>
                    <a:pt x="136" y="545"/>
                  </a:moveTo>
                  <a:lnTo>
                    <a:pt x="140" y="546"/>
                  </a:lnTo>
                  <a:lnTo>
                    <a:pt x="136" y="546"/>
                  </a:lnTo>
                  <a:lnTo>
                    <a:pt x="136" y="545"/>
                  </a:lnTo>
                  <a:close/>
                  <a:moveTo>
                    <a:pt x="123" y="541"/>
                  </a:moveTo>
                  <a:lnTo>
                    <a:pt x="126" y="541"/>
                  </a:lnTo>
                  <a:lnTo>
                    <a:pt x="126" y="543"/>
                  </a:lnTo>
                  <a:lnTo>
                    <a:pt x="123" y="543"/>
                  </a:lnTo>
                  <a:lnTo>
                    <a:pt x="123" y="541"/>
                  </a:lnTo>
                  <a:close/>
                  <a:moveTo>
                    <a:pt x="123" y="540"/>
                  </a:moveTo>
                  <a:lnTo>
                    <a:pt x="124" y="540"/>
                  </a:lnTo>
                  <a:lnTo>
                    <a:pt x="124" y="541"/>
                  </a:lnTo>
                  <a:lnTo>
                    <a:pt x="123" y="541"/>
                  </a:lnTo>
                  <a:lnTo>
                    <a:pt x="123" y="540"/>
                  </a:lnTo>
                  <a:close/>
                  <a:moveTo>
                    <a:pt x="123" y="536"/>
                  </a:moveTo>
                  <a:lnTo>
                    <a:pt x="128" y="538"/>
                  </a:lnTo>
                  <a:lnTo>
                    <a:pt x="130" y="541"/>
                  </a:lnTo>
                  <a:lnTo>
                    <a:pt x="126" y="541"/>
                  </a:lnTo>
                  <a:lnTo>
                    <a:pt x="126" y="540"/>
                  </a:lnTo>
                  <a:lnTo>
                    <a:pt x="123" y="538"/>
                  </a:lnTo>
                  <a:lnTo>
                    <a:pt x="123" y="536"/>
                  </a:lnTo>
                  <a:close/>
                  <a:moveTo>
                    <a:pt x="119" y="533"/>
                  </a:moveTo>
                  <a:lnTo>
                    <a:pt x="123" y="534"/>
                  </a:lnTo>
                  <a:lnTo>
                    <a:pt x="121" y="538"/>
                  </a:lnTo>
                  <a:lnTo>
                    <a:pt x="119" y="538"/>
                  </a:lnTo>
                  <a:lnTo>
                    <a:pt x="119" y="533"/>
                  </a:lnTo>
                  <a:close/>
                  <a:moveTo>
                    <a:pt x="140" y="531"/>
                  </a:moveTo>
                  <a:lnTo>
                    <a:pt x="142" y="533"/>
                  </a:lnTo>
                  <a:lnTo>
                    <a:pt x="138" y="533"/>
                  </a:lnTo>
                  <a:lnTo>
                    <a:pt x="140" y="531"/>
                  </a:lnTo>
                  <a:close/>
                  <a:moveTo>
                    <a:pt x="124" y="529"/>
                  </a:moveTo>
                  <a:lnTo>
                    <a:pt x="128" y="533"/>
                  </a:lnTo>
                  <a:lnTo>
                    <a:pt x="135" y="536"/>
                  </a:lnTo>
                  <a:lnTo>
                    <a:pt x="136" y="538"/>
                  </a:lnTo>
                  <a:lnTo>
                    <a:pt x="131" y="536"/>
                  </a:lnTo>
                  <a:lnTo>
                    <a:pt x="135" y="540"/>
                  </a:lnTo>
                  <a:lnTo>
                    <a:pt x="131" y="540"/>
                  </a:lnTo>
                  <a:lnTo>
                    <a:pt x="130" y="538"/>
                  </a:lnTo>
                  <a:lnTo>
                    <a:pt x="130" y="540"/>
                  </a:lnTo>
                  <a:lnTo>
                    <a:pt x="130" y="538"/>
                  </a:lnTo>
                  <a:lnTo>
                    <a:pt x="124" y="534"/>
                  </a:lnTo>
                  <a:lnTo>
                    <a:pt x="126" y="533"/>
                  </a:lnTo>
                  <a:lnTo>
                    <a:pt x="123" y="531"/>
                  </a:lnTo>
                  <a:lnTo>
                    <a:pt x="124" y="529"/>
                  </a:lnTo>
                  <a:close/>
                  <a:moveTo>
                    <a:pt x="140" y="529"/>
                  </a:moveTo>
                  <a:lnTo>
                    <a:pt x="142" y="529"/>
                  </a:lnTo>
                  <a:lnTo>
                    <a:pt x="142" y="531"/>
                  </a:lnTo>
                  <a:lnTo>
                    <a:pt x="140" y="531"/>
                  </a:lnTo>
                  <a:lnTo>
                    <a:pt x="140" y="529"/>
                  </a:lnTo>
                  <a:close/>
                  <a:moveTo>
                    <a:pt x="133" y="528"/>
                  </a:moveTo>
                  <a:lnTo>
                    <a:pt x="135" y="528"/>
                  </a:lnTo>
                  <a:lnTo>
                    <a:pt x="135" y="529"/>
                  </a:lnTo>
                  <a:lnTo>
                    <a:pt x="133" y="529"/>
                  </a:lnTo>
                  <a:lnTo>
                    <a:pt x="133" y="528"/>
                  </a:lnTo>
                  <a:close/>
                  <a:moveTo>
                    <a:pt x="136" y="526"/>
                  </a:moveTo>
                  <a:lnTo>
                    <a:pt x="138" y="526"/>
                  </a:lnTo>
                  <a:lnTo>
                    <a:pt x="138" y="528"/>
                  </a:lnTo>
                  <a:lnTo>
                    <a:pt x="136" y="528"/>
                  </a:lnTo>
                  <a:lnTo>
                    <a:pt x="136" y="526"/>
                  </a:lnTo>
                  <a:close/>
                  <a:moveTo>
                    <a:pt x="147" y="524"/>
                  </a:moveTo>
                  <a:lnTo>
                    <a:pt x="152" y="526"/>
                  </a:lnTo>
                  <a:lnTo>
                    <a:pt x="147" y="526"/>
                  </a:lnTo>
                  <a:lnTo>
                    <a:pt x="147" y="531"/>
                  </a:lnTo>
                  <a:lnTo>
                    <a:pt x="145" y="522"/>
                  </a:lnTo>
                  <a:lnTo>
                    <a:pt x="147" y="524"/>
                  </a:lnTo>
                  <a:close/>
                  <a:moveTo>
                    <a:pt x="133" y="521"/>
                  </a:moveTo>
                  <a:lnTo>
                    <a:pt x="131" y="522"/>
                  </a:lnTo>
                  <a:lnTo>
                    <a:pt x="130" y="522"/>
                  </a:lnTo>
                  <a:lnTo>
                    <a:pt x="133" y="521"/>
                  </a:lnTo>
                  <a:close/>
                  <a:moveTo>
                    <a:pt x="130" y="521"/>
                  </a:moveTo>
                  <a:lnTo>
                    <a:pt x="131" y="521"/>
                  </a:lnTo>
                  <a:lnTo>
                    <a:pt x="131" y="522"/>
                  </a:lnTo>
                  <a:lnTo>
                    <a:pt x="130" y="522"/>
                  </a:lnTo>
                  <a:lnTo>
                    <a:pt x="130" y="521"/>
                  </a:lnTo>
                  <a:close/>
                  <a:moveTo>
                    <a:pt x="131" y="517"/>
                  </a:moveTo>
                  <a:lnTo>
                    <a:pt x="135" y="517"/>
                  </a:lnTo>
                  <a:lnTo>
                    <a:pt x="135" y="519"/>
                  </a:lnTo>
                  <a:lnTo>
                    <a:pt x="131" y="519"/>
                  </a:lnTo>
                  <a:lnTo>
                    <a:pt x="131" y="517"/>
                  </a:lnTo>
                  <a:close/>
                  <a:moveTo>
                    <a:pt x="136" y="517"/>
                  </a:moveTo>
                  <a:lnTo>
                    <a:pt x="138" y="517"/>
                  </a:lnTo>
                  <a:lnTo>
                    <a:pt x="138" y="521"/>
                  </a:lnTo>
                  <a:lnTo>
                    <a:pt x="136" y="521"/>
                  </a:lnTo>
                  <a:lnTo>
                    <a:pt x="136" y="517"/>
                  </a:lnTo>
                  <a:close/>
                  <a:moveTo>
                    <a:pt x="128" y="516"/>
                  </a:moveTo>
                  <a:lnTo>
                    <a:pt x="130" y="516"/>
                  </a:lnTo>
                  <a:lnTo>
                    <a:pt x="130" y="517"/>
                  </a:lnTo>
                  <a:lnTo>
                    <a:pt x="128" y="517"/>
                  </a:lnTo>
                  <a:lnTo>
                    <a:pt x="128" y="516"/>
                  </a:lnTo>
                  <a:close/>
                  <a:moveTo>
                    <a:pt x="114" y="514"/>
                  </a:moveTo>
                  <a:lnTo>
                    <a:pt x="116" y="514"/>
                  </a:lnTo>
                  <a:lnTo>
                    <a:pt x="116" y="517"/>
                  </a:lnTo>
                  <a:lnTo>
                    <a:pt x="114" y="517"/>
                  </a:lnTo>
                  <a:lnTo>
                    <a:pt x="114" y="514"/>
                  </a:lnTo>
                  <a:close/>
                  <a:moveTo>
                    <a:pt x="118" y="512"/>
                  </a:moveTo>
                  <a:lnTo>
                    <a:pt x="119" y="517"/>
                  </a:lnTo>
                  <a:lnTo>
                    <a:pt x="118" y="512"/>
                  </a:lnTo>
                  <a:close/>
                  <a:moveTo>
                    <a:pt x="111" y="507"/>
                  </a:moveTo>
                  <a:lnTo>
                    <a:pt x="112" y="507"/>
                  </a:lnTo>
                  <a:lnTo>
                    <a:pt x="112" y="511"/>
                  </a:lnTo>
                  <a:lnTo>
                    <a:pt x="111" y="511"/>
                  </a:lnTo>
                  <a:lnTo>
                    <a:pt x="111" y="507"/>
                  </a:lnTo>
                  <a:close/>
                  <a:moveTo>
                    <a:pt x="36" y="511"/>
                  </a:moveTo>
                  <a:lnTo>
                    <a:pt x="39" y="514"/>
                  </a:lnTo>
                  <a:lnTo>
                    <a:pt x="37" y="516"/>
                  </a:lnTo>
                  <a:lnTo>
                    <a:pt x="36" y="516"/>
                  </a:lnTo>
                  <a:lnTo>
                    <a:pt x="32" y="509"/>
                  </a:lnTo>
                  <a:lnTo>
                    <a:pt x="32" y="507"/>
                  </a:lnTo>
                  <a:lnTo>
                    <a:pt x="36" y="511"/>
                  </a:lnTo>
                  <a:close/>
                  <a:moveTo>
                    <a:pt x="43" y="505"/>
                  </a:moveTo>
                  <a:lnTo>
                    <a:pt x="44" y="505"/>
                  </a:lnTo>
                  <a:lnTo>
                    <a:pt x="44" y="509"/>
                  </a:lnTo>
                  <a:lnTo>
                    <a:pt x="43" y="509"/>
                  </a:lnTo>
                  <a:lnTo>
                    <a:pt x="43" y="505"/>
                  </a:lnTo>
                  <a:close/>
                  <a:moveTo>
                    <a:pt x="107" y="502"/>
                  </a:moveTo>
                  <a:lnTo>
                    <a:pt x="111" y="505"/>
                  </a:lnTo>
                  <a:lnTo>
                    <a:pt x="107" y="505"/>
                  </a:lnTo>
                  <a:lnTo>
                    <a:pt x="107" y="509"/>
                  </a:lnTo>
                  <a:lnTo>
                    <a:pt x="106" y="504"/>
                  </a:lnTo>
                  <a:lnTo>
                    <a:pt x="107" y="502"/>
                  </a:lnTo>
                  <a:close/>
                  <a:moveTo>
                    <a:pt x="41" y="500"/>
                  </a:moveTo>
                  <a:lnTo>
                    <a:pt x="43" y="500"/>
                  </a:lnTo>
                  <a:lnTo>
                    <a:pt x="41" y="500"/>
                  </a:lnTo>
                  <a:lnTo>
                    <a:pt x="39" y="500"/>
                  </a:lnTo>
                  <a:lnTo>
                    <a:pt x="41" y="500"/>
                  </a:lnTo>
                  <a:close/>
                  <a:moveTo>
                    <a:pt x="46" y="499"/>
                  </a:moveTo>
                  <a:lnTo>
                    <a:pt x="48" y="500"/>
                  </a:lnTo>
                  <a:lnTo>
                    <a:pt x="46" y="502"/>
                  </a:lnTo>
                  <a:lnTo>
                    <a:pt x="44" y="500"/>
                  </a:lnTo>
                  <a:lnTo>
                    <a:pt x="44" y="499"/>
                  </a:lnTo>
                  <a:lnTo>
                    <a:pt x="46" y="499"/>
                  </a:lnTo>
                  <a:close/>
                  <a:moveTo>
                    <a:pt x="94" y="497"/>
                  </a:moveTo>
                  <a:lnTo>
                    <a:pt x="95" y="500"/>
                  </a:lnTo>
                  <a:lnTo>
                    <a:pt x="94" y="502"/>
                  </a:lnTo>
                  <a:lnTo>
                    <a:pt x="92" y="499"/>
                  </a:lnTo>
                  <a:lnTo>
                    <a:pt x="94" y="497"/>
                  </a:lnTo>
                  <a:close/>
                  <a:moveTo>
                    <a:pt x="444" y="497"/>
                  </a:moveTo>
                  <a:lnTo>
                    <a:pt x="445" y="497"/>
                  </a:lnTo>
                  <a:lnTo>
                    <a:pt x="445" y="500"/>
                  </a:lnTo>
                  <a:lnTo>
                    <a:pt x="444" y="500"/>
                  </a:lnTo>
                  <a:lnTo>
                    <a:pt x="444" y="497"/>
                  </a:lnTo>
                  <a:close/>
                  <a:moveTo>
                    <a:pt x="111" y="495"/>
                  </a:moveTo>
                  <a:lnTo>
                    <a:pt x="114" y="495"/>
                  </a:lnTo>
                  <a:lnTo>
                    <a:pt x="114" y="499"/>
                  </a:lnTo>
                  <a:lnTo>
                    <a:pt x="111" y="499"/>
                  </a:lnTo>
                  <a:lnTo>
                    <a:pt x="111" y="495"/>
                  </a:lnTo>
                  <a:close/>
                  <a:moveTo>
                    <a:pt x="121" y="492"/>
                  </a:moveTo>
                  <a:lnTo>
                    <a:pt x="123" y="492"/>
                  </a:lnTo>
                  <a:lnTo>
                    <a:pt x="123" y="495"/>
                  </a:lnTo>
                  <a:lnTo>
                    <a:pt x="121" y="495"/>
                  </a:lnTo>
                  <a:lnTo>
                    <a:pt x="121" y="492"/>
                  </a:lnTo>
                  <a:close/>
                  <a:moveTo>
                    <a:pt x="119" y="492"/>
                  </a:moveTo>
                  <a:lnTo>
                    <a:pt x="119" y="493"/>
                  </a:lnTo>
                  <a:lnTo>
                    <a:pt x="116" y="493"/>
                  </a:lnTo>
                  <a:lnTo>
                    <a:pt x="119" y="492"/>
                  </a:lnTo>
                  <a:close/>
                  <a:moveTo>
                    <a:pt x="25" y="492"/>
                  </a:moveTo>
                  <a:lnTo>
                    <a:pt x="22" y="500"/>
                  </a:lnTo>
                  <a:lnTo>
                    <a:pt x="19" y="500"/>
                  </a:lnTo>
                  <a:lnTo>
                    <a:pt x="22" y="493"/>
                  </a:lnTo>
                  <a:lnTo>
                    <a:pt x="25" y="492"/>
                  </a:lnTo>
                  <a:close/>
                  <a:moveTo>
                    <a:pt x="32" y="490"/>
                  </a:moveTo>
                  <a:lnTo>
                    <a:pt x="34" y="490"/>
                  </a:lnTo>
                  <a:lnTo>
                    <a:pt x="34" y="493"/>
                  </a:lnTo>
                  <a:lnTo>
                    <a:pt x="32" y="493"/>
                  </a:lnTo>
                  <a:lnTo>
                    <a:pt x="32" y="490"/>
                  </a:lnTo>
                  <a:close/>
                  <a:moveTo>
                    <a:pt x="121" y="490"/>
                  </a:moveTo>
                  <a:lnTo>
                    <a:pt x="124" y="490"/>
                  </a:lnTo>
                  <a:lnTo>
                    <a:pt x="124" y="493"/>
                  </a:lnTo>
                  <a:lnTo>
                    <a:pt x="121" y="493"/>
                  </a:lnTo>
                  <a:lnTo>
                    <a:pt x="121" y="490"/>
                  </a:lnTo>
                  <a:close/>
                  <a:moveTo>
                    <a:pt x="111" y="490"/>
                  </a:moveTo>
                  <a:lnTo>
                    <a:pt x="118" y="495"/>
                  </a:lnTo>
                  <a:lnTo>
                    <a:pt x="118" y="502"/>
                  </a:lnTo>
                  <a:lnTo>
                    <a:pt x="116" y="500"/>
                  </a:lnTo>
                  <a:lnTo>
                    <a:pt x="116" y="499"/>
                  </a:lnTo>
                  <a:lnTo>
                    <a:pt x="112" y="495"/>
                  </a:lnTo>
                  <a:lnTo>
                    <a:pt x="111" y="492"/>
                  </a:lnTo>
                  <a:lnTo>
                    <a:pt x="109" y="488"/>
                  </a:lnTo>
                  <a:lnTo>
                    <a:pt x="111" y="490"/>
                  </a:lnTo>
                  <a:close/>
                  <a:moveTo>
                    <a:pt x="53" y="487"/>
                  </a:moveTo>
                  <a:lnTo>
                    <a:pt x="51" y="488"/>
                  </a:lnTo>
                  <a:lnTo>
                    <a:pt x="53" y="492"/>
                  </a:lnTo>
                  <a:lnTo>
                    <a:pt x="48" y="490"/>
                  </a:lnTo>
                  <a:lnTo>
                    <a:pt x="46" y="487"/>
                  </a:lnTo>
                  <a:lnTo>
                    <a:pt x="53" y="487"/>
                  </a:lnTo>
                  <a:close/>
                  <a:moveTo>
                    <a:pt x="43" y="485"/>
                  </a:moveTo>
                  <a:lnTo>
                    <a:pt x="46" y="488"/>
                  </a:lnTo>
                  <a:lnTo>
                    <a:pt x="44" y="488"/>
                  </a:lnTo>
                  <a:lnTo>
                    <a:pt x="43" y="485"/>
                  </a:lnTo>
                  <a:close/>
                  <a:moveTo>
                    <a:pt x="31" y="485"/>
                  </a:moveTo>
                  <a:lnTo>
                    <a:pt x="32" y="485"/>
                  </a:lnTo>
                  <a:lnTo>
                    <a:pt x="32" y="488"/>
                  </a:lnTo>
                  <a:lnTo>
                    <a:pt x="31" y="488"/>
                  </a:lnTo>
                  <a:lnTo>
                    <a:pt x="31" y="485"/>
                  </a:lnTo>
                  <a:close/>
                  <a:moveTo>
                    <a:pt x="162" y="485"/>
                  </a:moveTo>
                  <a:lnTo>
                    <a:pt x="159" y="488"/>
                  </a:lnTo>
                  <a:lnTo>
                    <a:pt x="159" y="492"/>
                  </a:lnTo>
                  <a:lnTo>
                    <a:pt x="155" y="490"/>
                  </a:lnTo>
                  <a:lnTo>
                    <a:pt x="157" y="487"/>
                  </a:lnTo>
                  <a:lnTo>
                    <a:pt x="162" y="485"/>
                  </a:lnTo>
                  <a:close/>
                  <a:moveTo>
                    <a:pt x="49" y="485"/>
                  </a:moveTo>
                  <a:lnTo>
                    <a:pt x="53" y="485"/>
                  </a:lnTo>
                  <a:lnTo>
                    <a:pt x="49" y="485"/>
                  </a:lnTo>
                  <a:close/>
                  <a:moveTo>
                    <a:pt x="123" y="483"/>
                  </a:moveTo>
                  <a:lnTo>
                    <a:pt x="126" y="485"/>
                  </a:lnTo>
                  <a:lnTo>
                    <a:pt x="119" y="483"/>
                  </a:lnTo>
                  <a:lnTo>
                    <a:pt x="123" y="483"/>
                  </a:lnTo>
                  <a:close/>
                  <a:moveTo>
                    <a:pt x="167" y="483"/>
                  </a:moveTo>
                  <a:lnTo>
                    <a:pt x="174" y="485"/>
                  </a:lnTo>
                  <a:lnTo>
                    <a:pt x="176" y="487"/>
                  </a:lnTo>
                  <a:lnTo>
                    <a:pt x="172" y="488"/>
                  </a:lnTo>
                  <a:lnTo>
                    <a:pt x="169" y="485"/>
                  </a:lnTo>
                  <a:lnTo>
                    <a:pt x="167" y="487"/>
                  </a:lnTo>
                  <a:lnTo>
                    <a:pt x="167" y="483"/>
                  </a:lnTo>
                  <a:close/>
                  <a:moveTo>
                    <a:pt x="78" y="481"/>
                  </a:moveTo>
                  <a:lnTo>
                    <a:pt x="80" y="481"/>
                  </a:lnTo>
                  <a:lnTo>
                    <a:pt x="80" y="483"/>
                  </a:lnTo>
                  <a:lnTo>
                    <a:pt x="78" y="483"/>
                  </a:lnTo>
                  <a:lnTo>
                    <a:pt x="78" y="481"/>
                  </a:lnTo>
                  <a:close/>
                  <a:moveTo>
                    <a:pt x="66" y="480"/>
                  </a:moveTo>
                  <a:lnTo>
                    <a:pt x="68" y="480"/>
                  </a:lnTo>
                  <a:lnTo>
                    <a:pt x="68" y="481"/>
                  </a:lnTo>
                  <a:lnTo>
                    <a:pt x="66" y="481"/>
                  </a:lnTo>
                  <a:lnTo>
                    <a:pt x="66" y="480"/>
                  </a:lnTo>
                  <a:close/>
                  <a:moveTo>
                    <a:pt x="169" y="480"/>
                  </a:moveTo>
                  <a:lnTo>
                    <a:pt x="172" y="480"/>
                  </a:lnTo>
                  <a:lnTo>
                    <a:pt x="174" y="485"/>
                  </a:lnTo>
                  <a:lnTo>
                    <a:pt x="165" y="481"/>
                  </a:lnTo>
                  <a:lnTo>
                    <a:pt x="169" y="480"/>
                  </a:lnTo>
                  <a:close/>
                  <a:moveTo>
                    <a:pt x="155" y="480"/>
                  </a:moveTo>
                  <a:lnTo>
                    <a:pt x="160" y="480"/>
                  </a:lnTo>
                  <a:lnTo>
                    <a:pt x="153" y="485"/>
                  </a:lnTo>
                  <a:lnTo>
                    <a:pt x="153" y="483"/>
                  </a:lnTo>
                  <a:lnTo>
                    <a:pt x="153" y="481"/>
                  </a:lnTo>
                  <a:lnTo>
                    <a:pt x="153" y="480"/>
                  </a:lnTo>
                  <a:lnTo>
                    <a:pt x="155" y="480"/>
                  </a:lnTo>
                  <a:close/>
                  <a:moveTo>
                    <a:pt x="29" y="480"/>
                  </a:moveTo>
                  <a:lnTo>
                    <a:pt x="31" y="481"/>
                  </a:lnTo>
                  <a:lnTo>
                    <a:pt x="29" y="483"/>
                  </a:lnTo>
                  <a:lnTo>
                    <a:pt x="27" y="481"/>
                  </a:lnTo>
                  <a:lnTo>
                    <a:pt x="29" y="480"/>
                  </a:lnTo>
                  <a:close/>
                  <a:moveTo>
                    <a:pt x="150" y="480"/>
                  </a:moveTo>
                  <a:lnTo>
                    <a:pt x="152" y="480"/>
                  </a:lnTo>
                  <a:lnTo>
                    <a:pt x="153" y="481"/>
                  </a:lnTo>
                  <a:lnTo>
                    <a:pt x="148" y="481"/>
                  </a:lnTo>
                  <a:lnTo>
                    <a:pt x="145" y="485"/>
                  </a:lnTo>
                  <a:lnTo>
                    <a:pt x="145" y="481"/>
                  </a:lnTo>
                  <a:lnTo>
                    <a:pt x="150" y="480"/>
                  </a:lnTo>
                  <a:close/>
                  <a:moveTo>
                    <a:pt x="114" y="478"/>
                  </a:moveTo>
                  <a:lnTo>
                    <a:pt x="118" y="480"/>
                  </a:lnTo>
                  <a:lnTo>
                    <a:pt x="114" y="481"/>
                  </a:lnTo>
                  <a:lnTo>
                    <a:pt x="116" y="485"/>
                  </a:lnTo>
                  <a:lnTo>
                    <a:pt x="121" y="490"/>
                  </a:lnTo>
                  <a:lnTo>
                    <a:pt x="114" y="490"/>
                  </a:lnTo>
                  <a:lnTo>
                    <a:pt x="114" y="488"/>
                  </a:lnTo>
                  <a:lnTo>
                    <a:pt x="114" y="492"/>
                  </a:lnTo>
                  <a:lnTo>
                    <a:pt x="109" y="488"/>
                  </a:lnTo>
                  <a:lnTo>
                    <a:pt x="107" y="488"/>
                  </a:lnTo>
                  <a:lnTo>
                    <a:pt x="104" y="481"/>
                  </a:lnTo>
                  <a:lnTo>
                    <a:pt x="104" y="480"/>
                  </a:lnTo>
                  <a:lnTo>
                    <a:pt x="106" y="481"/>
                  </a:lnTo>
                  <a:lnTo>
                    <a:pt x="107" y="480"/>
                  </a:lnTo>
                  <a:lnTo>
                    <a:pt x="109" y="481"/>
                  </a:lnTo>
                  <a:lnTo>
                    <a:pt x="114" y="478"/>
                  </a:lnTo>
                  <a:close/>
                  <a:moveTo>
                    <a:pt x="102" y="480"/>
                  </a:moveTo>
                  <a:lnTo>
                    <a:pt x="101" y="476"/>
                  </a:lnTo>
                  <a:lnTo>
                    <a:pt x="101" y="478"/>
                  </a:lnTo>
                  <a:lnTo>
                    <a:pt x="102" y="480"/>
                  </a:lnTo>
                  <a:close/>
                  <a:moveTo>
                    <a:pt x="51" y="483"/>
                  </a:moveTo>
                  <a:lnTo>
                    <a:pt x="48" y="483"/>
                  </a:lnTo>
                  <a:lnTo>
                    <a:pt x="44" y="475"/>
                  </a:lnTo>
                  <a:lnTo>
                    <a:pt x="48" y="478"/>
                  </a:lnTo>
                  <a:lnTo>
                    <a:pt x="51" y="483"/>
                  </a:lnTo>
                  <a:close/>
                  <a:moveTo>
                    <a:pt x="157" y="475"/>
                  </a:moveTo>
                  <a:lnTo>
                    <a:pt x="159" y="475"/>
                  </a:lnTo>
                  <a:lnTo>
                    <a:pt x="159" y="476"/>
                  </a:lnTo>
                  <a:lnTo>
                    <a:pt x="157" y="476"/>
                  </a:lnTo>
                  <a:lnTo>
                    <a:pt x="157" y="475"/>
                  </a:lnTo>
                  <a:close/>
                  <a:moveTo>
                    <a:pt x="128" y="473"/>
                  </a:moveTo>
                  <a:lnTo>
                    <a:pt x="126" y="476"/>
                  </a:lnTo>
                  <a:lnTo>
                    <a:pt x="126" y="473"/>
                  </a:lnTo>
                  <a:lnTo>
                    <a:pt x="128" y="473"/>
                  </a:lnTo>
                  <a:close/>
                  <a:moveTo>
                    <a:pt x="48" y="471"/>
                  </a:moveTo>
                  <a:lnTo>
                    <a:pt x="48" y="475"/>
                  </a:lnTo>
                  <a:lnTo>
                    <a:pt x="48" y="471"/>
                  </a:lnTo>
                  <a:close/>
                  <a:moveTo>
                    <a:pt x="13" y="471"/>
                  </a:moveTo>
                  <a:lnTo>
                    <a:pt x="13" y="473"/>
                  </a:lnTo>
                  <a:lnTo>
                    <a:pt x="13" y="471"/>
                  </a:lnTo>
                  <a:close/>
                  <a:moveTo>
                    <a:pt x="164" y="476"/>
                  </a:moveTo>
                  <a:lnTo>
                    <a:pt x="159" y="478"/>
                  </a:lnTo>
                  <a:lnTo>
                    <a:pt x="160" y="476"/>
                  </a:lnTo>
                  <a:lnTo>
                    <a:pt x="160" y="470"/>
                  </a:lnTo>
                  <a:lnTo>
                    <a:pt x="164" y="473"/>
                  </a:lnTo>
                  <a:lnTo>
                    <a:pt x="164" y="476"/>
                  </a:lnTo>
                  <a:close/>
                  <a:moveTo>
                    <a:pt x="46" y="476"/>
                  </a:moveTo>
                  <a:lnTo>
                    <a:pt x="43" y="470"/>
                  </a:lnTo>
                  <a:lnTo>
                    <a:pt x="44" y="471"/>
                  </a:lnTo>
                  <a:lnTo>
                    <a:pt x="46" y="476"/>
                  </a:lnTo>
                  <a:close/>
                  <a:moveTo>
                    <a:pt x="19" y="471"/>
                  </a:moveTo>
                  <a:lnTo>
                    <a:pt x="24" y="473"/>
                  </a:lnTo>
                  <a:lnTo>
                    <a:pt x="27" y="478"/>
                  </a:lnTo>
                  <a:lnTo>
                    <a:pt x="27" y="483"/>
                  </a:lnTo>
                  <a:lnTo>
                    <a:pt x="20" y="476"/>
                  </a:lnTo>
                  <a:lnTo>
                    <a:pt x="13" y="473"/>
                  </a:lnTo>
                  <a:lnTo>
                    <a:pt x="13" y="468"/>
                  </a:lnTo>
                  <a:lnTo>
                    <a:pt x="19" y="471"/>
                  </a:lnTo>
                  <a:close/>
                  <a:moveTo>
                    <a:pt x="54" y="470"/>
                  </a:moveTo>
                  <a:lnTo>
                    <a:pt x="58" y="470"/>
                  </a:lnTo>
                  <a:lnTo>
                    <a:pt x="63" y="476"/>
                  </a:lnTo>
                  <a:lnTo>
                    <a:pt x="65" y="481"/>
                  </a:lnTo>
                  <a:lnTo>
                    <a:pt x="63" y="480"/>
                  </a:lnTo>
                  <a:lnTo>
                    <a:pt x="63" y="485"/>
                  </a:lnTo>
                  <a:lnTo>
                    <a:pt x="61" y="485"/>
                  </a:lnTo>
                  <a:lnTo>
                    <a:pt x="61" y="481"/>
                  </a:lnTo>
                  <a:lnTo>
                    <a:pt x="54" y="478"/>
                  </a:lnTo>
                  <a:lnTo>
                    <a:pt x="49" y="473"/>
                  </a:lnTo>
                  <a:lnTo>
                    <a:pt x="51" y="470"/>
                  </a:lnTo>
                  <a:lnTo>
                    <a:pt x="54" y="470"/>
                  </a:lnTo>
                  <a:close/>
                  <a:moveTo>
                    <a:pt x="138" y="470"/>
                  </a:moveTo>
                  <a:lnTo>
                    <a:pt x="142" y="470"/>
                  </a:lnTo>
                  <a:lnTo>
                    <a:pt x="140" y="471"/>
                  </a:lnTo>
                  <a:lnTo>
                    <a:pt x="133" y="470"/>
                  </a:lnTo>
                  <a:lnTo>
                    <a:pt x="138" y="470"/>
                  </a:lnTo>
                  <a:close/>
                  <a:moveTo>
                    <a:pt x="165" y="468"/>
                  </a:moveTo>
                  <a:lnTo>
                    <a:pt x="167" y="468"/>
                  </a:lnTo>
                  <a:lnTo>
                    <a:pt x="167" y="473"/>
                  </a:lnTo>
                  <a:lnTo>
                    <a:pt x="165" y="473"/>
                  </a:lnTo>
                  <a:lnTo>
                    <a:pt x="162" y="471"/>
                  </a:lnTo>
                  <a:lnTo>
                    <a:pt x="165" y="468"/>
                  </a:lnTo>
                  <a:close/>
                  <a:moveTo>
                    <a:pt x="509" y="471"/>
                  </a:moveTo>
                  <a:lnTo>
                    <a:pt x="509" y="468"/>
                  </a:lnTo>
                  <a:lnTo>
                    <a:pt x="509" y="471"/>
                  </a:lnTo>
                  <a:close/>
                  <a:moveTo>
                    <a:pt x="159" y="468"/>
                  </a:moveTo>
                  <a:lnTo>
                    <a:pt x="162" y="468"/>
                  </a:lnTo>
                  <a:lnTo>
                    <a:pt x="162" y="470"/>
                  </a:lnTo>
                  <a:lnTo>
                    <a:pt x="159" y="471"/>
                  </a:lnTo>
                  <a:lnTo>
                    <a:pt x="157" y="470"/>
                  </a:lnTo>
                  <a:lnTo>
                    <a:pt x="159" y="468"/>
                  </a:lnTo>
                  <a:close/>
                  <a:moveTo>
                    <a:pt x="10" y="468"/>
                  </a:moveTo>
                  <a:lnTo>
                    <a:pt x="12" y="470"/>
                  </a:lnTo>
                  <a:lnTo>
                    <a:pt x="12" y="471"/>
                  </a:lnTo>
                  <a:lnTo>
                    <a:pt x="13" y="473"/>
                  </a:lnTo>
                  <a:lnTo>
                    <a:pt x="20" y="478"/>
                  </a:lnTo>
                  <a:lnTo>
                    <a:pt x="25" y="483"/>
                  </a:lnTo>
                  <a:lnTo>
                    <a:pt x="24" y="488"/>
                  </a:lnTo>
                  <a:lnTo>
                    <a:pt x="20" y="493"/>
                  </a:lnTo>
                  <a:lnTo>
                    <a:pt x="19" y="499"/>
                  </a:lnTo>
                  <a:lnTo>
                    <a:pt x="12" y="497"/>
                  </a:lnTo>
                  <a:lnTo>
                    <a:pt x="12" y="493"/>
                  </a:lnTo>
                  <a:lnTo>
                    <a:pt x="7" y="485"/>
                  </a:lnTo>
                  <a:lnTo>
                    <a:pt x="5" y="478"/>
                  </a:lnTo>
                  <a:lnTo>
                    <a:pt x="5" y="475"/>
                  </a:lnTo>
                  <a:lnTo>
                    <a:pt x="8" y="471"/>
                  </a:lnTo>
                  <a:lnTo>
                    <a:pt x="8" y="468"/>
                  </a:lnTo>
                  <a:lnTo>
                    <a:pt x="10" y="468"/>
                  </a:lnTo>
                  <a:close/>
                  <a:moveTo>
                    <a:pt x="65" y="468"/>
                  </a:moveTo>
                  <a:lnTo>
                    <a:pt x="72" y="471"/>
                  </a:lnTo>
                  <a:lnTo>
                    <a:pt x="72" y="476"/>
                  </a:lnTo>
                  <a:lnTo>
                    <a:pt x="75" y="478"/>
                  </a:lnTo>
                  <a:lnTo>
                    <a:pt x="77" y="481"/>
                  </a:lnTo>
                  <a:lnTo>
                    <a:pt x="75" y="483"/>
                  </a:lnTo>
                  <a:lnTo>
                    <a:pt x="73" y="481"/>
                  </a:lnTo>
                  <a:lnTo>
                    <a:pt x="70" y="480"/>
                  </a:lnTo>
                  <a:lnTo>
                    <a:pt x="63" y="473"/>
                  </a:lnTo>
                  <a:lnTo>
                    <a:pt x="61" y="468"/>
                  </a:lnTo>
                  <a:lnTo>
                    <a:pt x="65" y="468"/>
                  </a:lnTo>
                  <a:close/>
                  <a:moveTo>
                    <a:pt x="53" y="466"/>
                  </a:moveTo>
                  <a:lnTo>
                    <a:pt x="56" y="466"/>
                  </a:lnTo>
                  <a:lnTo>
                    <a:pt x="56" y="470"/>
                  </a:lnTo>
                  <a:lnTo>
                    <a:pt x="53" y="470"/>
                  </a:lnTo>
                  <a:lnTo>
                    <a:pt x="53" y="466"/>
                  </a:lnTo>
                  <a:close/>
                  <a:moveTo>
                    <a:pt x="3" y="464"/>
                  </a:moveTo>
                  <a:lnTo>
                    <a:pt x="5" y="464"/>
                  </a:lnTo>
                  <a:lnTo>
                    <a:pt x="5" y="468"/>
                  </a:lnTo>
                  <a:lnTo>
                    <a:pt x="3" y="468"/>
                  </a:lnTo>
                  <a:lnTo>
                    <a:pt x="3" y="464"/>
                  </a:lnTo>
                  <a:close/>
                  <a:moveTo>
                    <a:pt x="89" y="464"/>
                  </a:moveTo>
                  <a:lnTo>
                    <a:pt x="90" y="464"/>
                  </a:lnTo>
                  <a:lnTo>
                    <a:pt x="90" y="468"/>
                  </a:lnTo>
                  <a:lnTo>
                    <a:pt x="89" y="468"/>
                  </a:lnTo>
                  <a:lnTo>
                    <a:pt x="89" y="464"/>
                  </a:lnTo>
                  <a:close/>
                  <a:moveTo>
                    <a:pt x="107" y="464"/>
                  </a:moveTo>
                  <a:lnTo>
                    <a:pt x="109" y="464"/>
                  </a:lnTo>
                  <a:lnTo>
                    <a:pt x="109" y="466"/>
                  </a:lnTo>
                  <a:lnTo>
                    <a:pt x="107" y="466"/>
                  </a:lnTo>
                  <a:lnTo>
                    <a:pt x="107" y="464"/>
                  </a:lnTo>
                  <a:close/>
                  <a:moveTo>
                    <a:pt x="77" y="464"/>
                  </a:moveTo>
                  <a:lnTo>
                    <a:pt x="80" y="464"/>
                  </a:lnTo>
                  <a:lnTo>
                    <a:pt x="80" y="466"/>
                  </a:lnTo>
                  <a:lnTo>
                    <a:pt x="77" y="466"/>
                  </a:lnTo>
                  <a:lnTo>
                    <a:pt x="77" y="464"/>
                  </a:lnTo>
                  <a:close/>
                  <a:moveTo>
                    <a:pt x="19" y="464"/>
                  </a:moveTo>
                  <a:lnTo>
                    <a:pt x="20" y="466"/>
                  </a:lnTo>
                  <a:lnTo>
                    <a:pt x="22" y="471"/>
                  </a:lnTo>
                  <a:lnTo>
                    <a:pt x="19" y="471"/>
                  </a:lnTo>
                  <a:lnTo>
                    <a:pt x="13" y="468"/>
                  </a:lnTo>
                  <a:lnTo>
                    <a:pt x="12" y="466"/>
                  </a:lnTo>
                  <a:lnTo>
                    <a:pt x="19" y="464"/>
                  </a:lnTo>
                  <a:close/>
                  <a:moveTo>
                    <a:pt x="27" y="471"/>
                  </a:moveTo>
                  <a:lnTo>
                    <a:pt x="24" y="471"/>
                  </a:lnTo>
                  <a:lnTo>
                    <a:pt x="22" y="463"/>
                  </a:lnTo>
                  <a:lnTo>
                    <a:pt x="25" y="464"/>
                  </a:lnTo>
                  <a:lnTo>
                    <a:pt x="27" y="471"/>
                  </a:lnTo>
                  <a:close/>
                  <a:moveTo>
                    <a:pt x="102" y="463"/>
                  </a:moveTo>
                  <a:lnTo>
                    <a:pt x="106" y="463"/>
                  </a:lnTo>
                  <a:lnTo>
                    <a:pt x="106" y="466"/>
                  </a:lnTo>
                  <a:lnTo>
                    <a:pt x="102" y="466"/>
                  </a:lnTo>
                  <a:lnTo>
                    <a:pt x="102" y="463"/>
                  </a:lnTo>
                  <a:close/>
                  <a:moveTo>
                    <a:pt x="171" y="461"/>
                  </a:moveTo>
                  <a:lnTo>
                    <a:pt x="174" y="461"/>
                  </a:lnTo>
                  <a:lnTo>
                    <a:pt x="174" y="464"/>
                  </a:lnTo>
                  <a:lnTo>
                    <a:pt x="171" y="464"/>
                  </a:lnTo>
                  <a:lnTo>
                    <a:pt x="171" y="461"/>
                  </a:lnTo>
                  <a:close/>
                  <a:moveTo>
                    <a:pt x="15" y="461"/>
                  </a:moveTo>
                  <a:lnTo>
                    <a:pt x="17" y="463"/>
                  </a:lnTo>
                  <a:lnTo>
                    <a:pt x="13" y="464"/>
                  </a:lnTo>
                  <a:lnTo>
                    <a:pt x="12" y="461"/>
                  </a:lnTo>
                  <a:lnTo>
                    <a:pt x="13" y="461"/>
                  </a:lnTo>
                  <a:lnTo>
                    <a:pt x="15" y="461"/>
                  </a:lnTo>
                  <a:close/>
                  <a:moveTo>
                    <a:pt x="97" y="459"/>
                  </a:moveTo>
                  <a:lnTo>
                    <a:pt x="99" y="463"/>
                  </a:lnTo>
                  <a:lnTo>
                    <a:pt x="101" y="461"/>
                  </a:lnTo>
                  <a:lnTo>
                    <a:pt x="102" y="464"/>
                  </a:lnTo>
                  <a:lnTo>
                    <a:pt x="102" y="468"/>
                  </a:lnTo>
                  <a:lnTo>
                    <a:pt x="104" y="466"/>
                  </a:lnTo>
                  <a:lnTo>
                    <a:pt x="104" y="471"/>
                  </a:lnTo>
                  <a:lnTo>
                    <a:pt x="106" y="468"/>
                  </a:lnTo>
                  <a:lnTo>
                    <a:pt x="106" y="471"/>
                  </a:lnTo>
                  <a:lnTo>
                    <a:pt x="109" y="470"/>
                  </a:lnTo>
                  <a:lnTo>
                    <a:pt x="112" y="470"/>
                  </a:lnTo>
                  <a:lnTo>
                    <a:pt x="112" y="471"/>
                  </a:lnTo>
                  <a:lnTo>
                    <a:pt x="116" y="471"/>
                  </a:lnTo>
                  <a:lnTo>
                    <a:pt x="112" y="476"/>
                  </a:lnTo>
                  <a:lnTo>
                    <a:pt x="107" y="478"/>
                  </a:lnTo>
                  <a:lnTo>
                    <a:pt x="106" y="481"/>
                  </a:lnTo>
                  <a:lnTo>
                    <a:pt x="101" y="471"/>
                  </a:lnTo>
                  <a:lnTo>
                    <a:pt x="99" y="471"/>
                  </a:lnTo>
                  <a:lnTo>
                    <a:pt x="97" y="470"/>
                  </a:lnTo>
                  <a:lnTo>
                    <a:pt x="95" y="470"/>
                  </a:lnTo>
                  <a:lnTo>
                    <a:pt x="95" y="463"/>
                  </a:lnTo>
                  <a:lnTo>
                    <a:pt x="94" y="459"/>
                  </a:lnTo>
                  <a:lnTo>
                    <a:pt x="95" y="461"/>
                  </a:lnTo>
                  <a:lnTo>
                    <a:pt x="97" y="459"/>
                  </a:lnTo>
                  <a:close/>
                  <a:moveTo>
                    <a:pt x="17" y="459"/>
                  </a:moveTo>
                  <a:lnTo>
                    <a:pt x="20" y="461"/>
                  </a:lnTo>
                  <a:lnTo>
                    <a:pt x="20" y="464"/>
                  </a:lnTo>
                  <a:lnTo>
                    <a:pt x="15" y="459"/>
                  </a:lnTo>
                  <a:lnTo>
                    <a:pt x="17" y="459"/>
                  </a:lnTo>
                  <a:close/>
                  <a:moveTo>
                    <a:pt x="500" y="459"/>
                  </a:moveTo>
                  <a:lnTo>
                    <a:pt x="500" y="461"/>
                  </a:lnTo>
                  <a:lnTo>
                    <a:pt x="500" y="459"/>
                  </a:lnTo>
                  <a:close/>
                  <a:moveTo>
                    <a:pt x="491" y="458"/>
                  </a:moveTo>
                  <a:lnTo>
                    <a:pt x="493" y="458"/>
                  </a:lnTo>
                  <a:lnTo>
                    <a:pt x="493" y="461"/>
                  </a:lnTo>
                  <a:lnTo>
                    <a:pt x="491" y="461"/>
                  </a:lnTo>
                  <a:lnTo>
                    <a:pt x="491" y="458"/>
                  </a:lnTo>
                  <a:close/>
                  <a:moveTo>
                    <a:pt x="90" y="459"/>
                  </a:moveTo>
                  <a:lnTo>
                    <a:pt x="94" y="461"/>
                  </a:lnTo>
                  <a:lnTo>
                    <a:pt x="92" y="464"/>
                  </a:lnTo>
                  <a:lnTo>
                    <a:pt x="89" y="463"/>
                  </a:lnTo>
                  <a:lnTo>
                    <a:pt x="89" y="459"/>
                  </a:lnTo>
                  <a:lnTo>
                    <a:pt x="90" y="459"/>
                  </a:lnTo>
                  <a:close/>
                  <a:moveTo>
                    <a:pt x="102" y="458"/>
                  </a:moveTo>
                  <a:lnTo>
                    <a:pt x="104" y="458"/>
                  </a:lnTo>
                  <a:lnTo>
                    <a:pt x="104" y="459"/>
                  </a:lnTo>
                  <a:lnTo>
                    <a:pt x="107" y="461"/>
                  </a:lnTo>
                  <a:lnTo>
                    <a:pt x="102" y="463"/>
                  </a:lnTo>
                  <a:lnTo>
                    <a:pt x="101" y="461"/>
                  </a:lnTo>
                  <a:lnTo>
                    <a:pt x="101" y="458"/>
                  </a:lnTo>
                  <a:lnTo>
                    <a:pt x="102" y="458"/>
                  </a:lnTo>
                  <a:close/>
                  <a:moveTo>
                    <a:pt x="83" y="461"/>
                  </a:moveTo>
                  <a:lnTo>
                    <a:pt x="82" y="461"/>
                  </a:lnTo>
                  <a:lnTo>
                    <a:pt x="82" y="458"/>
                  </a:lnTo>
                  <a:lnTo>
                    <a:pt x="83" y="461"/>
                  </a:lnTo>
                  <a:close/>
                  <a:moveTo>
                    <a:pt x="495" y="458"/>
                  </a:moveTo>
                  <a:lnTo>
                    <a:pt x="500" y="458"/>
                  </a:lnTo>
                  <a:lnTo>
                    <a:pt x="498" y="464"/>
                  </a:lnTo>
                  <a:lnTo>
                    <a:pt x="495" y="463"/>
                  </a:lnTo>
                  <a:lnTo>
                    <a:pt x="495" y="458"/>
                  </a:lnTo>
                  <a:close/>
                  <a:moveTo>
                    <a:pt x="95" y="456"/>
                  </a:moveTo>
                  <a:lnTo>
                    <a:pt x="99" y="456"/>
                  </a:lnTo>
                  <a:lnTo>
                    <a:pt x="99" y="459"/>
                  </a:lnTo>
                  <a:lnTo>
                    <a:pt x="95" y="459"/>
                  </a:lnTo>
                  <a:lnTo>
                    <a:pt x="95" y="456"/>
                  </a:lnTo>
                  <a:close/>
                  <a:moveTo>
                    <a:pt x="8" y="456"/>
                  </a:moveTo>
                  <a:lnTo>
                    <a:pt x="10" y="456"/>
                  </a:lnTo>
                  <a:lnTo>
                    <a:pt x="8" y="456"/>
                  </a:lnTo>
                  <a:close/>
                  <a:moveTo>
                    <a:pt x="112" y="454"/>
                  </a:moveTo>
                  <a:lnTo>
                    <a:pt x="114" y="456"/>
                  </a:lnTo>
                  <a:lnTo>
                    <a:pt x="114" y="458"/>
                  </a:lnTo>
                  <a:lnTo>
                    <a:pt x="111" y="458"/>
                  </a:lnTo>
                  <a:lnTo>
                    <a:pt x="112" y="454"/>
                  </a:lnTo>
                  <a:close/>
                  <a:moveTo>
                    <a:pt x="77" y="454"/>
                  </a:moveTo>
                  <a:lnTo>
                    <a:pt x="80" y="454"/>
                  </a:lnTo>
                  <a:lnTo>
                    <a:pt x="80" y="458"/>
                  </a:lnTo>
                  <a:lnTo>
                    <a:pt x="77" y="458"/>
                  </a:lnTo>
                  <a:lnTo>
                    <a:pt x="77" y="454"/>
                  </a:lnTo>
                  <a:close/>
                  <a:moveTo>
                    <a:pt x="490" y="454"/>
                  </a:moveTo>
                  <a:lnTo>
                    <a:pt x="490" y="456"/>
                  </a:lnTo>
                  <a:lnTo>
                    <a:pt x="490" y="454"/>
                  </a:lnTo>
                  <a:close/>
                  <a:moveTo>
                    <a:pt x="131" y="452"/>
                  </a:moveTo>
                  <a:lnTo>
                    <a:pt x="131" y="456"/>
                  </a:lnTo>
                  <a:lnTo>
                    <a:pt x="128" y="456"/>
                  </a:lnTo>
                  <a:lnTo>
                    <a:pt x="131" y="452"/>
                  </a:lnTo>
                  <a:close/>
                  <a:moveTo>
                    <a:pt x="95" y="452"/>
                  </a:moveTo>
                  <a:lnTo>
                    <a:pt x="97" y="452"/>
                  </a:lnTo>
                  <a:lnTo>
                    <a:pt x="97" y="454"/>
                  </a:lnTo>
                  <a:lnTo>
                    <a:pt x="95" y="454"/>
                  </a:lnTo>
                  <a:lnTo>
                    <a:pt x="95" y="452"/>
                  </a:lnTo>
                  <a:close/>
                  <a:moveTo>
                    <a:pt x="95" y="452"/>
                  </a:moveTo>
                  <a:lnTo>
                    <a:pt x="95" y="454"/>
                  </a:lnTo>
                  <a:lnTo>
                    <a:pt x="95" y="452"/>
                  </a:lnTo>
                  <a:close/>
                  <a:moveTo>
                    <a:pt x="507" y="451"/>
                  </a:moveTo>
                  <a:lnTo>
                    <a:pt x="515" y="454"/>
                  </a:lnTo>
                  <a:lnTo>
                    <a:pt x="509" y="461"/>
                  </a:lnTo>
                  <a:lnTo>
                    <a:pt x="509" y="458"/>
                  </a:lnTo>
                  <a:lnTo>
                    <a:pt x="512" y="456"/>
                  </a:lnTo>
                  <a:lnTo>
                    <a:pt x="510" y="456"/>
                  </a:lnTo>
                  <a:lnTo>
                    <a:pt x="512" y="454"/>
                  </a:lnTo>
                  <a:lnTo>
                    <a:pt x="509" y="458"/>
                  </a:lnTo>
                  <a:lnTo>
                    <a:pt x="509" y="456"/>
                  </a:lnTo>
                  <a:lnTo>
                    <a:pt x="507" y="456"/>
                  </a:lnTo>
                  <a:lnTo>
                    <a:pt x="507" y="451"/>
                  </a:lnTo>
                  <a:close/>
                  <a:moveTo>
                    <a:pt x="106" y="452"/>
                  </a:moveTo>
                  <a:lnTo>
                    <a:pt x="104" y="456"/>
                  </a:lnTo>
                  <a:lnTo>
                    <a:pt x="102" y="454"/>
                  </a:lnTo>
                  <a:lnTo>
                    <a:pt x="102" y="452"/>
                  </a:lnTo>
                  <a:lnTo>
                    <a:pt x="106" y="452"/>
                  </a:lnTo>
                  <a:close/>
                  <a:moveTo>
                    <a:pt x="177" y="451"/>
                  </a:moveTo>
                  <a:lnTo>
                    <a:pt x="186" y="452"/>
                  </a:lnTo>
                  <a:lnTo>
                    <a:pt x="186" y="458"/>
                  </a:lnTo>
                  <a:lnTo>
                    <a:pt x="184" y="459"/>
                  </a:lnTo>
                  <a:lnTo>
                    <a:pt x="181" y="459"/>
                  </a:lnTo>
                  <a:lnTo>
                    <a:pt x="182" y="458"/>
                  </a:lnTo>
                  <a:lnTo>
                    <a:pt x="179" y="454"/>
                  </a:lnTo>
                  <a:lnTo>
                    <a:pt x="177" y="451"/>
                  </a:lnTo>
                  <a:close/>
                  <a:moveTo>
                    <a:pt x="68" y="451"/>
                  </a:moveTo>
                  <a:lnTo>
                    <a:pt x="70" y="451"/>
                  </a:lnTo>
                  <a:lnTo>
                    <a:pt x="68" y="452"/>
                  </a:lnTo>
                  <a:lnTo>
                    <a:pt x="72" y="454"/>
                  </a:lnTo>
                  <a:lnTo>
                    <a:pt x="75" y="454"/>
                  </a:lnTo>
                  <a:lnTo>
                    <a:pt x="80" y="459"/>
                  </a:lnTo>
                  <a:lnTo>
                    <a:pt x="78" y="463"/>
                  </a:lnTo>
                  <a:lnTo>
                    <a:pt x="77" y="464"/>
                  </a:lnTo>
                  <a:lnTo>
                    <a:pt x="77" y="466"/>
                  </a:lnTo>
                  <a:lnTo>
                    <a:pt x="73" y="463"/>
                  </a:lnTo>
                  <a:lnTo>
                    <a:pt x="72" y="463"/>
                  </a:lnTo>
                  <a:lnTo>
                    <a:pt x="63" y="458"/>
                  </a:lnTo>
                  <a:lnTo>
                    <a:pt x="63" y="452"/>
                  </a:lnTo>
                  <a:lnTo>
                    <a:pt x="66" y="454"/>
                  </a:lnTo>
                  <a:lnTo>
                    <a:pt x="65" y="452"/>
                  </a:lnTo>
                  <a:lnTo>
                    <a:pt x="68" y="451"/>
                  </a:lnTo>
                  <a:close/>
                  <a:moveTo>
                    <a:pt x="72" y="451"/>
                  </a:moveTo>
                  <a:lnTo>
                    <a:pt x="73" y="452"/>
                  </a:lnTo>
                  <a:lnTo>
                    <a:pt x="72" y="454"/>
                  </a:lnTo>
                  <a:lnTo>
                    <a:pt x="70" y="451"/>
                  </a:lnTo>
                  <a:lnTo>
                    <a:pt x="72" y="451"/>
                  </a:lnTo>
                  <a:close/>
                  <a:moveTo>
                    <a:pt x="58" y="449"/>
                  </a:moveTo>
                  <a:lnTo>
                    <a:pt x="60" y="451"/>
                  </a:lnTo>
                  <a:lnTo>
                    <a:pt x="60" y="459"/>
                  </a:lnTo>
                  <a:lnTo>
                    <a:pt x="53" y="451"/>
                  </a:lnTo>
                  <a:lnTo>
                    <a:pt x="56" y="451"/>
                  </a:lnTo>
                  <a:lnTo>
                    <a:pt x="56" y="449"/>
                  </a:lnTo>
                  <a:lnTo>
                    <a:pt x="58" y="449"/>
                  </a:lnTo>
                  <a:close/>
                  <a:moveTo>
                    <a:pt x="72" y="447"/>
                  </a:moveTo>
                  <a:lnTo>
                    <a:pt x="72" y="451"/>
                  </a:lnTo>
                  <a:lnTo>
                    <a:pt x="72" y="447"/>
                  </a:lnTo>
                  <a:close/>
                  <a:moveTo>
                    <a:pt x="106" y="446"/>
                  </a:moveTo>
                  <a:lnTo>
                    <a:pt x="106" y="451"/>
                  </a:lnTo>
                  <a:lnTo>
                    <a:pt x="104" y="452"/>
                  </a:lnTo>
                  <a:lnTo>
                    <a:pt x="102" y="449"/>
                  </a:lnTo>
                  <a:lnTo>
                    <a:pt x="104" y="447"/>
                  </a:lnTo>
                  <a:lnTo>
                    <a:pt x="106" y="446"/>
                  </a:lnTo>
                  <a:close/>
                  <a:moveTo>
                    <a:pt x="65" y="446"/>
                  </a:moveTo>
                  <a:lnTo>
                    <a:pt x="70" y="449"/>
                  </a:lnTo>
                  <a:lnTo>
                    <a:pt x="65" y="451"/>
                  </a:lnTo>
                  <a:lnTo>
                    <a:pt x="63" y="447"/>
                  </a:lnTo>
                  <a:lnTo>
                    <a:pt x="65" y="446"/>
                  </a:lnTo>
                  <a:close/>
                  <a:moveTo>
                    <a:pt x="66" y="444"/>
                  </a:moveTo>
                  <a:lnTo>
                    <a:pt x="68" y="444"/>
                  </a:lnTo>
                  <a:lnTo>
                    <a:pt x="68" y="447"/>
                  </a:lnTo>
                  <a:lnTo>
                    <a:pt x="66" y="447"/>
                  </a:lnTo>
                  <a:lnTo>
                    <a:pt x="66" y="444"/>
                  </a:lnTo>
                  <a:close/>
                  <a:moveTo>
                    <a:pt x="58" y="442"/>
                  </a:moveTo>
                  <a:lnTo>
                    <a:pt x="61" y="442"/>
                  </a:lnTo>
                  <a:lnTo>
                    <a:pt x="61" y="444"/>
                  </a:lnTo>
                  <a:lnTo>
                    <a:pt x="58" y="444"/>
                  </a:lnTo>
                  <a:lnTo>
                    <a:pt x="58" y="442"/>
                  </a:lnTo>
                  <a:close/>
                  <a:moveTo>
                    <a:pt x="490" y="440"/>
                  </a:moveTo>
                  <a:lnTo>
                    <a:pt x="491" y="440"/>
                  </a:lnTo>
                  <a:lnTo>
                    <a:pt x="491" y="444"/>
                  </a:lnTo>
                  <a:lnTo>
                    <a:pt x="490" y="444"/>
                  </a:lnTo>
                  <a:lnTo>
                    <a:pt x="490" y="440"/>
                  </a:lnTo>
                  <a:close/>
                  <a:moveTo>
                    <a:pt x="10" y="440"/>
                  </a:moveTo>
                  <a:lnTo>
                    <a:pt x="10" y="444"/>
                  </a:lnTo>
                  <a:lnTo>
                    <a:pt x="12" y="447"/>
                  </a:lnTo>
                  <a:lnTo>
                    <a:pt x="15" y="449"/>
                  </a:lnTo>
                  <a:lnTo>
                    <a:pt x="17" y="456"/>
                  </a:lnTo>
                  <a:lnTo>
                    <a:pt x="12" y="456"/>
                  </a:lnTo>
                  <a:lnTo>
                    <a:pt x="8" y="454"/>
                  </a:lnTo>
                  <a:lnTo>
                    <a:pt x="5" y="454"/>
                  </a:lnTo>
                  <a:lnTo>
                    <a:pt x="2" y="449"/>
                  </a:lnTo>
                  <a:lnTo>
                    <a:pt x="2" y="447"/>
                  </a:lnTo>
                  <a:lnTo>
                    <a:pt x="2" y="444"/>
                  </a:lnTo>
                  <a:lnTo>
                    <a:pt x="3" y="440"/>
                  </a:lnTo>
                  <a:lnTo>
                    <a:pt x="7" y="439"/>
                  </a:lnTo>
                  <a:lnTo>
                    <a:pt x="8" y="440"/>
                  </a:lnTo>
                  <a:lnTo>
                    <a:pt x="8" y="439"/>
                  </a:lnTo>
                  <a:lnTo>
                    <a:pt x="10" y="440"/>
                  </a:lnTo>
                  <a:close/>
                  <a:moveTo>
                    <a:pt x="0" y="439"/>
                  </a:moveTo>
                  <a:lnTo>
                    <a:pt x="2" y="439"/>
                  </a:lnTo>
                  <a:lnTo>
                    <a:pt x="2" y="440"/>
                  </a:lnTo>
                  <a:lnTo>
                    <a:pt x="0" y="440"/>
                  </a:lnTo>
                  <a:lnTo>
                    <a:pt x="0" y="439"/>
                  </a:lnTo>
                  <a:close/>
                  <a:moveTo>
                    <a:pt x="68" y="437"/>
                  </a:moveTo>
                  <a:lnTo>
                    <a:pt x="72" y="437"/>
                  </a:lnTo>
                  <a:lnTo>
                    <a:pt x="68" y="437"/>
                  </a:lnTo>
                  <a:close/>
                  <a:moveTo>
                    <a:pt x="10" y="435"/>
                  </a:moveTo>
                  <a:lnTo>
                    <a:pt x="13" y="439"/>
                  </a:lnTo>
                  <a:lnTo>
                    <a:pt x="8" y="437"/>
                  </a:lnTo>
                  <a:lnTo>
                    <a:pt x="10" y="435"/>
                  </a:lnTo>
                  <a:close/>
                  <a:moveTo>
                    <a:pt x="95" y="432"/>
                  </a:moveTo>
                  <a:lnTo>
                    <a:pt x="102" y="437"/>
                  </a:lnTo>
                  <a:lnTo>
                    <a:pt x="101" y="444"/>
                  </a:lnTo>
                  <a:lnTo>
                    <a:pt x="101" y="451"/>
                  </a:lnTo>
                  <a:lnTo>
                    <a:pt x="97" y="451"/>
                  </a:lnTo>
                  <a:lnTo>
                    <a:pt x="95" y="444"/>
                  </a:lnTo>
                  <a:lnTo>
                    <a:pt x="95" y="447"/>
                  </a:lnTo>
                  <a:lnTo>
                    <a:pt x="92" y="447"/>
                  </a:lnTo>
                  <a:lnTo>
                    <a:pt x="94" y="444"/>
                  </a:lnTo>
                  <a:lnTo>
                    <a:pt x="92" y="446"/>
                  </a:lnTo>
                  <a:lnTo>
                    <a:pt x="89" y="444"/>
                  </a:lnTo>
                  <a:lnTo>
                    <a:pt x="87" y="446"/>
                  </a:lnTo>
                  <a:lnTo>
                    <a:pt x="89" y="447"/>
                  </a:lnTo>
                  <a:lnTo>
                    <a:pt x="92" y="447"/>
                  </a:lnTo>
                  <a:lnTo>
                    <a:pt x="90" y="447"/>
                  </a:lnTo>
                  <a:lnTo>
                    <a:pt x="90" y="451"/>
                  </a:lnTo>
                  <a:lnTo>
                    <a:pt x="92" y="449"/>
                  </a:lnTo>
                  <a:lnTo>
                    <a:pt x="95" y="449"/>
                  </a:lnTo>
                  <a:lnTo>
                    <a:pt x="95" y="451"/>
                  </a:lnTo>
                  <a:lnTo>
                    <a:pt x="94" y="452"/>
                  </a:lnTo>
                  <a:lnTo>
                    <a:pt x="95" y="458"/>
                  </a:lnTo>
                  <a:lnTo>
                    <a:pt x="92" y="454"/>
                  </a:lnTo>
                  <a:lnTo>
                    <a:pt x="92" y="456"/>
                  </a:lnTo>
                  <a:lnTo>
                    <a:pt x="89" y="454"/>
                  </a:lnTo>
                  <a:lnTo>
                    <a:pt x="87" y="454"/>
                  </a:lnTo>
                  <a:lnTo>
                    <a:pt x="89" y="454"/>
                  </a:lnTo>
                  <a:lnTo>
                    <a:pt x="89" y="458"/>
                  </a:lnTo>
                  <a:lnTo>
                    <a:pt x="85" y="456"/>
                  </a:lnTo>
                  <a:lnTo>
                    <a:pt x="82" y="452"/>
                  </a:lnTo>
                  <a:lnTo>
                    <a:pt x="77" y="454"/>
                  </a:lnTo>
                  <a:lnTo>
                    <a:pt x="73" y="451"/>
                  </a:lnTo>
                  <a:lnTo>
                    <a:pt x="70" y="444"/>
                  </a:lnTo>
                  <a:lnTo>
                    <a:pt x="73" y="442"/>
                  </a:lnTo>
                  <a:lnTo>
                    <a:pt x="75" y="446"/>
                  </a:lnTo>
                  <a:lnTo>
                    <a:pt x="77" y="444"/>
                  </a:lnTo>
                  <a:lnTo>
                    <a:pt x="73" y="437"/>
                  </a:lnTo>
                  <a:lnTo>
                    <a:pt x="78" y="437"/>
                  </a:lnTo>
                  <a:lnTo>
                    <a:pt x="80" y="439"/>
                  </a:lnTo>
                  <a:lnTo>
                    <a:pt x="83" y="440"/>
                  </a:lnTo>
                  <a:lnTo>
                    <a:pt x="82" y="437"/>
                  </a:lnTo>
                  <a:lnTo>
                    <a:pt x="83" y="437"/>
                  </a:lnTo>
                  <a:lnTo>
                    <a:pt x="83" y="434"/>
                  </a:lnTo>
                  <a:lnTo>
                    <a:pt x="85" y="432"/>
                  </a:lnTo>
                  <a:lnTo>
                    <a:pt x="87" y="434"/>
                  </a:lnTo>
                  <a:lnTo>
                    <a:pt x="90" y="435"/>
                  </a:lnTo>
                  <a:lnTo>
                    <a:pt x="89" y="439"/>
                  </a:lnTo>
                  <a:lnTo>
                    <a:pt x="92" y="440"/>
                  </a:lnTo>
                  <a:lnTo>
                    <a:pt x="94" y="437"/>
                  </a:lnTo>
                  <a:lnTo>
                    <a:pt x="95" y="437"/>
                  </a:lnTo>
                  <a:lnTo>
                    <a:pt x="92" y="435"/>
                  </a:lnTo>
                  <a:lnTo>
                    <a:pt x="92" y="432"/>
                  </a:lnTo>
                  <a:lnTo>
                    <a:pt x="95" y="432"/>
                  </a:lnTo>
                  <a:close/>
                  <a:moveTo>
                    <a:pt x="152" y="427"/>
                  </a:moveTo>
                  <a:lnTo>
                    <a:pt x="153" y="430"/>
                  </a:lnTo>
                  <a:lnTo>
                    <a:pt x="153" y="435"/>
                  </a:lnTo>
                  <a:lnTo>
                    <a:pt x="155" y="439"/>
                  </a:lnTo>
                  <a:lnTo>
                    <a:pt x="159" y="442"/>
                  </a:lnTo>
                  <a:lnTo>
                    <a:pt x="162" y="449"/>
                  </a:lnTo>
                  <a:lnTo>
                    <a:pt x="160" y="456"/>
                  </a:lnTo>
                  <a:lnTo>
                    <a:pt x="162" y="464"/>
                  </a:lnTo>
                  <a:lnTo>
                    <a:pt x="159" y="466"/>
                  </a:lnTo>
                  <a:lnTo>
                    <a:pt x="157" y="475"/>
                  </a:lnTo>
                  <a:lnTo>
                    <a:pt x="155" y="478"/>
                  </a:lnTo>
                  <a:lnTo>
                    <a:pt x="147" y="476"/>
                  </a:lnTo>
                  <a:lnTo>
                    <a:pt x="145" y="473"/>
                  </a:lnTo>
                  <a:lnTo>
                    <a:pt x="140" y="473"/>
                  </a:lnTo>
                  <a:lnTo>
                    <a:pt x="143" y="470"/>
                  </a:lnTo>
                  <a:lnTo>
                    <a:pt x="136" y="466"/>
                  </a:lnTo>
                  <a:lnTo>
                    <a:pt x="136" y="463"/>
                  </a:lnTo>
                  <a:lnTo>
                    <a:pt x="140" y="463"/>
                  </a:lnTo>
                  <a:lnTo>
                    <a:pt x="142" y="464"/>
                  </a:lnTo>
                  <a:lnTo>
                    <a:pt x="143" y="463"/>
                  </a:lnTo>
                  <a:lnTo>
                    <a:pt x="142" y="463"/>
                  </a:lnTo>
                  <a:lnTo>
                    <a:pt x="142" y="461"/>
                  </a:lnTo>
                  <a:lnTo>
                    <a:pt x="136" y="463"/>
                  </a:lnTo>
                  <a:lnTo>
                    <a:pt x="133" y="459"/>
                  </a:lnTo>
                  <a:lnTo>
                    <a:pt x="133" y="458"/>
                  </a:lnTo>
                  <a:lnTo>
                    <a:pt x="142" y="458"/>
                  </a:lnTo>
                  <a:lnTo>
                    <a:pt x="143" y="458"/>
                  </a:lnTo>
                  <a:lnTo>
                    <a:pt x="142" y="458"/>
                  </a:lnTo>
                  <a:lnTo>
                    <a:pt x="136" y="454"/>
                  </a:lnTo>
                  <a:lnTo>
                    <a:pt x="136" y="452"/>
                  </a:lnTo>
                  <a:lnTo>
                    <a:pt x="142" y="452"/>
                  </a:lnTo>
                  <a:lnTo>
                    <a:pt x="143" y="451"/>
                  </a:lnTo>
                  <a:lnTo>
                    <a:pt x="140" y="451"/>
                  </a:lnTo>
                  <a:lnTo>
                    <a:pt x="138" y="447"/>
                  </a:lnTo>
                  <a:lnTo>
                    <a:pt x="133" y="449"/>
                  </a:lnTo>
                  <a:lnTo>
                    <a:pt x="133" y="447"/>
                  </a:lnTo>
                  <a:lnTo>
                    <a:pt x="130" y="454"/>
                  </a:lnTo>
                  <a:lnTo>
                    <a:pt x="124" y="452"/>
                  </a:lnTo>
                  <a:lnTo>
                    <a:pt x="124" y="451"/>
                  </a:lnTo>
                  <a:lnTo>
                    <a:pt x="123" y="449"/>
                  </a:lnTo>
                  <a:lnTo>
                    <a:pt x="123" y="452"/>
                  </a:lnTo>
                  <a:lnTo>
                    <a:pt x="124" y="452"/>
                  </a:lnTo>
                  <a:lnTo>
                    <a:pt x="123" y="456"/>
                  </a:lnTo>
                  <a:lnTo>
                    <a:pt x="114" y="454"/>
                  </a:lnTo>
                  <a:lnTo>
                    <a:pt x="111" y="452"/>
                  </a:lnTo>
                  <a:lnTo>
                    <a:pt x="112" y="451"/>
                  </a:lnTo>
                  <a:lnTo>
                    <a:pt x="109" y="446"/>
                  </a:lnTo>
                  <a:lnTo>
                    <a:pt x="112" y="440"/>
                  </a:lnTo>
                  <a:lnTo>
                    <a:pt x="116" y="440"/>
                  </a:lnTo>
                  <a:lnTo>
                    <a:pt x="124" y="437"/>
                  </a:lnTo>
                  <a:lnTo>
                    <a:pt x="121" y="432"/>
                  </a:lnTo>
                  <a:lnTo>
                    <a:pt x="123" y="434"/>
                  </a:lnTo>
                  <a:lnTo>
                    <a:pt x="124" y="432"/>
                  </a:lnTo>
                  <a:lnTo>
                    <a:pt x="128" y="434"/>
                  </a:lnTo>
                  <a:lnTo>
                    <a:pt x="131" y="430"/>
                  </a:lnTo>
                  <a:lnTo>
                    <a:pt x="140" y="432"/>
                  </a:lnTo>
                  <a:lnTo>
                    <a:pt x="143" y="434"/>
                  </a:lnTo>
                  <a:lnTo>
                    <a:pt x="147" y="434"/>
                  </a:lnTo>
                  <a:lnTo>
                    <a:pt x="148" y="430"/>
                  </a:lnTo>
                  <a:lnTo>
                    <a:pt x="150" y="432"/>
                  </a:lnTo>
                  <a:lnTo>
                    <a:pt x="148" y="429"/>
                  </a:lnTo>
                  <a:lnTo>
                    <a:pt x="152" y="427"/>
                  </a:lnTo>
                  <a:close/>
                  <a:moveTo>
                    <a:pt x="693" y="324"/>
                  </a:moveTo>
                  <a:lnTo>
                    <a:pt x="695" y="324"/>
                  </a:lnTo>
                  <a:lnTo>
                    <a:pt x="695" y="328"/>
                  </a:lnTo>
                  <a:lnTo>
                    <a:pt x="693" y="328"/>
                  </a:lnTo>
                  <a:lnTo>
                    <a:pt x="693" y="324"/>
                  </a:lnTo>
                  <a:close/>
                  <a:moveTo>
                    <a:pt x="676" y="275"/>
                  </a:moveTo>
                  <a:lnTo>
                    <a:pt x="678" y="275"/>
                  </a:lnTo>
                  <a:lnTo>
                    <a:pt x="678" y="277"/>
                  </a:lnTo>
                  <a:lnTo>
                    <a:pt x="676" y="277"/>
                  </a:lnTo>
                  <a:lnTo>
                    <a:pt x="676" y="275"/>
                  </a:lnTo>
                  <a:close/>
                  <a:moveTo>
                    <a:pt x="683" y="268"/>
                  </a:moveTo>
                  <a:lnTo>
                    <a:pt x="689" y="271"/>
                  </a:lnTo>
                  <a:lnTo>
                    <a:pt x="696" y="271"/>
                  </a:lnTo>
                  <a:lnTo>
                    <a:pt x="696" y="275"/>
                  </a:lnTo>
                  <a:lnTo>
                    <a:pt x="693" y="277"/>
                  </a:lnTo>
                  <a:lnTo>
                    <a:pt x="688" y="275"/>
                  </a:lnTo>
                  <a:lnTo>
                    <a:pt x="688" y="277"/>
                  </a:lnTo>
                  <a:lnTo>
                    <a:pt x="684" y="277"/>
                  </a:lnTo>
                  <a:lnTo>
                    <a:pt x="683" y="275"/>
                  </a:lnTo>
                  <a:lnTo>
                    <a:pt x="686" y="273"/>
                  </a:lnTo>
                  <a:lnTo>
                    <a:pt x="683" y="271"/>
                  </a:lnTo>
                  <a:lnTo>
                    <a:pt x="679" y="273"/>
                  </a:lnTo>
                  <a:lnTo>
                    <a:pt x="679" y="271"/>
                  </a:lnTo>
                  <a:lnTo>
                    <a:pt x="679" y="268"/>
                  </a:lnTo>
                  <a:lnTo>
                    <a:pt x="683" y="268"/>
                  </a:lnTo>
                  <a:close/>
                  <a:moveTo>
                    <a:pt x="633" y="251"/>
                  </a:moveTo>
                  <a:lnTo>
                    <a:pt x="630" y="256"/>
                  </a:lnTo>
                  <a:lnTo>
                    <a:pt x="631" y="253"/>
                  </a:lnTo>
                  <a:lnTo>
                    <a:pt x="633" y="251"/>
                  </a:lnTo>
                  <a:close/>
                  <a:moveTo>
                    <a:pt x="345" y="244"/>
                  </a:moveTo>
                  <a:lnTo>
                    <a:pt x="346" y="244"/>
                  </a:lnTo>
                  <a:lnTo>
                    <a:pt x="346" y="246"/>
                  </a:lnTo>
                  <a:lnTo>
                    <a:pt x="345" y="246"/>
                  </a:lnTo>
                  <a:lnTo>
                    <a:pt x="345" y="244"/>
                  </a:lnTo>
                  <a:close/>
                  <a:moveTo>
                    <a:pt x="672" y="242"/>
                  </a:moveTo>
                  <a:lnTo>
                    <a:pt x="672" y="244"/>
                  </a:lnTo>
                  <a:lnTo>
                    <a:pt x="669" y="247"/>
                  </a:lnTo>
                  <a:lnTo>
                    <a:pt x="672" y="242"/>
                  </a:lnTo>
                  <a:close/>
                  <a:moveTo>
                    <a:pt x="348" y="237"/>
                  </a:moveTo>
                  <a:lnTo>
                    <a:pt x="350" y="239"/>
                  </a:lnTo>
                  <a:lnTo>
                    <a:pt x="353" y="242"/>
                  </a:lnTo>
                  <a:lnTo>
                    <a:pt x="351" y="244"/>
                  </a:lnTo>
                  <a:lnTo>
                    <a:pt x="353" y="244"/>
                  </a:lnTo>
                  <a:lnTo>
                    <a:pt x="351" y="246"/>
                  </a:lnTo>
                  <a:lnTo>
                    <a:pt x="353" y="247"/>
                  </a:lnTo>
                  <a:lnTo>
                    <a:pt x="346" y="244"/>
                  </a:lnTo>
                  <a:lnTo>
                    <a:pt x="350" y="242"/>
                  </a:lnTo>
                  <a:lnTo>
                    <a:pt x="346" y="239"/>
                  </a:lnTo>
                  <a:lnTo>
                    <a:pt x="348" y="237"/>
                  </a:lnTo>
                  <a:close/>
                  <a:moveTo>
                    <a:pt x="338" y="222"/>
                  </a:moveTo>
                  <a:lnTo>
                    <a:pt x="341" y="225"/>
                  </a:lnTo>
                  <a:lnTo>
                    <a:pt x="336" y="224"/>
                  </a:lnTo>
                  <a:lnTo>
                    <a:pt x="338" y="222"/>
                  </a:lnTo>
                  <a:close/>
                  <a:moveTo>
                    <a:pt x="666" y="213"/>
                  </a:moveTo>
                  <a:lnTo>
                    <a:pt x="669" y="215"/>
                  </a:lnTo>
                  <a:lnTo>
                    <a:pt x="667" y="222"/>
                  </a:lnTo>
                  <a:lnTo>
                    <a:pt x="669" y="222"/>
                  </a:lnTo>
                  <a:lnTo>
                    <a:pt x="669" y="229"/>
                  </a:lnTo>
                  <a:lnTo>
                    <a:pt x="660" y="234"/>
                  </a:lnTo>
                  <a:lnTo>
                    <a:pt x="657" y="230"/>
                  </a:lnTo>
                  <a:lnTo>
                    <a:pt x="655" y="229"/>
                  </a:lnTo>
                  <a:lnTo>
                    <a:pt x="662" y="222"/>
                  </a:lnTo>
                  <a:lnTo>
                    <a:pt x="664" y="215"/>
                  </a:lnTo>
                  <a:lnTo>
                    <a:pt x="666" y="213"/>
                  </a:lnTo>
                  <a:close/>
                  <a:moveTo>
                    <a:pt x="538" y="213"/>
                  </a:moveTo>
                  <a:lnTo>
                    <a:pt x="539" y="213"/>
                  </a:lnTo>
                  <a:lnTo>
                    <a:pt x="539" y="217"/>
                  </a:lnTo>
                  <a:lnTo>
                    <a:pt x="534" y="218"/>
                  </a:lnTo>
                  <a:lnTo>
                    <a:pt x="532" y="215"/>
                  </a:lnTo>
                  <a:lnTo>
                    <a:pt x="538" y="213"/>
                  </a:lnTo>
                  <a:close/>
                  <a:moveTo>
                    <a:pt x="370" y="210"/>
                  </a:moveTo>
                  <a:lnTo>
                    <a:pt x="372" y="210"/>
                  </a:lnTo>
                  <a:lnTo>
                    <a:pt x="372" y="213"/>
                  </a:lnTo>
                  <a:lnTo>
                    <a:pt x="370" y="213"/>
                  </a:lnTo>
                  <a:lnTo>
                    <a:pt x="370" y="210"/>
                  </a:lnTo>
                  <a:close/>
                  <a:moveTo>
                    <a:pt x="316" y="210"/>
                  </a:moveTo>
                  <a:lnTo>
                    <a:pt x="317" y="210"/>
                  </a:lnTo>
                  <a:lnTo>
                    <a:pt x="317" y="213"/>
                  </a:lnTo>
                  <a:lnTo>
                    <a:pt x="316" y="213"/>
                  </a:lnTo>
                  <a:lnTo>
                    <a:pt x="316" y="210"/>
                  </a:lnTo>
                  <a:close/>
                  <a:moveTo>
                    <a:pt x="664" y="208"/>
                  </a:moveTo>
                  <a:lnTo>
                    <a:pt x="666" y="210"/>
                  </a:lnTo>
                  <a:lnTo>
                    <a:pt x="666" y="213"/>
                  </a:lnTo>
                  <a:lnTo>
                    <a:pt x="664" y="213"/>
                  </a:lnTo>
                  <a:lnTo>
                    <a:pt x="664" y="212"/>
                  </a:lnTo>
                  <a:lnTo>
                    <a:pt x="662" y="210"/>
                  </a:lnTo>
                  <a:lnTo>
                    <a:pt x="664" y="208"/>
                  </a:lnTo>
                  <a:close/>
                  <a:moveTo>
                    <a:pt x="287" y="208"/>
                  </a:moveTo>
                  <a:lnTo>
                    <a:pt x="290" y="212"/>
                  </a:lnTo>
                  <a:lnTo>
                    <a:pt x="292" y="208"/>
                  </a:lnTo>
                  <a:lnTo>
                    <a:pt x="290" y="215"/>
                  </a:lnTo>
                  <a:lnTo>
                    <a:pt x="292" y="218"/>
                  </a:lnTo>
                  <a:lnTo>
                    <a:pt x="295" y="217"/>
                  </a:lnTo>
                  <a:lnTo>
                    <a:pt x="297" y="218"/>
                  </a:lnTo>
                  <a:lnTo>
                    <a:pt x="299" y="215"/>
                  </a:lnTo>
                  <a:lnTo>
                    <a:pt x="305" y="217"/>
                  </a:lnTo>
                  <a:lnTo>
                    <a:pt x="304" y="217"/>
                  </a:lnTo>
                  <a:lnTo>
                    <a:pt x="305" y="220"/>
                  </a:lnTo>
                  <a:lnTo>
                    <a:pt x="302" y="218"/>
                  </a:lnTo>
                  <a:lnTo>
                    <a:pt x="300" y="222"/>
                  </a:lnTo>
                  <a:lnTo>
                    <a:pt x="302" y="225"/>
                  </a:lnTo>
                  <a:lnTo>
                    <a:pt x="299" y="225"/>
                  </a:lnTo>
                  <a:lnTo>
                    <a:pt x="302" y="229"/>
                  </a:lnTo>
                  <a:lnTo>
                    <a:pt x="299" y="229"/>
                  </a:lnTo>
                  <a:lnTo>
                    <a:pt x="297" y="225"/>
                  </a:lnTo>
                  <a:lnTo>
                    <a:pt x="295" y="227"/>
                  </a:lnTo>
                  <a:lnTo>
                    <a:pt x="295" y="230"/>
                  </a:lnTo>
                  <a:lnTo>
                    <a:pt x="290" y="230"/>
                  </a:lnTo>
                  <a:lnTo>
                    <a:pt x="292" y="232"/>
                  </a:lnTo>
                  <a:lnTo>
                    <a:pt x="293" y="232"/>
                  </a:lnTo>
                  <a:lnTo>
                    <a:pt x="295" y="234"/>
                  </a:lnTo>
                  <a:lnTo>
                    <a:pt x="292" y="237"/>
                  </a:lnTo>
                  <a:lnTo>
                    <a:pt x="292" y="236"/>
                  </a:lnTo>
                  <a:lnTo>
                    <a:pt x="292" y="237"/>
                  </a:lnTo>
                  <a:lnTo>
                    <a:pt x="287" y="232"/>
                  </a:lnTo>
                  <a:lnTo>
                    <a:pt x="288" y="224"/>
                  </a:lnTo>
                  <a:lnTo>
                    <a:pt x="287" y="224"/>
                  </a:lnTo>
                  <a:lnTo>
                    <a:pt x="288" y="222"/>
                  </a:lnTo>
                  <a:lnTo>
                    <a:pt x="288" y="217"/>
                  </a:lnTo>
                  <a:lnTo>
                    <a:pt x="283" y="213"/>
                  </a:lnTo>
                  <a:lnTo>
                    <a:pt x="287" y="215"/>
                  </a:lnTo>
                  <a:lnTo>
                    <a:pt x="288" y="212"/>
                  </a:lnTo>
                  <a:lnTo>
                    <a:pt x="287" y="208"/>
                  </a:lnTo>
                  <a:close/>
                  <a:moveTo>
                    <a:pt x="321" y="205"/>
                  </a:moveTo>
                  <a:lnTo>
                    <a:pt x="322" y="207"/>
                  </a:lnTo>
                  <a:lnTo>
                    <a:pt x="321" y="213"/>
                  </a:lnTo>
                  <a:lnTo>
                    <a:pt x="319" y="210"/>
                  </a:lnTo>
                  <a:lnTo>
                    <a:pt x="321" y="205"/>
                  </a:lnTo>
                  <a:close/>
                  <a:moveTo>
                    <a:pt x="316" y="205"/>
                  </a:moveTo>
                  <a:lnTo>
                    <a:pt x="317" y="205"/>
                  </a:lnTo>
                  <a:lnTo>
                    <a:pt x="317" y="207"/>
                  </a:lnTo>
                  <a:lnTo>
                    <a:pt x="316" y="207"/>
                  </a:lnTo>
                  <a:lnTo>
                    <a:pt x="316" y="205"/>
                  </a:lnTo>
                  <a:close/>
                  <a:moveTo>
                    <a:pt x="273" y="203"/>
                  </a:moveTo>
                  <a:lnTo>
                    <a:pt x="276" y="203"/>
                  </a:lnTo>
                  <a:lnTo>
                    <a:pt x="276" y="205"/>
                  </a:lnTo>
                  <a:lnTo>
                    <a:pt x="273" y="205"/>
                  </a:lnTo>
                  <a:lnTo>
                    <a:pt x="273" y="203"/>
                  </a:lnTo>
                  <a:close/>
                  <a:moveTo>
                    <a:pt x="365" y="205"/>
                  </a:moveTo>
                  <a:lnTo>
                    <a:pt x="365" y="210"/>
                  </a:lnTo>
                  <a:lnTo>
                    <a:pt x="363" y="208"/>
                  </a:lnTo>
                  <a:lnTo>
                    <a:pt x="363" y="205"/>
                  </a:lnTo>
                  <a:lnTo>
                    <a:pt x="365" y="203"/>
                  </a:lnTo>
                  <a:lnTo>
                    <a:pt x="365" y="205"/>
                  </a:lnTo>
                  <a:close/>
                  <a:moveTo>
                    <a:pt x="287" y="203"/>
                  </a:moveTo>
                  <a:lnTo>
                    <a:pt x="292" y="205"/>
                  </a:lnTo>
                  <a:lnTo>
                    <a:pt x="288" y="207"/>
                  </a:lnTo>
                  <a:lnTo>
                    <a:pt x="287" y="203"/>
                  </a:lnTo>
                  <a:close/>
                  <a:moveTo>
                    <a:pt x="281" y="201"/>
                  </a:moveTo>
                  <a:lnTo>
                    <a:pt x="283" y="205"/>
                  </a:lnTo>
                  <a:lnTo>
                    <a:pt x="280" y="205"/>
                  </a:lnTo>
                  <a:lnTo>
                    <a:pt x="280" y="201"/>
                  </a:lnTo>
                  <a:lnTo>
                    <a:pt x="281" y="201"/>
                  </a:lnTo>
                  <a:close/>
                  <a:moveTo>
                    <a:pt x="370" y="200"/>
                  </a:moveTo>
                  <a:lnTo>
                    <a:pt x="370" y="203"/>
                  </a:lnTo>
                  <a:lnTo>
                    <a:pt x="370" y="200"/>
                  </a:lnTo>
                  <a:close/>
                  <a:moveTo>
                    <a:pt x="336" y="198"/>
                  </a:moveTo>
                  <a:lnTo>
                    <a:pt x="338" y="198"/>
                  </a:lnTo>
                  <a:lnTo>
                    <a:pt x="338" y="201"/>
                  </a:lnTo>
                  <a:lnTo>
                    <a:pt x="336" y="201"/>
                  </a:lnTo>
                  <a:lnTo>
                    <a:pt x="336" y="198"/>
                  </a:lnTo>
                  <a:close/>
                  <a:moveTo>
                    <a:pt x="369" y="196"/>
                  </a:moveTo>
                  <a:lnTo>
                    <a:pt x="370" y="196"/>
                  </a:lnTo>
                  <a:lnTo>
                    <a:pt x="370" y="198"/>
                  </a:lnTo>
                  <a:lnTo>
                    <a:pt x="369" y="198"/>
                  </a:lnTo>
                  <a:lnTo>
                    <a:pt x="369" y="196"/>
                  </a:lnTo>
                  <a:close/>
                  <a:moveTo>
                    <a:pt x="374" y="198"/>
                  </a:moveTo>
                  <a:lnTo>
                    <a:pt x="374" y="196"/>
                  </a:lnTo>
                  <a:lnTo>
                    <a:pt x="375" y="200"/>
                  </a:lnTo>
                  <a:lnTo>
                    <a:pt x="372" y="200"/>
                  </a:lnTo>
                  <a:lnTo>
                    <a:pt x="374" y="198"/>
                  </a:lnTo>
                  <a:close/>
                  <a:moveTo>
                    <a:pt x="333" y="196"/>
                  </a:moveTo>
                  <a:lnTo>
                    <a:pt x="334" y="198"/>
                  </a:lnTo>
                  <a:lnTo>
                    <a:pt x="333" y="200"/>
                  </a:lnTo>
                  <a:lnTo>
                    <a:pt x="331" y="198"/>
                  </a:lnTo>
                  <a:lnTo>
                    <a:pt x="333" y="196"/>
                  </a:lnTo>
                  <a:close/>
                  <a:moveTo>
                    <a:pt x="360" y="196"/>
                  </a:moveTo>
                  <a:lnTo>
                    <a:pt x="360" y="200"/>
                  </a:lnTo>
                  <a:lnTo>
                    <a:pt x="363" y="196"/>
                  </a:lnTo>
                  <a:lnTo>
                    <a:pt x="362" y="198"/>
                  </a:lnTo>
                  <a:lnTo>
                    <a:pt x="363" y="196"/>
                  </a:lnTo>
                  <a:lnTo>
                    <a:pt x="363" y="200"/>
                  </a:lnTo>
                  <a:lnTo>
                    <a:pt x="362" y="201"/>
                  </a:lnTo>
                  <a:lnTo>
                    <a:pt x="362" y="200"/>
                  </a:lnTo>
                  <a:lnTo>
                    <a:pt x="360" y="205"/>
                  </a:lnTo>
                  <a:lnTo>
                    <a:pt x="360" y="201"/>
                  </a:lnTo>
                  <a:lnTo>
                    <a:pt x="358" y="200"/>
                  </a:lnTo>
                  <a:lnTo>
                    <a:pt x="358" y="203"/>
                  </a:lnTo>
                  <a:lnTo>
                    <a:pt x="357" y="200"/>
                  </a:lnTo>
                  <a:lnTo>
                    <a:pt x="360" y="195"/>
                  </a:lnTo>
                  <a:lnTo>
                    <a:pt x="360" y="196"/>
                  </a:lnTo>
                  <a:close/>
                  <a:moveTo>
                    <a:pt x="367" y="196"/>
                  </a:moveTo>
                  <a:lnTo>
                    <a:pt x="367" y="195"/>
                  </a:lnTo>
                  <a:lnTo>
                    <a:pt x="367" y="193"/>
                  </a:lnTo>
                  <a:lnTo>
                    <a:pt x="367" y="196"/>
                  </a:lnTo>
                  <a:close/>
                  <a:moveTo>
                    <a:pt x="375" y="191"/>
                  </a:moveTo>
                  <a:lnTo>
                    <a:pt x="377" y="191"/>
                  </a:lnTo>
                  <a:lnTo>
                    <a:pt x="377" y="195"/>
                  </a:lnTo>
                  <a:lnTo>
                    <a:pt x="375" y="195"/>
                  </a:lnTo>
                  <a:lnTo>
                    <a:pt x="375" y="191"/>
                  </a:lnTo>
                  <a:close/>
                  <a:moveTo>
                    <a:pt x="358" y="191"/>
                  </a:moveTo>
                  <a:lnTo>
                    <a:pt x="360" y="191"/>
                  </a:lnTo>
                  <a:lnTo>
                    <a:pt x="360" y="193"/>
                  </a:lnTo>
                  <a:lnTo>
                    <a:pt x="358" y="193"/>
                  </a:lnTo>
                  <a:lnTo>
                    <a:pt x="358" y="191"/>
                  </a:lnTo>
                  <a:close/>
                  <a:moveTo>
                    <a:pt x="381" y="189"/>
                  </a:moveTo>
                  <a:lnTo>
                    <a:pt x="382" y="189"/>
                  </a:lnTo>
                  <a:lnTo>
                    <a:pt x="382" y="193"/>
                  </a:lnTo>
                  <a:lnTo>
                    <a:pt x="381" y="193"/>
                  </a:lnTo>
                  <a:lnTo>
                    <a:pt x="381" y="189"/>
                  </a:lnTo>
                  <a:close/>
                  <a:moveTo>
                    <a:pt x="351" y="188"/>
                  </a:moveTo>
                  <a:lnTo>
                    <a:pt x="357" y="191"/>
                  </a:lnTo>
                  <a:lnTo>
                    <a:pt x="357" y="195"/>
                  </a:lnTo>
                  <a:lnTo>
                    <a:pt x="357" y="193"/>
                  </a:lnTo>
                  <a:lnTo>
                    <a:pt x="355" y="201"/>
                  </a:lnTo>
                  <a:lnTo>
                    <a:pt x="357" y="201"/>
                  </a:lnTo>
                  <a:lnTo>
                    <a:pt x="358" y="203"/>
                  </a:lnTo>
                  <a:lnTo>
                    <a:pt x="357" y="207"/>
                  </a:lnTo>
                  <a:lnTo>
                    <a:pt x="353" y="201"/>
                  </a:lnTo>
                  <a:lnTo>
                    <a:pt x="351" y="203"/>
                  </a:lnTo>
                  <a:lnTo>
                    <a:pt x="350" y="200"/>
                  </a:lnTo>
                  <a:lnTo>
                    <a:pt x="348" y="201"/>
                  </a:lnTo>
                  <a:lnTo>
                    <a:pt x="348" y="198"/>
                  </a:lnTo>
                  <a:lnTo>
                    <a:pt x="348" y="193"/>
                  </a:lnTo>
                  <a:lnTo>
                    <a:pt x="346" y="188"/>
                  </a:lnTo>
                  <a:lnTo>
                    <a:pt x="350" y="189"/>
                  </a:lnTo>
                  <a:lnTo>
                    <a:pt x="350" y="186"/>
                  </a:lnTo>
                  <a:lnTo>
                    <a:pt x="351" y="188"/>
                  </a:lnTo>
                  <a:close/>
                  <a:moveTo>
                    <a:pt x="375" y="184"/>
                  </a:moveTo>
                  <a:lnTo>
                    <a:pt x="377" y="184"/>
                  </a:lnTo>
                  <a:lnTo>
                    <a:pt x="377" y="188"/>
                  </a:lnTo>
                  <a:lnTo>
                    <a:pt x="375" y="188"/>
                  </a:lnTo>
                  <a:lnTo>
                    <a:pt x="375" y="184"/>
                  </a:lnTo>
                  <a:close/>
                  <a:moveTo>
                    <a:pt x="358" y="186"/>
                  </a:moveTo>
                  <a:lnTo>
                    <a:pt x="358" y="181"/>
                  </a:lnTo>
                  <a:lnTo>
                    <a:pt x="360" y="184"/>
                  </a:lnTo>
                  <a:lnTo>
                    <a:pt x="358" y="186"/>
                  </a:lnTo>
                  <a:close/>
                  <a:moveTo>
                    <a:pt x="358" y="181"/>
                  </a:moveTo>
                  <a:lnTo>
                    <a:pt x="360" y="181"/>
                  </a:lnTo>
                  <a:lnTo>
                    <a:pt x="360" y="183"/>
                  </a:lnTo>
                  <a:lnTo>
                    <a:pt x="358" y="183"/>
                  </a:lnTo>
                  <a:lnTo>
                    <a:pt x="358" y="181"/>
                  </a:lnTo>
                  <a:close/>
                  <a:moveTo>
                    <a:pt x="372" y="179"/>
                  </a:moveTo>
                  <a:lnTo>
                    <a:pt x="372" y="183"/>
                  </a:lnTo>
                  <a:lnTo>
                    <a:pt x="372" y="179"/>
                  </a:lnTo>
                  <a:close/>
                  <a:moveTo>
                    <a:pt x="370" y="177"/>
                  </a:moveTo>
                  <a:lnTo>
                    <a:pt x="372" y="177"/>
                  </a:lnTo>
                  <a:lnTo>
                    <a:pt x="372" y="181"/>
                  </a:lnTo>
                  <a:lnTo>
                    <a:pt x="370" y="181"/>
                  </a:lnTo>
                  <a:lnTo>
                    <a:pt x="370" y="177"/>
                  </a:lnTo>
                  <a:close/>
                  <a:moveTo>
                    <a:pt x="358" y="172"/>
                  </a:moveTo>
                  <a:lnTo>
                    <a:pt x="360" y="172"/>
                  </a:lnTo>
                  <a:lnTo>
                    <a:pt x="360" y="174"/>
                  </a:lnTo>
                  <a:lnTo>
                    <a:pt x="358" y="174"/>
                  </a:lnTo>
                  <a:lnTo>
                    <a:pt x="358" y="172"/>
                  </a:lnTo>
                  <a:close/>
                  <a:moveTo>
                    <a:pt x="357" y="169"/>
                  </a:moveTo>
                  <a:lnTo>
                    <a:pt x="360" y="171"/>
                  </a:lnTo>
                  <a:lnTo>
                    <a:pt x="358" y="174"/>
                  </a:lnTo>
                  <a:lnTo>
                    <a:pt x="358" y="184"/>
                  </a:lnTo>
                  <a:lnTo>
                    <a:pt x="357" y="184"/>
                  </a:lnTo>
                  <a:lnTo>
                    <a:pt x="357" y="183"/>
                  </a:lnTo>
                  <a:lnTo>
                    <a:pt x="355" y="179"/>
                  </a:lnTo>
                  <a:lnTo>
                    <a:pt x="355" y="181"/>
                  </a:lnTo>
                  <a:lnTo>
                    <a:pt x="357" y="188"/>
                  </a:lnTo>
                  <a:lnTo>
                    <a:pt x="350" y="184"/>
                  </a:lnTo>
                  <a:lnTo>
                    <a:pt x="353" y="181"/>
                  </a:lnTo>
                  <a:lnTo>
                    <a:pt x="351" y="179"/>
                  </a:lnTo>
                  <a:lnTo>
                    <a:pt x="351" y="174"/>
                  </a:lnTo>
                  <a:lnTo>
                    <a:pt x="353" y="172"/>
                  </a:lnTo>
                  <a:lnTo>
                    <a:pt x="355" y="174"/>
                  </a:lnTo>
                  <a:lnTo>
                    <a:pt x="355" y="169"/>
                  </a:lnTo>
                  <a:lnTo>
                    <a:pt x="357" y="169"/>
                  </a:lnTo>
                  <a:close/>
                  <a:moveTo>
                    <a:pt x="350" y="171"/>
                  </a:moveTo>
                  <a:lnTo>
                    <a:pt x="350" y="174"/>
                  </a:lnTo>
                  <a:lnTo>
                    <a:pt x="351" y="174"/>
                  </a:lnTo>
                  <a:lnTo>
                    <a:pt x="348" y="179"/>
                  </a:lnTo>
                  <a:lnTo>
                    <a:pt x="346" y="176"/>
                  </a:lnTo>
                  <a:lnTo>
                    <a:pt x="346" y="181"/>
                  </a:lnTo>
                  <a:lnTo>
                    <a:pt x="343" y="176"/>
                  </a:lnTo>
                  <a:lnTo>
                    <a:pt x="346" y="174"/>
                  </a:lnTo>
                  <a:lnTo>
                    <a:pt x="346" y="171"/>
                  </a:lnTo>
                  <a:lnTo>
                    <a:pt x="348" y="169"/>
                  </a:lnTo>
                  <a:lnTo>
                    <a:pt x="350" y="167"/>
                  </a:lnTo>
                  <a:lnTo>
                    <a:pt x="350" y="171"/>
                  </a:lnTo>
                  <a:close/>
                  <a:moveTo>
                    <a:pt x="374" y="167"/>
                  </a:moveTo>
                  <a:lnTo>
                    <a:pt x="375" y="167"/>
                  </a:lnTo>
                  <a:lnTo>
                    <a:pt x="375" y="171"/>
                  </a:lnTo>
                  <a:lnTo>
                    <a:pt x="374" y="171"/>
                  </a:lnTo>
                  <a:lnTo>
                    <a:pt x="374" y="167"/>
                  </a:lnTo>
                  <a:close/>
                  <a:moveTo>
                    <a:pt x="363" y="166"/>
                  </a:moveTo>
                  <a:lnTo>
                    <a:pt x="363" y="172"/>
                  </a:lnTo>
                  <a:lnTo>
                    <a:pt x="362" y="176"/>
                  </a:lnTo>
                  <a:lnTo>
                    <a:pt x="362" y="167"/>
                  </a:lnTo>
                  <a:lnTo>
                    <a:pt x="363" y="166"/>
                  </a:lnTo>
                  <a:close/>
                  <a:moveTo>
                    <a:pt x="568" y="145"/>
                  </a:moveTo>
                  <a:lnTo>
                    <a:pt x="568" y="148"/>
                  </a:lnTo>
                  <a:lnTo>
                    <a:pt x="567" y="147"/>
                  </a:lnTo>
                  <a:lnTo>
                    <a:pt x="568" y="145"/>
                  </a:lnTo>
                  <a:close/>
                  <a:moveTo>
                    <a:pt x="575" y="138"/>
                  </a:moveTo>
                  <a:lnTo>
                    <a:pt x="577" y="140"/>
                  </a:lnTo>
                  <a:lnTo>
                    <a:pt x="577" y="142"/>
                  </a:lnTo>
                  <a:lnTo>
                    <a:pt x="575" y="143"/>
                  </a:lnTo>
                  <a:lnTo>
                    <a:pt x="575" y="145"/>
                  </a:lnTo>
                  <a:lnTo>
                    <a:pt x="573" y="143"/>
                  </a:lnTo>
                  <a:lnTo>
                    <a:pt x="570" y="145"/>
                  </a:lnTo>
                  <a:lnTo>
                    <a:pt x="572" y="142"/>
                  </a:lnTo>
                  <a:lnTo>
                    <a:pt x="575" y="138"/>
                  </a:lnTo>
                  <a:close/>
                  <a:moveTo>
                    <a:pt x="570" y="135"/>
                  </a:moveTo>
                  <a:lnTo>
                    <a:pt x="573" y="138"/>
                  </a:lnTo>
                  <a:lnTo>
                    <a:pt x="568" y="140"/>
                  </a:lnTo>
                  <a:lnTo>
                    <a:pt x="568" y="135"/>
                  </a:lnTo>
                  <a:lnTo>
                    <a:pt x="570" y="135"/>
                  </a:lnTo>
                  <a:close/>
                  <a:moveTo>
                    <a:pt x="572" y="131"/>
                  </a:moveTo>
                  <a:lnTo>
                    <a:pt x="573" y="131"/>
                  </a:lnTo>
                  <a:lnTo>
                    <a:pt x="573" y="133"/>
                  </a:lnTo>
                  <a:lnTo>
                    <a:pt x="572" y="133"/>
                  </a:lnTo>
                  <a:lnTo>
                    <a:pt x="572" y="131"/>
                  </a:lnTo>
                  <a:close/>
                  <a:moveTo>
                    <a:pt x="563" y="118"/>
                  </a:moveTo>
                  <a:lnTo>
                    <a:pt x="567" y="119"/>
                  </a:lnTo>
                  <a:lnTo>
                    <a:pt x="567" y="123"/>
                  </a:lnTo>
                  <a:lnTo>
                    <a:pt x="563" y="121"/>
                  </a:lnTo>
                  <a:lnTo>
                    <a:pt x="563" y="119"/>
                  </a:lnTo>
                  <a:lnTo>
                    <a:pt x="561" y="118"/>
                  </a:lnTo>
                  <a:lnTo>
                    <a:pt x="563" y="118"/>
                  </a:lnTo>
                  <a:close/>
                  <a:moveTo>
                    <a:pt x="550" y="106"/>
                  </a:moveTo>
                  <a:lnTo>
                    <a:pt x="553" y="107"/>
                  </a:lnTo>
                  <a:lnTo>
                    <a:pt x="551" y="109"/>
                  </a:lnTo>
                  <a:lnTo>
                    <a:pt x="550" y="107"/>
                  </a:lnTo>
                  <a:lnTo>
                    <a:pt x="550" y="106"/>
                  </a:lnTo>
                  <a:close/>
                  <a:moveTo>
                    <a:pt x="546" y="77"/>
                  </a:moveTo>
                  <a:lnTo>
                    <a:pt x="546" y="80"/>
                  </a:lnTo>
                  <a:lnTo>
                    <a:pt x="543" y="82"/>
                  </a:lnTo>
                  <a:lnTo>
                    <a:pt x="546" y="77"/>
                  </a:lnTo>
                  <a:close/>
                  <a:moveTo>
                    <a:pt x="589" y="70"/>
                  </a:moveTo>
                  <a:lnTo>
                    <a:pt x="590" y="70"/>
                  </a:lnTo>
                  <a:lnTo>
                    <a:pt x="589" y="73"/>
                  </a:lnTo>
                  <a:lnTo>
                    <a:pt x="590" y="80"/>
                  </a:lnTo>
                  <a:lnTo>
                    <a:pt x="594" y="84"/>
                  </a:lnTo>
                  <a:lnTo>
                    <a:pt x="597" y="85"/>
                  </a:lnTo>
                  <a:lnTo>
                    <a:pt x="597" y="89"/>
                  </a:lnTo>
                  <a:lnTo>
                    <a:pt x="604" y="94"/>
                  </a:lnTo>
                  <a:lnTo>
                    <a:pt x="604" y="95"/>
                  </a:lnTo>
                  <a:lnTo>
                    <a:pt x="611" y="99"/>
                  </a:lnTo>
                  <a:lnTo>
                    <a:pt x="608" y="104"/>
                  </a:lnTo>
                  <a:lnTo>
                    <a:pt x="609" y="106"/>
                  </a:lnTo>
                  <a:lnTo>
                    <a:pt x="609" y="107"/>
                  </a:lnTo>
                  <a:lnTo>
                    <a:pt x="606" y="107"/>
                  </a:lnTo>
                  <a:lnTo>
                    <a:pt x="604" y="109"/>
                  </a:lnTo>
                  <a:lnTo>
                    <a:pt x="606" y="111"/>
                  </a:lnTo>
                  <a:lnTo>
                    <a:pt x="606" y="107"/>
                  </a:lnTo>
                  <a:lnTo>
                    <a:pt x="608" y="113"/>
                  </a:lnTo>
                  <a:lnTo>
                    <a:pt x="611" y="109"/>
                  </a:lnTo>
                  <a:lnTo>
                    <a:pt x="609" y="113"/>
                  </a:lnTo>
                  <a:lnTo>
                    <a:pt x="611" y="113"/>
                  </a:lnTo>
                  <a:lnTo>
                    <a:pt x="609" y="114"/>
                  </a:lnTo>
                  <a:lnTo>
                    <a:pt x="609" y="119"/>
                  </a:lnTo>
                  <a:lnTo>
                    <a:pt x="604" y="123"/>
                  </a:lnTo>
                  <a:lnTo>
                    <a:pt x="602" y="123"/>
                  </a:lnTo>
                  <a:lnTo>
                    <a:pt x="599" y="128"/>
                  </a:lnTo>
                  <a:lnTo>
                    <a:pt x="597" y="136"/>
                  </a:lnTo>
                  <a:lnTo>
                    <a:pt x="589" y="135"/>
                  </a:lnTo>
                  <a:lnTo>
                    <a:pt x="580" y="140"/>
                  </a:lnTo>
                  <a:lnTo>
                    <a:pt x="577" y="135"/>
                  </a:lnTo>
                  <a:lnTo>
                    <a:pt x="573" y="133"/>
                  </a:lnTo>
                  <a:lnTo>
                    <a:pt x="577" y="126"/>
                  </a:lnTo>
                  <a:lnTo>
                    <a:pt x="579" y="125"/>
                  </a:lnTo>
                  <a:lnTo>
                    <a:pt x="580" y="126"/>
                  </a:lnTo>
                  <a:lnTo>
                    <a:pt x="580" y="123"/>
                  </a:lnTo>
                  <a:lnTo>
                    <a:pt x="585" y="121"/>
                  </a:lnTo>
                  <a:lnTo>
                    <a:pt x="594" y="128"/>
                  </a:lnTo>
                  <a:lnTo>
                    <a:pt x="596" y="130"/>
                  </a:lnTo>
                  <a:lnTo>
                    <a:pt x="592" y="125"/>
                  </a:lnTo>
                  <a:lnTo>
                    <a:pt x="589" y="121"/>
                  </a:lnTo>
                  <a:lnTo>
                    <a:pt x="590" y="118"/>
                  </a:lnTo>
                  <a:lnTo>
                    <a:pt x="590" y="116"/>
                  </a:lnTo>
                  <a:lnTo>
                    <a:pt x="585" y="113"/>
                  </a:lnTo>
                  <a:lnTo>
                    <a:pt x="590" y="118"/>
                  </a:lnTo>
                  <a:lnTo>
                    <a:pt x="589" y="121"/>
                  </a:lnTo>
                  <a:lnTo>
                    <a:pt x="584" y="118"/>
                  </a:lnTo>
                  <a:lnTo>
                    <a:pt x="582" y="119"/>
                  </a:lnTo>
                  <a:lnTo>
                    <a:pt x="577" y="116"/>
                  </a:lnTo>
                  <a:lnTo>
                    <a:pt x="570" y="114"/>
                  </a:lnTo>
                  <a:lnTo>
                    <a:pt x="568" y="111"/>
                  </a:lnTo>
                  <a:lnTo>
                    <a:pt x="565" y="109"/>
                  </a:lnTo>
                  <a:lnTo>
                    <a:pt x="567" y="107"/>
                  </a:lnTo>
                  <a:lnTo>
                    <a:pt x="563" y="106"/>
                  </a:lnTo>
                  <a:lnTo>
                    <a:pt x="567" y="104"/>
                  </a:lnTo>
                  <a:lnTo>
                    <a:pt x="563" y="106"/>
                  </a:lnTo>
                  <a:lnTo>
                    <a:pt x="561" y="104"/>
                  </a:lnTo>
                  <a:lnTo>
                    <a:pt x="561" y="97"/>
                  </a:lnTo>
                  <a:lnTo>
                    <a:pt x="558" y="95"/>
                  </a:lnTo>
                  <a:lnTo>
                    <a:pt x="563" y="92"/>
                  </a:lnTo>
                  <a:lnTo>
                    <a:pt x="565" y="89"/>
                  </a:lnTo>
                  <a:lnTo>
                    <a:pt x="572" y="87"/>
                  </a:lnTo>
                  <a:lnTo>
                    <a:pt x="573" y="82"/>
                  </a:lnTo>
                  <a:lnTo>
                    <a:pt x="580" y="78"/>
                  </a:lnTo>
                  <a:lnTo>
                    <a:pt x="584" y="75"/>
                  </a:lnTo>
                  <a:lnTo>
                    <a:pt x="587" y="68"/>
                  </a:lnTo>
                  <a:lnTo>
                    <a:pt x="589" y="70"/>
                  </a:lnTo>
                  <a:close/>
                  <a:moveTo>
                    <a:pt x="587" y="63"/>
                  </a:moveTo>
                  <a:lnTo>
                    <a:pt x="585" y="66"/>
                  </a:lnTo>
                  <a:lnTo>
                    <a:pt x="585" y="63"/>
                  </a:lnTo>
                  <a:lnTo>
                    <a:pt x="587" y="63"/>
                  </a:lnTo>
                  <a:close/>
                  <a:moveTo>
                    <a:pt x="563" y="2"/>
                  </a:moveTo>
                  <a:lnTo>
                    <a:pt x="563" y="5"/>
                  </a:lnTo>
                  <a:lnTo>
                    <a:pt x="560" y="14"/>
                  </a:lnTo>
                  <a:lnTo>
                    <a:pt x="558" y="15"/>
                  </a:lnTo>
                  <a:lnTo>
                    <a:pt x="553" y="14"/>
                  </a:lnTo>
                  <a:lnTo>
                    <a:pt x="553" y="12"/>
                  </a:lnTo>
                  <a:lnTo>
                    <a:pt x="558" y="8"/>
                  </a:lnTo>
                  <a:lnTo>
                    <a:pt x="561" y="3"/>
                  </a:lnTo>
                  <a:lnTo>
                    <a:pt x="563" y="2"/>
                  </a:lnTo>
                  <a:close/>
                  <a:moveTo>
                    <a:pt x="563" y="0"/>
                  </a:moveTo>
                  <a:lnTo>
                    <a:pt x="565" y="0"/>
                  </a:lnTo>
                  <a:lnTo>
                    <a:pt x="565" y="2"/>
                  </a:lnTo>
                  <a:lnTo>
                    <a:pt x="563" y="2"/>
                  </a:lnTo>
                  <a:lnTo>
                    <a:pt x="56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5" name="Freeform 72"/>
            <p:cNvSpPr>
              <a:spLocks noEditPoints="1"/>
            </p:cNvSpPr>
            <p:nvPr/>
          </p:nvSpPr>
          <p:spPr bwMode="gray">
            <a:xfrm>
              <a:off x="2217786" y="3318884"/>
              <a:ext cx="735145" cy="443277"/>
            </a:xfrm>
            <a:custGeom>
              <a:avLst/>
              <a:gdLst>
                <a:gd name="T0" fmla="*/ 367 w 403"/>
                <a:gd name="T1" fmla="*/ 38 h 243"/>
                <a:gd name="T2" fmla="*/ 369 w 403"/>
                <a:gd name="T3" fmla="*/ 38 h 243"/>
                <a:gd name="T4" fmla="*/ 282 w 403"/>
                <a:gd name="T5" fmla="*/ 4 h 243"/>
                <a:gd name="T6" fmla="*/ 289 w 403"/>
                <a:gd name="T7" fmla="*/ 14 h 243"/>
                <a:gd name="T8" fmla="*/ 304 w 403"/>
                <a:gd name="T9" fmla="*/ 24 h 243"/>
                <a:gd name="T10" fmla="*/ 314 w 403"/>
                <a:gd name="T11" fmla="*/ 29 h 243"/>
                <a:gd name="T12" fmla="*/ 333 w 403"/>
                <a:gd name="T13" fmla="*/ 28 h 243"/>
                <a:gd name="T14" fmla="*/ 359 w 403"/>
                <a:gd name="T15" fmla="*/ 36 h 243"/>
                <a:gd name="T16" fmla="*/ 366 w 403"/>
                <a:gd name="T17" fmla="*/ 43 h 243"/>
                <a:gd name="T18" fmla="*/ 383 w 403"/>
                <a:gd name="T19" fmla="*/ 36 h 243"/>
                <a:gd name="T20" fmla="*/ 393 w 403"/>
                <a:gd name="T21" fmla="*/ 50 h 243"/>
                <a:gd name="T22" fmla="*/ 398 w 403"/>
                <a:gd name="T23" fmla="*/ 81 h 243"/>
                <a:gd name="T24" fmla="*/ 400 w 403"/>
                <a:gd name="T25" fmla="*/ 104 h 243"/>
                <a:gd name="T26" fmla="*/ 386 w 403"/>
                <a:gd name="T27" fmla="*/ 108 h 243"/>
                <a:gd name="T28" fmla="*/ 342 w 403"/>
                <a:gd name="T29" fmla="*/ 121 h 243"/>
                <a:gd name="T30" fmla="*/ 318 w 403"/>
                <a:gd name="T31" fmla="*/ 127 h 243"/>
                <a:gd name="T32" fmla="*/ 296 w 403"/>
                <a:gd name="T33" fmla="*/ 132 h 243"/>
                <a:gd name="T34" fmla="*/ 291 w 403"/>
                <a:gd name="T35" fmla="*/ 151 h 243"/>
                <a:gd name="T36" fmla="*/ 291 w 403"/>
                <a:gd name="T37" fmla="*/ 168 h 243"/>
                <a:gd name="T38" fmla="*/ 279 w 403"/>
                <a:gd name="T39" fmla="*/ 181 h 243"/>
                <a:gd name="T40" fmla="*/ 272 w 403"/>
                <a:gd name="T41" fmla="*/ 190 h 243"/>
                <a:gd name="T42" fmla="*/ 260 w 403"/>
                <a:gd name="T43" fmla="*/ 178 h 243"/>
                <a:gd name="T44" fmla="*/ 246 w 403"/>
                <a:gd name="T45" fmla="*/ 169 h 243"/>
                <a:gd name="T46" fmla="*/ 248 w 403"/>
                <a:gd name="T47" fmla="*/ 188 h 243"/>
                <a:gd name="T48" fmla="*/ 229 w 403"/>
                <a:gd name="T49" fmla="*/ 188 h 243"/>
                <a:gd name="T50" fmla="*/ 214 w 403"/>
                <a:gd name="T51" fmla="*/ 190 h 243"/>
                <a:gd name="T52" fmla="*/ 209 w 403"/>
                <a:gd name="T53" fmla="*/ 200 h 243"/>
                <a:gd name="T54" fmla="*/ 193 w 403"/>
                <a:gd name="T55" fmla="*/ 221 h 243"/>
                <a:gd name="T56" fmla="*/ 178 w 403"/>
                <a:gd name="T57" fmla="*/ 231 h 243"/>
                <a:gd name="T58" fmla="*/ 159 w 403"/>
                <a:gd name="T59" fmla="*/ 234 h 243"/>
                <a:gd name="T60" fmla="*/ 139 w 403"/>
                <a:gd name="T61" fmla="*/ 226 h 243"/>
                <a:gd name="T62" fmla="*/ 125 w 403"/>
                <a:gd name="T63" fmla="*/ 234 h 243"/>
                <a:gd name="T64" fmla="*/ 108 w 403"/>
                <a:gd name="T65" fmla="*/ 241 h 243"/>
                <a:gd name="T66" fmla="*/ 82 w 403"/>
                <a:gd name="T67" fmla="*/ 233 h 243"/>
                <a:gd name="T68" fmla="*/ 67 w 403"/>
                <a:gd name="T69" fmla="*/ 215 h 243"/>
                <a:gd name="T70" fmla="*/ 53 w 403"/>
                <a:gd name="T71" fmla="*/ 215 h 243"/>
                <a:gd name="T72" fmla="*/ 52 w 403"/>
                <a:gd name="T73" fmla="*/ 205 h 243"/>
                <a:gd name="T74" fmla="*/ 38 w 403"/>
                <a:gd name="T75" fmla="*/ 197 h 243"/>
                <a:gd name="T76" fmla="*/ 24 w 403"/>
                <a:gd name="T77" fmla="*/ 188 h 243"/>
                <a:gd name="T78" fmla="*/ 17 w 403"/>
                <a:gd name="T79" fmla="*/ 168 h 243"/>
                <a:gd name="T80" fmla="*/ 9 w 403"/>
                <a:gd name="T81" fmla="*/ 147 h 243"/>
                <a:gd name="T82" fmla="*/ 5 w 403"/>
                <a:gd name="T83" fmla="*/ 133 h 243"/>
                <a:gd name="T84" fmla="*/ 4 w 403"/>
                <a:gd name="T85" fmla="*/ 115 h 243"/>
                <a:gd name="T86" fmla="*/ 23 w 403"/>
                <a:gd name="T87" fmla="*/ 115 h 243"/>
                <a:gd name="T88" fmla="*/ 41 w 403"/>
                <a:gd name="T89" fmla="*/ 111 h 243"/>
                <a:gd name="T90" fmla="*/ 57 w 403"/>
                <a:gd name="T91" fmla="*/ 96 h 243"/>
                <a:gd name="T92" fmla="*/ 69 w 403"/>
                <a:gd name="T93" fmla="*/ 79 h 243"/>
                <a:gd name="T94" fmla="*/ 70 w 403"/>
                <a:gd name="T95" fmla="*/ 58 h 243"/>
                <a:gd name="T96" fmla="*/ 91 w 403"/>
                <a:gd name="T97" fmla="*/ 46 h 243"/>
                <a:gd name="T98" fmla="*/ 82 w 403"/>
                <a:gd name="T99" fmla="*/ 41 h 243"/>
                <a:gd name="T100" fmla="*/ 87 w 403"/>
                <a:gd name="T101" fmla="*/ 28 h 243"/>
                <a:gd name="T102" fmla="*/ 94 w 403"/>
                <a:gd name="T103" fmla="*/ 21 h 243"/>
                <a:gd name="T104" fmla="*/ 110 w 403"/>
                <a:gd name="T105" fmla="*/ 17 h 243"/>
                <a:gd name="T106" fmla="*/ 127 w 403"/>
                <a:gd name="T107" fmla="*/ 21 h 243"/>
                <a:gd name="T108" fmla="*/ 139 w 403"/>
                <a:gd name="T109" fmla="*/ 21 h 243"/>
                <a:gd name="T110" fmla="*/ 149 w 403"/>
                <a:gd name="T111" fmla="*/ 33 h 243"/>
                <a:gd name="T112" fmla="*/ 169 w 403"/>
                <a:gd name="T113" fmla="*/ 40 h 243"/>
                <a:gd name="T114" fmla="*/ 188 w 403"/>
                <a:gd name="T115" fmla="*/ 40 h 243"/>
                <a:gd name="T116" fmla="*/ 198 w 403"/>
                <a:gd name="T117" fmla="*/ 31 h 243"/>
                <a:gd name="T118" fmla="*/ 221 w 403"/>
                <a:gd name="T119" fmla="*/ 9 h 243"/>
                <a:gd name="T120" fmla="*/ 239 w 403"/>
                <a:gd name="T121" fmla="*/ 0 h 243"/>
                <a:gd name="T122" fmla="*/ 255 w 403"/>
                <a:gd name="T123" fmla="*/ 4 h 243"/>
                <a:gd name="T124" fmla="*/ 273 w 403"/>
                <a:gd name="T125" fmla="*/ 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243">
                  <a:moveTo>
                    <a:pt x="367" y="34"/>
                  </a:moveTo>
                  <a:lnTo>
                    <a:pt x="369" y="34"/>
                  </a:lnTo>
                  <a:lnTo>
                    <a:pt x="369" y="38"/>
                  </a:lnTo>
                  <a:lnTo>
                    <a:pt x="367" y="38"/>
                  </a:lnTo>
                  <a:lnTo>
                    <a:pt x="367" y="34"/>
                  </a:lnTo>
                  <a:close/>
                  <a:moveTo>
                    <a:pt x="372" y="34"/>
                  </a:moveTo>
                  <a:lnTo>
                    <a:pt x="374" y="34"/>
                  </a:lnTo>
                  <a:lnTo>
                    <a:pt x="369" y="38"/>
                  </a:lnTo>
                  <a:lnTo>
                    <a:pt x="369" y="34"/>
                  </a:lnTo>
                  <a:lnTo>
                    <a:pt x="372" y="34"/>
                  </a:lnTo>
                  <a:close/>
                  <a:moveTo>
                    <a:pt x="277" y="2"/>
                  </a:moveTo>
                  <a:lnTo>
                    <a:pt x="282" y="4"/>
                  </a:lnTo>
                  <a:lnTo>
                    <a:pt x="282" y="7"/>
                  </a:lnTo>
                  <a:lnTo>
                    <a:pt x="289" y="7"/>
                  </a:lnTo>
                  <a:lnTo>
                    <a:pt x="291" y="12"/>
                  </a:lnTo>
                  <a:lnTo>
                    <a:pt x="289" y="14"/>
                  </a:lnTo>
                  <a:lnTo>
                    <a:pt x="294" y="16"/>
                  </a:lnTo>
                  <a:lnTo>
                    <a:pt x="299" y="21"/>
                  </a:lnTo>
                  <a:lnTo>
                    <a:pt x="304" y="22"/>
                  </a:lnTo>
                  <a:lnTo>
                    <a:pt x="304" y="24"/>
                  </a:lnTo>
                  <a:lnTo>
                    <a:pt x="311" y="26"/>
                  </a:lnTo>
                  <a:lnTo>
                    <a:pt x="314" y="28"/>
                  </a:lnTo>
                  <a:lnTo>
                    <a:pt x="313" y="31"/>
                  </a:lnTo>
                  <a:lnTo>
                    <a:pt x="314" y="29"/>
                  </a:lnTo>
                  <a:lnTo>
                    <a:pt x="320" y="29"/>
                  </a:lnTo>
                  <a:lnTo>
                    <a:pt x="321" y="38"/>
                  </a:lnTo>
                  <a:lnTo>
                    <a:pt x="323" y="31"/>
                  </a:lnTo>
                  <a:lnTo>
                    <a:pt x="333" y="28"/>
                  </a:lnTo>
                  <a:lnTo>
                    <a:pt x="338" y="29"/>
                  </a:lnTo>
                  <a:lnTo>
                    <a:pt x="347" y="31"/>
                  </a:lnTo>
                  <a:lnTo>
                    <a:pt x="354" y="34"/>
                  </a:lnTo>
                  <a:lnTo>
                    <a:pt x="359" y="36"/>
                  </a:lnTo>
                  <a:lnTo>
                    <a:pt x="366" y="36"/>
                  </a:lnTo>
                  <a:lnTo>
                    <a:pt x="367" y="40"/>
                  </a:lnTo>
                  <a:lnTo>
                    <a:pt x="366" y="41"/>
                  </a:lnTo>
                  <a:lnTo>
                    <a:pt x="366" y="43"/>
                  </a:lnTo>
                  <a:lnTo>
                    <a:pt x="371" y="38"/>
                  </a:lnTo>
                  <a:lnTo>
                    <a:pt x="372" y="36"/>
                  </a:lnTo>
                  <a:lnTo>
                    <a:pt x="376" y="34"/>
                  </a:lnTo>
                  <a:lnTo>
                    <a:pt x="383" y="36"/>
                  </a:lnTo>
                  <a:lnTo>
                    <a:pt x="388" y="33"/>
                  </a:lnTo>
                  <a:lnTo>
                    <a:pt x="390" y="38"/>
                  </a:lnTo>
                  <a:lnTo>
                    <a:pt x="391" y="45"/>
                  </a:lnTo>
                  <a:lnTo>
                    <a:pt x="393" y="50"/>
                  </a:lnTo>
                  <a:lnTo>
                    <a:pt x="391" y="57"/>
                  </a:lnTo>
                  <a:lnTo>
                    <a:pt x="393" y="62"/>
                  </a:lnTo>
                  <a:lnTo>
                    <a:pt x="398" y="70"/>
                  </a:lnTo>
                  <a:lnTo>
                    <a:pt x="398" y="81"/>
                  </a:lnTo>
                  <a:lnTo>
                    <a:pt x="396" y="87"/>
                  </a:lnTo>
                  <a:lnTo>
                    <a:pt x="396" y="91"/>
                  </a:lnTo>
                  <a:lnTo>
                    <a:pt x="398" y="96"/>
                  </a:lnTo>
                  <a:lnTo>
                    <a:pt x="400" y="104"/>
                  </a:lnTo>
                  <a:lnTo>
                    <a:pt x="403" y="110"/>
                  </a:lnTo>
                  <a:lnTo>
                    <a:pt x="398" y="106"/>
                  </a:lnTo>
                  <a:lnTo>
                    <a:pt x="391" y="106"/>
                  </a:lnTo>
                  <a:lnTo>
                    <a:pt x="386" y="108"/>
                  </a:lnTo>
                  <a:lnTo>
                    <a:pt x="384" y="111"/>
                  </a:lnTo>
                  <a:lnTo>
                    <a:pt x="362" y="116"/>
                  </a:lnTo>
                  <a:lnTo>
                    <a:pt x="354" y="120"/>
                  </a:lnTo>
                  <a:lnTo>
                    <a:pt x="342" y="121"/>
                  </a:lnTo>
                  <a:lnTo>
                    <a:pt x="337" y="123"/>
                  </a:lnTo>
                  <a:lnTo>
                    <a:pt x="332" y="125"/>
                  </a:lnTo>
                  <a:lnTo>
                    <a:pt x="323" y="127"/>
                  </a:lnTo>
                  <a:lnTo>
                    <a:pt x="318" y="127"/>
                  </a:lnTo>
                  <a:lnTo>
                    <a:pt x="316" y="128"/>
                  </a:lnTo>
                  <a:lnTo>
                    <a:pt x="308" y="130"/>
                  </a:lnTo>
                  <a:lnTo>
                    <a:pt x="303" y="132"/>
                  </a:lnTo>
                  <a:lnTo>
                    <a:pt x="296" y="132"/>
                  </a:lnTo>
                  <a:lnTo>
                    <a:pt x="289" y="137"/>
                  </a:lnTo>
                  <a:lnTo>
                    <a:pt x="285" y="140"/>
                  </a:lnTo>
                  <a:lnTo>
                    <a:pt x="284" y="145"/>
                  </a:lnTo>
                  <a:lnTo>
                    <a:pt x="291" y="151"/>
                  </a:lnTo>
                  <a:lnTo>
                    <a:pt x="291" y="156"/>
                  </a:lnTo>
                  <a:lnTo>
                    <a:pt x="285" y="159"/>
                  </a:lnTo>
                  <a:lnTo>
                    <a:pt x="285" y="162"/>
                  </a:lnTo>
                  <a:lnTo>
                    <a:pt x="291" y="168"/>
                  </a:lnTo>
                  <a:lnTo>
                    <a:pt x="287" y="171"/>
                  </a:lnTo>
                  <a:lnTo>
                    <a:pt x="279" y="173"/>
                  </a:lnTo>
                  <a:lnTo>
                    <a:pt x="277" y="174"/>
                  </a:lnTo>
                  <a:lnTo>
                    <a:pt x="279" y="181"/>
                  </a:lnTo>
                  <a:lnTo>
                    <a:pt x="277" y="188"/>
                  </a:lnTo>
                  <a:lnTo>
                    <a:pt x="279" y="192"/>
                  </a:lnTo>
                  <a:lnTo>
                    <a:pt x="279" y="193"/>
                  </a:lnTo>
                  <a:lnTo>
                    <a:pt x="272" y="190"/>
                  </a:lnTo>
                  <a:lnTo>
                    <a:pt x="268" y="185"/>
                  </a:lnTo>
                  <a:lnTo>
                    <a:pt x="265" y="181"/>
                  </a:lnTo>
                  <a:lnTo>
                    <a:pt x="263" y="180"/>
                  </a:lnTo>
                  <a:lnTo>
                    <a:pt x="260" y="178"/>
                  </a:lnTo>
                  <a:lnTo>
                    <a:pt x="258" y="171"/>
                  </a:lnTo>
                  <a:lnTo>
                    <a:pt x="255" y="166"/>
                  </a:lnTo>
                  <a:lnTo>
                    <a:pt x="250" y="168"/>
                  </a:lnTo>
                  <a:lnTo>
                    <a:pt x="246" y="169"/>
                  </a:lnTo>
                  <a:lnTo>
                    <a:pt x="244" y="174"/>
                  </a:lnTo>
                  <a:lnTo>
                    <a:pt x="244" y="180"/>
                  </a:lnTo>
                  <a:lnTo>
                    <a:pt x="248" y="183"/>
                  </a:lnTo>
                  <a:lnTo>
                    <a:pt x="248" y="188"/>
                  </a:lnTo>
                  <a:lnTo>
                    <a:pt x="244" y="190"/>
                  </a:lnTo>
                  <a:lnTo>
                    <a:pt x="241" y="193"/>
                  </a:lnTo>
                  <a:lnTo>
                    <a:pt x="233" y="192"/>
                  </a:lnTo>
                  <a:lnTo>
                    <a:pt x="229" y="188"/>
                  </a:lnTo>
                  <a:lnTo>
                    <a:pt x="229" y="192"/>
                  </a:lnTo>
                  <a:lnTo>
                    <a:pt x="226" y="192"/>
                  </a:lnTo>
                  <a:lnTo>
                    <a:pt x="219" y="190"/>
                  </a:lnTo>
                  <a:lnTo>
                    <a:pt x="214" y="190"/>
                  </a:lnTo>
                  <a:lnTo>
                    <a:pt x="212" y="188"/>
                  </a:lnTo>
                  <a:lnTo>
                    <a:pt x="209" y="186"/>
                  </a:lnTo>
                  <a:lnTo>
                    <a:pt x="205" y="193"/>
                  </a:lnTo>
                  <a:lnTo>
                    <a:pt x="209" y="200"/>
                  </a:lnTo>
                  <a:lnTo>
                    <a:pt x="202" y="207"/>
                  </a:lnTo>
                  <a:lnTo>
                    <a:pt x="198" y="214"/>
                  </a:lnTo>
                  <a:lnTo>
                    <a:pt x="193" y="217"/>
                  </a:lnTo>
                  <a:lnTo>
                    <a:pt x="193" y="221"/>
                  </a:lnTo>
                  <a:lnTo>
                    <a:pt x="190" y="217"/>
                  </a:lnTo>
                  <a:lnTo>
                    <a:pt x="188" y="221"/>
                  </a:lnTo>
                  <a:lnTo>
                    <a:pt x="178" y="224"/>
                  </a:lnTo>
                  <a:lnTo>
                    <a:pt x="178" y="231"/>
                  </a:lnTo>
                  <a:lnTo>
                    <a:pt x="174" y="233"/>
                  </a:lnTo>
                  <a:lnTo>
                    <a:pt x="168" y="231"/>
                  </a:lnTo>
                  <a:lnTo>
                    <a:pt x="164" y="234"/>
                  </a:lnTo>
                  <a:lnTo>
                    <a:pt x="159" y="234"/>
                  </a:lnTo>
                  <a:lnTo>
                    <a:pt x="152" y="233"/>
                  </a:lnTo>
                  <a:lnTo>
                    <a:pt x="149" y="229"/>
                  </a:lnTo>
                  <a:lnTo>
                    <a:pt x="142" y="229"/>
                  </a:lnTo>
                  <a:lnTo>
                    <a:pt x="139" y="226"/>
                  </a:lnTo>
                  <a:lnTo>
                    <a:pt x="135" y="226"/>
                  </a:lnTo>
                  <a:lnTo>
                    <a:pt x="134" y="227"/>
                  </a:lnTo>
                  <a:lnTo>
                    <a:pt x="132" y="233"/>
                  </a:lnTo>
                  <a:lnTo>
                    <a:pt x="125" y="234"/>
                  </a:lnTo>
                  <a:lnTo>
                    <a:pt x="118" y="239"/>
                  </a:lnTo>
                  <a:lnTo>
                    <a:pt x="115" y="243"/>
                  </a:lnTo>
                  <a:lnTo>
                    <a:pt x="111" y="243"/>
                  </a:lnTo>
                  <a:lnTo>
                    <a:pt x="108" y="241"/>
                  </a:lnTo>
                  <a:lnTo>
                    <a:pt x="103" y="236"/>
                  </a:lnTo>
                  <a:lnTo>
                    <a:pt x="94" y="239"/>
                  </a:lnTo>
                  <a:lnTo>
                    <a:pt x="89" y="238"/>
                  </a:lnTo>
                  <a:lnTo>
                    <a:pt x="82" y="233"/>
                  </a:lnTo>
                  <a:lnTo>
                    <a:pt x="82" y="231"/>
                  </a:lnTo>
                  <a:lnTo>
                    <a:pt x="75" y="227"/>
                  </a:lnTo>
                  <a:lnTo>
                    <a:pt x="69" y="219"/>
                  </a:lnTo>
                  <a:lnTo>
                    <a:pt x="67" y="215"/>
                  </a:lnTo>
                  <a:lnTo>
                    <a:pt x="64" y="214"/>
                  </a:lnTo>
                  <a:lnTo>
                    <a:pt x="58" y="215"/>
                  </a:lnTo>
                  <a:lnTo>
                    <a:pt x="57" y="214"/>
                  </a:lnTo>
                  <a:lnTo>
                    <a:pt x="53" y="215"/>
                  </a:lnTo>
                  <a:lnTo>
                    <a:pt x="50" y="219"/>
                  </a:lnTo>
                  <a:lnTo>
                    <a:pt x="50" y="217"/>
                  </a:lnTo>
                  <a:lnTo>
                    <a:pt x="50" y="209"/>
                  </a:lnTo>
                  <a:lnTo>
                    <a:pt x="52" y="205"/>
                  </a:lnTo>
                  <a:lnTo>
                    <a:pt x="52" y="203"/>
                  </a:lnTo>
                  <a:lnTo>
                    <a:pt x="50" y="203"/>
                  </a:lnTo>
                  <a:lnTo>
                    <a:pt x="43" y="200"/>
                  </a:lnTo>
                  <a:lnTo>
                    <a:pt x="38" y="197"/>
                  </a:lnTo>
                  <a:lnTo>
                    <a:pt x="36" y="195"/>
                  </a:lnTo>
                  <a:lnTo>
                    <a:pt x="34" y="195"/>
                  </a:lnTo>
                  <a:lnTo>
                    <a:pt x="28" y="190"/>
                  </a:lnTo>
                  <a:lnTo>
                    <a:pt x="24" y="188"/>
                  </a:lnTo>
                  <a:lnTo>
                    <a:pt x="19" y="183"/>
                  </a:lnTo>
                  <a:lnTo>
                    <a:pt x="17" y="181"/>
                  </a:lnTo>
                  <a:lnTo>
                    <a:pt x="17" y="180"/>
                  </a:lnTo>
                  <a:lnTo>
                    <a:pt x="17" y="168"/>
                  </a:lnTo>
                  <a:lnTo>
                    <a:pt x="16" y="162"/>
                  </a:lnTo>
                  <a:lnTo>
                    <a:pt x="14" y="159"/>
                  </a:lnTo>
                  <a:lnTo>
                    <a:pt x="9" y="151"/>
                  </a:lnTo>
                  <a:lnTo>
                    <a:pt x="9" y="147"/>
                  </a:lnTo>
                  <a:lnTo>
                    <a:pt x="2" y="142"/>
                  </a:lnTo>
                  <a:lnTo>
                    <a:pt x="2" y="139"/>
                  </a:lnTo>
                  <a:lnTo>
                    <a:pt x="4" y="137"/>
                  </a:lnTo>
                  <a:lnTo>
                    <a:pt x="5" y="133"/>
                  </a:lnTo>
                  <a:lnTo>
                    <a:pt x="4" y="130"/>
                  </a:lnTo>
                  <a:lnTo>
                    <a:pt x="0" y="121"/>
                  </a:lnTo>
                  <a:lnTo>
                    <a:pt x="0" y="113"/>
                  </a:lnTo>
                  <a:lnTo>
                    <a:pt x="4" y="115"/>
                  </a:lnTo>
                  <a:lnTo>
                    <a:pt x="7" y="111"/>
                  </a:lnTo>
                  <a:lnTo>
                    <a:pt x="12" y="116"/>
                  </a:lnTo>
                  <a:lnTo>
                    <a:pt x="17" y="113"/>
                  </a:lnTo>
                  <a:lnTo>
                    <a:pt x="23" y="115"/>
                  </a:lnTo>
                  <a:lnTo>
                    <a:pt x="26" y="113"/>
                  </a:lnTo>
                  <a:lnTo>
                    <a:pt x="34" y="111"/>
                  </a:lnTo>
                  <a:lnTo>
                    <a:pt x="36" y="113"/>
                  </a:lnTo>
                  <a:lnTo>
                    <a:pt x="41" y="111"/>
                  </a:lnTo>
                  <a:lnTo>
                    <a:pt x="45" y="110"/>
                  </a:lnTo>
                  <a:lnTo>
                    <a:pt x="48" y="103"/>
                  </a:lnTo>
                  <a:lnTo>
                    <a:pt x="52" y="99"/>
                  </a:lnTo>
                  <a:lnTo>
                    <a:pt x="57" y="96"/>
                  </a:lnTo>
                  <a:lnTo>
                    <a:pt x="60" y="94"/>
                  </a:lnTo>
                  <a:lnTo>
                    <a:pt x="67" y="87"/>
                  </a:lnTo>
                  <a:lnTo>
                    <a:pt x="70" y="81"/>
                  </a:lnTo>
                  <a:lnTo>
                    <a:pt x="69" y="79"/>
                  </a:lnTo>
                  <a:lnTo>
                    <a:pt x="70" y="72"/>
                  </a:lnTo>
                  <a:lnTo>
                    <a:pt x="67" y="67"/>
                  </a:lnTo>
                  <a:lnTo>
                    <a:pt x="67" y="63"/>
                  </a:lnTo>
                  <a:lnTo>
                    <a:pt x="70" y="58"/>
                  </a:lnTo>
                  <a:lnTo>
                    <a:pt x="82" y="57"/>
                  </a:lnTo>
                  <a:lnTo>
                    <a:pt x="84" y="53"/>
                  </a:lnTo>
                  <a:lnTo>
                    <a:pt x="89" y="48"/>
                  </a:lnTo>
                  <a:lnTo>
                    <a:pt x="91" y="46"/>
                  </a:lnTo>
                  <a:lnTo>
                    <a:pt x="91" y="43"/>
                  </a:lnTo>
                  <a:lnTo>
                    <a:pt x="89" y="41"/>
                  </a:lnTo>
                  <a:lnTo>
                    <a:pt x="87" y="43"/>
                  </a:lnTo>
                  <a:lnTo>
                    <a:pt x="82" y="41"/>
                  </a:lnTo>
                  <a:lnTo>
                    <a:pt x="84" y="36"/>
                  </a:lnTo>
                  <a:lnTo>
                    <a:pt x="82" y="31"/>
                  </a:lnTo>
                  <a:lnTo>
                    <a:pt x="84" y="28"/>
                  </a:lnTo>
                  <a:lnTo>
                    <a:pt x="87" y="28"/>
                  </a:lnTo>
                  <a:lnTo>
                    <a:pt x="87" y="26"/>
                  </a:lnTo>
                  <a:lnTo>
                    <a:pt x="91" y="26"/>
                  </a:lnTo>
                  <a:lnTo>
                    <a:pt x="94" y="24"/>
                  </a:lnTo>
                  <a:lnTo>
                    <a:pt x="94" y="21"/>
                  </a:lnTo>
                  <a:lnTo>
                    <a:pt x="98" y="21"/>
                  </a:lnTo>
                  <a:lnTo>
                    <a:pt x="101" y="17"/>
                  </a:lnTo>
                  <a:lnTo>
                    <a:pt x="106" y="16"/>
                  </a:lnTo>
                  <a:lnTo>
                    <a:pt x="110" y="17"/>
                  </a:lnTo>
                  <a:lnTo>
                    <a:pt x="118" y="21"/>
                  </a:lnTo>
                  <a:lnTo>
                    <a:pt x="120" y="19"/>
                  </a:lnTo>
                  <a:lnTo>
                    <a:pt x="123" y="19"/>
                  </a:lnTo>
                  <a:lnTo>
                    <a:pt x="127" y="21"/>
                  </a:lnTo>
                  <a:lnTo>
                    <a:pt x="127" y="24"/>
                  </a:lnTo>
                  <a:lnTo>
                    <a:pt x="128" y="24"/>
                  </a:lnTo>
                  <a:lnTo>
                    <a:pt x="135" y="21"/>
                  </a:lnTo>
                  <a:lnTo>
                    <a:pt x="139" y="21"/>
                  </a:lnTo>
                  <a:lnTo>
                    <a:pt x="142" y="21"/>
                  </a:lnTo>
                  <a:lnTo>
                    <a:pt x="144" y="26"/>
                  </a:lnTo>
                  <a:lnTo>
                    <a:pt x="151" y="29"/>
                  </a:lnTo>
                  <a:lnTo>
                    <a:pt x="149" y="33"/>
                  </a:lnTo>
                  <a:lnTo>
                    <a:pt x="149" y="34"/>
                  </a:lnTo>
                  <a:lnTo>
                    <a:pt x="157" y="33"/>
                  </a:lnTo>
                  <a:lnTo>
                    <a:pt x="161" y="40"/>
                  </a:lnTo>
                  <a:lnTo>
                    <a:pt x="169" y="40"/>
                  </a:lnTo>
                  <a:lnTo>
                    <a:pt x="171" y="41"/>
                  </a:lnTo>
                  <a:lnTo>
                    <a:pt x="176" y="41"/>
                  </a:lnTo>
                  <a:lnTo>
                    <a:pt x="181" y="46"/>
                  </a:lnTo>
                  <a:lnTo>
                    <a:pt x="188" y="40"/>
                  </a:lnTo>
                  <a:lnTo>
                    <a:pt x="192" y="40"/>
                  </a:lnTo>
                  <a:lnTo>
                    <a:pt x="195" y="33"/>
                  </a:lnTo>
                  <a:lnTo>
                    <a:pt x="198" y="34"/>
                  </a:lnTo>
                  <a:lnTo>
                    <a:pt x="198" y="31"/>
                  </a:lnTo>
                  <a:lnTo>
                    <a:pt x="200" y="28"/>
                  </a:lnTo>
                  <a:lnTo>
                    <a:pt x="202" y="24"/>
                  </a:lnTo>
                  <a:lnTo>
                    <a:pt x="210" y="19"/>
                  </a:lnTo>
                  <a:lnTo>
                    <a:pt x="221" y="9"/>
                  </a:lnTo>
                  <a:lnTo>
                    <a:pt x="224" y="4"/>
                  </a:lnTo>
                  <a:lnTo>
                    <a:pt x="227" y="0"/>
                  </a:lnTo>
                  <a:lnTo>
                    <a:pt x="238" y="0"/>
                  </a:lnTo>
                  <a:lnTo>
                    <a:pt x="239" y="0"/>
                  </a:lnTo>
                  <a:lnTo>
                    <a:pt x="241" y="0"/>
                  </a:lnTo>
                  <a:lnTo>
                    <a:pt x="243" y="0"/>
                  </a:lnTo>
                  <a:lnTo>
                    <a:pt x="251" y="2"/>
                  </a:lnTo>
                  <a:lnTo>
                    <a:pt x="255" y="4"/>
                  </a:lnTo>
                  <a:lnTo>
                    <a:pt x="260" y="4"/>
                  </a:lnTo>
                  <a:lnTo>
                    <a:pt x="265" y="5"/>
                  </a:lnTo>
                  <a:lnTo>
                    <a:pt x="267" y="7"/>
                  </a:lnTo>
                  <a:lnTo>
                    <a:pt x="273" y="4"/>
                  </a:lnTo>
                  <a:lnTo>
                    <a:pt x="277" y="2"/>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6" name="Freeform 73"/>
            <p:cNvSpPr>
              <a:spLocks noEditPoints="1"/>
            </p:cNvSpPr>
            <p:nvPr/>
          </p:nvSpPr>
          <p:spPr bwMode="gray">
            <a:xfrm>
              <a:off x="2420271" y="3512248"/>
              <a:ext cx="881080" cy="720553"/>
            </a:xfrm>
            <a:custGeom>
              <a:avLst/>
              <a:gdLst>
                <a:gd name="T0" fmla="*/ 297 w 483"/>
                <a:gd name="T1" fmla="*/ 17 h 395"/>
                <a:gd name="T2" fmla="*/ 289 w 483"/>
                <a:gd name="T3" fmla="*/ 34 h 395"/>
                <a:gd name="T4" fmla="*/ 309 w 483"/>
                <a:gd name="T5" fmla="*/ 34 h 395"/>
                <a:gd name="T6" fmla="*/ 309 w 483"/>
                <a:gd name="T7" fmla="*/ 41 h 395"/>
                <a:gd name="T8" fmla="*/ 316 w 483"/>
                <a:gd name="T9" fmla="*/ 46 h 395"/>
                <a:gd name="T10" fmla="*/ 340 w 483"/>
                <a:gd name="T11" fmla="*/ 67 h 395"/>
                <a:gd name="T12" fmla="*/ 323 w 483"/>
                <a:gd name="T13" fmla="*/ 91 h 395"/>
                <a:gd name="T14" fmla="*/ 337 w 483"/>
                <a:gd name="T15" fmla="*/ 89 h 395"/>
                <a:gd name="T16" fmla="*/ 357 w 483"/>
                <a:gd name="T17" fmla="*/ 89 h 395"/>
                <a:gd name="T18" fmla="*/ 384 w 483"/>
                <a:gd name="T19" fmla="*/ 87 h 395"/>
                <a:gd name="T20" fmla="*/ 420 w 483"/>
                <a:gd name="T21" fmla="*/ 94 h 395"/>
                <a:gd name="T22" fmla="*/ 429 w 483"/>
                <a:gd name="T23" fmla="*/ 121 h 395"/>
                <a:gd name="T24" fmla="*/ 449 w 483"/>
                <a:gd name="T25" fmla="*/ 154 h 395"/>
                <a:gd name="T26" fmla="*/ 478 w 483"/>
                <a:gd name="T27" fmla="*/ 179 h 395"/>
                <a:gd name="T28" fmla="*/ 465 w 483"/>
                <a:gd name="T29" fmla="*/ 207 h 395"/>
                <a:gd name="T30" fmla="*/ 453 w 483"/>
                <a:gd name="T31" fmla="*/ 227 h 395"/>
                <a:gd name="T32" fmla="*/ 466 w 483"/>
                <a:gd name="T33" fmla="*/ 263 h 395"/>
                <a:gd name="T34" fmla="*/ 453 w 483"/>
                <a:gd name="T35" fmla="*/ 302 h 395"/>
                <a:gd name="T36" fmla="*/ 436 w 483"/>
                <a:gd name="T37" fmla="*/ 301 h 395"/>
                <a:gd name="T38" fmla="*/ 430 w 483"/>
                <a:gd name="T39" fmla="*/ 289 h 395"/>
                <a:gd name="T40" fmla="*/ 425 w 483"/>
                <a:gd name="T41" fmla="*/ 277 h 395"/>
                <a:gd name="T42" fmla="*/ 413 w 483"/>
                <a:gd name="T43" fmla="*/ 268 h 395"/>
                <a:gd name="T44" fmla="*/ 395 w 483"/>
                <a:gd name="T45" fmla="*/ 260 h 395"/>
                <a:gd name="T46" fmla="*/ 381 w 483"/>
                <a:gd name="T47" fmla="*/ 273 h 395"/>
                <a:gd name="T48" fmla="*/ 364 w 483"/>
                <a:gd name="T49" fmla="*/ 285 h 395"/>
                <a:gd name="T50" fmla="*/ 349 w 483"/>
                <a:gd name="T51" fmla="*/ 304 h 395"/>
                <a:gd name="T52" fmla="*/ 318 w 483"/>
                <a:gd name="T53" fmla="*/ 316 h 395"/>
                <a:gd name="T54" fmla="*/ 285 w 483"/>
                <a:gd name="T55" fmla="*/ 320 h 395"/>
                <a:gd name="T56" fmla="*/ 272 w 483"/>
                <a:gd name="T57" fmla="*/ 355 h 395"/>
                <a:gd name="T58" fmla="*/ 268 w 483"/>
                <a:gd name="T59" fmla="*/ 376 h 395"/>
                <a:gd name="T60" fmla="*/ 261 w 483"/>
                <a:gd name="T61" fmla="*/ 390 h 395"/>
                <a:gd name="T62" fmla="*/ 238 w 483"/>
                <a:gd name="T63" fmla="*/ 391 h 395"/>
                <a:gd name="T64" fmla="*/ 205 w 483"/>
                <a:gd name="T65" fmla="*/ 379 h 395"/>
                <a:gd name="T66" fmla="*/ 197 w 483"/>
                <a:gd name="T67" fmla="*/ 367 h 395"/>
                <a:gd name="T68" fmla="*/ 176 w 483"/>
                <a:gd name="T69" fmla="*/ 352 h 395"/>
                <a:gd name="T70" fmla="*/ 168 w 483"/>
                <a:gd name="T71" fmla="*/ 323 h 395"/>
                <a:gd name="T72" fmla="*/ 128 w 483"/>
                <a:gd name="T73" fmla="*/ 314 h 395"/>
                <a:gd name="T74" fmla="*/ 103 w 483"/>
                <a:gd name="T75" fmla="*/ 296 h 395"/>
                <a:gd name="T76" fmla="*/ 96 w 483"/>
                <a:gd name="T77" fmla="*/ 284 h 395"/>
                <a:gd name="T78" fmla="*/ 82 w 483"/>
                <a:gd name="T79" fmla="*/ 272 h 395"/>
                <a:gd name="T80" fmla="*/ 82 w 483"/>
                <a:gd name="T81" fmla="*/ 244 h 395"/>
                <a:gd name="T82" fmla="*/ 106 w 483"/>
                <a:gd name="T83" fmla="*/ 229 h 395"/>
                <a:gd name="T84" fmla="*/ 99 w 483"/>
                <a:gd name="T85" fmla="*/ 208 h 395"/>
                <a:gd name="T86" fmla="*/ 74 w 483"/>
                <a:gd name="T87" fmla="*/ 203 h 395"/>
                <a:gd name="T88" fmla="*/ 43 w 483"/>
                <a:gd name="T89" fmla="*/ 171 h 395"/>
                <a:gd name="T90" fmla="*/ 21 w 483"/>
                <a:gd name="T91" fmla="*/ 156 h 395"/>
                <a:gd name="T92" fmla="*/ 7 w 483"/>
                <a:gd name="T93" fmla="*/ 133 h 395"/>
                <a:gd name="T94" fmla="*/ 38 w 483"/>
                <a:gd name="T95" fmla="*/ 123 h 395"/>
                <a:gd name="T96" fmla="*/ 67 w 483"/>
                <a:gd name="T97" fmla="*/ 118 h 395"/>
                <a:gd name="T98" fmla="*/ 98 w 483"/>
                <a:gd name="T99" fmla="*/ 94 h 395"/>
                <a:gd name="T100" fmla="*/ 118 w 483"/>
                <a:gd name="T101" fmla="*/ 86 h 395"/>
                <a:gd name="T102" fmla="*/ 133 w 483"/>
                <a:gd name="T103" fmla="*/ 74 h 395"/>
                <a:gd name="T104" fmla="*/ 152 w 483"/>
                <a:gd name="T105" fmla="*/ 74 h 395"/>
                <a:gd name="T106" fmla="*/ 168 w 483"/>
                <a:gd name="T107" fmla="*/ 75 h 395"/>
                <a:gd name="T108" fmla="*/ 180 w 483"/>
                <a:gd name="T109" fmla="*/ 50 h 395"/>
                <a:gd name="T110" fmla="*/ 197 w 483"/>
                <a:gd name="T111" fmla="*/ 24 h 395"/>
                <a:gd name="T112" fmla="*/ 243 w 483"/>
                <a:gd name="T113" fmla="*/ 14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3" h="395">
                  <a:moveTo>
                    <a:pt x="343" y="92"/>
                  </a:moveTo>
                  <a:lnTo>
                    <a:pt x="342" y="89"/>
                  </a:lnTo>
                  <a:lnTo>
                    <a:pt x="343" y="87"/>
                  </a:lnTo>
                  <a:lnTo>
                    <a:pt x="343" y="92"/>
                  </a:lnTo>
                  <a:close/>
                  <a:moveTo>
                    <a:pt x="292" y="4"/>
                  </a:moveTo>
                  <a:lnTo>
                    <a:pt x="296" y="9"/>
                  </a:lnTo>
                  <a:lnTo>
                    <a:pt x="297" y="17"/>
                  </a:lnTo>
                  <a:lnTo>
                    <a:pt x="296" y="21"/>
                  </a:lnTo>
                  <a:lnTo>
                    <a:pt x="292" y="21"/>
                  </a:lnTo>
                  <a:lnTo>
                    <a:pt x="289" y="26"/>
                  </a:lnTo>
                  <a:lnTo>
                    <a:pt x="291" y="31"/>
                  </a:lnTo>
                  <a:lnTo>
                    <a:pt x="289" y="33"/>
                  </a:lnTo>
                  <a:lnTo>
                    <a:pt x="289" y="38"/>
                  </a:lnTo>
                  <a:lnTo>
                    <a:pt x="289" y="34"/>
                  </a:lnTo>
                  <a:lnTo>
                    <a:pt x="291" y="34"/>
                  </a:lnTo>
                  <a:lnTo>
                    <a:pt x="292" y="38"/>
                  </a:lnTo>
                  <a:lnTo>
                    <a:pt x="296" y="34"/>
                  </a:lnTo>
                  <a:lnTo>
                    <a:pt x="297" y="27"/>
                  </a:lnTo>
                  <a:lnTo>
                    <a:pt x="299" y="27"/>
                  </a:lnTo>
                  <a:lnTo>
                    <a:pt x="304" y="29"/>
                  </a:lnTo>
                  <a:lnTo>
                    <a:pt x="309" y="34"/>
                  </a:lnTo>
                  <a:lnTo>
                    <a:pt x="304" y="39"/>
                  </a:lnTo>
                  <a:lnTo>
                    <a:pt x="306" y="41"/>
                  </a:lnTo>
                  <a:lnTo>
                    <a:pt x="306" y="45"/>
                  </a:lnTo>
                  <a:lnTo>
                    <a:pt x="299" y="43"/>
                  </a:lnTo>
                  <a:lnTo>
                    <a:pt x="299" y="45"/>
                  </a:lnTo>
                  <a:lnTo>
                    <a:pt x="304" y="45"/>
                  </a:lnTo>
                  <a:lnTo>
                    <a:pt x="309" y="41"/>
                  </a:lnTo>
                  <a:lnTo>
                    <a:pt x="311" y="39"/>
                  </a:lnTo>
                  <a:lnTo>
                    <a:pt x="314" y="43"/>
                  </a:lnTo>
                  <a:lnTo>
                    <a:pt x="313" y="46"/>
                  </a:lnTo>
                  <a:lnTo>
                    <a:pt x="314" y="51"/>
                  </a:lnTo>
                  <a:lnTo>
                    <a:pt x="316" y="50"/>
                  </a:lnTo>
                  <a:lnTo>
                    <a:pt x="314" y="50"/>
                  </a:lnTo>
                  <a:lnTo>
                    <a:pt x="316" y="46"/>
                  </a:lnTo>
                  <a:lnTo>
                    <a:pt x="318" y="43"/>
                  </a:lnTo>
                  <a:lnTo>
                    <a:pt x="328" y="45"/>
                  </a:lnTo>
                  <a:lnTo>
                    <a:pt x="331" y="45"/>
                  </a:lnTo>
                  <a:lnTo>
                    <a:pt x="337" y="50"/>
                  </a:lnTo>
                  <a:lnTo>
                    <a:pt x="340" y="55"/>
                  </a:lnTo>
                  <a:lnTo>
                    <a:pt x="340" y="62"/>
                  </a:lnTo>
                  <a:lnTo>
                    <a:pt x="340" y="67"/>
                  </a:lnTo>
                  <a:lnTo>
                    <a:pt x="333" y="74"/>
                  </a:lnTo>
                  <a:lnTo>
                    <a:pt x="326" y="79"/>
                  </a:lnTo>
                  <a:lnTo>
                    <a:pt x="321" y="87"/>
                  </a:lnTo>
                  <a:lnTo>
                    <a:pt x="316" y="86"/>
                  </a:lnTo>
                  <a:lnTo>
                    <a:pt x="320" y="92"/>
                  </a:lnTo>
                  <a:lnTo>
                    <a:pt x="323" y="92"/>
                  </a:lnTo>
                  <a:lnTo>
                    <a:pt x="323" y="91"/>
                  </a:lnTo>
                  <a:lnTo>
                    <a:pt x="331" y="87"/>
                  </a:lnTo>
                  <a:lnTo>
                    <a:pt x="333" y="84"/>
                  </a:lnTo>
                  <a:lnTo>
                    <a:pt x="335" y="79"/>
                  </a:lnTo>
                  <a:lnTo>
                    <a:pt x="340" y="77"/>
                  </a:lnTo>
                  <a:lnTo>
                    <a:pt x="342" y="79"/>
                  </a:lnTo>
                  <a:lnTo>
                    <a:pt x="342" y="87"/>
                  </a:lnTo>
                  <a:lnTo>
                    <a:pt x="337" y="89"/>
                  </a:lnTo>
                  <a:lnTo>
                    <a:pt x="340" y="89"/>
                  </a:lnTo>
                  <a:lnTo>
                    <a:pt x="343" y="94"/>
                  </a:lnTo>
                  <a:lnTo>
                    <a:pt x="343" y="91"/>
                  </a:lnTo>
                  <a:lnTo>
                    <a:pt x="343" y="86"/>
                  </a:lnTo>
                  <a:lnTo>
                    <a:pt x="347" y="84"/>
                  </a:lnTo>
                  <a:lnTo>
                    <a:pt x="355" y="86"/>
                  </a:lnTo>
                  <a:lnTo>
                    <a:pt x="357" y="89"/>
                  </a:lnTo>
                  <a:lnTo>
                    <a:pt x="355" y="92"/>
                  </a:lnTo>
                  <a:lnTo>
                    <a:pt x="361" y="87"/>
                  </a:lnTo>
                  <a:lnTo>
                    <a:pt x="366" y="89"/>
                  </a:lnTo>
                  <a:lnTo>
                    <a:pt x="366" y="91"/>
                  </a:lnTo>
                  <a:lnTo>
                    <a:pt x="371" y="86"/>
                  </a:lnTo>
                  <a:lnTo>
                    <a:pt x="378" y="84"/>
                  </a:lnTo>
                  <a:lnTo>
                    <a:pt x="384" y="87"/>
                  </a:lnTo>
                  <a:lnTo>
                    <a:pt x="388" y="89"/>
                  </a:lnTo>
                  <a:lnTo>
                    <a:pt x="390" y="89"/>
                  </a:lnTo>
                  <a:lnTo>
                    <a:pt x="398" y="91"/>
                  </a:lnTo>
                  <a:lnTo>
                    <a:pt x="400" y="91"/>
                  </a:lnTo>
                  <a:lnTo>
                    <a:pt x="410" y="91"/>
                  </a:lnTo>
                  <a:lnTo>
                    <a:pt x="419" y="92"/>
                  </a:lnTo>
                  <a:lnTo>
                    <a:pt x="420" y="94"/>
                  </a:lnTo>
                  <a:lnTo>
                    <a:pt x="415" y="96"/>
                  </a:lnTo>
                  <a:lnTo>
                    <a:pt x="422" y="94"/>
                  </a:lnTo>
                  <a:lnTo>
                    <a:pt x="427" y="91"/>
                  </a:lnTo>
                  <a:lnTo>
                    <a:pt x="429" y="96"/>
                  </a:lnTo>
                  <a:lnTo>
                    <a:pt x="425" y="106"/>
                  </a:lnTo>
                  <a:lnTo>
                    <a:pt x="425" y="116"/>
                  </a:lnTo>
                  <a:lnTo>
                    <a:pt x="429" y="121"/>
                  </a:lnTo>
                  <a:lnTo>
                    <a:pt x="434" y="125"/>
                  </a:lnTo>
                  <a:lnTo>
                    <a:pt x="441" y="127"/>
                  </a:lnTo>
                  <a:lnTo>
                    <a:pt x="446" y="127"/>
                  </a:lnTo>
                  <a:lnTo>
                    <a:pt x="446" y="135"/>
                  </a:lnTo>
                  <a:lnTo>
                    <a:pt x="446" y="142"/>
                  </a:lnTo>
                  <a:lnTo>
                    <a:pt x="446" y="145"/>
                  </a:lnTo>
                  <a:lnTo>
                    <a:pt x="449" y="154"/>
                  </a:lnTo>
                  <a:lnTo>
                    <a:pt x="458" y="159"/>
                  </a:lnTo>
                  <a:lnTo>
                    <a:pt x="465" y="159"/>
                  </a:lnTo>
                  <a:lnTo>
                    <a:pt x="466" y="157"/>
                  </a:lnTo>
                  <a:lnTo>
                    <a:pt x="468" y="159"/>
                  </a:lnTo>
                  <a:lnTo>
                    <a:pt x="477" y="162"/>
                  </a:lnTo>
                  <a:lnTo>
                    <a:pt x="478" y="173"/>
                  </a:lnTo>
                  <a:lnTo>
                    <a:pt x="478" y="179"/>
                  </a:lnTo>
                  <a:lnTo>
                    <a:pt x="480" y="183"/>
                  </a:lnTo>
                  <a:lnTo>
                    <a:pt x="483" y="190"/>
                  </a:lnTo>
                  <a:lnTo>
                    <a:pt x="483" y="193"/>
                  </a:lnTo>
                  <a:lnTo>
                    <a:pt x="482" y="195"/>
                  </a:lnTo>
                  <a:lnTo>
                    <a:pt x="473" y="200"/>
                  </a:lnTo>
                  <a:lnTo>
                    <a:pt x="466" y="203"/>
                  </a:lnTo>
                  <a:lnTo>
                    <a:pt x="465" y="207"/>
                  </a:lnTo>
                  <a:lnTo>
                    <a:pt x="463" y="205"/>
                  </a:lnTo>
                  <a:lnTo>
                    <a:pt x="463" y="208"/>
                  </a:lnTo>
                  <a:lnTo>
                    <a:pt x="458" y="215"/>
                  </a:lnTo>
                  <a:lnTo>
                    <a:pt x="458" y="217"/>
                  </a:lnTo>
                  <a:lnTo>
                    <a:pt x="454" y="222"/>
                  </a:lnTo>
                  <a:lnTo>
                    <a:pt x="454" y="224"/>
                  </a:lnTo>
                  <a:lnTo>
                    <a:pt x="453" y="227"/>
                  </a:lnTo>
                  <a:lnTo>
                    <a:pt x="451" y="234"/>
                  </a:lnTo>
                  <a:lnTo>
                    <a:pt x="451" y="236"/>
                  </a:lnTo>
                  <a:lnTo>
                    <a:pt x="451" y="244"/>
                  </a:lnTo>
                  <a:lnTo>
                    <a:pt x="451" y="249"/>
                  </a:lnTo>
                  <a:lnTo>
                    <a:pt x="454" y="253"/>
                  </a:lnTo>
                  <a:lnTo>
                    <a:pt x="463" y="256"/>
                  </a:lnTo>
                  <a:lnTo>
                    <a:pt x="466" y="263"/>
                  </a:lnTo>
                  <a:lnTo>
                    <a:pt x="466" y="267"/>
                  </a:lnTo>
                  <a:lnTo>
                    <a:pt x="463" y="273"/>
                  </a:lnTo>
                  <a:lnTo>
                    <a:pt x="460" y="279"/>
                  </a:lnTo>
                  <a:lnTo>
                    <a:pt x="456" y="287"/>
                  </a:lnTo>
                  <a:lnTo>
                    <a:pt x="456" y="290"/>
                  </a:lnTo>
                  <a:lnTo>
                    <a:pt x="453" y="297"/>
                  </a:lnTo>
                  <a:lnTo>
                    <a:pt x="453" y="302"/>
                  </a:lnTo>
                  <a:lnTo>
                    <a:pt x="451" y="302"/>
                  </a:lnTo>
                  <a:lnTo>
                    <a:pt x="449" y="299"/>
                  </a:lnTo>
                  <a:lnTo>
                    <a:pt x="444" y="297"/>
                  </a:lnTo>
                  <a:lnTo>
                    <a:pt x="444" y="299"/>
                  </a:lnTo>
                  <a:lnTo>
                    <a:pt x="441" y="301"/>
                  </a:lnTo>
                  <a:lnTo>
                    <a:pt x="439" y="299"/>
                  </a:lnTo>
                  <a:lnTo>
                    <a:pt x="436" y="301"/>
                  </a:lnTo>
                  <a:lnTo>
                    <a:pt x="437" y="296"/>
                  </a:lnTo>
                  <a:lnTo>
                    <a:pt x="434" y="296"/>
                  </a:lnTo>
                  <a:lnTo>
                    <a:pt x="434" y="292"/>
                  </a:lnTo>
                  <a:lnTo>
                    <a:pt x="432" y="294"/>
                  </a:lnTo>
                  <a:lnTo>
                    <a:pt x="430" y="294"/>
                  </a:lnTo>
                  <a:lnTo>
                    <a:pt x="429" y="292"/>
                  </a:lnTo>
                  <a:lnTo>
                    <a:pt x="430" y="289"/>
                  </a:lnTo>
                  <a:lnTo>
                    <a:pt x="427" y="289"/>
                  </a:lnTo>
                  <a:lnTo>
                    <a:pt x="425" y="290"/>
                  </a:lnTo>
                  <a:lnTo>
                    <a:pt x="424" y="290"/>
                  </a:lnTo>
                  <a:lnTo>
                    <a:pt x="427" y="284"/>
                  </a:lnTo>
                  <a:lnTo>
                    <a:pt x="425" y="280"/>
                  </a:lnTo>
                  <a:lnTo>
                    <a:pt x="422" y="279"/>
                  </a:lnTo>
                  <a:lnTo>
                    <a:pt x="425" y="277"/>
                  </a:lnTo>
                  <a:lnTo>
                    <a:pt x="424" y="275"/>
                  </a:lnTo>
                  <a:lnTo>
                    <a:pt x="422" y="277"/>
                  </a:lnTo>
                  <a:lnTo>
                    <a:pt x="420" y="275"/>
                  </a:lnTo>
                  <a:lnTo>
                    <a:pt x="420" y="272"/>
                  </a:lnTo>
                  <a:lnTo>
                    <a:pt x="417" y="270"/>
                  </a:lnTo>
                  <a:lnTo>
                    <a:pt x="415" y="272"/>
                  </a:lnTo>
                  <a:lnTo>
                    <a:pt x="413" y="268"/>
                  </a:lnTo>
                  <a:lnTo>
                    <a:pt x="415" y="265"/>
                  </a:lnTo>
                  <a:lnTo>
                    <a:pt x="412" y="265"/>
                  </a:lnTo>
                  <a:lnTo>
                    <a:pt x="410" y="263"/>
                  </a:lnTo>
                  <a:lnTo>
                    <a:pt x="403" y="263"/>
                  </a:lnTo>
                  <a:lnTo>
                    <a:pt x="405" y="258"/>
                  </a:lnTo>
                  <a:lnTo>
                    <a:pt x="401" y="256"/>
                  </a:lnTo>
                  <a:lnTo>
                    <a:pt x="395" y="260"/>
                  </a:lnTo>
                  <a:lnTo>
                    <a:pt x="393" y="253"/>
                  </a:lnTo>
                  <a:lnTo>
                    <a:pt x="391" y="251"/>
                  </a:lnTo>
                  <a:lnTo>
                    <a:pt x="388" y="258"/>
                  </a:lnTo>
                  <a:lnTo>
                    <a:pt x="386" y="260"/>
                  </a:lnTo>
                  <a:lnTo>
                    <a:pt x="388" y="265"/>
                  </a:lnTo>
                  <a:lnTo>
                    <a:pt x="384" y="268"/>
                  </a:lnTo>
                  <a:lnTo>
                    <a:pt x="381" y="273"/>
                  </a:lnTo>
                  <a:lnTo>
                    <a:pt x="379" y="270"/>
                  </a:lnTo>
                  <a:lnTo>
                    <a:pt x="376" y="270"/>
                  </a:lnTo>
                  <a:lnTo>
                    <a:pt x="372" y="273"/>
                  </a:lnTo>
                  <a:lnTo>
                    <a:pt x="372" y="277"/>
                  </a:lnTo>
                  <a:lnTo>
                    <a:pt x="369" y="277"/>
                  </a:lnTo>
                  <a:lnTo>
                    <a:pt x="367" y="282"/>
                  </a:lnTo>
                  <a:lnTo>
                    <a:pt x="364" y="285"/>
                  </a:lnTo>
                  <a:lnTo>
                    <a:pt x="366" y="289"/>
                  </a:lnTo>
                  <a:lnTo>
                    <a:pt x="364" y="289"/>
                  </a:lnTo>
                  <a:lnTo>
                    <a:pt x="359" y="296"/>
                  </a:lnTo>
                  <a:lnTo>
                    <a:pt x="359" y="299"/>
                  </a:lnTo>
                  <a:lnTo>
                    <a:pt x="355" y="301"/>
                  </a:lnTo>
                  <a:lnTo>
                    <a:pt x="354" y="304"/>
                  </a:lnTo>
                  <a:lnTo>
                    <a:pt x="349" y="304"/>
                  </a:lnTo>
                  <a:lnTo>
                    <a:pt x="345" y="308"/>
                  </a:lnTo>
                  <a:lnTo>
                    <a:pt x="338" y="309"/>
                  </a:lnTo>
                  <a:lnTo>
                    <a:pt x="337" y="313"/>
                  </a:lnTo>
                  <a:lnTo>
                    <a:pt x="330" y="313"/>
                  </a:lnTo>
                  <a:lnTo>
                    <a:pt x="328" y="316"/>
                  </a:lnTo>
                  <a:lnTo>
                    <a:pt x="323" y="313"/>
                  </a:lnTo>
                  <a:lnTo>
                    <a:pt x="318" y="316"/>
                  </a:lnTo>
                  <a:lnTo>
                    <a:pt x="311" y="314"/>
                  </a:lnTo>
                  <a:lnTo>
                    <a:pt x="308" y="313"/>
                  </a:lnTo>
                  <a:lnTo>
                    <a:pt x="306" y="309"/>
                  </a:lnTo>
                  <a:lnTo>
                    <a:pt x="302" y="313"/>
                  </a:lnTo>
                  <a:lnTo>
                    <a:pt x="297" y="314"/>
                  </a:lnTo>
                  <a:lnTo>
                    <a:pt x="289" y="321"/>
                  </a:lnTo>
                  <a:lnTo>
                    <a:pt x="285" y="320"/>
                  </a:lnTo>
                  <a:lnTo>
                    <a:pt x="282" y="325"/>
                  </a:lnTo>
                  <a:lnTo>
                    <a:pt x="279" y="326"/>
                  </a:lnTo>
                  <a:lnTo>
                    <a:pt x="277" y="328"/>
                  </a:lnTo>
                  <a:lnTo>
                    <a:pt x="272" y="335"/>
                  </a:lnTo>
                  <a:lnTo>
                    <a:pt x="272" y="343"/>
                  </a:lnTo>
                  <a:lnTo>
                    <a:pt x="270" y="345"/>
                  </a:lnTo>
                  <a:lnTo>
                    <a:pt x="272" y="355"/>
                  </a:lnTo>
                  <a:lnTo>
                    <a:pt x="272" y="357"/>
                  </a:lnTo>
                  <a:lnTo>
                    <a:pt x="268" y="361"/>
                  </a:lnTo>
                  <a:lnTo>
                    <a:pt x="267" y="366"/>
                  </a:lnTo>
                  <a:lnTo>
                    <a:pt x="267" y="369"/>
                  </a:lnTo>
                  <a:lnTo>
                    <a:pt x="270" y="367"/>
                  </a:lnTo>
                  <a:lnTo>
                    <a:pt x="268" y="369"/>
                  </a:lnTo>
                  <a:lnTo>
                    <a:pt x="268" y="376"/>
                  </a:lnTo>
                  <a:lnTo>
                    <a:pt x="272" y="381"/>
                  </a:lnTo>
                  <a:lnTo>
                    <a:pt x="277" y="381"/>
                  </a:lnTo>
                  <a:lnTo>
                    <a:pt x="272" y="388"/>
                  </a:lnTo>
                  <a:lnTo>
                    <a:pt x="270" y="390"/>
                  </a:lnTo>
                  <a:lnTo>
                    <a:pt x="267" y="386"/>
                  </a:lnTo>
                  <a:lnTo>
                    <a:pt x="265" y="390"/>
                  </a:lnTo>
                  <a:lnTo>
                    <a:pt x="261" y="390"/>
                  </a:lnTo>
                  <a:lnTo>
                    <a:pt x="258" y="386"/>
                  </a:lnTo>
                  <a:lnTo>
                    <a:pt x="256" y="388"/>
                  </a:lnTo>
                  <a:lnTo>
                    <a:pt x="255" y="391"/>
                  </a:lnTo>
                  <a:lnTo>
                    <a:pt x="250" y="395"/>
                  </a:lnTo>
                  <a:lnTo>
                    <a:pt x="243" y="393"/>
                  </a:lnTo>
                  <a:lnTo>
                    <a:pt x="239" y="391"/>
                  </a:lnTo>
                  <a:lnTo>
                    <a:pt x="238" y="391"/>
                  </a:lnTo>
                  <a:lnTo>
                    <a:pt x="227" y="393"/>
                  </a:lnTo>
                  <a:lnTo>
                    <a:pt x="224" y="390"/>
                  </a:lnTo>
                  <a:lnTo>
                    <a:pt x="217" y="393"/>
                  </a:lnTo>
                  <a:lnTo>
                    <a:pt x="215" y="386"/>
                  </a:lnTo>
                  <a:lnTo>
                    <a:pt x="210" y="383"/>
                  </a:lnTo>
                  <a:lnTo>
                    <a:pt x="212" y="379"/>
                  </a:lnTo>
                  <a:lnTo>
                    <a:pt x="205" y="379"/>
                  </a:lnTo>
                  <a:lnTo>
                    <a:pt x="205" y="376"/>
                  </a:lnTo>
                  <a:lnTo>
                    <a:pt x="203" y="376"/>
                  </a:lnTo>
                  <a:lnTo>
                    <a:pt x="203" y="374"/>
                  </a:lnTo>
                  <a:lnTo>
                    <a:pt x="202" y="372"/>
                  </a:lnTo>
                  <a:lnTo>
                    <a:pt x="197" y="371"/>
                  </a:lnTo>
                  <a:lnTo>
                    <a:pt x="193" y="371"/>
                  </a:lnTo>
                  <a:lnTo>
                    <a:pt x="197" y="367"/>
                  </a:lnTo>
                  <a:lnTo>
                    <a:pt x="197" y="364"/>
                  </a:lnTo>
                  <a:lnTo>
                    <a:pt x="192" y="357"/>
                  </a:lnTo>
                  <a:lnTo>
                    <a:pt x="185" y="355"/>
                  </a:lnTo>
                  <a:lnTo>
                    <a:pt x="188" y="350"/>
                  </a:lnTo>
                  <a:lnTo>
                    <a:pt x="186" y="347"/>
                  </a:lnTo>
                  <a:lnTo>
                    <a:pt x="181" y="347"/>
                  </a:lnTo>
                  <a:lnTo>
                    <a:pt x="176" y="352"/>
                  </a:lnTo>
                  <a:lnTo>
                    <a:pt x="171" y="354"/>
                  </a:lnTo>
                  <a:lnTo>
                    <a:pt x="164" y="347"/>
                  </a:lnTo>
                  <a:lnTo>
                    <a:pt x="161" y="345"/>
                  </a:lnTo>
                  <a:lnTo>
                    <a:pt x="164" y="338"/>
                  </a:lnTo>
                  <a:lnTo>
                    <a:pt x="164" y="333"/>
                  </a:lnTo>
                  <a:lnTo>
                    <a:pt x="169" y="326"/>
                  </a:lnTo>
                  <a:lnTo>
                    <a:pt x="168" y="323"/>
                  </a:lnTo>
                  <a:lnTo>
                    <a:pt x="157" y="321"/>
                  </a:lnTo>
                  <a:lnTo>
                    <a:pt x="152" y="320"/>
                  </a:lnTo>
                  <a:lnTo>
                    <a:pt x="149" y="314"/>
                  </a:lnTo>
                  <a:lnTo>
                    <a:pt x="139" y="313"/>
                  </a:lnTo>
                  <a:lnTo>
                    <a:pt x="137" y="313"/>
                  </a:lnTo>
                  <a:lnTo>
                    <a:pt x="133" y="313"/>
                  </a:lnTo>
                  <a:lnTo>
                    <a:pt x="128" y="314"/>
                  </a:lnTo>
                  <a:lnTo>
                    <a:pt x="127" y="313"/>
                  </a:lnTo>
                  <a:lnTo>
                    <a:pt x="122" y="314"/>
                  </a:lnTo>
                  <a:lnTo>
                    <a:pt x="118" y="311"/>
                  </a:lnTo>
                  <a:lnTo>
                    <a:pt x="120" y="308"/>
                  </a:lnTo>
                  <a:lnTo>
                    <a:pt x="113" y="302"/>
                  </a:lnTo>
                  <a:lnTo>
                    <a:pt x="110" y="299"/>
                  </a:lnTo>
                  <a:lnTo>
                    <a:pt x="103" y="296"/>
                  </a:lnTo>
                  <a:lnTo>
                    <a:pt x="103" y="290"/>
                  </a:lnTo>
                  <a:lnTo>
                    <a:pt x="104" y="289"/>
                  </a:lnTo>
                  <a:lnTo>
                    <a:pt x="108" y="290"/>
                  </a:lnTo>
                  <a:lnTo>
                    <a:pt x="113" y="285"/>
                  </a:lnTo>
                  <a:lnTo>
                    <a:pt x="108" y="285"/>
                  </a:lnTo>
                  <a:lnTo>
                    <a:pt x="103" y="280"/>
                  </a:lnTo>
                  <a:lnTo>
                    <a:pt x="96" y="284"/>
                  </a:lnTo>
                  <a:lnTo>
                    <a:pt x="94" y="280"/>
                  </a:lnTo>
                  <a:lnTo>
                    <a:pt x="91" y="282"/>
                  </a:lnTo>
                  <a:lnTo>
                    <a:pt x="91" y="280"/>
                  </a:lnTo>
                  <a:lnTo>
                    <a:pt x="87" y="277"/>
                  </a:lnTo>
                  <a:lnTo>
                    <a:pt x="86" y="273"/>
                  </a:lnTo>
                  <a:lnTo>
                    <a:pt x="84" y="273"/>
                  </a:lnTo>
                  <a:lnTo>
                    <a:pt x="82" y="272"/>
                  </a:lnTo>
                  <a:lnTo>
                    <a:pt x="75" y="267"/>
                  </a:lnTo>
                  <a:lnTo>
                    <a:pt x="72" y="261"/>
                  </a:lnTo>
                  <a:lnTo>
                    <a:pt x="67" y="260"/>
                  </a:lnTo>
                  <a:lnTo>
                    <a:pt x="70" y="258"/>
                  </a:lnTo>
                  <a:lnTo>
                    <a:pt x="72" y="256"/>
                  </a:lnTo>
                  <a:lnTo>
                    <a:pt x="81" y="253"/>
                  </a:lnTo>
                  <a:lnTo>
                    <a:pt x="82" y="244"/>
                  </a:lnTo>
                  <a:lnTo>
                    <a:pt x="89" y="238"/>
                  </a:lnTo>
                  <a:lnTo>
                    <a:pt x="87" y="234"/>
                  </a:lnTo>
                  <a:lnTo>
                    <a:pt x="91" y="227"/>
                  </a:lnTo>
                  <a:lnTo>
                    <a:pt x="96" y="229"/>
                  </a:lnTo>
                  <a:lnTo>
                    <a:pt x="101" y="238"/>
                  </a:lnTo>
                  <a:lnTo>
                    <a:pt x="106" y="232"/>
                  </a:lnTo>
                  <a:lnTo>
                    <a:pt x="106" y="229"/>
                  </a:lnTo>
                  <a:lnTo>
                    <a:pt x="111" y="226"/>
                  </a:lnTo>
                  <a:lnTo>
                    <a:pt x="111" y="224"/>
                  </a:lnTo>
                  <a:lnTo>
                    <a:pt x="113" y="220"/>
                  </a:lnTo>
                  <a:lnTo>
                    <a:pt x="113" y="212"/>
                  </a:lnTo>
                  <a:lnTo>
                    <a:pt x="111" y="208"/>
                  </a:lnTo>
                  <a:lnTo>
                    <a:pt x="108" y="207"/>
                  </a:lnTo>
                  <a:lnTo>
                    <a:pt x="99" y="208"/>
                  </a:lnTo>
                  <a:lnTo>
                    <a:pt x="99" y="205"/>
                  </a:lnTo>
                  <a:lnTo>
                    <a:pt x="99" y="203"/>
                  </a:lnTo>
                  <a:lnTo>
                    <a:pt x="98" y="205"/>
                  </a:lnTo>
                  <a:lnTo>
                    <a:pt x="91" y="205"/>
                  </a:lnTo>
                  <a:lnTo>
                    <a:pt x="86" y="198"/>
                  </a:lnTo>
                  <a:lnTo>
                    <a:pt x="82" y="202"/>
                  </a:lnTo>
                  <a:lnTo>
                    <a:pt x="74" y="203"/>
                  </a:lnTo>
                  <a:lnTo>
                    <a:pt x="69" y="207"/>
                  </a:lnTo>
                  <a:lnTo>
                    <a:pt x="65" y="203"/>
                  </a:lnTo>
                  <a:lnTo>
                    <a:pt x="60" y="200"/>
                  </a:lnTo>
                  <a:lnTo>
                    <a:pt x="53" y="195"/>
                  </a:lnTo>
                  <a:lnTo>
                    <a:pt x="52" y="188"/>
                  </a:lnTo>
                  <a:lnTo>
                    <a:pt x="52" y="176"/>
                  </a:lnTo>
                  <a:lnTo>
                    <a:pt x="43" y="171"/>
                  </a:lnTo>
                  <a:lnTo>
                    <a:pt x="38" y="169"/>
                  </a:lnTo>
                  <a:lnTo>
                    <a:pt x="31" y="173"/>
                  </a:lnTo>
                  <a:lnTo>
                    <a:pt x="28" y="169"/>
                  </a:lnTo>
                  <a:lnTo>
                    <a:pt x="24" y="169"/>
                  </a:lnTo>
                  <a:lnTo>
                    <a:pt x="23" y="168"/>
                  </a:lnTo>
                  <a:lnTo>
                    <a:pt x="19" y="157"/>
                  </a:lnTo>
                  <a:lnTo>
                    <a:pt x="21" y="156"/>
                  </a:lnTo>
                  <a:lnTo>
                    <a:pt x="16" y="154"/>
                  </a:lnTo>
                  <a:lnTo>
                    <a:pt x="9" y="149"/>
                  </a:lnTo>
                  <a:lnTo>
                    <a:pt x="9" y="145"/>
                  </a:lnTo>
                  <a:lnTo>
                    <a:pt x="2" y="138"/>
                  </a:lnTo>
                  <a:lnTo>
                    <a:pt x="0" y="137"/>
                  </a:lnTo>
                  <a:lnTo>
                    <a:pt x="4" y="137"/>
                  </a:lnTo>
                  <a:lnTo>
                    <a:pt x="7" y="133"/>
                  </a:lnTo>
                  <a:lnTo>
                    <a:pt x="14" y="128"/>
                  </a:lnTo>
                  <a:lnTo>
                    <a:pt x="21" y="127"/>
                  </a:lnTo>
                  <a:lnTo>
                    <a:pt x="23" y="121"/>
                  </a:lnTo>
                  <a:lnTo>
                    <a:pt x="24" y="120"/>
                  </a:lnTo>
                  <a:lnTo>
                    <a:pt x="28" y="120"/>
                  </a:lnTo>
                  <a:lnTo>
                    <a:pt x="31" y="123"/>
                  </a:lnTo>
                  <a:lnTo>
                    <a:pt x="38" y="123"/>
                  </a:lnTo>
                  <a:lnTo>
                    <a:pt x="41" y="127"/>
                  </a:lnTo>
                  <a:lnTo>
                    <a:pt x="48" y="128"/>
                  </a:lnTo>
                  <a:lnTo>
                    <a:pt x="53" y="128"/>
                  </a:lnTo>
                  <a:lnTo>
                    <a:pt x="57" y="125"/>
                  </a:lnTo>
                  <a:lnTo>
                    <a:pt x="63" y="127"/>
                  </a:lnTo>
                  <a:lnTo>
                    <a:pt x="67" y="125"/>
                  </a:lnTo>
                  <a:lnTo>
                    <a:pt x="67" y="118"/>
                  </a:lnTo>
                  <a:lnTo>
                    <a:pt x="77" y="115"/>
                  </a:lnTo>
                  <a:lnTo>
                    <a:pt x="79" y="111"/>
                  </a:lnTo>
                  <a:lnTo>
                    <a:pt x="82" y="115"/>
                  </a:lnTo>
                  <a:lnTo>
                    <a:pt x="82" y="111"/>
                  </a:lnTo>
                  <a:lnTo>
                    <a:pt x="87" y="108"/>
                  </a:lnTo>
                  <a:lnTo>
                    <a:pt x="91" y="101"/>
                  </a:lnTo>
                  <a:lnTo>
                    <a:pt x="98" y="94"/>
                  </a:lnTo>
                  <a:lnTo>
                    <a:pt x="94" y="87"/>
                  </a:lnTo>
                  <a:lnTo>
                    <a:pt x="98" y="80"/>
                  </a:lnTo>
                  <a:lnTo>
                    <a:pt x="101" y="82"/>
                  </a:lnTo>
                  <a:lnTo>
                    <a:pt x="103" y="84"/>
                  </a:lnTo>
                  <a:lnTo>
                    <a:pt x="108" y="84"/>
                  </a:lnTo>
                  <a:lnTo>
                    <a:pt x="115" y="86"/>
                  </a:lnTo>
                  <a:lnTo>
                    <a:pt x="118" y="86"/>
                  </a:lnTo>
                  <a:lnTo>
                    <a:pt x="118" y="82"/>
                  </a:lnTo>
                  <a:lnTo>
                    <a:pt x="122" y="86"/>
                  </a:lnTo>
                  <a:lnTo>
                    <a:pt x="130" y="87"/>
                  </a:lnTo>
                  <a:lnTo>
                    <a:pt x="133" y="84"/>
                  </a:lnTo>
                  <a:lnTo>
                    <a:pt x="137" y="82"/>
                  </a:lnTo>
                  <a:lnTo>
                    <a:pt x="137" y="77"/>
                  </a:lnTo>
                  <a:lnTo>
                    <a:pt x="133" y="74"/>
                  </a:lnTo>
                  <a:lnTo>
                    <a:pt x="133" y="68"/>
                  </a:lnTo>
                  <a:lnTo>
                    <a:pt x="135" y="63"/>
                  </a:lnTo>
                  <a:lnTo>
                    <a:pt x="139" y="62"/>
                  </a:lnTo>
                  <a:lnTo>
                    <a:pt x="144" y="60"/>
                  </a:lnTo>
                  <a:lnTo>
                    <a:pt x="147" y="65"/>
                  </a:lnTo>
                  <a:lnTo>
                    <a:pt x="149" y="72"/>
                  </a:lnTo>
                  <a:lnTo>
                    <a:pt x="152" y="74"/>
                  </a:lnTo>
                  <a:lnTo>
                    <a:pt x="154" y="75"/>
                  </a:lnTo>
                  <a:lnTo>
                    <a:pt x="157" y="79"/>
                  </a:lnTo>
                  <a:lnTo>
                    <a:pt x="161" y="84"/>
                  </a:lnTo>
                  <a:lnTo>
                    <a:pt x="168" y="87"/>
                  </a:lnTo>
                  <a:lnTo>
                    <a:pt x="168" y="86"/>
                  </a:lnTo>
                  <a:lnTo>
                    <a:pt x="166" y="82"/>
                  </a:lnTo>
                  <a:lnTo>
                    <a:pt x="168" y="75"/>
                  </a:lnTo>
                  <a:lnTo>
                    <a:pt x="166" y="68"/>
                  </a:lnTo>
                  <a:lnTo>
                    <a:pt x="168" y="67"/>
                  </a:lnTo>
                  <a:lnTo>
                    <a:pt x="176" y="65"/>
                  </a:lnTo>
                  <a:lnTo>
                    <a:pt x="180" y="62"/>
                  </a:lnTo>
                  <a:lnTo>
                    <a:pt x="174" y="56"/>
                  </a:lnTo>
                  <a:lnTo>
                    <a:pt x="174" y="53"/>
                  </a:lnTo>
                  <a:lnTo>
                    <a:pt x="180" y="50"/>
                  </a:lnTo>
                  <a:lnTo>
                    <a:pt x="180" y="45"/>
                  </a:lnTo>
                  <a:lnTo>
                    <a:pt x="173" y="39"/>
                  </a:lnTo>
                  <a:lnTo>
                    <a:pt x="174" y="34"/>
                  </a:lnTo>
                  <a:lnTo>
                    <a:pt x="178" y="31"/>
                  </a:lnTo>
                  <a:lnTo>
                    <a:pt x="185" y="26"/>
                  </a:lnTo>
                  <a:lnTo>
                    <a:pt x="192" y="26"/>
                  </a:lnTo>
                  <a:lnTo>
                    <a:pt x="197" y="24"/>
                  </a:lnTo>
                  <a:lnTo>
                    <a:pt x="205" y="22"/>
                  </a:lnTo>
                  <a:lnTo>
                    <a:pt x="207" y="21"/>
                  </a:lnTo>
                  <a:lnTo>
                    <a:pt x="212" y="21"/>
                  </a:lnTo>
                  <a:lnTo>
                    <a:pt x="221" y="19"/>
                  </a:lnTo>
                  <a:lnTo>
                    <a:pt x="226" y="17"/>
                  </a:lnTo>
                  <a:lnTo>
                    <a:pt x="231" y="15"/>
                  </a:lnTo>
                  <a:lnTo>
                    <a:pt x="243" y="14"/>
                  </a:lnTo>
                  <a:lnTo>
                    <a:pt x="251" y="10"/>
                  </a:lnTo>
                  <a:lnTo>
                    <a:pt x="273" y="5"/>
                  </a:lnTo>
                  <a:lnTo>
                    <a:pt x="275" y="2"/>
                  </a:lnTo>
                  <a:lnTo>
                    <a:pt x="280" y="0"/>
                  </a:lnTo>
                  <a:lnTo>
                    <a:pt x="287" y="0"/>
                  </a:lnTo>
                  <a:lnTo>
                    <a:pt x="292" y="4"/>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7" name="Freeform 74"/>
            <p:cNvSpPr>
              <a:spLocks noEditPoints="1"/>
            </p:cNvSpPr>
            <p:nvPr/>
          </p:nvSpPr>
          <p:spPr bwMode="gray">
            <a:xfrm>
              <a:off x="2750448" y="3970117"/>
              <a:ext cx="510771" cy="532661"/>
            </a:xfrm>
            <a:custGeom>
              <a:avLst/>
              <a:gdLst>
                <a:gd name="T0" fmla="*/ 224 w 280"/>
                <a:gd name="T1" fmla="*/ 289 h 292"/>
                <a:gd name="T2" fmla="*/ 224 w 280"/>
                <a:gd name="T3" fmla="*/ 282 h 292"/>
                <a:gd name="T4" fmla="*/ 217 w 280"/>
                <a:gd name="T5" fmla="*/ 285 h 292"/>
                <a:gd name="T6" fmla="*/ 260 w 280"/>
                <a:gd name="T7" fmla="*/ 258 h 292"/>
                <a:gd name="T8" fmla="*/ 236 w 280"/>
                <a:gd name="T9" fmla="*/ 256 h 292"/>
                <a:gd name="T10" fmla="*/ 265 w 280"/>
                <a:gd name="T11" fmla="*/ 255 h 292"/>
                <a:gd name="T12" fmla="*/ 205 w 280"/>
                <a:gd name="T13" fmla="*/ 253 h 292"/>
                <a:gd name="T14" fmla="*/ 207 w 280"/>
                <a:gd name="T15" fmla="*/ 248 h 292"/>
                <a:gd name="T16" fmla="*/ 152 w 280"/>
                <a:gd name="T17" fmla="*/ 248 h 292"/>
                <a:gd name="T18" fmla="*/ 195 w 280"/>
                <a:gd name="T19" fmla="*/ 239 h 292"/>
                <a:gd name="T20" fmla="*/ 200 w 280"/>
                <a:gd name="T21" fmla="*/ 229 h 292"/>
                <a:gd name="T22" fmla="*/ 270 w 280"/>
                <a:gd name="T23" fmla="*/ 55 h 292"/>
                <a:gd name="T24" fmla="*/ 275 w 280"/>
                <a:gd name="T25" fmla="*/ 82 h 292"/>
                <a:gd name="T26" fmla="*/ 277 w 280"/>
                <a:gd name="T27" fmla="*/ 108 h 292"/>
                <a:gd name="T28" fmla="*/ 275 w 280"/>
                <a:gd name="T29" fmla="*/ 135 h 292"/>
                <a:gd name="T30" fmla="*/ 273 w 280"/>
                <a:gd name="T31" fmla="*/ 174 h 292"/>
                <a:gd name="T32" fmla="*/ 268 w 280"/>
                <a:gd name="T33" fmla="*/ 222 h 292"/>
                <a:gd name="T34" fmla="*/ 261 w 280"/>
                <a:gd name="T35" fmla="*/ 256 h 292"/>
                <a:gd name="T36" fmla="*/ 241 w 280"/>
                <a:gd name="T37" fmla="*/ 250 h 292"/>
                <a:gd name="T38" fmla="*/ 234 w 280"/>
                <a:gd name="T39" fmla="*/ 232 h 292"/>
                <a:gd name="T40" fmla="*/ 210 w 280"/>
                <a:gd name="T41" fmla="*/ 212 h 292"/>
                <a:gd name="T42" fmla="*/ 200 w 280"/>
                <a:gd name="T43" fmla="*/ 217 h 292"/>
                <a:gd name="T44" fmla="*/ 193 w 280"/>
                <a:gd name="T45" fmla="*/ 231 h 292"/>
                <a:gd name="T46" fmla="*/ 191 w 280"/>
                <a:gd name="T47" fmla="*/ 246 h 292"/>
                <a:gd name="T48" fmla="*/ 190 w 280"/>
                <a:gd name="T49" fmla="*/ 250 h 292"/>
                <a:gd name="T50" fmla="*/ 181 w 280"/>
                <a:gd name="T51" fmla="*/ 246 h 292"/>
                <a:gd name="T52" fmla="*/ 173 w 280"/>
                <a:gd name="T53" fmla="*/ 241 h 292"/>
                <a:gd name="T54" fmla="*/ 159 w 280"/>
                <a:gd name="T55" fmla="*/ 234 h 292"/>
                <a:gd name="T56" fmla="*/ 135 w 280"/>
                <a:gd name="T57" fmla="*/ 215 h 292"/>
                <a:gd name="T58" fmla="*/ 120 w 280"/>
                <a:gd name="T59" fmla="*/ 226 h 292"/>
                <a:gd name="T60" fmla="*/ 135 w 280"/>
                <a:gd name="T61" fmla="*/ 251 h 292"/>
                <a:gd name="T62" fmla="*/ 121 w 280"/>
                <a:gd name="T63" fmla="*/ 265 h 292"/>
                <a:gd name="T64" fmla="*/ 104 w 280"/>
                <a:gd name="T65" fmla="*/ 244 h 292"/>
                <a:gd name="T66" fmla="*/ 82 w 280"/>
                <a:gd name="T67" fmla="*/ 217 h 292"/>
                <a:gd name="T68" fmla="*/ 58 w 280"/>
                <a:gd name="T69" fmla="*/ 198 h 292"/>
                <a:gd name="T70" fmla="*/ 40 w 280"/>
                <a:gd name="T71" fmla="*/ 180 h 292"/>
                <a:gd name="T72" fmla="*/ 26 w 280"/>
                <a:gd name="T73" fmla="*/ 157 h 292"/>
                <a:gd name="T74" fmla="*/ 11 w 280"/>
                <a:gd name="T75" fmla="*/ 149 h 292"/>
                <a:gd name="T76" fmla="*/ 16 w 280"/>
                <a:gd name="T77" fmla="*/ 130 h 292"/>
                <a:gd name="T78" fmla="*/ 29 w 280"/>
                <a:gd name="T79" fmla="*/ 132 h 292"/>
                <a:gd name="T80" fmla="*/ 58 w 280"/>
                <a:gd name="T81" fmla="*/ 140 h 292"/>
                <a:gd name="T82" fmla="*/ 80 w 280"/>
                <a:gd name="T83" fmla="*/ 139 h 292"/>
                <a:gd name="T84" fmla="*/ 91 w 280"/>
                <a:gd name="T85" fmla="*/ 130 h 292"/>
                <a:gd name="T86" fmla="*/ 87 w 280"/>
                <a:gd name="T87" fmla="*/ 110 h 292"/>
                <a:gd name="T88" fmla="*/ 96 w 280"/>
                <a:gd name="T89" fmla="*/ 77 h 292"/>
                <a:gd name="T90" fmla="*/ 121 w 280"/>
                <a:gd name="T91" fmla="*/ 62 h 292"/>
                <a:gd name="T92" fmla="*/ 147 w 280"/>
                <a:gd name="T93" fmla="*/ 65 h 292"/>
                <a:gd name="T94" fmla="*/ 173 w 280"/>
                <a:gd name="T95" fmla="*/ 53 h 292"/>
                <a:gd name="T96" fmla="*/ 183 w 280"/>
                <a:gd name="T97" fmla="*/ 34 h 292"/>
                <a:gd name="T98" fmla="*/ 198 w 280"/>
                <a:gd name="T99" fmla="*/ 19 h 292"/>
                <a:gd name="T100" fmla="*/ 210 w 280"/>
                <a:gd name="T101" fmla="*/ 0 h 292"/>
                <a:gd name="T102" fmla="*/ 229 w 280"/>
                <a:gd name="T103" fmla="*/ 12 h 292"/>
                <a:gd name="T104" fmla="*/ 239 w 280"/>
                <a:gd name="T105" fmla="*/ 21 h 292"/>
                <a:gd name="T106" fmla="*/ 244 w 280"/>
                <a:gd name="T107" fmla="*/ 29 h 292"/>
                <a:gd name="T108" fmla="*/ 248 w 280"/>
                <a:gd name="T109" fmla="*/ 41 h 292"/>
                <a:gd name="T110" fmla="*/ 255 w 280"/>
                <a:gd name="T111" fmla="*/ 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292">
                  <a:moveTo>
                    <a:pt x="224" y="289"/>
                  </a:moveTo>
                  <a:lnTo>
                    <a:pt x="226" y="291"/>
                  </a:lnTo>
                  <a:lnTo>
                    <a:pt x="226" y="292"/>
                  </a:lnTo>
                  <a:lnTo>
                    <a:pt x="220" y="291"/>
                  </a:lnTo>
                  <a:lnTo>
                    <a:pt x="220" y="289"/>
                  </a:lnTo>
                  <a:lnTo>
                    <a:pt x="224" y="289"/>
                  </a:lnTo>
                  <a:close/>
                  <a:moveTo>
                    <a:pt x="222" y="284"/>
                  </a:moveTo>
                  <a:lnTo>
                    <a:pt x="222" y="285"/>
                  </a:lnTo>
                  <a:lnTo>
                    <a:pt x="220" y="285"/>
                  </a:lnTo>
                  <a:lnTo>
                    <a:pt x="222" y="284"/>
                  </a:lnTo>
                  <a:close/>
                  <a:moveTo>
                    <a:pt x="226" y="285"/>
                  </a:moveTo>
                  <a:lnTo>
                    <a:pt x="224" y="282"/>
                  </a:lnTo>
                  <a:lnTo>
                    <a:pt x="226" y="284"/>
                  </a:lnTo>
                  <a:lnTo>
                    <a:pt x="226" y="285"/>
                  </a:lnTo>
                  <a:close/>
                  <a:moveTo>
                    <a:pt x="217" y="285"/>
                  </a:moveTo>
                  <a:lnTo>
                    <a:pt x="214" y="285"/>
                  </a:lnTo>
                  <a:lnTo>
                    <a:pt x="219" y="282"/>
                  </a:lnTo>
                  <a:lnTo>
                    <a:pt x="217" y="285"/>
                  </a:lnTo>
                  <a:close/>
                  <a:moveTo>
                    <a:pt x="231" y="263"/>
                  </a:moveTo>
                  <a:lnTo>
                    <a:pt x="232" y="267"/>
                  </a:lnTo>
                  <a:lnTo>
                    <a:pt x="229" y="268"/>
                  </a:lnTo>
                  <a:lnTo>
                    <a:pt x="226" y="267"/>
                  </a:lnTo>
                  <a:lnTo>
                    <a:pt x="231" y="263"/>
                  </a:lnTo>
                  <a:close/>
                  <a:moveTo>
                    <a:pt x="260" y="258"/>
                  </a:moveTo>
                  <a:lnTo>
                    <a:pt x="263" y="258"/>
                  </a:lnTo>
                  <a:lnTo>
                    <a:pt x="263" y="260"/>
                  </a:lnTo>
                  <a:lnTo>
                    <a:pt x="260" y="260"/>
                  </a:lnTo>
                  <a:lnTo>
                    <a:pt x="260" y="258"/>
                  </a:lnTo>
                  <a:close/>
                  <a:moveTo>
                    <a:pt x="234" y="255"/>
                  </a:moveTo>
                  <a:lnTo>
                    <a:pt x="236" y="256"/>
                  </a:lnTo>
                  <a:lnTo>
                    <a:pt x="234" y="260"/>
                  </a:lnTo>
                  <a:lnTo>
                    <a:pt x="231" y="262"/>
                  </a:lnTo>
                  <a:lnTo>
                    <a:pt x="229" y="258"/>
                  </a:lnTo>
                  <a:lnTo>
                    <a:pt x="234" y="255"/>
                  </a:lnTo>
                  <a:close/>
                  <a:moveTo>
                    <a:pt x="263" y="255"/>
                  </a:moveTo>
                  <a:lnTo>
                    <a:pt x="265" y="255"/>
                  </a:lnTo>
                  <a:lnTo>
                    <a:pt x="265" y="256"/>
                  </a:lnTo>
                  <a:lnTo>
                    <a:pt x="263" y="256"/>
                  </a:lnTo>
                  <a:lnTo>
                    <a:pt x="263" y="255"/>
                  </a:lnTo>
                  <a:close/>
                  <a:moveTo>
                    <a:pt x="205" y="248"/>
                  </a:moveTo>
                  <a:lnTo>
                    <a:pt x="207" y="251"/>
                  </a:lnTo>
                  <a:lnTo>
                    <a:pt x="205" y="253"/>
                  </a:lnTo>
                  <a:lnTo>
                    <a:pt x="198" y="253"/>
                  </a:lnTo>
                  <a:lnTo>
                    <a:pt x="203" y="250"/>
                  </a:lnTo>
                  <a:lnTo>
                    <a:pt x="205" y="248"/>
                  </a:lnTo>
                  <a:close/>
                  <a:moveTo>
                    <a:pt x="209" y="248"/>
                  </a:moveTo>
                  <a:lnTo>
                    <a:pt x="210" y="251"/>
                  </a:lnTo>
                  <a:lnTo>
                    <a:pt x="207" y="248"/>
                  </a:lnTo>
                  <a:lnTo>
                    <a:pt x="209" y="248"/>
                  </a:lnTo>
                  <a:close/>
                  <a:moveTo>
                    <a:pt x="154" y="251"/>
                  </a:moveTo>
                  <a:lnTo>
                    <a:pt x="154" y="253"/>
                  </a:lnTo>
                  <a:lnTo>
                    <a:pt x="149" y="251"/>
                  </a:lnTo>
                  <a:lnTo>
                    <a:pt x="144" y="244"/>
                  </a:lnTo>
                  <a:lnTo>
                    <a:pt x="152" y="248"/>
                  </a:lnTo>
                  <a:lnTo>
                    <a:pt x="154" y="251"/>
                  </a:lnTo>
                  <a:close/>
                  <a:moveTo>
                    <a:pt x="195" y="239"/>
                  </a:moveTo>
                  <a:lnTo>
                    <a:pt x="197" y="239"/>
                  </a:lnTo>
                  <a:lnTo>
                    <a:pt x="197" y="241"/>
                  </a:lnTo>
                  <a:lnTo>
                    <a:pt x="195" y="241"/>
                  </a:lnTo>
                  <a:lnTo>
                    <a:pt x="195" y="239"/>
                  </a:lnTo>
                  <a:close/>
                  <a:moveTo>
                    <a:pt x="197" y="232"/>
                  </a:moveTo>
                  <a:lnTo>
                    <a:pt x="200" y="232"/>
                  </a:lnTo>
                  <a:lnTo>
                    <a:pt x="197" y="236"/>
                  </a:lnTo>
                  <a:lnTo>
                    <a:pt x="195" y="232"/>
                  </a:lnTo>
                  <a:lnTo>
                    <a:pt x="197" y="232"/>
                  </a:lnTo>
                  <a:close/>
                  <a:moveTo>
                    <a:pt x="200" y="229"/>
                  </a:moveTo>
                  <a:lnTo>
                    <a:pt x="197" y="229"/>
                  </a:lnTo>
                  <a:lnTo>
                    <a:pt x="197" y="227"/>
                  </a:lnTo>
                  <a:lnTo>
                    <a:pt x="198" y="227"/>
                  </a:lnTo>
                  <a:lnTo>
                    <a:pt x="200" y="229"/>
                  </a:lnTo>
                  <a:close/>
                  <a:moveTo>
                    <a:pt x="268" y="48"/>
                  </a:moveTo>
                  <a:lnTo>
                    <a:pt x="270" y="55"/>
                  </a:lnTo>
                  <a:lnTo>
                    <a:pt x="268" y="62"/>
                  </a:lnTo>
                  <a:lnTo>
                    <a:pt x="270" y="72"/>
                  </a:lnTo>
                  <a:lnTo>
                    <a:pt x="273" y="79"/>
                  </a:lnTo>
                  <a:lnTo>
                    <a:pt x="273" y="80"/>
                  </a:lnTo>
                  <a:lnTo>
                    <a:pt x="270" y="80"/>
                  </a:lnTo>
                  <a:lnTo>
                    <a:pt x="275" y="82"/>
                  </a:lnTo>
                  <a:lnTo>
                    <a:pt x="277" y="86"/>
                  </a:lnTo>
                  <a:lnTo>
                    <a:pt x="280" y="86"/>
                  </a:lnTo>
                  <a:lnTo>
                    <a:pt x="279" y="92"/>
                  </a:lnTo>
                  <a:lnTo>
                    <a:pt x="279" y="99"/>
                  </a:lnTo>
                  <a:lnTo>
                    <a:pt x="277" y="104"/>
                  </a:lnTo>
                  <a:lnTo>
                    <a:pt x="277" y="108"/>
                  </a:lnTo>
                  <a:lnTo>
                    <a:pt x="280" y="110"/>
                  </a:lnTo>
                  <a:lnTo>
                    <a:pt x="279" y="115"/>
                  </a:lnTo>
                  <a:lnTo>
                    <a:pt x="275" y="115"/>
                  </a:lnTo>
                  <a:lnTo>
                    <a:pt x="277" y="116"/>
                  </a:lnTo>
                  <a:lnTo>
                    <a:pt x="273" y="127"/>
                  </a:lnTo>
                  <a:lnTo>
                    <a:pt x="275" y="135"/>
                  </a:lnTo>
                  <a:lnTo>
                    <a:pt x="279" y="145"/>
                  </a:lnTo>
                  <a:lnTo>
                    <a:pt x="275" y="149"/>
                  </a:lnTo>
                  <a:lnTo>
                    <a:pt x="273" y="157"/>
                  </a:lnTo>
                  <a:lnTo>
                    <a:pt x="273" y="161"/>
                  </a:lnTo>
                  <a:lnTo>
                    <a:pt x="273" y="171"/>
                  </a:lnTo>
                  <a:lnTo>
                    <a:pt x="273" y="174"/>
                  </a:lnTo>
                  <a:lnTo>
                    <a:pt x="273" y="183"/>
                  </a:lnTo>
                  <a:lnTo>
                    <a:pt x="268" y="191"/>
                  </a:lnTo>
                  <a:lnTo>
                    <a:pt x="268" y="200"/>
                  </a:lnTo>
                  <a:lnTo>
                    <a:pt x="270" y="210"/>
                  </a:lnTo>
                  <a:lnTo>
                    <a:pt x="268" y="214"/>
                  </a:lnTo>
                  <a:lnTo>
                    <a:pt x="268" y="222"/>
                  </a:lnTo>
                  <a:lnTo>
                    <a:pt x="270" y="224"/>
                  </a:lnTo>
                  <a:lnTo>
                    <a:pt x="268" y="231"/>
                  </a:lnTo>
                  <a:lnTo>
                    <a:pt x="268" y="234"/>
                  </a:lnTo>
                  <a:lnTo>
                    <a:pt x="265" y="239"/>
                  </a:lnTo>
                  <a:lnTo>
                    <a:pt x="267" y="248"/>
                  </a:lnTo>
                  <a:lnTo>
                    <a:pt x="261" y="256"/>
                  </a:lnTo>
                  <a:lnTo>
                    <a:pt x="258" y="262"/>
                  </a:lnTo>
                  <a:lnTo>
                    <a:pt x="256" y="262"/>
                  </a:lnTo>
                  <a:lnTo>
                    <a:pt x="255" y="255"/>
                  </a:lnTo>
                  <a:lnTo>
                    <a:pt x="251" y="253"/>
                  </a:lnTo>
                  <a:lnTo>
                    <a:pt x="243" y="253"/>
                  </a:lnTo>
                  <a:lnTo>
                    <a:pt x="241" y="250"/>
                  </a:lnTo>
                  <a:lnTo>
                    <a:pt x="241" y="243"/>
                  </a:lnTo>
                  <a:lnTo>
                    <a:pt x="241" y="244"/>
                  </a:lnTo>
                  <a:lnTo>
                    <a:pt x="241" y="241"/>
                  </a:lnTo>
                  <a:lnTo>
                    <a:pt x="238" y="236"/>
                  </a:lnTo>
                  <a:lnTo>
                    <a:pt x="238" y="232"/>
                  </a:lnTo>
                  <a:lnTo>
                    <a:pt x="234" y="232"/>
                  </a:lnTo>
                  <a:lnTo>
                    <a:pt x="234" y="236"/>
                  </a:lnTo>
                  <a:lnTo>
                    <a:pt x="227" y="231"/>
                  </a:lnTo>
                  <a:lnTo>
                    <a:pt x="220" y="227"/>
                  </a:lnTo>
                  <a:lnTo>
                    <a:pt x="217" y="222"/>
                  </a:lnTo>
                  <a:lnTo>
                    <a:pt x="214" y="217"/>
                  </a:lnTo>
                  <a:lnTo>
                    <a:pt x="210" y="212"/>
                  </a:lnTo>
                  <a:lnTo>
                    <a:pt x="209" y="209"/>
                  </a:lnTo>
                  <a:lnTo>
                    <a:pt x="205" y="207"/>
                  </a:lnTo>
                  <a:lnTo>
                    <a:pt x="200" y="209"/>
                  </a:lnTo>
                  <a:lnTo>
                    <a:pt x="203" y="215"/>
                  </a:lnTo>
                  <a:lnTo>
                    <a:pt x="200" y="215"/>
                  </a:lnTo>
                  <a:lnTo>
                    <a:pt x="200" y="217"/>
                  </a:lnTo>
                  <a:lnTo>
                    <a:pt x="202" y="217"/>
                  </a:lnTo>
                  <a:lnTo>
                    <a:pt x="200" y="221"/>
                  </a:lnTo>
                  <a:lnTo>
                    <a:pt x="200" y="224"/>
                  </a:lnTo>
                  <a:lnTo>
                    <a:pt x="195" y="222"/>
                  </a:lnTo>
                  <a:lnTo>
                    <a:pt x="191" y="222"/>
                  </a:lnTo>
                  <a:lnTo>
                    <a:pt x="193" y="231"/>
                  </a:lnTo>
                  <a:lnTo>
                    <a:pt x="197" y="231"/>
                  </a:lnTo>
                  <a:lnTo>
                    <a:pt x="191" y="232"/>
                  </a:lnTo>
                  <a:lnTo>
                    <a:pt x="197" y="239"/>
                  </a:lnTo>
                  <a:lnTo>
                    <a:pt x="193" y="239"/>
                  </a:lnTo>
                  <a:lnTo>
                    <a:pt x="190" y="243"/>
                  </a:lnTo>
                  <a:lnTo>
                    <a:pt x="191" y="246"/>
                  </a:lnTo>
                  <a:lnTo>
                    <a:pt x="195" y="244"/>
                  </a:lnTo>
                  <a:lnTo>
                    <a:pt x="197" y="246"/>
                  </a:lnTo>
                  <a:lnTo>
                    <a:pt x="195" y="248"/>
                  </a:lnTo>
                  <a:lnTo>
                    <a:pt x="193" y="250"/>
                  </a:lnTo>
                  <a:lnTo>
                    <a:pt x="191" y="250"/>
                  </a:lnTo>
                  <a:lnTo>
                    <a:pt x="190" y="250"/>
                  </a:lnTo>
                  <a:lnTo>
                    <a:pt x="188" y="250"/>
                  </a:lnTo>
                  <a:lnTo>
                    <a:pt x="186" y="248"/>
                  </a:lnTo>
                  <a:lnTo>
                    <a:pt x="185" y="246"/>
                  </a:lnTo>
                  <a:lnTo>
                    <a:pt x="181" y="248"/>
                  </a:lnTo>
                  <a:lnTo>
                    <a:pt x="183" y="244"/>
                  </a:lnTo>
                  <a:lnTo>
                    <a:pt x="181" y="246"/>
                  </a:lnTo>
                  <a:lnTo>
                    <a:pt x="181" y="243"/>
                  </a:lnTo>
                  <a:lnTo>
                    <a:pt x="178" y="244"/>
                  </a:lnTo>
                  <a:lnTo>
                    <a:pt x="178" y="243"/>
                  </a:lnTo>
                  <a:lnTo>
                    <a:pt x="174" y="243"/>
                  </a:lnTo>
                  <a:lnTo>
                    <a:pt x="174" y="239"/>
                  </a:lnTo>
                  <a:lnTo>
                    <a:pt x="173" y="241"/>
                  </a:lnTo>
                  <a:lnTo>
                    <a:pt x="169" y="238"/>
                  </a:lnTo>
                  <a:lnTo>
                    <a:pt x="168" y="238"/>
                  </a:lnTo>
                  <a:lnTo>
                    <a:pt x="166" y="236"/>
                  </a:lnTo>
                  <a:lnTo>
                    <a:pt x="166" y="238"/>
                  </a:lnTo>
                  <a:lnTo>
                    <a:pt x="162" y="238"/>
                  </a:lnTo>
                  <a:lnTo>
                    <a:pt x="159" y="234"/>
                  </a:lnTo>
                  <a:lnTo>
                    <a:pt x="159" y="231"/>
                  </a:lnTo>
                  <a:lnTo>
                    <a:pt x="157" y="232"/>
                  </a:lnTo>
                  <a:lnTo>
                    <a:pt x="150" y="227"/>
                  </a:lnTo>
                  <a:lnTo>
                    <a:pt x="144" y="226"/>
                  </a:lnTo>
                  <a:lnTo>
                    <a:pt x="139" y="219"/>
                  </a:lnTo>
                  <a:lnTo>
                    <a:pt x="135" y="215"/>
                  </a:lnTo>
                  <a:lnTo>
                    <a:pt x="130" y="215"/>
                  </a:lnTo>
                  <a:lnTo>
                    <a:pt x="123" y="212"/>
                  </a:lnTo>
                  <a:lnTo>
                    <a:pt x="118" y="214"/>
                  </a:lnTo>
                  <a:lnTo>
                    <a:pt x="115" y="217"/>
                  </a:lnTo>
                  <a:lnTo>
                    <a:pt x="116" y="219"/>
                  </a:lnTo>
                  <a:lnTo>
                    <a:pt x="120" y="226"/>
                  </a:lnTo>
                  <a:lnTo>
                    <a:pt x="125" y="231"/>
                  </a:lnTo>
                  <a:lnTo>
                    <a:pt x="128" y="236"/>
                  </a:lnTo>
                  <a:lnTo>
                    <a:pt x="130" y="239"/>
                  </a:lnTo>
                  <a:lnTo>
                    <a:pt x="128" y="241"/>
                  </a:lnTo>
                  <a:lnTo>
                    <a:pt x="133" y="248"/>
                  </a:lnTo>
                  <a:lnTo>
                    <a:pt x="135" y="251"/>
                  </a:lnTo>
                  <a:lnTo>
                    <a:pt x="137" y="253"/>
                  </a:lnTo>
                  <a:lnTo>
                    <a:pt x="135" y="258"/>
                  </a:lnTo>
                  <a:lnTo>
                    <a:pt x="139" y="263"/>
                  </a:lnTo>
                  <a:lnTo>
                    <a:pt x="139" y="265"/>
                  </a:lnTo>
                  <a:lnTo>
                    <a:pt x="127" y="265"/>
                  </a:lnTo>
                  <a:lnTo>
                    <a:pt x="121" y="265"/>
                  </a:lnTo>
                  <a:lnTo>
                    <a:pt x="118" y="263"/>
                  </a:lnTo>
                  <a:lnTo>
                    <a:pt x="120" y="262"/>
                  </a:lnTo>
                  <a:lnTo>
                    <a:pt x="118" y="256"/>
                  </a:lnTo>
                  <a:lnTo>
                    <a:pt x="116" y="253"/>
                  </a:lnTo>
                  <a:lnTo>
                    <a:pt x="111" y="250"/>
                  </a:lnTo>
                  <a:lnTo>
                    <a:pt x="104" y="244"/>
                  </a:lnTo>
                  <a:lnTo>
                    <a:pt x="101" y="238"/>
                  </a:lnTo>
                  <a:lnTo>
                    <a:pt x="92" y="232"/>
                  </a:lnTo>
                  <a:lnTo>
                    <a:pt x="87" y="229"/>
                  </a:lnTo>
                  <a:lnTo>
                    <a:pt x="89" y="226"/>
                  </a:lnTo>
                  <a:lnTo>
                    <a:pt x="87" y="222"/>
                  </a:lnTo>
                  <a:lnTo>
                    <a:pt x="82" y="217"/>
                  </a:lnTo>
                  <a:lnTo>
                    <a:pt x="77" y="215"/>
                  </a:lnTo>
                  <a:lnTo>
                    <a:pt x="74" y="212"/>
                  </a:lnTo>
                  <a:lnTo>
                    <a:pt x="65" y="207"/>
                  </a:lnTo>
                  <a:lnTo>
                    <a:pt x="63" y="203"/>
                  </a:lnTo>
                  <a:lnTo>
                    <a:pt x="60" y="202"/>
                  </a:lnTo>
                  <a:lnTo>
                    <a:pt x="58" y="198"/>
                  </a:lnTo>
                  <a:lnTo>
                    <a:pt x="55" y="195"/>
                  </a:lnTo>
                  <a:lnTo>
                    <a:pt x="55" y="193"/>
                  </a:lnTo>
                  <a:lnTo>
                    <a:pt x="50" y="191"/>
                  </a:lnTo>
                  <a:lnTo>
                    <a:pt x="51" y="185"/>
                  </a:lnTo>
                  <a:lnTo>
                    <a:pt x="45" y="181"/>
                  </a:lnTo>
                  <a:lnTo>
                    <a:pt x="40" y="180"/>
                  </a:lnTo>
                  <a:lnTo>
                    <a:pt x="40" y="178"/>
                  </a:lnTo>
                  <a:lnTo>
                    <a:pt x="43" y="174"/>
                  </a:lnTo>
                  <a:lnTo>
                    <a:pt x="41" y="168"/>
                  </a:lnTo>
                  <a:lnTo>
                    <a:pt x="34" y="166"/>
                  </a:lnTo>
                  <a:lnTo>
                    <a:pt x="31" y="161"/>
                  </a:lnTo>
                  <a:lnTo>
                    <a:pt x="26" y="157"/>
                  </a:lnTo>
                  <a:lnTo>
                    <a:pt x="21" y="157"/>
                  </a:lnTo>
                  <a:lnTo>
                    <a:pt x="21" y="152"/>
                  </a:lnTo>
                  <a:lnTo>
                    <a:pt x="17" y="149"/>
                  </a:lnTo>
                  <a:lnTo>
                    <a:pt x="14" y="149"/>
                  </a:lnTo>
                  <a:lnTo>
                    <a:pt x="11" y="152"/>
                  </a:lnTo>
                  <a:lnTo>
                    <a:pt x="11" y="149"/>
                  </a:lnTo>
                  <a:lnTo>
                    <a:pt x="9" y="145"/>
                  </a:lnTo>
                  <a:lnTo>
                    <a:pt x="0" y="144"/>
                  </a:lnTo>
                  <a:lnTo>
                    <a:pt x="4" y="137"/>
                  </a:lnTo>
                  <a:lnTo>
                    <a:pt x="5" y="137"/>
                  </a:lnTo>
                  <a:lnTo>
                    <a:pt x="7" y="135"/>
                  </a:lnTo>
                  <a:lnTo>
                    <a:pt x="16" y="130"/>
                  </a:lnTo>
                  <a:lnTo>
                    <a:pt x="17" y="128"/>
                  </a:lnTo>
                  <a:lnTo>
                    <a:pt x="22" y="125"/>
                  </a:lnTo>
                  <a:lnTo>
                    <a:pt x="24" y="125"/>
                  </a:lnTo>
                  <a:lnTo>
                    <a:pt x="24" y="128"/>
                  </a:lnTo>
                  <a:lnTo>
                    <a:pt x="31" y="128"/>
                  </a:lnTo>
                  <a:lnTo>
                    <a:pt x="29" y="132"/>
                  </a:lnTo>
                  <a:lnTo>
                    <a:pt x="34" y="135"/>
                  </a:lnTo>
                  <a:lnTo>
                    <a:pt x="36" y="142"/>
                  </a:lnTo>
                  <a:lnTo>
                    <a:pt x="43" y="139"/>
                  </a:lnTo>
                  <a:lnTo>
                    <a:pt x="46" y="142"/>
                  </a:lnTo>
                  <a:lnTo>
                    <a:pt x="57" y="140"/>
                  </a:lnTo>
                  <a:lnTo>
                    <a:pt x="58" y="140"/>
                  </a:lnTo>
                  <a:lnTo>
                    <a:pt x="62" y="142"/>
                  </a:lnTo>
                  <a:lnTo>
                    <a:pt x="69" y="144"/>
                  </a:lnTo>
                  <a:lnTo>
                    <a:pt x="74" y="140"/>
                  </a:lnTo>
                  <a:lnTo>
                    <a:pt x="75" y="137"/>
                  </a:lnTo>
                  <a:lnTo>
                    <a:pt x="77" y="135"/>
                  </a:lnTo>
                  <a:lnTo>
                    <a:pt x="80" y="139"/>
                  </a:lnTo>
                  <a:lnTo>
                    <a:pt x="84" y="139"/>
                  </a:lnTo>
                  <a:lnTo>
                    <a:pt x="86" y="135"/>
                  </a:lnTo>
                  <a:lnTo>
                    <a:pt x="89" y="139"/>
                  </a:lnTo>
                  <a:lnTo>
                    <a:pt x="91" y="137"/>
                  </a:lnTo>
                  <a:lnTo>
                    <a:pt x="96" y="130"/>
                  </a:lnTo>
                  <a:lnTo>
                    <a:pt x="91" y="130"/>
                  </a:lnTo>
                  <a:lnTo>
                    <a:pt x="87" y="125"/>
                  </a:lnTo>
                  <a:lnTo>
                    <a:pt x="87" y="118"/>
                  </a:lnTo>
                  <a:lnTo>
                    <a:pt x="89" y="116"/>
                  </a:lnTo>
                  <a:lnTo>
                    <a:pt x="86" y="118"/>
                  </a:lnTo>
                  <a:lnTo>
                    <a:pt x="86" y="115"/>
                  </a:lnTo>
                  <a:lnTo>
                    <a:pt x="87" y="110"/>
                  </a:lnTo>
                  <a:lnTo>
                    <a:pt x="91" y="106"/>
                  </a:lnTo>
                  <a:lnTo>
                    <a:pt x="91" y="104"/>
                  </a:lnTo>
                  <a:lnTo>
                    <a:pt x="89" y="94"/>
                  </a:lnTo>
                  <a:lnTo>
                    <a:pt x="91" y="92"/>
                  </a:lnTo>
                  <a:lnTo>
                    <a:pt x="91" y="84"/>
                  </a:lnTo>
                  <a:lnTo>
                    <a:pt x="96" y="77"/>
                  </a:lnTo>
                  <a:lnTo>
                    <a:pt x="98" y="75"/>
                  </a:lnTo>
                  <a:lnTo>
                    <a:pt x="101" y="74"/>
                  </a:lnTo>
                  <a:lnTo>
                    <a:pt x="104" y="69"/>
                  </a:lnTo>
                  <a:lnTo>
                    <a:pt x="108" y="70"/>
                  </a:lnTo>
                  <a:lnTo>
                    <a:pt x="116" y="63"/>
                  </a:lnTo>
                  <a:lnTo>
                    <a:pt x="121" y="62"/>
                  </a:lnTo>
                  <a:lnTo>
                    <a:pt x="125" y="58"/>
                  </a:lnTo>
                  <a:lnTo>
                    <a:pt x="127" y="62"/>
                  </a:lnTo>
                  <a:lnTo>
                    <a:pt x="130" y="63"/>
                  </a:lnTo>
                  <a:lnTo>
                    <a:pt x="137" y="65"/>
                  </a:lnTo>
                  <a:lnTo>
                    <a:pt x="142" y="62"/>
                  </a:lnTo>
                  <a:lnTo>
                    <a:pt x="147" y="65"/>
                  </a:lnTo>
                  <a:lnTo>
                    <a:pt x="149" y="62"/>
                  </a:lnTo>
                  <a:lnTo>
                    <a:pt x="156" y="62"/>
                  </a:lnTo>
                  <a:lnTo>
                    <a:pt x="157" y="58"/>
                  </a:lnTo>
                  <a:lnTo>
                    <a:pt x="164" y="57"/>
                  </a:lnTo>
                  <a:lnTo>
                    <a:pt x="168" y="53"/>
                  </a:lnTo>
                  <a:lnTo>
                    <a:pt x="173" y="53"/>
                  </a:lnTo>
                  <a:lnTo>
                    <a:pt x="174" y="50"/>
                  </a:lnTo>
                  <a:lnTo>
                    <a:pt x="178" y="48"/>
                  </a:lnTo>
                  <a:lnTo>
                    <a:pt x="178" y="45"/>
                  </a:lnTo>
                  <a:lnTo>
                    <a:pt x="183" y="38"/>
                  </a:lnTo>
                  <a:lnTo>
                    <a:pt x="185" y="38"/>
                  </a:lnTo>
                  <a:lnTo>
                    <a:pt x="183" y="34"/>
                  </a:lnTo>
                  <a:lnTo>
                    <a:pt x="186" y="31"/>
                  </a:lnTo>
                  <a:lnTo>
                    <a:pt x="188" y="26"/>
                  </a:lnTo>
                  <a:lnTo>
                    <a:pt x="191" y="26"/>
                  </a:lnTo>
                  <a:lnTo>
                    <a:pt x="191" y="22"/>
                  </a:lnTo>
                  <a:lnTo>
                    <a:pt x="195" y="19"/>
                  </a:lnTo>
                  <a:lnTo>
                    <a:pt x="198" y="19"/>
                  </a:lnTo>
                  <a:lnTo>
                    <a:pt x="200" y="22"/>
                  </a:lnTo>
                  <a:lnTo>
                    <a:pt x="203" y="17"/>
                  </a:lnTo>
                  <a:lnTo>
                    <a:pt x="207" y="14"/>
                  </a:lnTo>
                  <a:lnTo>
                    <a:pt x="205" y="9"/>
                  </a:lnTo>
                  <a:lnTo>
                    <a:pt x="207" y="7"/>
                  </a:lnTo>
                  <a:lnTo>
                    <a:pt x="210" y="0"/>
                  </a:lnTo>
                  <a:lnTo>
                    <a:pt x="212" y="2"/>
                  </a:lnTo>
                  <a:lnTo>
                    <a:pt x="214" y="9"/>
                  </a:lnTo>
                  <a:lnTo>
                    <a:pt x="220" y="5"/>
                  </a:lnTo>
                  <a:lnTo>
                    <a:pt x="224" y="7"/>
                  </a:lnTo>
                  <a:lnTo>
                    <a:pt x="222" y="12"/>
                  </a:lnTo>
                  <a:lnTo>
                    <a:pt x="229" y="12"/>
                  </a:lnTo>
                  <a:lnTo>
                    <a:pt x="231" y="14"/>
                  </a:lnTo>
                  <a:lnTo>
                    <a:pt x="234" y="14"/>
                  </a:lnTo>
                  <a:lnTo>
                    <a:pt x="232" y="17"/>
                  </a:lnTo>
                  <a:lnTo>
                    <a:pt x="234" y="21"/>
                  </a:lnTo>
                  <a:lnTo>
                    <a:pt x="236" y="19"/>
                  </a:lnTo>
                  <a:lnTo>
                    <a:pt x="239" y="21"/>
                  </a:lnTo>
                  <a:lnTo>
                    <a:pt x="239" y="24"/>
                  </a:lnTo>
                  <a:lnTo>
                    <a:pt x="241" y="26"/>
                  </a:lnTo>
                  <a:lnTo>
                    <a:pt x="243" y="24"/>
                  </a:lnTo>
                  <a:lnTo>
                    <a:pt x="244" y="26"/>
                  </a:lnTo>
                  <a:lnTo>
                    <a:pt x="241" y="28"/>
                  </a:lnTo>
                  <a:lnTo>
                    <a:pt x="244" y="29"/>
                  </a:lnTo>
                  <a:lnTo>
                    <a:pt x="246" y="33"/>
                  </a:lnTo>
                  <a:lnTo>
                    <a:pt x="243" y="39"/>
                  </a:lnTo>
                  <a:lnTo>
                    <a:pt x="244" y="39"/>
                  </a:lnTo>
                  <a:lnTo>
                    <a:pt x="246" y="38"/>
                  </a:lnTo>
                  <a:lnTo>
                    <a:pt x="249" y="38"/>
                  </a:lnTo>
                  <a:lnTo>
                    <a:pt x="248" y="41"/>
                  </a:lnTo>
                  <a:lnTo>
                    <a:pt x="249" y="43"/>
                  </a:lnTo>
                  <a:lnTo>
                    <a:pt x="251" y="43"/>
                  </a:lnTo>
                  <a:lnTo>
                    <a:pt x="253" y="41"/>
                  </a:lnTo>
                  <a:lnTo>
                    <a:pt x="253" y="45"/>
                  </a:lnTo>
                  <a:lnTo>
                    <a:pt x="256" y="45"/>
                  </a:lnTo>
                  <a:lnTo>
                    <a:pt x="255" y="50"/>
                  </a:lnTo>
                  <a:lnTo>
                    <a:pt x="258" y="48"/>
                  </a:lnTo>
                  <a:lnTo>
                    <a:pt x="260" y="50"/>
                  </a:lnTo>
                  <a:lnTo>
                    <a:pt x="263" y="48"/>
                  </a:lnTo>
                  <a:lnTo>
                    <a:pt x="263" y="46"/>
                  </a:lnTo>
                  <a:lnTo>
                    <a:pt x="268" y="48"/>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8" name="Freeform 75"/>
            <p:cNvSpPr>
              <a:spLocks noEditPoints="1"/>
            </p:cNvSpPr>
            <p:nvPr/>
          </p:nvSpPr>
          <p:spPr bwMode="gray">
            <a:xfrm>
              <a:off x="3837661" y="4409746"/>
              <a:ext cx="685893" cy="541783"/>
            </a:xfrm>
            <a:custGeom>
              <a:avLst/>
              <a:gdLst>
                <a:gd name="T0" fmla="*/ 48 w 376"/>
                <a:gd name="T1" fmla="*/ 237 h 297"/>
                <a:gd name="T2" fmla="*/ 41 w 376"/>
                <a:gd name="T3" fmla="*/ 243 h 297"/>
                <a:gd name="T4" fmla="*/ 29 w 376"/>
                <a:gd name="T5" fmla="*/ 232 h 297"/>
                <a:gd name="T6" fmla="*/ 36 w 376"/>
                <a:gd name="T7" fmla="*/ 231 h 297"/>
                <a:gd name="T8" fmla="*/ 365 w 376"/>
                <a:gd name="T9" fmla="*/ 137 h 297"/>
                <a:gd name="T10" fmla="*/ 365 w 376"/>
                <a:gd name="T11" fmla="*/ 155 h 297"/>
                <a:gd name="T12" fmla="*/ 362 w 376"/>
                <a:gd name="T13" fmla="*/ 171 h 297"/>
                <a:gd name="T14" fmla="*/ 350 w 376"/>
                <a:gd name="T15" fmla="*/ 181 h 297"/>
                <a:gd name="T16" fmla="*/ 345 w 376"/>
                <a:gd name="T17" fmla="*/ 183 h 297"/>
                <a:gd name="T18" fmla="*/ 345 w 376"/>
                <a:gd name="T19" fmla="*/ 193 h 297"/>
                <a:gd name="T20" fmla="*/ 333 w 376"/>
                <a:gd name="T21" fmla="*/ 190 h 297"/>
                <a:gd name="T22" fmla="*/ 307 w 376"/>
                <a:gd name="T23" fmla="*/ 186 h 297"/>
                <a:gd name="T24" fmla="*/ 311 w 376"/>
                <a:gd name="T25" fmla="*/ 212 h 297"/>
                <a:gd name="T26" fmla="*/ 321 w 376"/>
                <a:gd name="T27" fmla="*/ 241 h 297"/>
                <a:gd name="T28" fmla="*/ 328 w 376"/>
                <a:gd name="T29" fmla="*/ 255 h 297"/>
                <a:gd name="T30" fmla="*/ 309 w 376"/>
                <a:gd name="T31" fmla="*/ 263 h 297"/>
                <a:gd name="T32" fmla="*/ 302 w 376"/>
                <a:gd name="T33" fmla="*/ 275 h 297"/>
                <a:gd name="T34" fmla="*/ 280 w 376"/>
                <a:gd name="T35" fmla="*/ 287 h 297"/>
                <a:gd name="T36" fmla="*/ 265 w 376"/>
                <a:gd name="T37" fmla="*/ 290 h 297"/>
                <a:gd name="T38" fmla="*/ 266 w 376"/>
                <a:gd name="T39" fmla="*/ 249 h 297"/>
                <a:gd name="T40" fmla="*/ 253 w 376"/>
                <a:gd name="T41" fmla="*/ 246 h 297"/>
                <a:gd name="T42" fmla="*/ 230 w 376"/>
                <a:gd name="T43" fmla="*/ 243 h 297"/>
                <a:gd name="T44" fmla="*/ 212 w 376"/>
                <a:gd name="T45" fmla="*/ 227 h 297"/>
                <a:gd name="T46" fmla="*/ 198 w 376"/>
                <a:gd name="T47" fmla="*/ 229 h 297"/>
                <a:gd name="T48" fmla="*/ 179 w 376"/>
                <a:gd name="T49" fmla="*/ 249 h 297"/>
                <a:gd name="T50" fmla="*/ 160 w 376"/>
                <a:gd name="T51" fmla="*/ 253 h 297"/>
                <a:gd name="T52" fmla="*/ 128 w 376"/>
                <a:gd name="T53" fmla="*/ 246 h 297"/>
                <a:gd name="T54" fmla="*/ 99 w 376"/>
                <a:gd name="T55" fmla="*/ 243 h 297"/>
                <a:gd name="T56" fmla="*/ 73 w 376"/>
                <a:gd name="T57" fmla="*/ 234 h 297"/>
                <a:gd name="T58" fmla="*/ 51 w 376"/>
                <a:gd name="T59" fmla="*/ 239 h 297"/>
                <a:gd name="T60" fmla="*/ 53 w 376"/>
                <a:gd name="T61" fmla="*/ 231 h 297"/>
                <a:gd name="T62" fmla="*/ 46 w 376"/>
                <a:gd name="T63" fmla="*/ 231 h 297"/>
                <a:gd name="T64" fmla="*/ 38 w 376"/>
                <a:gd name="T65" fmla="*/ 232 h 297"/>
                <a:gd name="T66" fmla="*/ 22 w 376"/>
                <a:gd name="T67" fmla="*/ 225 h 297"/>
                <a:gd name="T68" fmla="*/ 15 w 376"/>
                <a:gd name="T69" fmla="*/ 200 h 297"/>
                <a:gd name="T70" fmla="*/ 3 w 376"/>
                <a:gd name="T71" fmla="*/ 181 h 297"/>
                <a:gd name="T72" fmla="*/ 14 w 376"/>
                <a:gd name="T73" fmla="*/ 171 h 297"/>
                <a:gd name="T74" fmla="*/ 24 w 376"/>
                <a:gd name="T75" fmla="*/ 150 h 297"/>
                <a:gd name="T76" fmla="*/ 32 w 376"/>
                <a:gd name="T77" fmla="*/ 125 h 297"/>
                <a:gd name="T78" fmla="*/ 61 w 376"/>
                <a:gd name="T79" fmla="*/ 123 h 297"/>
                <a:gd name="T80" fmla="*/ 87 w 376"/>
                <a:gd name="T81" fmla="*/ 137 h 297"/>
                <a:gd name="T82" fmla="*/ 114 w 376"/>
                <a:gd name="T83" fmla="*/ 125 h 297"/>
                <a:gd name="T84" fmla="*/ 157 w 376"/>
                <a:gd name="T85" fmla="*/ 142 h 297"/>
                <a:gd name="T86" fmla="*/ 188 w 376"/>
                <a:gd name="T87" fmla="*/ 137 h 297"/>
                <a:gd name="T88" fmla="*/ 224 w 376"/>
                <a:gd name="T89" fmla="*/ 145 h 297"/>
                <a:gd name="T90" fmla="*/ 230 w 376"/>
                <a:gd name="T91" fmla="*/ 142 h 297"/>
                <a:gd name="T92" fmla="*/ 241 w 376"/>
                <a:gd name="T93" fmla="*/ 123 h 297"/>
                <a:gd name="T94" fmla="*/ 241 w 376"/>
                <a:gd name="T95" fmla="*/ 120 h 297"/>
                <a:gd name="T96" fmla="*/ 251 w 376"/>
                <a:gd name="T97" fmla="*/ 101 h 297"/>
                <a:gd name="T98" fmla="*/ 261 w 376"/>
                <a:gd name="T99" fmla="*/ 84 h 297"/>
                <a:gd name="T100" fmla="*/ 289 w 376"/>
                <a:gd name="T101" fmla="*/ 80 h 297"/>
                <a:gd name="T102" fmla="*/ 306 w 376"/>
                <a:gd name="T103" fmla="*/ 106 h 297"/>
                <a:gd name="T104" fmla="*/ 338 w 376"/>
                <a:gd name="T105" fmla="*/ 116 h 297"/>
                <a:gd name="T106" fmla="*/ 367 w 376"/>
                <a:gd name="T107" fmla="*/ 116 h 297"/>
                <a:gd name="T108" fmla="*/ 244 w 376"/>
                <a:gd name="T109" fmla="*/ 15 h 297"/>
                <a:gd name="T110" fmla="*/ 230 w 376"/>
                <a:gd name="T111" fmla="*/ 14 h 297"/>
                <a:gd name="T112" fmla="*/ 230 w 376"/>
                <a:gd name="T113" fmla="*/ 9 h 297"/>
                <a:gd name="T114" fmla="*/ 203 w 376"/>
                <a:gd name="T11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6" h="297">
                  <a:moveTo>
                    <a:pt x="36" y="232"/>
                  </a:moveTo>
                  <a:lnTo>
                    <a:pt x="38" y="234"/>
                  </a:lnTo>
                  <a:lnTo>
                    <a:pt x="39" y="236"/>
                  </a:lnTo>
                  <a:lnTo>
                    <a:pt x="43" y="236"/>
                  </a:lnTo>
                  <a:lnTo>
                    <a:pt x="44" y="237"/>
                  </a:lnTo>
                  <a:lnTo>
                    <a:pt x="48" y="237"/>
                  </a:lnTo>
                  <a:lnTo>
                    <a:pt x="55" y="243"/>
                  </a:lnTo>
                  <a:lnTo>
                    <a:pt x="58" y="243"/>
                  </a:lnTo>
                  <a:lnTo>
                    <a:pt x="58" y="246"/>
                  </a:lnTo>
                  <a:lnTo>
                    <a:pt x="51" y="244"/>
                  </a:lnTo>
                  <a:lnTo>
                    <a:pt x="50" y="243"/>
                  </a:lnTo>
                  <a:lnTo>
                    <a:pt x="41" y="243"/>
                  </a:lnTo>
                  <a:lnTo>
                    <a:pt x="36" y="241"/>
                  </a:lnTo>
                  <a:lnTo>
                    <a:pt x="27" y="239"/>
                  </a:lnTo>
                  <a:lnTo>
                    <a:pt x="29" y="237"/>
                  </a:lnTo>
                  <a:lnTo>
                    <a:pt x="26" y="236"/>
                  </a:lnTo>
                  <a:lnTo>
                    <a:pt x="29" y="234"/>
                  </a:lnTo>
                  <a:lnTo>
                    <a:pt x="29" y="232"/>
                  </a:lnTo>
                  <a:lnTo>
                    <a:pt x="32" y="234"/>
                  </a:lnTo>
                  <a:lnTo>
                    <a:pt x="36" y="232"/>
                  </a:lnTo>
                  <a:close/>
                  <a:moveTo>
                    <a:pt x="36" y="231"/>
                  </a:moveTo>
                  <a:lnTo>
                    <a:pt x="36" y="232"/>
                  </a:lnTo>
                  <a:lnTo>
                    <a:pt x="32" y="232"/>
                  </a:lnTo>
                  <a:lnTo>
                    <a:pt x="36" y="231"/>
                  </a:lnTo>
                  <a:close/>
                  <a:moveTo>
                    <a:pt x="376" y="121"/>
                  </a:moveTo>
                  <a:lnTo>
                    <a:pt x="374" y="125"/>
                  </a:lnTo>
                  <a:lnTo>
                    <a:pt x="372" y="123"/>
                  </a:lnTo>
                  <a:lnTo>
                    <a:pt x="370" y="130"/>
                  </a:lnTo>
                  <a:lnTo>
                    <a:pt x="365" y="130"/>
                  </a:lnTo>
                  <a:lnTo>
                    <a:pt x="365" y="137"/>
                  </a:lnTo>
                  <a:lnTo>
                    <a:pt x="364" y="138"/>
                  </a:lnTo>
                  <a:lnTo>
                    <a:pt x="365" y="140"/>
                  </a:lnTo>
                  <a:lnTo>
                    <a:pt x="362" y="142"/>
                  </a:lnTo>
                  <a:lnTo>
                    <a:pt x="360" y="145"/>
                  </a:lnTo>
                  <a:lnTo>
                    <a:pt x="367" y="150"/>
                  </a:lnTo>
                  <a:lnTo>
                    <a:pt x="365" y="155"/>
                  </a:lnTo>
                  <a:lnTo>
                    <a:pt x="367" y="159"/>
                  </a:lnTo>
                  <a:lnTo>
                    <a:pt x="365" y="161"/>
                  </a:lnTo>
                  <a:lnTo>
                    <a:pt x="367" y="164"/>
                  </a:lnTo>
                  <a:lnTo>
                    <a:pt x="364" y="167"/>
                  </a:lnTo>
                  <a:lnTo>
                    <a:pt x="365" y="167"/>
                  </a:lnTo>
                  <a:lnTo>
                    <a:pt x="362" y="171"/>
                  </a:lnTo>
                  <a:lnTo>
                    <a:pt x="362" y="174"/>
                  </a:lnTo>
                  <a:lnTo>
                    <a:pt x="360" y="174"/>
                  </a:lnTo>
                  <a:lnTo>
                    <a:pt x="360" y="176"/>
                  </a:lnTo>
                  <a:lnTo>
                    <a:pt x="357" y="178"/>
                  </a:lnTo>
                  <a:lnTo>
                    <a:pt x="352" y="181"/>
                  </a:lnTo>
                  <a:lnTo>
                    <a:pt x="350" y="181"/>
                  </a:lnTo>
                  <a:lnTo>
                    <a:pt x="350" y="183"/>
                  </a:lnTo>
                  <a:lnTo>
                    <a:pt x="348" y="181"/>
                  </a:lnTo>
                  <a:lnTo>
                    <a:pt x="347" y="183"/>
                  </a:lnTo>
                  <a:lnTo>
                    <a:pt x="347" y="181"/>
                  </a:lnTo>
                  <a:lnTo>
                    <a:pt x="347" y="184"/>
                  </a:lnTo>
                  <a:lnTo>
                    <a:pt x="345" y="183"/>
                  </a:lnTo>
                  <a:lnTo>
                    <a:pt x="345" y="186"/>
                  </a:lnTo>
                  <a:lnTo>
                    <a:pt x="343" y="188"/>
                  </a:lnTo>
                  <a:lnTo>
                    <a:pt x="347" y="190"/>
                  </a:lnTo>
                  <a:lnTo>
                    <a:pt x="345" y="191"/>
                  </a:lnTo>
                  <a:lnTo>
                    <a:pt x="347" y="193"/>
                  </a:lnTo>
                  <a:lnTo>
                    <a:pt x="345" y="193"/>
                  </a:lnTo>
                  <a:lnTo>
                    <a:pt x="345" y="195"/>
                  </a:lnTo>
                  <a:lnTo>
                    <a:pt x="347" y="193"/>
                  </a:lnTo>
                  <a:lnTo>
                    <a:pt x="347" y="196"/>
                  </a:lnTo>
                  <a:lnTo>
                    <a:pt x="341" y="193"/>
                  </a:lnTo>
                  <a:lnTo>
                    <a:pt x="333" y="191"/>
                  </a:lnTo>
                  <a:lnTo>
                    <a:pt x="333" y="190"/>
                  </a:lnTo>
                  <a:lnTo>
                    <a:pt x="326" y="186"/>
                  </a:lnTo>
                  <a:lnTo>
                    <a:pt x="321" y="186"/>
                  </a:lnTo>
                  <a:lnTo>
                    <a:pt x="318" y="181"/>
                  </a:lnTo>
                  <a:lnTo>
                    <a:pt x="312" y="183"/>
                  </a:lnTo>
                  <a:lnTo>
                    <a:pt x="309" y="183"/>
                  </a:lnTo>
                  <a:lnTo>
                    <a:pt x="307" y="186"/>
                  </a:lnTo>
                  <a:lnTo>
                    <a:pt x="311" y="190"/>
                  </a:lnTo>
                  <a:lnTo>
                    <a:pt x="309" y="191"/>
                  </a:lnTo>
                  <a:lnTo>
                    <a:pt x="309" y="195"/>
                  </a:lnTo>
                  <a:lnTo>
                    <a:pt x="306" y="202"/>
                  </a:lnTo>
                  <a:lnTo>
                    <a:pt x="307" y="210"/>
                  </a:lnTo>
                  <a:lnTo>
                    <a:pt x="311" y="212"/>
                  </a:lnTo>
                  <a:lnTo>
                    <a:pt x="311" y="219"/>
                  </a:lnTo>
                  <a:lnTo>
                    <a:pt x="316" y="225"/>
                  </a:lnTo>
                  <a:lnTo>
                    <a:pt x="314" y="232"/>
                  </a:lnTo>
                  <a:lnTo>
                    <a:pt x="314" y="237"/>
                  </a:lnTo>
                  <a:lnTo>
                    <a:pt x="318" y="237"/>
                  </a:lnTo>
                  <a:lnTo>
                    <a:pt x="321" y="241"/>
                  </a:lnTo>
                  <a:lnTo>
                    <a:pt x="324" y="239"/>
                  </a:lnTo>
                  <a:lnTo>
                    <a:pt x="326" y="241"/>
                  </a:lnTo>
                  <a:lnTo>
                    <a:pt x="326" y="246"/>
                  </a:lnTo>
                  <a:lnTo>
                    <a:pt x="328" y="248"/>
                  </a:lnTo>
                  <a:lnTo>
                    <a:pt x="329" y="255"/>
                  </a:lnTo>
                  <a:lnTo>
                    <a:pt x="328" y="255"/>
                  </a:lnTo>
                  <a:lnTo>
                    <a:pt x="326" y="260"/>
                  </a:lnTo>
                  <a:lnTo>
                    <a:pt x="323" y="265"/>
                  </a:lnTo>
                  <a:lnTo>
                    <a:pt x="318" y="263"/>
                  </a:lnTo>
                  <a:lnTo>
                    <a:pt x="314" y="263"/>
                  </a:lnTo>
                  <a:lnTo>
                    <a:pt x="312" y="261"/>
                  </a:lnTo>
                  <a:lnTo>
                    <a:pt x="309" y="263"/>
                  </a:lnTo>
                  <a:lnTo>
                    <a:pt x="309" y="266"/>
                  </a:lnTo>
                  <a:lnTo>
                    <a:pt x="306" y="268"/>
                  </a:lnTo>
                  <a:lnTo>
                    <a:pt x="307" y="273"/>
                  </a:lnTo>
                  <a:lnTo>
                    <a:pt x="307" y="278"/>
                  </a:lnTo>
                  <a:lnTo>
                    <a:pt x="302" y="278"/>
                  </a:lnTo>
                  <a:lnTo>
                    <a:pt x="302" y="275"/>
                  </a:lnTo>
                  <a:lnTo>
                    <a:pt x="300" y="273"/>
                  </a:lnTo>
                  <a:lnTo>
                    <a:pt x="299" y="275"/>
                  </a:lnTo>
                  <a:lnTo>
                    <a:pt x="300" y="278"/>
                  </a:lnTo>
                  <a:lnTo>
                    <a:pt x="295" y="282"/>
                  </a:lnTo>
                  <a:lnTo>
                    <a:pt x="285" y="278"/>
                  </a:lnTo>
                  <a:lnTo>
                    <a:pt x="280" y="287"/>
                  </a:lnTo>
                  <a:lnTo>
                    <a:pt x="280" y="297"/>
                  </a:lnTo>
                  <a:lnTo>
                    <a:pt x="271" y="295"/>
                  </a:lnTo>
                  <a:lnTo>
                    <a:pt x="271" y="292"/>
                  </a:lnTo>
                  <a:lnTo>
                    <a:pt x="270" y="289"/>
                  </a:lnTo>
                  <a:lnTo>
                    <a:pt x="268" y="292"/>
                  </a:lnTo>
                  <a:lnTo>
                    <a:pt x="265" y="290"/>
                  </a:lnTo>
                  <a:lnTo>
                    <a:pt x="266" y="284"/>
                  </a:lnTo>
                  <a:lnTo>
                    <a:pt x="263" y="275"/>
                  </a:lnTo>
                  <a:lnTo>
                    <a:pt x="265" y="268"/>
                  </a:lnTo>
                  <a:lnTo>
                    <a:pt x="265" y="260"/>
                  </a:lnTo>
                  <a:lnTo>
                    <a:pt x="266" y="255"/>
                  </a:lnTo>
                  <a:lnTo>
                    <a:pt x="266" y="249"/>
                  </a:lnTo>
                  <a:lnTo>
                    <a:pt x="265" y="248"/>
                  </a:lnTo>
                  <a:lnTo>
                    <a:pt x="263" y="249"/>
                  </a:lnTo>
                  <a:lnTo>
                    <a:pt x="258" y="246"/>
                  </a:lnTo>
                  <a:lnTo>
                    <a:pt x="256" y="248"/>
                  </a:lnTo>
                  <a:lnTo>
                    <a:pt x="253" y="248"/>
                  </a:lnTo>
                  <a:lnTo>
                    <a:pt x="253" y="246"/>
                  </a:lnTo>
                  <a:lnTo>
                    <a:pt x="251" y="248"/>
                  </a:lnTo>
                  <a:lnTo>
                    <a:pt x="249" y="246"/>
                  </a:lnTo>
                  <a:lnTo>
                    <a:pt x="242" y="248"/>
                  </a:lnTo>
                  <a:lnTo>
                    <a:pt x="239" y="246"/>
                  </a:lnTo>
                  <a:lnTo>
                    <a:pt x="236" y="248"/>
                  </a:lnTo>
                  <a:lnTo>
                    <a:pt x="230" y="243"/>
                  </a:lnTo>
                  <a:lnTo>
                    <a:pt x="230" y="241"/>
                  </a:lnTo>
                  <a:lnTo>
                    <a:pt x="229" y="231"/>
                  </a:lnTo>
                  <a:lnTo>
                    <a:pt x="227" y="222"/>
                  </a:lnTo>
                  <a:lnTo>
                    <a:pt x="225" y="217"/>
                  </a:lnTo>
                  <a:lnTo>
                    <a:pt x="219" y="224"/>
                  </a:lnTo>
                  <a:lnTo>
                    <a:pt x="212" y="227"/>
                  </a:lnTo>
                  <a:lnTo>
                    <a:pt x="208" y="231"/>
                  </a:lnTo>
                  <a:lnTo>
                    <a:pt x="205" y="236"/>
                  </a:lnTo>
                  <a:lnTo>
                    <a:pt x="203" y="234"/>
                  </a:lnTo>
                  <a:lnTo>
                    <a:pt x="203" y="229"/>
                  </a:lnTo>
                  <a:lnTo>
                    <a:pt x="201" y="229"/>
                  </a:lnTo>
                  <a:lnTo>
                    <a:pt x="198" y="229"/>
                  </a:lnTo>
                  <a:lnTo>
                    <a:pt x="190" y="229"/>
                  </a:lnTo>
                  <a:lnTo>
                    <a:pt x="186" y="232"/>
                  </a:lnTo>
                  <a:lnTo>
                    <a:pt x="188" y="234"/>
                  </a:lnTo>
                  <a:lnTo>
                    <a:pt x="188" y="241"/>
                  </a:lnTo>
                  <a:lnTo>
                    <a:pt x="186" y="244"/>
                  </a:lnTo>
                  <a:lnTo>
                    <a:pt x="179" y="249"/>
                  </a:lnTo>
                  <a:lnTo>
                    <a:pt x="176" y="258"/>
                  </a:lnTo>
                  <a:lnTo>
                    <a:pt x="176" y="260"/>
                  </a:lnTo>
                  <a:lnTo>
                    <a:pt x="169" y="256"/>
                  </a:lnTo>
                  <a:lnTo>
                    <a:pt x="162" y="255"/>
                  </a:lnTo>
                  <a:lnTo>
                    <a:pt x="162" y="253"/>
                  </a:lnTo>
                  <a:lnTo>
                    <a:pt x="160" y="253"/>
                  </a:lnTo>
                  <a:lnTo>
                    <a:pt x="155" y="253"/>
                  </a:lnTo>
                  <a:lnTo>
                    <a:pt x="150" y="251"/>
                  </a:lnTo>
                  <a:lnTo>
                    <a:pt x="149" y="251"/>
                  </a:lnTo>
                  <a:lnTo>
                    <a:pt x="143" y="249"/>
                  </a:lnTo>
                  <a:lnTo>
                    <a:pt x="137" y="248"/>
                  </a:lnTo>
                  <a:lnTo>
                    <a:pt x="128" y="246"/>
                  </a:lnTo>
                  <a:lnTo>
                    <a:pt x="130" y="244"/>
                  </a:lnTo>
                  <a:lnTo>
                    <a:pt x="126" y="246"/>
                  </a:lnTo>
                  <a:lnTo>
                    <a:pt x="118" y="243"/>
                  </a:lnTo>
                  <a:lnTo>
                    <a:pt x="109" y="243"/>
                  </a:lnTo>
                  <a:lnTo>
                    <a:pt x="101" y="244"/>
                  </a:lnTo>
                  <a:lnTo>
                    <a:pt x="99" y="243"/>
                  </a:lnTo>
                  <a:lnTo>
                    <a:pt x="99" y="237"/>
                  </a:lnTo>
                  <a:lnTo>
                    <a:pt x="99" y="236"/>
                  </a:lnTo>
                  <a:lnTo>
                    <a:pt x="99" y="237"/>
                  </a:lnTo>
                  <a:lnTo>
                    <a:pt x="91" y="236"/>
                  </a:lnTo>
                  <a:lnTo>
                    <a:pt x="82" y="234"/>
                  </a:lnTo>
                  <a:lnTo>
                    <a:pt x="73" y="234"/>
                  </a:lnTo>
                  <a:lnTo>
                    <a:pt x="72" y="232"/>
                  </a:lnTo>
                  <a:lnTo>
                    <a:pt x="72" y="234"/>
                  </a:lnTo>
                  <a:lnTo>
                    <a:pt x="65" y="234"/>
                  </a:lnTo>
                  <a:lnTo>
                    <a:pt x="58" y="236"/>
                  </a:lnTo>
                  <a:lnTo>
                    <a:pt x="55" y="241"/>
                  </a:lnTo>
                  <a:lnTo>
                    <a:pt x="51" y="239"/>
                  </a:lnTo>
                  <a:lnTo>
                    <a:pt x="51" y="236"/>
                  </a:lnTo>
                  <a:lnTo>
                    <a:pt x="53" y="234"/>
                  </a:lnTo>
                  <a:lnTo>
                    <a:pt x="55" y="232"/>
                  </a:lnTo>
                  <a:lnTo>
                    <a:pt x="55" y="231"/>
                  </a:lnTo>
                  <a:lnTo>
                    <a:pt x="56" y="231"/>
                  </a:lnTo>
                  <a:lnTo>
                    <a:pt x="53" y="231"/>
                  </a:lnTo>
                  <a:lnTo>
                    <a:pt x="53" y="232"/>
                  </a:lnTo>
                  <a:lnTo>
                    <a:pt x="51" y="231"/>
                  </a:lnTo>
                  <a:lnTo>
                    <a:pt x="53" y="232"/>
                  </a:lnTo>
                  <a:lnTo>
                    <a:pt x="51" y="236"/>
                  </a:lnTo>
                  <a:lnTo>
                    <a:pt x="51" y="239"/>
                  </a:lnTo>
                  <a:lnTo>
                    <a:pt x="46" y="231"/>
                  </a:lnTo>
                  <a:lnTo>
                    <a:pt x="48" y="237"/>
                  </a:lnTo>
                  <a:lnTo>
                    <a:pt x="44" y="237"/>
                  </a:lnTo>
                  <a:lnTo>
                    <a:pt x="43" y="236"/>
                  </a:lnTo>
                  <a:lnTo>
                    <a:pt x="41" y="236"/>
                  </a:lnTo>
                  <a:lnTo>
                    <a:pt x="38" y="234"/>
                  </a:lnTo>
                  <a:lnTo>
                    <a:pt x="38" y="232"/>
                  </a:lnTo>
                  <a:lnTo>
                    <a:pt x="34" y="229"/>
                  </a:lnTo>
                  <a:lnTo>
                    <a:pt x="31" y="232"/>
                  </a:lnTo>
                  <a:lnTo>
                    <a:pt x="29" y="231"/>
                  </a:lnTo>
                  <a:lnTo>
                    <a:pt x="29" y="232"/>
                  </a:lnTo>
                  <a:lnTo>
                    <a:pt x="22" y="227"/>
                  </a:lnTo>
                  <a:lnTo>
                    <a:pt x="22" y="225"/>
                  </a:lnTo>
                  <a:lnTo>
                    <a:pt x="21" y="225"/>
                  </a:lnTo>
                  <a:lnTo>
                    <a:pt x="22" y="222"/>
                  </a:lnTo>
                  <a:lnTo>
                    <a:pt x="24" y="219"/>
                  </a:lnTo>
                  <a:lnTo>
                    <a:pt x="19" y="208"/>
                  </a:lnTo>
                  <a:lnTo>
                    <a:pt x="19" y="203"/>
                  </a:lnTo>
                  <a:lnTo>
                    <a:pt x="15" y="200"/>
                  </a:lnTo>
                  <a:lnTo>
                    <a:pt x="14" y="195"/>
                  </a:lnTo>
                  <a:lnTo>
                    <a:pt x="10" y="191"/>
                  </a:lnTo>
                  <a:lnTo>
                    <a:pt x="5" y="193"/>
                  </a:lnTo>
                  <a:lnTo>
                    <a:pt x="0" y="191"/>
                  </a:lnTo>
                  <a:lnTo>
                    <a:pt x="0" y="186"/>
                  </a:lnTo>
                  <a:lnTo>
                    <a:pt x="3" y="181"/>
                  </a:lnTo>
                  <a:lnTo>
                    <a:pt x="3" y="176"/>
                  </a:lnTo>
                  <a:lnTo>
                    <a:pt x="0" y="174"/>
                  </a:lnTo>
                  <a:lnTo>
                    <a:pt x="0" y="173"/>
                  </a:lnTo>
                  <a:lnTo>
                    <a:pt x="3" y="169"/>
                  </a:lnTo>
                  <a:lnTo>
                    <a:pt x="9" y="167"/>
                  </a:lnTo>
                  <a:lnTo>
                    <a:pt x="14" y="171"/>
                  </a:lnTo>
                  <a:lnTo>
                    <a:pt x="21" y="166"/>
                  </a:lnTo>
                  <a:lnTo>
                    <a:pt x="26" y="164"/>
                  </a:lnTo>
                  <a:lnTo>
                    <a:pt x="27" y="159"/>
                  </a:lnTo>
                  <a:lnTo>
                    <a:pt x="26" y="155"/>
                  </a:lnTo>
                  <a:lnTo>
                    <a:pt x="27" y="152"/>
                  </a:lnTo>
                  <a:lnTo>
                    <a:pt x="24" y="150"/>
                  </a:lnTo>
                  <a:lnTo>
                    <a:pt x="24" y="143"/>
                  </a:lnTo>
                  <a:lnTo>
                    <a:pt x="24" y="142"/>
                  </a:lnTo>
                  <a:lnTo>
                    <a:pt x="24" y="138"/>
                  </a:lnTo>
                  <a:lnTo>
                    <a:pt x="27" y="137"/>
                  </a:lnTo>
                  <a:lnTo>
                    <a:pt x="32" y="132"/>
                  </a:lnTo>
                  <a:lnTo>
                    <a:pt x="32" y="125"/>
                  </a:lnTo>
                  <a:lnTo>
                    <a:pt x="34" y="125"/>
                  </a:lnTo>
                  <a:lnTo>
                    <a:pt x="38" y="128"/>
                  </a:lnTo>
                  <a:lnTo>
                    <a:pt x="46" y="132"/>
                  </a:lnTo>
                  <a:lnTo>
                    <a:pt x="50" y="128"/>
                  </a:lnTo>
                  <a:lnTo>
                    <a:pt x="60" y="125"/>
                  </a:lnTo>
                  <a:lnTo>
                    <a:pt x="61" y="123"/>
                  </a:lnTo>
                  <a:lnTo>
                    <a:pt x="61" y="128"/>
                  </a:lnTo>
                  <a:lnTo>
                    <a:pt x="65" y="132"/>
                  </a:lnTo>
                  <a:lnTo>
                    <a:pt x="72" y="133"/>
                  </a:lnTo>
                  <a:lnTo>
                    <a:pt x="75" y="135"/>
                  </a:lnTo>
                  <a:lnTo>
                    <a:pt x="80" y="135"/>
                  </a:lnTo>
                  <a:lnTo>
                    <a:pt x="87" y="137"/>
                  </a:lnTo>
                  <a:lnTo>
                    <a:pt x="94" y="135"/>
                  </a:lnTo>
                  <a:lnTo>
                    <a:pt x="99" y="135"/>
                  </a:lnTo>
                  <a:lnTo>
                    <a:pt x="104" y="133"/>
                  </a:lnTo>
                  <a:lnTo>
                    <a:pt x="111" y="128"/>
                  </a:lnTo>
                  <a:lnTo>
                    <a:pt x="114" y="126"/>
                  </a:lnTo>
                  <a:lnTo>
                    <a:pt x="114" y="125"/>
                  </a:lnTo>
                  <a:lnTo>
                    <a:pt x="121" y="132"/>
                  </a:lnTo>
                  <a:lnTo>
                    <a:pt x="128" y="132"/>
                  </a:lnTo>
                  <a:lnTo>
                    <a:pt x="137" y="135"/>
                  </a:lnTo>
                  <a:lnTo>
                    <a:pt x="140" y="137"/>
                  </a:lnTo>
                  <a:lnTo>
                    <a:pt x="150" y="140"/>
                  </a:lnTo>
                  <a:lnTo>
                    <a:pt x="157" y="142"/>
                  </a:lnTo>
                  <a:lnTo>
                    <a:pt x="164" y="140"/>
                  </a:lnTo>
                  <a:lnTo>
                    <a:pt x="171" y="142"/>
                  </a:lnTo>
                  <a:lnTo>
                    <a:pt x="174" y="142"/>
                  </a:lnTo>
                  <a:lnTo>
                    <a:pt x="178" y="140"/>
                  </a:lnTo>
                  <a:lnTo>
                    <a:pt x="181" y="140"/>
                  </a:lnTo>
                  <a:lnTo>
                    <a:pt x="188" y="137"/>
                  </a:lnTo>
                  <a:lnTo>
                    <a:pt x="193" y="133"/>
                  </a:lnTo>
                  <a:lnTo>
                    <a:pt x="198" y="135"/>
                  </a:lnTo>
                  <a:lnTo>
                    <a:pt x="203" y="140"/>
                  </a:lnTo>
                  <a:lnTo>
                    <a:pt x="210" y="143"/>
                  </a:lnTo>
                  <a:lnTo>
                    <a:pt x="217" y="145"/>
                  </a:lnTo>
                  <a:lnTo>
                    <a:pt x="224" y="145"/>
                  </a:lnTo>
                  <a:lnTo>
                    <a:pt x="224" y="143"/>
                  </a:lnTo>
                  <a:lnTo>
                    <a:pt x="225" y="147"/>
                  </a:lnTo>
                  <a:lnTo>
                    <a:pt x="229" y="145"/>
                  </a:lnTo>
                  <a:lnTo>
                    <a:pt x="227" y="143"/>
                  </a:lnTo>
                  <a:lnTo>
                    <a:pt x="230" y="145"/>
                  </a:lnTo>
                  <a:lnTo>
                    <a:pt x="230" y="142"/>
                  </a:lnTo>
                  <a:lnTo>
                    <a:pt x="234" y="133"/>
                  </a:lnTo>
                  <a:lnTo>
                    <a:pt x="236" y="133"/>
                  </a:lnTo>
                  <a:lnTo>
                    <a:pt x="234" y="132"/>
                  </a:lnTo>
                  <a:lnTo>
                    <a:pt x="237" y="130"/>
                  </a:lnTo>
                  <a:lnTo>
                    <a:pt x="241" y="125"/>
                  </a:lnTo>
                  <a:lnTo>
                    <a:pt x="241" y="123"/>
                  </a:lnTo>
                  <a:lnTo>
                    <a:pt x="237" y="123"/>
                  </a:lnTo>
                  <a:lnTo>
                    <a:pt x="237" y="121"/>
                  </a:lnTo>
                  <a:lnTo>
                    <a:pt x="239" y="121"/>
                  </a:lnTo>
                  <a:lnTo>
                    <a:pt x="237" y="118"/>
                  </a:lnTo>
                  <a:lnTo>
                    <a:pt x="239" y="118"/>
                  </a:lnTo>
                  <a:lnTo>
                    <a:pt x="241" y="120"/>
                  </a:lnTo>
                  <a:lnTo>
                    <a:pt x="246" y="116"/>
                  </a:lnTo>
                  <a:lnTo>
                    <a:pt x="249" y="109"/>
                  </a:lnTo>
                  <a:lnTo>
                    <a:pt x="249" y="106"/>
                  </a:lnTo>
                  <a:lnTo>
                    <a:pt x="251" y="102"/>
                  </a:lnTo>
                  <a:lnTo>
                    <a:pt x="249" y="101"/>
                  </a:lnTo>
                  <a:lnTo>
                    <a:pt x="251" y="101"/>
                  </a:lnTo>
                  <a:lnTo>
                    <a:pt x="249" y="97"/>
                  </a:lnTo>
                  <a:lnTo>
                    <a:pt x="254" y="94"/>
                  </a:lnTo>
                  <a:lnTo>
                    <a:pt x="253" y="92"/>
                  </a:lnTo>
                  <a:lnTo>
                    <a:pt x="254" y="91"/>
                  </a:lnTo>
                  <a:lnTo>
                    <a:pt x="258" y="85"/>
                  </a:lnTo>
                  <a:lnTo>
                    <a:pt x="261" y="84"/>
                  </a:lnTo>
                  <a:lnTo>
                    <a:pt x="260" y="84"/>
                  </a:lnTo>
                  <a:lnTo>
                    <a:pt x="261" y="85"/>
                  </a:lnTo>
                  <a:lnTo>
                    <a:pt x="270" y="82"/>
                  </a:lnTo>
                  <a:lnTo>
                    <a:pt x="273" y="80"/>
                  </a:lnTo>
                  <a:lnTo>
                    <a:pt x="282" y="80"/>
                  </a:lnTo>
                  <a:lnTo>
                    <a:pt x="289" y="80"/>
                  </a:lnTo>
                  <a:lnTo>
                    <a:pt x="290" y="80"/>
                  </a:lnTo>
                  <a:lnTo>
                    <a:pt x="297" y="82"/>
                  </a:lnTo>
                  <a:lnTo>
                    <a:pt x="299" y="87"/>
                  </a:lnTo>
                  <a:lnTo>
                    <a:pt x="300" y="94"/>
                  </a:lnTo>
                  <a:lnTo>
                    <a:pt x="302" y="97"/>
                  </a:lnTo>
                  <a:lnTo>
                    <a:pt x="306" y="106"/>
                  </a:lnTo>
                  <a:lnTo>
                    <a:pt x="311" y="111"/>
                  </a:lnTo>
                  <a:lnTo>
                    <a:pt x="314" y="111"/>
                  </a:lnTo>
                  <a:lnTo>
                    <a:pt x="321" y="114"/>
                  </a:lnTo>
                  <a:lnTo>
                    <a:pt x="328" y="114"/>
                  </a:lnTo>
                  <a:lnTo>
                    <a:pt x="336" y="116"/>
                  </a:lnTo>
                  <a:lnTo>
                    <a:pt x="338" y="116"/>
                  </a:lnTo>
                  <a:lnTo>
                    <a:pt x="347" y="111"/>
                  </a:lnTo>
                  <a:lnTo>
                    <a:pt x="348" y="108"/>
                  </a:lnTo>
                  <a:lnTo>
                    <a:pt x="352" y="106"/>
                  </a:lnTo>
                  <a:lnTo>
                    <a:pt x="360" y="108"/>
                  </a:lnTo>
                  <a:lnTo>
                    <a:pt x="367" y="114"/>
                  </a:lnTo>
                  <a:lnTo>
                    <a:pt x="367" y="116"/>
                  </a:lnTo>
                  <a:lnTo>
                    <a:pt x="369" y="116"/>
                  </a:lnTo>
                  <a:lnTo>
                    <a:pt x="376" y="121"/>
                  </a:lnTo>
                  <a:close/>
                  <a:moveTo>
                    <a:pt x="244" y="12"/>
                  </a:moveTo>
                  <a:lnTo>
                    <a:pt x="246" y="12"/>
                  </a:lnTo>
                  <a:lnTo>
                    <a:pt x="246" y="15"/>
                  </a:lnTo>
                  <a:lnTo>
                    <a:pt x="244" y="15"/>
                  </a:lnTo>
                  <a:lnTo>
                    <a:pt x="244" y="12"/>
                  </a:lnTo>
                  <a:close/>
                  <a:moveTo>
                    <a:pt x="230" y="7"/>
                  </a:moveTo>
                  <a:lnTo>
                    <a:pt x="232" y="10"/>
                  </a:lnTo>
                  <a:lnTo>
                    <a:pt x="230" y="12"/>
                  </a:lnTo>
                  <a:lnTo>
                    <a:pt x="229" y="12"/>
                  </a:lnTo>
                  <a:lnTo>
                    <a:pt x="230" y="14"/>
                  </a:lnTo>
                  <a:lnTo>
                    <a:pt x="227" y="15"/>
                  </a:lnTo>
                  <a:lnTo>
                    <a:pt x="227" y="19"/>
                  </a:lnTo>
                  <a:lnTo>
                    <a:pt x="222" y="12"/>
                  </a:lnTo>
                  <a:lnTo>
                    <a:pt x="230" y="10"/>
                  </a:lnTo>
                  <a:lnTo>
                    <a:pt x="229" y="7"/>
                  </a:lnTo>
                  <a:lnTo>
                    <a:pt x="230" y="9"/>
                  </a:lnTo>
                  <a:lnTo>
                    <a:pt x="229" y="7"/>
                  </a:lnTo>
                  <a:lnTo>
                    <a:pt x="227" y="10"/>
                  </a:lnTo>
                  <a:lnTo>
                    <a:pt x="227" y="9"/>
                  </a:lnTo>
                  <a:lnTo>
                    <a:pt x="230" y="3"/>
                  </a:lnTo>
                  <a:lnTo>
                    <a:pt x="230" y="7"/>
                  </a:lnTo>
                  <a:close/>
                  <a:moveTo>
                    <a:pt x="203" y="0"/>
                  </a:moveTo>
                  <a:lnTo>
                    <a:pt x="201" y="3"/>
                  </a:lnTo>
                  <a:lnTo>
                    <a:pt x="201" y="0"/>
                  </a:lnTo>
                  <a:lnTo>
                    <a:pt x="20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59" name="Freeform 76"/>
            <p:cNvSpPr/>
            <p:nvPr/>
          </p:nvSpPr>
          <p:spPr bwMode="gray">
            <a:xfrm>
              <a:off x="3361550" y="4448053"/>
              <a:ext cx="538134" cy="415914"/>
            </a:xfrm>
            <a:custGeom>
              <a:avLst/>
              <a:gdLst>
                <a:gd name="T0" fmla="*/ 285 w 295"/>
                <a:gd name="T1" fmla="*/ 117 h 228"/>
                <a:gd name="T2" fmla="*/ 288 w 295"/>
                <a:gd name="T3" fmla="*/ 131 h 228"/>
                <a:gd name="T4" fmla="*/ 282 w 295"/>
                <a:gd name="T5" fmla="*/ 145 h 228"/>
                <a:gd name="T6" fmla="*/ 261 w 295"/>
                <a:gd name="T7" fmla="*/ 152 h 228"/>
                <a:gd name="T8" fmla="*/ 261 w 295"/>
                <a:gd name="T9" fmla="*/ 165 h 228"/>
                <a:gd name="T10" fmla="*/ 275 w 295"/>
                <a:gd name="T11" fmla="*/ 174 h 228"/>
                <a:gd name="T12" fmla="*/ 285 w 295"/>
                <a:gd name="T13" fmla="*/ 198 h 228"/>
                <a:gd name="T14" fmla="*/ 283 w 295"/>
                <a:gd name="T15" fmla="*/ 206 h 228"/>
                <a:gd name="T16" fmla="*/ 285 w 295"/>
                <a:gd name="T17" fmla="*/ 215 h 228"/>
                <a:gd name="T18" fmla="*/ 275 w 295"/>
                <a:gd name="T19" fmla="*/ 216 h 228"/>
                <a:gd name="T20" fmla="*/ 271 w 295"/>
                <a:gd name="T21" fmla="*/ 213 h 228"/>
                <a:gd name="T22" fmla="*/ 254 w 295"/>
                <a:gd name="T23" fmla="*/ 216 h 228"/>
                <a:gd name="T24" fmla="*/ 239 w 295"/>
                <a:gd name="T25" fmla="*/ 228 h 228"/>
                <a:gd name="T26" fmla="*/ 215 w 295"/>
                <a:gd name="T27" fmla="*/ 225 h 228"/>
                <a:gd name="T28" fmla="*/ 194 w 295"/>
                <a:gd name="T29" fmla="*/ 220 h 228"/>
                <a:gd name="T30" fmla="*/ 174 w 295"/>
                <a:gd name="T31" fmla="*/ 215 h 228"/>
                <a:gd name="T32" fmla="*/ 155 w 295"/>
                <a:gd name="T33" fmla="*/ 206 h 228"/>
                <a:gd name="T34" fmla="*/ 133 w 295"/>
                <a:gd name="T35" fmla="*/ 194 h 228"/>
                <a:gd name="T36" fmla="*/ 118 w 295"/>
                <a:gd name="T37" fmla="*/ 191 h 228"/>
                <a:gd name="T38" fmla="*/ 90 w 295"/>
                <a:gd name="T39" fmla="*/ 186 h 228"/>
                <a:gd name="T40" fmla="*/ 70 w 295"/>
                <a:gd name="T41" fmla="*/ 184 h 228"/>
                <a:gd name="T42" fmla="*/ 49 w 295"/>
                <a:gd name="T43" fmla="*/ 182 h 228"/>
                <a:gd name="T44" fmla="*/ 34 w 295"/>
                <a:gd name="T45" fmla="*/ 181 h 228"/>
                <a:gd name="T46" fmla="*/ 14 w 295"/>
                <a:gd name="T47" fmla="*/ 175 h 228"/>
                <a:gd name="T48" fmla="*/ 3 w 295"/>
                <a:gd name="T49" fmla="*/ 170 h 228"/>
                <a:gd name="T50" fmla="*/ 0 w 295"/>
                <a:gd name="T51" fmla="*/ 158 h 228"/>
                <a:gd name="T52" fmla="*/ 8 w 295"/>
                <a:gd name="T53" fmla="*/ 148 h 228"/>
                <a:gd name="T54" fmla="*/ 20 w 295"/>
                <a:gd name="T55" fmla="*/ 133 h 228"/>
                <a:gd name="T56" fmla="*/ 3 w 295"/>
                <a:gd name="T57" fmla="*/ 128 h 228"/>
                <a:gd name="T58" fmla="*/ 14 w 295"/>
                <a:gd name="T59" fmla="*/ 105 h 228"/>
                <a:gd name="T60" fmla="*/ 7 w 295"/>
                <a:gd name="T61" fmla="*/ 85 h 228"/>
                <a:gd name="T62" fmla="*/ 3 w 295"/>
                <a:gd name="T63" fmla="*/ 64 h 228"/>
                <a:gd name="T64" fmla="*/ 12 w 295"/>
                <a:gd name="T65" fmla="*/ 47 h 228"/>
                <a:gd name="T66" fmla="*/ 19 w 295"/>
                <a:gd name="T67" fmla="*/ 52 h 228"/>
                <a:gd name="T68" fmla="*/ 25 w 295"/>
                <a:gd name="T69" fmla="*/ 54 h 228"/>
                <a:gd name="T70" fmla="*/ 46 w 295"/>
                <a:gd name="T71" fmla="*/ 54 h 228"/>
                <a:gd name="T72" fmla="*/ 54 w 295"/>
                <a:gd name="T73" fmla="*/ 52 h 228"/>
                <a:gd name="T74" fmla="*/ 65 w 295"/>
                <a:gd name="T75" fmla="*/ 47 h 228"/>
                <a:gd name="T76" fmla="*/ 72 w 295"/>
                <a:gd name="T77" fmla="*/ 29 h 228"/>
                <a:gd name="T78" fmla="*/ 77 w 295"/>
                <a:gd name="T79" fmla="*/ 15 h 228"/>
                <a:gd name="T80" fmla="*/ 73 w 295"/>
                <a:gd name="T81" fmla="*/ 11 h 228"/>
                <a:gd name="T82" fmla="*/ 73 w 295"/>
                <a:gd name="T83" fmla="*/ 3 h 228"/>
                <a:gd name="T84" fmla="*/ 95 w 295"/>
                <a:gd name="T85" fmla="*/ 10 h 228"/>
                <a:gd name="T86" fmla="*/ 116 w 295"/>
                <a:gd name="T87" fmla="*/ 6 h 228"/>
                <a:gd name="T88" fmla="*/ 140 w 295"/>
                <a:gd name="T89" fmla="*/ 32 h 228"/>
                <a:gd name="T90" fmla="*/ 162 w 295"/>
                <a:gd name="T91" fmla="*/ 39 h 228"/>
                <a:gd name="T92" fmla="*/ 177 w 295"/>
                <a:gd name="T93" fmla="*/ 35 h 228"/>
                <a:gd name="T94" fmla="*/ 181 w 295"/>
                <a:gd name="T95" fmla="*/ 37 h 228"/>
                <a:gd name="T96" fmla="*/ 198 w 295"/>
                <a:gd name="T97" fmla="*/ 47 h 228"/>
                <a:gd name="T98" fmla="*/ 220 w 295"/>
                <a:gd name="T99" fmla="*/ 44 h 228"/>
                <a:gd name="T100" fmla="*/ 217 w 295"/>
                <a:gd name="T101" fmla="*/ 37 h 228"/>
                <a:gd name="T102" fmla="*/ 235 w 295"/>
                <a:gd name="T103" fmla="*/ 44 h 228"/>
                <a:gd name="T104" fmla="*/ 241 w 295"/>
                <a:gd name="T105" fmla="*/ 54 h 228"/>
                <a:gd name="T106" fmla="*/ 259 w 295"/>
                <a:gd name="T107" fmla="*/ 68 h 228"/>
                <a:gd name="T108" fmla="*/ 261 w 295"/>
                <a:gd name="T109" fmla="*/ 93 h 228"/>
                <a:gd name="T110" fmla="*/ 275 w 295"/>
                <a:gd name="T111" fmla="*/ 102 h 228"/>
                <a:gd name="T112" fmla="*/ 292 w 295"/>
                <a:gd name="T113" fmla="*/ 102 h 228"/>
                <a:gd name="T114" fmla="*/ 295 w 295"/>
                <a:gd name="T115" fmla="*/ 10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5" h="228">
                  <a:moveTo>
                    <a:pt x="293" y="104"/>
                  </a:moveTo>
                  <a:lnTo>
                    <a:pt x="293" y="111"/>
                  </a:lnTo>
                  <a:lnTo>
                    <a:pt x="288" y="116"/>
                  </a:lnTo>
                  <a:lnTo>
                    <a:pt x="285" y="117"/>
                  </a:lnTo>
                  <a:lnTo>
                    <a:pt x="285" y="121"/>
                  </a:lnTo>
                  <a:lnTo>
                    <a:pt x="285" y="122"/>
                  </a:lnTo>
                  <a:lnTo>
                    <a:pt x="285" y="129"/>
                  </a:lnTo>
                  <a:lnTo>
                    <a:pt x="288" y="131"/>
                  </a:lnTo>
                  <a:lnTo>
                    <a:pt x="287" y="134"/>
                  </a:lnTo>
                  <a:lnTo>
                    <a:pt x="288" y="138"/>
                  </a:lnTo>
                  <a:lnTo>
                    <a:pt x="287" y="143"/>
                  </a:lnTo>
                  <a:lnTo>
                    <a:pt x="282" y="145"/>
                  </a:lnTo>
                  <a:lnTo>
                    <a:pt x="275" y="150"/>
                  </a:lnTo>
                  <a:lnTo>
                    <a:pt x="270" y="146"/>
                  </a:lnTo>
                  <a:lnTo>
                    <a:pt x="264" y="148"/>
                  </a:lnTo>
                  <a:lnTo>
                    <a:pt x="261" y="152"/>
                  </a:lnTo>
                  <a:lnTo>
                    <a:pt x="261" y="153"/>
                  </a:lnTo>
                  <a:lnTo>
                    <a:pt x="264" y="155"/>
                  </a:lnTo>
                  <a:lnTo>
                    <a:pt x="264" y="160"/>
                  </a:lnTo>
                  <a:lnTo>
                    <a:pt x="261" y="165"/>
                  </a:lnTo>
                  <a:lnTo>
                    <a:pt x="261" y="170"/>
                  </a:lnTo>
                  <a:lnTo>
                    <a:pt x="266" y="172"/>
                  </a:lnTo>
                  <a:lnTo>
                    <a:pt x="271" y="170"/>
                  </a:lnTo>
                  <a:lnTo>
                    <a:pt x="275" y="174"/>
                  </a:lnTo>
                  <a:lnTo>
                    <a:pt x="276" y="179"/>
                  </a:lnTo>
                  <a:lnTo>
                    <a:pt x="280" y="182"/>
                  </a:lnTo>
                  <a:lnTo>
                    <a:pt x="280" y="187"/>
                  </a:lnTo>
                  <a:lnTo>
                    <a:pt x="285" y="198"/>
                  </a:lnTo>
                  <a:lnTo>
                    <a:pt x="283" y="201"/>
                  </a:lnTo>
                  <a:lnTo>
                    <a:pt x="282" y="204"/>
                  </a:lnTo>
                  <a:lnTo>
                    <a:pt x="283" y="204"/>
                  </a:lnTo>
                  <a:lnTo>
                    <a:pt x="283" y="206"/>
                  </a:lnTo>
                  <a:lnTo>
                    <a:pt x="290" y="211"/>
                  </a:lnTo>
                  <a:lnTo>
                    <a:pt x="287" y="215"/>
                  </a:lnTo>
                  <a:lnTo>
                    <a:pt x="287" y="213"/>
                  </a:lnTo>
                  <a:lnTo>
                    <a:pt x="285" y="215"/>
                  </a:lnTo>
                  <a:lnTo>
                    <a:pt x="280" y="211"/>
                  </a:lnTo>
                  <a:lnTo>
                    <a:pt x="275" y="211"/>
                  </a:lnTo>
                  <a:lnTo>
                    <a:pt x="273" y="215"/>
                  </a:lnTo>
                  <a:lnTo>
                    <a:pt x="275" y="216"/>
                  </a:lnTo>
                  <a:lnTo>
                    <a:pt x="275" y="218"/>
                  </a:lnTo>
                  <a:lnTo>
                    <a:pt x="271" y="216"/>
                  </a:lnTo>
                  <a:lnTo>
                    <a:pt x="273" y="215"/>
                  </a:lnTo>
                  <a:lnTo>
                    <a:pt x="271" y="213"/>
                  </a:lnTo>
                  <a:lnTo>
                    <a:pt x="264" y="211"/>
                  </a:lnTo>
                  <a:lnTo>
                    <a:pt x="258" y="213"/>
                  </a:lnTo>
                  <a:lnTo>
                    <a:pt x="252" y="216"/>
                  </a:lnTo>
                  <a:lnTo>
                    <a:pt x="254" y="216"/>
                  </a:lnTo>
                  <a:lnTo>
                    <a:pt x="254" y="222"/>
                  </a:lnTo>
                  <a:lnTo>
                    <a:pt x="251" y="227"/>
                  </a:lnTo>
                  <a:lnTo>
                    <a:pt x="247" y="228"/>
                  </a:lnTo>
                  <a:lnTo>
                    <a:pt x="239" y="228"/>
                  </a:lnTo>
                  <a:lnTo>
                    <a:pt x="230" y="228"/>
                  </a:lnTo>
                  <a:lnTo>
                    <a:pt x="225" y="227"/>
                  </a:lnTo>
                  <a:lnTo>
                    <a:pt x="223" y="227"/>
                  </a:lnTo>
                  <a:lnTo>
                    <a:pt x="215" y="225"/>
                  </a:lnTo>
                  <a:lnTo>
                    <a:pt x="212" y="225"/>
                  </a:lnTo>
                  <a:lnTo>
                    <a:pt x="212" y="223"/>
                  </a:lnTo>
                  <a:lnTo>
                    <a:pt x="205" y="223"/>
                  </a:lnTo>
                  <a:lnTo>
                    <a:pt x="194" y="220"/>
                  </a:lnTo>
                  <a:lnTo>
                    <a:pt x="183" y="218"/>
                  </a:lnTo>
                  <a:lnTo>
                    <a:pt x="183" y="220"/>
                  </a:lnTo>
                  <a:lnTo>
                    <a:pt x="176" y="218"/>
                  </a:lnTo>
                  <a:lnTo>
                    <a:pt x="174" y="215"/>
                  </a:lnTo>
                  <a:lnTo>
                    <a:pt x="172" y="213"/>
                  </a:lnTo>
                  <a:lnTo>
                    <a:pt x="164" y="211"/>
                  </a:lnTo>
                  <a:lnTo>
                    <a:pt x="157" y="210"/>
                  </a:lnTo>
                  <a:lnTo>
                    <a:pt x="155" y="206"/>
                  </a:lnTo>
                  <a:lnTo>
                    <a:pt x="148" y="203"/>
                  </a:lnTo>
                  <a:lnTo>
                    <a:pt x="147" y="199"/>
                  </a:lnTo>
                  <a:lnTo>
                    <a:pt x="138" y="196"/>
                  </a:lnTo>
                  <a:lnTo>
                    <a:pt x="133" y="194"/>
                  </a:lnTo>
                  <a:lnTo>
                    <a:pt x="131" y="194"/>
                  </a:lnTo>
                  <a:lnTo>
                    <a:pt x="131" y="193"/>
                  </a:lnTo>
                  <a:lnTo>
                    <a:pt x="123" y="189"/>
                  </a:lnTo>
                  <a:lnTo>
                    <a:pt x="118" y="191"/>
                  </a:lnTo>
                  <a:lnTo>
                    <a:pt x="109" y="189"/>
                  </a:lnTo>
                  <a:lnTo>
                    <a:pt x="104" y="189"/>
                  </a:lnTo>
                  <a:lnTo>
                    <a:pt x="101" y="187"/>
                  </a:lnTo>
                  <a:lnTo>
                    <a:pt x="90" y="186"/>
                  </a:lnTo>
                  <a:lnTo>
                    <a:pt x="83" y="184"/>
                  </a:lnTo>
                  <a:lnTo>
                    <a:pt x="75" y="184"/>
                  </a:lnTo>
                  <a:lnTo>
                    <a:pt x="73" y="184"/>
                  </a:lnTo>
                  <a:lnTo>
                    <a:pt x="70" y="184"/>
                  </a:lnTo>
                  <a:lnTo>
                    <a:pt x="60" y="182"/>
                  </a:lnTo>
                  <a:lnTo>
                    <a:pt x="49" y="182"/>
                  </a:lnTo>
                  <a:lnTo>
                    <a:pt x="49" y="179"/>
                  </a:lnTo>
                  <a:lnTo>
                    <a:pt x="49" y="182"/>
                  </a:lnTo>
                  <a:lnTo>
                    <a:pt x="44" y="182"/>
                  </a:lnTo>
                  <a:lnTo>
                    <a:pt x="37" y="181"/>
                  </a:lnTo>
                  <a:lnTo>
                    <a:pt x="36" y="181"/>
                  </a:lnTo>
                  <a:lnTo>
                    <a:pt x="34" y="181"/>
                  </a:lnTo>
                  <a:lnTo>
                    <a:pt x="27" y="181"/>
                  </a:lnTo>
                  <a:lnTo>
                    <a:pt x="22" y="181"/>
                  </a:lnTo>
                  <a:lnTo>
                    <a:pt x="17" y="179"/>
                  </a:lnTo>
                  <a:lnTo>
                    <a:pt x="14" y="175"/>
                  </a:lnTo>
                  <a:lnTo>
                    <a:pt x="7" y="174"/>
                  </a:lnTo>
                  <a:lnTo>
                    <a:pt x="3" y="174"/>
                  </a:lnTo>
                  <a:lnTo>
                    <a:pt x="3" y="175"/>
                  </a:lnTo>
                  <a:lnTo>
                    <a:pt x="3" y="170"/>
                  </a:lnTo>
                  <a:lnTo>
                    <a:pt x="0" y="167"/>
                  </a:lnTo>
                  <a:lnTo>
                    <a:pt x="0" y="163"/>
                  </a:lnTo>
                  <a:lnTo>
                    <a:pt x="2" y="162"/>
                  </a:lnTo>
                  <a:lnTo>
                    <a:pt x="0" y="158"/>
                  </a:lnTo>
                  <a:lnTo>
                    <a:pt x="2" y="158"/>
                  </a:lnTo>
                  <a:lnTo>
                    <a:pt x="3" y="153"/>
                  </a:lnTo>
                  <a:lnTo>
                    <a:pt x="10" y="152"/>
                  </a:lnTo>
                  <a:lnTo>
                    <a:pt x="8" y="148"/>
                  </a:lnTo>
                  <a:lnTo>
                    <a:pt x="10" y="146"/>
                  </a:lnTo>
                  <a:lnTo>
                    <a:pt x="15" y="141"/>
                  </a:lnTo>
                  <a:lnTo>
                    <a:pt x="20" y="138"/>
                  </a:lnTo>
                  <a:lnTo>
                    <a:pt x="20" y="133"/>
                  </a:lnTo>
                  <a:lnTo>
                    <a:pt x="20" y="129"/>
                  </a:lnTo>
                  <a:lnTo>
                    <a:pt x="15" y="126"/>
                  </a:lnTo>
                  <a:lnTo>
                    <a:pt x="8" y="124"/>
                  </a:lnTo>
                  <a:lnTo>
                    <a:pt x="3" y="128"/>
                  </a:lnTo>
                  <a:lnTo>
                    <a:pt x="2" y="119"/>
                  </a:lnTo>
                  <a:lnTo>
                    <a:pt x="7" y="114"/>
                  </a:lnTo>
                  <a:lnTo>
                    <a:pt x="7" y="109"/>
                  </a:lnTo>
                  <a:lnTo>
                    <a:pt x="14" y="105"/>
                  </a:lnTo>
                  <a:lnTo>
                    <a:pt x="19" y="102"/>
                  </a:lnTo>
                  <a:lnTo>
                    <a:pt x="10" y="100"/>
                  </a:lnTo>
                  <a:lnTo>
                    <a:pt x="7" y="92"/>
                  </a:lnTo>
                  <a:lnTo>
                    <a:pt x="7" y="85"/>
                  </a:lnTo>
                  <a:lnTo>
                    <a:pt x="7" y="80"/>
                  </a:lnTo>
                  <a:lnTo>
                    <a:pt x="3" y="73"/>
                  </a:lnTo>
                  <a:lnTo>
                    <a:pt x="5" y="66"/>
                  </a:lnTo>
                  <a:lnTo>
                    <a:pt x="3" y="64"/>
                  </a:lnTo>
                  <a:lnTo>
                    <a:pt x="8" y="64"/>
                  </a:lnTo>
                  <a:lnTo>
                    <a:pt x="10" y="61"/>
                  </a:lnTo>
                  <a:lnTo>
                    <a:pt x="7" y="52"/>
                  </a:lnTo>
                  <a:lnTo>
                    <a:pt x="12" y="47"/>
                  </a:lnTo>
                  <a:lnTo>
                    <a:pt x="14" y="49"/>
                  </a:lnTo>
                  <a:lnTo>
                    <a:pt x="12" y="52"/>
                  </a:lnTo>
                  <a:lnTo>
                    <a:pt x="15" y="52"/>
                  </a:lnTo>
                  <a:lnTo>
                    <a:pt x="19" y="52"/>
                  </a:lnTo>
                  <a:lnTo>
                    <a:pt x="17" y="51"/>
                  </a:lnTo>
                  <a:lnTo>
                    <a:pt x="19" y="49"/>
                  </a:lnTo>
                  <a:lnTo>
                    <a:pt x="24" y="51"/>
                  </a:lnTo>
                  <a:lnTo>
                    <a:pt x="25" y="54"/>
                  </a:lnTo>
                  <a:lnTo>
                    <a:pt x="27" y="54"/>
                  </a:lnTo>
                  <a:lnTo>
                    <a:pt x="36" y="54"/>
                  </a:lnTo>
                  <a:lnTo>
                    <a:pt x="41" y="54"/>
                  </a:lnTo>
                  <a:lnTo>
                    <a:pt x="46" y="54"/>
                  </a:lnTo>
                  <a:lnTo>
                    <a:pt x="49" y="49"/>
                  </a:lnTo>
                  <a:lnTo>
                    <a:pt x="53" y="49"/>
                  </a:lnTo>
                  <a:lnTo>
                    <a:pt x="51" y="54"/>
                  </a:lnTo>
                  <a:lnTo>
                    <a:pt x="54" y="52"/>
                  </a:lnTo>
                  <a:lnTo>
                    <a:pt x="56" y="51"/>
                  </a:lnTo>
                  <a:lnTo>
                    <a:pt x="61" y="54"/>
                  </a:lnTo>
                  <a:lnTo>
                    <a:pt x="65" y="54"/>
                  </a:lnTo>
                  <a:lnTo>
                    <a:pt x="65" y="47"/>
                  </a:lnTo>
                  <a:lnTo>
                    <a:pt x="63" y="42"/>
                  </a:lnTo>
                  <a:lnTo>
                    <a:pt x="68" y="41"/>
                  </a:lnTo>
                  <a:lnTo>
                    <a:pt x="72" y="34"/>
                  </a:lnTo>
                  <a:lnTo>
                    <a:pt x="72" y="29"/>
                  </a:lnTo>
                  <a:lnTo>
                    <a:pt x="72" y="22"/>
                  </a:lnTo>
                  <a:lnTo>
                    <a:pt x="77" y="20"/>
                  </a:lnTo>
                  <a:lnTo>
                    <a:pt x="73" y="17"/>
                  </a:lnTo>
                  <a:lnTo>
                    <a:pt x="77" y="15"/>
                  </a:lnTo>
                  <a:lnTo>
                    <a:pt x="75" y="13"/>
                  </a:lnTo>
                  <a:lnTo>
                    <a:pt x="73" y="13"/>
                  </a:lnTo>
                  <a:lnTo>
                    <a:pt x="75" y="11"/>
                  </a:lnTo>
                  <a:lnTo>
                    <a:pt x="73" y="11"/>
                  </a:lnTo>
                  <a:lnTo>
                    <a:pt x="75" y="10"/>
                  </a:lnTo>
                  <a:lnTo>
                    <a:pt x="77" y="6"/>
                  </a:lnTo>
                  <a:lnTo>
                    <a:pt x="77" y="3"/>
                  </a:lnTo>
                  <a:lnTo>
                    <a:pt x="73" y="3"/>
                  </a:lnTo>
                  <a:lnTo>
                    <a:pt x="78" y="0"/>
                  </a:lnTo>
                  <a:lnTo>
                    <a:pt x="87" y="3"/>
                  </a:lnTo>
                  <a:lnTo>
                    <a:pt x="90" y="8"/>
                  </a:lnTo>
                  <a:lnTo>
                    <a:pt x="95" y="10"/>
                  </a:lnTo>
                  <a:lnTo>
                    <a:pt x="97" y="10"/>
                  </a:lnTo>
                  <a:lnTo>
                    <a:pt x="99" y="8"/>
                  </a:lnTo>
                  <a:lnTo>
                    <a:pt x="109" y="6"/>
                  </a:lnTo>
                  <a:lnTo>
                    <a:pt x="116" y="6"/>
                  </a:lnTo>
                  <a:lnTo>
                    <a:pt x="123" y="13"/>
                  </a:lnTo>
                  <a:lnTo>
                    <a:pt x="126" y="20"/>
                  </a:lnTo>
                  <a:lnTo>
                    <a:pt x="131" y="29"/>
                  </a:lnTo>
                  <a:lnTo>
                    <a:pt x="140" y="32"/>
                  </a:lnTo>
                  <a:lnTo>
                    <a:pt x="150" y="34"/>
                  </a:lnTo>
                  <a:lnTo>
                    <a:pt x="155" y="39"/>
                  </a:lnTo>
                  <a:lnTo>
                    <a:pt x="159" y="37"/>
                  </a:lnTo>
                  <a:lnTo>
                    <a:pt x="162" y="39"/>
                  </a:lnTo>
                  <a:lnTo>
                    <a:pt x="172" y="34"/>
                  </a:lnTo>
                  <a:lnTo>
                    <a:pt x="172" y="32"/>
                  </a:lnTo>
                  <a:lnTo>
                    <a:pt x="177" y="34"/>
                  </a:lnTo>
                  <a:lnTo>
                    <a:pt x="177" y="35"/>
                  </a:lnTo>
                  <a:lnTo>
                    <a:pt x="181" y="34"/>
                  </a:lnTo>
                  <a:lnTo>
                    <a:pt x="183" y="35"/>
                  </a:lnTo>
                  <a:lnTo>
                    <a:pt x="181" y="35"/>
                  </a:lnTo>
                  <a:lnTo>
                    <a:pt x="181" y="37"/>
                  </a:lnTo>
                  <a:lnTo>
                    <a:pt x="183" y="39"/>
                  </a:lnTo>
                  <a:lnTo>
                    <a:pt x="188" y="41"/>
                  </a:lnTo>
                  <a:lnTo>
                    <a:pt x="193" y="44"/>
                  </a:lnTo>
                  <a:lnTo>
                    <a:pt x="198" y="47"/>
                  </a:lnTo>
                  <a:lnTo>
                    <a:pt x="208" y="49"/>
                  </a:lnTo>
                  <a:lnTo>
                    <a:pt x="210" y="51"/>
                  </a:lnTo>
                  <a:lnTo>
                    <a:pt x="217" y="46"/>
                  </a:lnTo>
                  <a:lnTo>
                    <a:pt x="220" y="44"/>
                  </a:lnTo>
                  <a:lnTo>
                    <a:pt x="218" y="39"/>
                  </a:lnTo>
                  <a:lnTo>
                    <a:pt x="217" y="39"/>
                  </a:lnTo>
                  <a:lnTo>
                    <a:pt x="218" y="39"/>
                  </a:lnTo>
                  <a:lnTo>
                    <a:pt x="217" y="37"/>
                  </a:lnTo>
                  <a:lnTo>
                    <a:pt x="218" y="37"/>
                  </a:lnTo>
                  <a:lnTo>
                    <a:pt x="222" y="41"/>
                  </a:lnTo>
                  <a:lnTo>
                    <a:pt x="230" y="41"/>
                  </a:lnTo>
                  <a:lnTo>
                    <a:pt x="235" y="44"/>
                  </a:lnTo>
                  <a:lnTo>
                    <a:pt x="235" y="39"/>
                  </a:lnTo>
                  <a:lnTo>
                    <a:pt x="239" y="46"/>
                  </a:lnTo>
                  <a:lnTo>
                    <a:pt x="241" y="52"/>
                  </a:lnTo>
                  <a:lnTo>
                    <a:pt x="241" y="54"/>
                  </a:lnTo>
                  <a:lnTo>
                    <a:pt x="244" y="58"/>
                  </a:lnTo>
                  <a:lnTo>
                    <a:pt x="249" y="63"/>
                  </a:lnTo>
                  <a:lnTo>
                    <a:pt x="252" y="66"/>
                  </a:lnTo>
                  <a:lnTo>
                    <a:pt x="259" y="68"/>
                  </a:lnTo>
                  <a:lnTo>
                    <a:pt x="259" y="75"/>
                  </a:lnTo>
                  <a:lnTo>
                    <a:pt x="259" y="81"/>
                  </a:lnTo>
                  <a:lnTo>
                    <a:pt x="261" y="88"/>
                  </a:lnTo>
                  <a:lnTo>
                    <a:pt x="261" y="93"/>
                  </a:lnTo>
                  <a:lnTo>
                    <a:pt x="266" y="102"/>
                  </a:lnTo>
                  <a:lnTo>
                    <a:pt x="270" y="104"/>
                  </a:lnTo>
                  <a:lnTo>
                    <a:pt x="273" y="100"/>
                  </a:lnTo>
                  <a:lnTo>
                    <a:pt x="275" y="102"/>
                  </a:lnTo>
                  <a:lnTo>
                    <a:pt x="276" y="107"/>
                  </a:lnTo>
                  <a:lnTo>
                    <a:pt x="283" y="109"/>
                  </a:lnTo>
                  <a:lnTo>
                    <a:pt x="290" y="105"/>
                  </a:lnTo>
                  <a:lnTo>
                    <a:pt x="292" y="102"/>
                  </a:lnTo>
                  <a:lnTo>
                    <a:pt x="288" y="102"/>
                  </a:lnTo>
                  <a:lnTo>
                    <a:pt x="292" y="100"/>
                  </a:lnTo>
                  <a:lnTo>
                    <a:pt x="290" y="100"/>
                  </a:lnTo>
                  <a:lnTo>
                    <a:pt x="295" y="100"/>
                  </a:lnTo>
                  <a:lnTo>
                    <a:pt x="293" y="104"/>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60" name="Freeform 77"/>
            <p:cNvSpPr>
              <a:spLocks noEditPoints="1"/>
            </p:cNvSpPr>
            <p:nvPr/>
          </p:nvSpPr>
          <p:spPr bwMode="gray">
            <a:xfrm>
              <a:off x="3084274" y="4426163"/>
              <a:ext cx="366660" cy="264507"/>
            </a:xfrm>
            <a:custGeom>
              <a:avLst/>
              <a:gdLst>
                <a:gd name="T0" fmla="*/ 49 w 201"/>
                <a:gd name="T1" fmla="*/ 143 h 145"/>
                <a:gd name="T2" fmla="*/ 85 w 201"/>
                <a:gd name="T3" fmla="*/ 138 h 145"/>
                <a:gd name="T4" fmla="*/ 17 w 201"/>
                <a:gd name="T5" fmla="*/ 111 h 145"/>
                <a:gd name="T6" fmla="*/ 17 w 201"/>
                <a:gd name="T7" fmla="*/ 112 h 145"/>
                <a:gd name="T8" fmla="*/ 17 w 201"/>
                <a:gd name="T9" fmla="*/ 90 h 145"/>
                <a:gd name="T10" fmla="*/ 14 w 201"/>
                <a:gd name="T11" fmla="*/ 99 h 145"/>
                <a:gd name="T12" fmla="*/ 10 w 201"/>
                <a:gd name="T13" fmla="*/ 97 h 145"/>
                <a:gd name="T14" fmla="*/ 7 w 201"/>
                <a:gd name="T15" fmla="*/ 92 h 145"/>
                <a:gd name="T16" fmla="*/ 0 w 201"/>
                <a:gd name="T17" fmla="*/ 97 h 145"/>
                <a:gd name="T18" fmla="*/ 14 w 201"/>
                <a:gd name="T19" fmla="*/ 88 h 145"/>
                <a:gd name="T20" fmla="*/ 90 w 201"/>
                <a:gd name="T21" fmla="*/ 17 h 145"/>
                <a:gd name="T22" fmla="*/ 89 w 201"/>
                <a:gd name="T23" fmla="*/ 18 h 145"/>
                <a:gd name="T24" fmla="*/ 90 w 201"/>
                <a:gd name="T25" fmla="*/ 17 h 145"/>
                <a:gd name="T26" fmla="*/ 126 w 201"/>
                <a:gd name="T27" fmla="*/ 17 h 145"/>
                <a:gd name="T28" fmla="*/ 195 w 201"/>
                <a:gd name="T29" fmla="*/ 34 h 145"/>
                <a:gd name="T30" fmla="*/ 189 w 201"/>
                <a:gd name="T31" fmla="*/ 44 h 145"/>
                <a:gd name="T32" fmla="*/ 196 w 201"/>
                <a:gd name="T33" fmla="*/ 49 h 145"/>
                <a:gd name="T34" fmla="*/ 198 w 201"/>
                <a:gd name="T35" fmla="*/ 66 h 145"/>
                <a:gd name="T36" fmla="*/ 179 w 201"/>
                <a:gd name="T37" fmla="*/ 66 h 145"/>
                <a:gd name="T38" fmla="*/ 171 w 201"/>
                <a:gd name="T39" fmla="*/ 61 h 145"/>
                <a:gd name="T40" fmla="*/ 167 w 201"/>
                <a:gd name="T41" fmla="*/ 64 h 145"/>
                <a:gd name="T42" fmla="*/ 164 w 201"/>
                <a:gd name="T43" fmla="*/ 59 h 145"/>
                <a:gd name="T44" fmla="*/ 160 w 201"/>
                <a:gd name="T45" fmla="*/ 76 h 145"/>
                <a:gd name="T46" fmla="*/ 155 w 201"/>
                <a:gd name="T47" fmla="*/ 85 h 145"/>
                <a:gd name="T48" fmla="*/ 159 w 201"/>
                <a:gd name="T49" fmla="*/ 104 h 145"/>
                <a:gd name="T50" fmla="*/ 166 w 201"/>
                <a:gd name="T51" fmla="*/ 117 h 145"/>
                <a:gd name="T52" fmla="*/ 154 w 201"/>
                <a:gd name="T53" fmla="*/ 131 h 145"/>
                <a:gd name="T54" fmla="*/ 143 w 201"/>
                <a:gd name="T55" fmla="*/ 141 h 145"/>
                <a:gd name="T56" fmla="*/ 136 w 201"/>
                <a:gd name="T57" fmla="*/ 134 h 145"/>
                <a:gd name="T58" fmla="*/ 119 w 201"/>
                <a:gd name="T59" fmla="*/ 128 h 145"/>
                <a:gd name="T60" fmla="*/ 97 w 201"/>
                <a:gd name="T61" fmla="*/ 121 h 145"/>
                <a:gd name="T62" fmla="*/ 94 w 201"/>
                <a:gd name="T63" fmla="*/ 124 h 145"/>
                <a:gd name="T64" fmla="*/ 80 w 201"/>
                <a:gd name="T65" fmla="*/ 124 h 145"/>
                <a:gd name="T66" fmla="*/ 66 w 201"/>
                <a:gd name="T67" fmla="*/ 124 h 145"/>
                <a:gd name="T68" fmla="*/ 51 w 201"/>
                <a:gd name="T69" fmla="*/ 128 h 145"/>
                <a:gd name="T70" fmla="*/ 37 w 201"/>
                <a:gd name="T71" fmla="*/ 124 h 145"/>
                <a:gd name="T72" fmla="*/ 19 w 201"/>
                <a:gd name="T73" fmla="*/ 124 h 145"/>
                <a:gd name="T74" fmla="*/ 15 w 201"/>
                <a:gd name="T75" fmla="*/ 123 h 145"/>
                <a:gd name="T76" fmla="*/ 12 w 201"/>
                <a:gd name="T77" fmla="*/ 112 h 145"/>
                <a:gd name="T78" fmla="*/ 27 w 201"/>
                <a:gd name="T79" fmla="*/ 105 h 145"/>
                <a:gd name="T80" fmla="*/ 36 w 201"/>
                <a:gd name="T81" fmla="*/ 109 h 145"/>
                <a:gd name="T82" fmla="*/ 39 w 201"/>
                <a:gd name="T83" fmla="*/ 116 h 145"/>
                <a:gd name="T84" fmla="*/ 48 w 201"/>
                <a:gd name="T85" fmla="*/ 117 h 145"/>
                <a:gd name="T86" fmla="*/ 56 w 201"/>
                <a:gd name="T87" fmla="*/ 102 h 145"/>
                <a:gd name="T88" fmla="*/ 63 w 201"/>
                <a:gd name="T89" fmla="*/ 93 h 145"/>
                <a:gd name="T90" fmla="*/ 68 w 201"/>
                <a:gd name="T91" fmla="*/ 80 h 145"/>
                <a:gd name="T92" fmla="*/ 75 w 201"/>
                <a:gd name="T93" fmla="*/ 85 h 145"/>
                <a:gd name="T94" fmla="*/ 85 w 201"/>
                <a:gd name="T95" fmla="*/ 75 h 145"/>
                <a:gd name="T96" fmla="*/ 87 w 201"/>
                <a:gd name="T97" fmla="*/ 58 h 145"/>
                <a:gd name="T98" fmla="*/ 90 w 201"/>
                <a:gd name="T99" fmla="*/ 41 h 145"/>
                <a:gd name="T100" fmla="*/ 97 w 201"/>
                <a:gd name="T101" fmla="*/ 29 h 145"/>
                <a:gd name="T102" fmla="*/ 107 w 201"/>
                <a:gd name="T103" fmla="*/ 17 h 145"/>
                <a:gd name="T104" fmla="*/ 116 w 201"/>
                <a:gd name="T105" fmla="*/ 8 h 145"/>
                <a:gd name="T106" fmla="*/ 119 w 201"/>
                <a:gd name="T107" fmla="*/ 18 h 145"/>
                <a:gd name="T108" fmla="*/ 121 w 201"/>
                <a:gd name="T109" fmla="*/ 23 h 145"/>
                <a:gd name="T110" fmla="*/ 136 w 201"/>
                <a:gd name="T111" fmla="*/ 18 h 145"/>
                <a:gd name="T112" fmla="*/ 150 w 201"/>
                <a:gd name="T113" fmla="*/ 18 h 145"/>
                <a:gd name="T114" fmla="*/ 166 w 201"/>
                <a:gd name="T115" fmla="*/ 29 h 145"/>
                <a:gd name="T116" fmla="*/ 177 w 201"/>
                <a:gd name="T117" fmla="*/ 27 h 145"/>
                <a:gd name="T118" fmla="*/ 188 w 201"/>
                <a:gd name="T119" fmla="*/ 23 h 145"/>
                <a:gd name="T120" fmla="*/ 142 w 201"/>
                <a:gd name="T12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1" h="145">
                  <a:moveTo>
                    <a:pt x="55" y="143"/>
                  </a:moveTo>
                  <a:lnTo>
                    <a:pt x="55" y="145"/>
                  </a:lnTo>
                  <a:lnTo>
                    <a:pt x="49" y="143"/>
                  </a:lnTo>
                  <a:lnTo>
                    <a:pt x="55" y="143"/>
                  </a:lnTo>
                  <a:close/>
                  <a:moveTo>
                    <a:pt x="85" y="136"/>
                  </a:moveTo>
                  <a:lnTo>
                    <a:pt x="85" y="138"/>
                  </a:lnTo>
                  <a:lnTo>
                    <a:pt x="78" y="140"/>
                  </a:lnTo>
                  <a:lnTo>
                    <a:pt x="85" y="136"/>
                  </a:lnTo>
                  <a:close/>
                  <a:moveTo>
                    <a:pt x="17" y="111"/>
                  </a:moveTo>
                  <a:lnTo>
                    <a:pt x="20" y="111"/>
                  </a:lnTo>
                  <a:lnTo>
                    <a:pt x="20" y="112"/>
                  </a:lnTo>
                  <a:lnTo>
                    <a:pt x="17" y="112"/>
                  </a:lnTo>
                  <a:lnTo>
                    <a:pt x="17" y="111"/>
                  </a:lnTo>
                  <a:close/>
                  <a:moveTo>
                    <a:pt x="19" y="85"/>
                  </a:moveTo>
                  <a:lnTo>
                    <a:pt x="17" y="90"/>
                  </a:lnTo>
                  <a:lnTo>
                    <a:pt x="19" y="95"/>
                  </a:lnTo>
                  <a:lnTo>
                    <a:pt x="17" y="99"/>
                  </a:lnTo>
                  <a:lnTo>
                    <a:pt x="14" y="99"/>
                  </a:lnTo>
                  <a:lnTo>
                    <a:pt x="10" y="104"/>
                  </a:lnTo>
                  <a:lnTo>
                    <a:pt x="8" y="102"/>
                  </a:lnTo>
                  <a:lnTo>
                    <a:pt x="10" y="97"/>
                  </a:lnTo>
                  <a:lnTo>
                    <a:pt x="8" y="93"/>
                  </a:lnTo>
                  <a:lnTo>
                    <a:pt x="8" y="92"/>
                  </a:lnTo>
                  <a:lnTo>
                    <a:pt x="7" y="92"/>
                  </a:lnTo>
                  <a:lnTo>
                    <a:pt x="3" y="97"/>
                  </a:lnTo>
                  <a:lnTo>
                    <a:pt x="0" y="95"/>
                  </a:lnTo>
                  <a:lnTo>
                    <a:pt x="0" y="97"/>
                  </a:lnTo>
                  <a:lnTo>
                    <a:pt x="2" y="93"/>
                  </a:lnTo>
                  <a:lnTo>
                    <a:pt x="10" y="87"/>
                  </a:lnTo>
                  <a:lnTo>
                    <a:pt x="14" y="88"/>
                  </a:lnTo>
                  <a:lnTo>
                    <a:pt x="14" y="87"/>
                  </a:lnTo>
                  <a:lnTo>
                    <a:pt x="19" y="85"/>
                  </a:lnTo>
                  <a:close/>
                  <a:moveTo>
                    <a:pt x="90" y="17"/>
                  </a:moveTo>
                  <a:lnTo>
                    <a:pt x="92" y="18"/>
                  </a:lnTo>
                  <a:lnTo>
                    <a:pt x="89" y="20"/>
                  </a:lnTo>
                  <a:lnTo>
                    <a:pt x="89" y="18"/>
                  </a:lnTo>
                  <a:lnTo>
                    <a:pt x="87" y="17"/>
                  </a:lnTo>
                  <a:lnTo>
                    <a:pt x="90" y="15"/>
                  </a:lnTo>
                  <a:lnTo>
                    <a:pt x="90" y="17"/>
                  </a:lnTo>
                  <a:close/>
                  <a:moveTo>
                    <a:pt x="126" y="13"/>
                  </a:moveTo>
                  <a:lnTo>
                    <a:pt x="128" y="15"/>
                  </a:lnTo>
                  <a:lnTo>
                    <a:pt x="126" y="17"/>
                  </a:lnTo>
                  <a:lnTo>
                    <a:pt x="125" y="13"/>
                  </a:lnTo>
                  <a:lnTo>
                    <a:pt x="126" y="13"/>
                  </a:lnTo>
                  <a:close/>
                  <a:moveTo>
                    <a:pt x="195" y="34"/>
                  </a:moveTo>
                  <a:lnTo>
                    <a:pt x="189" y="34"/>
                  </a:lnTo>
                  <a:lnTo>
                    <a:pt x="191" y="35"/>
                  </a:lnTo>
                  <a:lnTo>
                    <a:pt x="189" y="44"/>
                  </a:lnTo>
                  <a:lnTo>
                    <a:pt x="195" y="46"/>
                  </a:lnTo>
                  <a:lnTo>
                    <a:pt x="193" y="49"/>
                  </a:lnTo>
                  <a:lnTo>
                    <a:pt x="196" y="49"/>
                  </a:lnTo>
                  <a:lnTo>
                    <a:pt x="198" y="56"/>
                  </a:lnTo>
                  <a:lnTo>
                    <a:pt x="201" y="61"/>
                  </a:lnTo>
                  <a:lnTo>
                    <a:pt x="198" y="66"/>
                  </a:lnTo>
                  <a:lnTo>
                    <a:pt x="193" y="66"/>
                  </a:lnTo>
                  <a:lnTo>
                    <a:pt x="188" y="66"/>
                  </a:lnTo>
                  <a:lnTo>
                    <a:pt x="179" y="66"/>
                  </a:lnTo>
                  <a:lnTo>
                    <a:pt x="177" y="66"/>
                  </a:lnTo>
                  <a:lnTo>
                    <a:pt x="176" y="63"/>
                  </a:lnTo>
                  <a:lnTo>
                    <a:pt x="171" y="61"/>
                  </a:lnTo>
                  <a:lnTo>
                    <a:pt x="169" y="63"/>
                  </a:lnTo>
                  <a:lnTo>
                    <a:pt x="171" y="64"/>
                  </a:lnTo>
                  <a:lnTo>
                    <a:pt x="167" y="64"/>
                  </a:lnTo>
                  <a:lnTo>
                    <a:pt x="164" y="64"/>
                  </a:lnTo>
                  <a:lnTo>
                    <a:pt x="166" y="61"/>
                  </a:lnTo>
                  <a:lnTo>
                    <a:pt x="164" y="59"/>
                  </a:lnTo>
                  <a:lnTo>
                    <a:pt x="159" y="64"/>
                  </a:lnTo>
                  <a:lnTo>
                    <a:pt x="162" y="73"/>
                  </a:lnTo>
                  <a:lnTo>
                    <a:pt x="160" y="76"/>
                  </a:lnTo>
                  <a:lnTo>
                    <a:pt x="155" y="76"/>
                  </a:lnTo>
                  <a:lnTo>
                    <a:pt x="157" y="78"/>
                  </a:lnTo>
                  <a:lnTo>
                    <a:pt x="155" y="85"/>
                  </a:lnTo>
                  <a:lnTo>
                    <a:pt x="159" y="92"/>
                  </a:lnTo>
                  <a:lnTo>
                    <a:pt x="159" y="97"/>
                  </a:lnTo>
                  <a:lnTo>
                    <a:pt x="159" y="104"/>
                  </a:lnTo>
                  <a:lnTo>
                    <a:pt x="162" y="112"/>
                  </a:lnTo>
                  <a:lnTo>
                    <a:pt x="171" y="114"/>
                  </a:lnTo>
                  <a:lnTo>
                    <a:pt x="166" y="117"/>
                  </a:lnTo>
                  <a:lnTo>
                    <a:pt x="159" y="121"/>
                  </a:lnTo>
                  <a:lnTo>
                    <a:pt x="159" y="126"/>
                  </a:lnTo>
                  <a:lnTo>
                    <a:pt x="154" y="131"/>
                  </a:lnTo>
                  <a:lnTo>
                    <a:pt x="155" y="140"/>
                  </a:lnTo>
                  <a:lnTo>
                    <a:pt x="152" y="141"/>
                  </a:lnTo>
                  <a:lnTo>
                    <a:pt x="143" y="141"/>
                  </a:lnTo>
                  <a:lnTo>
                    <a:pt x="143" y="140"/>
                  </a:lnTo>
                  <a:lnTo>
                    <a:pt x="136" y="138"/>
                  </a:lnTo>
                  <a:lnTo>
                    <a:pt x="136" y="134"/>
                  </a:lnTo>
                  <a:lnTo>
                    <a:pt x="135" y="134"/>
                  </a:lnTo>
                  <a:lnTo>
                    <a:pt x="126" y="131"/>
                  </a:lnTo>
                  <a:lnTo>
                    <a:pt x="119" y="128"/>
                  </a:lnTo>
                  <a:lnTo>
                    <a:pt x="114" y="123"/>
                  </a:lnTo>
                  <a:lnTo>
                    <a:pt x="106" y="119"/>
                  </a:lnTo>
                  <a:lnTo>
                    <a:pt x="97" y="121"/>
                  </a:lnTo>
                  <a:lnTo>
                    <a:pt x="94" y="123"/>
                  </a:lnTo>
                  <a:lnTo>
                    <a:pt x="96" y="124"/>
                  </a:lnTo>
                  <a:lnTo>
                    <a:pt x="94" y="124"/>
                  </a:lnTo>
                  <a:lnTo>
                    <a:pt x="92" y="123"/>
                  </a:lnTo>
                  <a:lnTo>
                    <a:pt x="85" y="123"/>
                  </a:lnTo>
                  <a:lnTo>
                    <a:pt x="80" y="124"/>
                  </a:lnTo>
                  <a:lnTo>
                    <a:pt x="75" y="123"/>
                  </a:lnTo>
                  <a:lnTo>
                    <a:pt x="68" y="123"/>
                  </a:lnTo>
                  <a:lnTo>
                    <a:pt x="66" y="124"/>
                  </a:lnTo>
                  <a:lnTo>
                    <a:pt x="61" y="124"/>
                  </a:lnTo>
                  <a:lnTo>
                    <a:pt x="55" y="126"/>
                  </a:lnTo>
                  <a:lnTo>
                    <a:pt x="51" y="128"/>
                  </a:lnTo>
                  <a:lnTo>
                    <a:pt x="44" y="126"/>
                  </a:lnTo>
                  <a:lnTo>
                    <a:pt x="41" y="123"/>
                  </a:lnTo>
                  <a:lnTo>
                    <a:pt x="37" y="124"/>
                  </a:lnTo>
                  <a:lnTo>
                    <a:pt x="36" y="121"/>
                  </a:lnTo>
                  <a:lnTo>
                    <a:pt x="24" y="119"/>
                  </a:lnTo>
                  <a:lnTo>
                    <a:pt x="19" y="124"/>
                  </a:lnTo>
                  <a:lnTo>
                    <a:pt x="15" y="123"/>
                  </a:lnTo>
                  <a:lnTo>
                    <a:pt x="17" y="123"/>
                  </a:lnTo>
                  <a:lnTo>
                    <a:pt x="15" y="123"/>
                  </a:lnTo>
                  <a:lnTo>
                    <a:pt x="17" y="121"/>
                  </a:lnTo>
                  <a:lnTo>
                    <a:pt x="15" y="117"/>
                  </a:lnTo>
                  <a:lnTo>
                    <a:pt x="12" y="112"/>
                  </a:lnTo>
                  <a:lnTo>
                    <a:pt x="19" y="114"/>
                  </a:lnTo>
                  <a:lnTo>
                    <a:pt x="20" y="111"/>
                  </a:lnTo>
                  <a:lnTo>
                    <a:pt x="27" y="105"/>
                  </a:lnTo>
                  <a:lnTo>
                    <a:pt x="27" y="102"/>
                  </a:lnTo>
                  <a:lnTo>
                    <a:pt x="32" y="100"/>
                  </a:lnTo>
                  <a:lnTo>
                    <a:pt x="36" y="109"/>
                  </a:lnTo>
                  <a:lnTo>
                    <a:pt x="34" y="111"/>
                  </a:lnTo>
                  <a:lnTo>
                    <a:pt x="37" y="116"/>
                  </a:lnTo>
                  <a:lnTo>
                    <a:pt x="39" y="116"/>
                  </a:lnTo>
                  <a:lnTo>
                    <a:pt x="41" y="121"/>
                  </a:lnTo>
                  <a:lnTo>
                    <a:pt x="44" y="121"/>
                  </a:lnTo>
                  <a:lnTo>
                    <a:pt x="48" y="117"/>
                  </a:lnTo>
                  <a:lnTo>
                    <a:pt x="48" y="111"/>
                  </a:lnTo>
                  <a:lnTo>
                    <a:pt x="56" y="104"/>
                  </a:lnTo>
                  <a:lnTo>
                    <a:pt x="56" y="102"/>
                  </a:lnTo>
                  <a:lnTo>
                    <a:pt x="58" y="100"/>
                  </a:lnTo>
                  <a:lnTo>
                    <a:pt x="61" y="99"/>
                  </a:lnTo>
                  <a:lnTo>
                    <a:pt x="63" y="93"/>
                  </a:lnTo>
                  <a:lnTo>
                    <a:pt x="61" y="90"/>
                  </a:lnTo>
                  <a:lnTo>
                    <a:pt x="65" y="80"/>
                  </a:lnTo>
                  <a:lnTo>
                    <a:pt x="68" y="80"/>
                  </a:lnTo>
                  <a:lnTo>
                    <a:pt x="68" y="83"/>
                  </a:lnTo>
                  <a:lnTo>
                    <a:pt x="73" y="87"/>
                  </a:lnTo>
                  <a:lnTo>
                    <a:pt x="75" y="85"/>
                  </a:lnTo>
                  <a:lnTo>
                    <a:pt x="80" y="85"/>
                  </a:lnTo>
                  <a:lnTo>
                    <a:pt x="84" y="82"/>
                  </a:lnTo>
                  <a:lnTo>
                    <a:pt x="85" y="75"/>
                  </a:lnTo>
                  <a:lnTo>
                    <a:pt x="85" y="66"/>
                  </a:lnTo>
                  <a:lnTo>
                    <a:pt x="89" y="59"/>
                  </a:lnTo>
                  <a:lnTo>
                    <a:pt x="87" y="58"/>
                  </a:lnTo>
                  <a:lnTo>
                    <a:pt x="87" y="51"/>
                  </a:lnTo>
                  <a:lnTo>
                    <a:pt x="90" y="42"/>
                  </a:lnTo>
                  <a:lnTo>
                    <a:pt x="90" y="41"/>
                  </a:lnTo>
                  <a:lnTo>
                    <a:pt x="94" y="35"/>
                  </a:lnTo>
                  <a:lnTo>
                    <a:pt x="94" y="32"/>
                  </a:lnTo>
                  <a:lnTo>
                    <a:pt x="97" y="29"/>
                  </a:lnTo>
                  <a:lnTo>
                    <a:pt x="102" y="23"/>
                  </a:lnTo>
                  <a:lnTo>
                    <a:pt x="106" y="22"/>
                  </a:lnTo>
                  <a:lnTo>
                    <a:pt x="107" y="17"/>
                  </a:lnTo>
                  <a:lnTo>
                    <a:pt x="106" y="13"/>
                  </a:lnTo>
                  <a:lnTo>
                    <a:pt x="113" y="8"/>
                  </a:lnTo>
                  <a:lnTo>
                    <a:pt x="116" y="8"/>
                  </a:lnTo>
                  <a:lnTo>
                    <a:pt x="119" y="12"/>
                  </a:lnTo>
                  <a:lnTo>
                    <a:pt x="121" y="15"/>
                  </a:lnTo>
                  <a:lnTo>
                    <a:pt x="119" y="18"/>
                  </a:lnTo>
                  <a:lnTo>
                    <a:pt x="121" y="20"/>
                  </a:lnTo>
                  <a:lnTo>
                    <a:pt x="119" y="20"/>
                  </a:lnTo>
                  <a:lnTo>
                    <a:pt x="121" y="23"/>
                  </a:lnTo>
                  <a:lnTo>
                    <a:pt x="126" y="25"/>
                  </a:lnTo>
                  <a:lnTo>
                    <a:pt x="135" y="23"/>
                  </a:lnTo>
                  <a:lnTo>
                    <a:pt x="136" y="18"/>
                  </a:lnTo>
                  <a:lnTo>
                    <a:pt x="138" y="17"/>
                  </a:lnTo>
                  <a:lnTo>
                    <a:pt x="147" y="20"/>
                  </a:lnTo>
                  <a:lnTo>
                    <a:pt x="150" y="18"/>
                  </a:lnTo>
                  <a:lnTo>
                    <a:pt x="154" y="20"/>
                  </a:lnTo>
                  <a:lnTo>
                    <a:pt x="157" y="25"/>
                  </a:lnTo>
                  <a:lnTo>
                    <a:pt x="166" y="29"/>
                  </a:lnTo>
                  <a:lnTo>
                    <a:pt x="171" y="27"/>
                  </a:lnTo>
                  <a:lnTo>
                    <a:pt x="171" y="23"/>
                  </a:lnTo>
                  <a:lnTo>
                    <a:pt x="177" y="27"/>
                  </a:lnTo>
                  <a:lnTo>
                    <a:pt x="184" y="22"/>
                  </a:lnTo>
                  <a:lnTo>
                    <a:pt x="186" y="25"/>
                  </a:lnTo>
                  <a:lnTo>
                    <a:pt x="188" y="23"/>
                  </a:lnTo>
                  <a:lnTo>
                    <a:pt x="193" y="27"/>
                  </a:lnTo>
                  <a:lnTo>
                    <a:pt x="195" y="34"/>
                  </a:lnTo>
                  <a:close/>
                  <a:moveTo>
                    <a:pt x="142" y="0"/>
                  </a:moveTo>
                  <a:lnTo>
                    <a:pt x="136" y="0"/>
                  </a:lnTo>
                  <a:lnTo>
                    <a:pt x="142"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61" name="Freeform 78"/>
            <p:cNvSpPr>
              <a:spLocks noEditPoints="1"/>
            </p:cNvSpPr>
            <p:nvPr/>
          </p:nvSpPr>
          <p:spPr bwMode="gray">
            <a:xfrm>
              <a:off x="3387088" y="4422514"/>
              <a:ext cx="105803" cy="124044"/>
            </a:xfrm>
            <a:custGeom>
              <a:avLst/>
              <a:gdLst>
                <a:gd name="T0" fmla="*/ 58 w 58"/>
                <a:gd name="T1" fmla="*/ 36 h 68"/>
                <a:gd name="T2" fmla="*/ 58 w 58"/>
                <a:gd name="T3" fmla="*/ 43 h 68"/>
                <a:gd name="T4" fmla="*/ 58 w 58"/>
                <a:gd name="T5" fmla="*/ 48 h 68"/>
                <a:gd name="T6" fmla="*/ 54 w 58"/>
                <a:gd name="T7" fmla="*/ 55 h 68"/>
                <a:gd name="T8" fmla="*/ 49 w 58"/>
                <a:gd name="T9" fmla="*/ 56 h 68"/>
                <a:gd name="T10" fmla="*/ 51 w 58"/>
                <a:gd name="T11" fmla="*/ 61 h 68"/>
                <a:gd name="T12" fmla="*/ 51 w 58"/>
                <a:gd name="T13" fmla="*/ 68 h 68"/>
                <a:gd name="T14" fmla="*/ 47 w 58"/>
                <a:gd name="T15" fmla="*/ 68 h 68"/>
                <a:gd name="T16" fmla="*/ 42 w 58"/>
                <a:gd name="T17" fmla="*/ 65 h 68"/>
                <a:gd name="T18" fmla="*/ 40 w 58"/>
                <a:gd name="T19" fmla="*/ 66 h 68"/>
                <a:gd name="T20" fmla="*/ 37 w 58"/>
                <a:gd name="T21" fmla="*/ 68 h 68"/>
                <a:gd name="T22" fmla="*/ 39 w 58"/>
                <a:gd name="T23" fmla="*/ 63 h 68"/>
                <a:gd name="T24" fmla="*/ 35 w 58"/>
                <a:gd name="T25" fmla="*/ 63 h 68"/>
                <a:gd name="T26" fmla="*/ 32 w 58"/>
                <a:gd name="T27" fmla="*/ 58 h 68"/>
                <a:gd name="T28" fmla="*/ 30 w 58"/>
                <a:gd name="T29" fmla="*/ 51 h 68"/>
                <a:gd name="T30" fmla="*/ 27 w 58"/>
                <a:gd name="T31" fmla="*/ 51 h 68"/>
                <a:gd name="T32" fmla="*/ 29 w 58"/>
                <a:gd name="T33" fmla="*/ 48 h 68"/>
                <a:gd name="T34" fmla="*/ 23 w 58"/>
                <a:gd name="T35" fmla="*/ 46 h 68"/>
                <a:gd name="T36" fmla="*/ 25 w 58"/>
                <a:gd name="T37" fmla="*/ 37 h 68"/>
                <a:gd name="T38" fmla="*/ 23 w 58"/>
                <a:gd name="T39" fmla="*/ 36 h 68"/>
                <a:gd name="T40" fmla="*/ 29 w 58"/>
                <a:gd name="T41" fmla="*/ 36 h 68"/>
                <a:gd name="T42" fmla="*/ 35 w 58"/>
                <a:gd name="T43" fmla="*/ 37 h 68"/>
                <a:gd name="T44" fmla="*/ 37 w 58"/>
                <a:gd name="T45" fmla="*/ 36 h 68"/>
                <a:gd name="T46" fmla="*/ 39 w 58"/>
                <a:gd name="T47" fmla="*/ 39 h 68"/>
                <a:gd name="T48" fmla="*/ 46 w 58"/>
                <a:gd name="T49" fmla="*/ 37 h 68"/>
                <a:gd name="T50" fmla="*/ 47 w 58"/>
                <a:gd name="T51" fmla="*/ 36 h 68"/>
                <a:gd name="T52" fmla="*/ 47 w 58"/>
                <a:gd name="T53" fmla="*/ 37 h 68"/>
                <a:gd name="T54" fmla="*/ 47 w 58"/>
                <a:gd name="T55" fmla="*/ 36 h 68"/>
                <a:gd name="T56" fmla="*/ 49 w 58"/>
                <a:gd name="T57" fmla="*/ 37 h 68"/>
                <a:gd name="T58" fmla="*/ 56 w 58"/>
                <a:gd name="T59" fmla="*/ 36 h 68"/>
                <a:gd name="T60" fmla="*/ 58 w 58"/>
                <a:gd name="T61" fmla="*/ 36 h 68"/>
                <a:gd name="T62" fmla="*/ 15 w 58"/>
                <a:gd name="T63" fmla="*/ 7 h 68"/>
                <a:gd name="T64" fmla="*/ 17 w 58"/>
                <a:gd name="T65" fmla="*/ 7 h 68"/>
                <a:gd name="T66" fmla="*/ 17 w 58"/>
                <a:gd name="T67" fmla="*/ 8 h 68"/>
                <a:gd name="T68" fmla="*/ 15 w 58"/>
                <a:gd name="T69" fmla="*/ 8 h 68"/>
                <a:gd name="T70" fmla="*/ 15 w 58"/>
                <a:gd name="T71" fmla="*/ 7 h 68"/>
                <a:gd name="T72" fmla="*/ 0 w 58"/>
                <a:gd name="T73" fmla="*/ 0 h 68"/>
                <a:gd name="T74" fmla="*/ 3 w 58"/>
                <a:gd name="T75" fmla="*/ 0 h 68"/>
                <a:gd name="T76" fmla="*/ 3 w 58"/>
                <a:gd name="T77" fmla="*/ 2 h 68"/>
                <a:gd name="T78" fmla="*/ 0 w 58"/>
                <a:gd name="T79" fmla="*/ 2 h 68"/>
                <a:gd name="T80" fmla="*/ 0 w 58"/>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68">
                  <a:moveTo>
                    <a:pt x="58" y="36"/>
                  </a:moveTo>
                  <a:lnTo>
                    <a:pt x="58" y="43"/>
                  </a:lnTo>
                  <a:lnTo>
                    <a:pt x="58" y="48"/>
                  </a:lnTo>
                  <a:lnTo>
                    <a:pt x="54" y="55"/>
                  </a:lnTo>
                  <a:lnTo>
                    <a:pt x="49" y="56"/>
                  </a:lnTo>
                  <a:lnTo>
                    <a:pt x="51" y="61"/>
                  </a:lnTo>
                  <a:lnTo>
                    <a:pt x="51" y="68"/>
                  </a:lnTo>
                  <a:lnTo>
                    <a:pt x="47" y="68"/>
                  </a:lnTo>
                  <a:lnTo>
                    <a:pt x="42" y="65"/>
                  </a:lnTo>
                  <a:lnTo>
                    <a:pt x="40" y="66"/>
                  </a:lnTo>
                  <a:lnTo>
                    <a:pt x="37" y="68"/>
                  </a:lnTo>
                  <a:lnTo>
                    <a:pt x="39" y="63"/>
                  </a:lnTo>
                  <a:lnTo>
                    <a:pt x="35" y="63"/>
                  </a:lnTo>
                  <a:lnTo>
                    <a:pt x="32" y="58"/>
                  </a:lnTo>
                  <a:lnTo>
                    <a:pt x="30" y="51"/>
                  </a:lnTo>
                  <a:lnTo>
                    <a:pt x="27" y="51"/>
                  </a:lnTo>
                  <a:lnTo>
                    <a:pt x="29" y="48"/>
                  </a:lnTo>
                  <a:lnTo>
                    <a:pt x="23" y="46"/>
                  </a:lnTo>
                  <a:lnTo>
                    <a:pt x="25" y="37"/>
                  </a:lnTo>
                  <a:lnTo>
                    <a:pt x="23" y="36"/>
                  </a:lnTo>
                  <a:lnTo>
                    <a:pt x="29" y="36"/>
                  </a:lnTo>
                  <a:lnTo>
                    <a:pt x="35" y="37"/>
                  </a:lnTo>
                  <a:lnTo>
                    <a:pt x="37" y="36"/>
                  </a:lnTo>
                  <a:lnTo>
                    <a:pt x="39" y="39"/>
                  </a:lnTo>
                  <a:lnTo>
                    <a:pt x="46" y="37"/>
                  </a:lnTo>
                  <a:lnTo>
                    <a:pt x="47" y="36"/>
                  </a:lnTo>
                  <a:lnTo>
                    <a:pt x="47" y="37"/>
                  </a:lnTo>
                  <a:lnTo>
                    <a:pt x="47" y="36"/>
                  </a:lnTo>
                  <a:lnTo>
                    <a:pt x="49" y="37"/>
                  </a:lnTo>
                  <a:lnTo>
                    <a:pt x="56" y="36"/>
                  </a:lnTo>
                  <a:lnTo>
                    <a:pt x="58" y="36"/>
                  </a:lnTo>
                  <a:close/>
                  <a:moveTo>
                    <a:pt x="15" y="7"/>
                  </a:moveTo>
                  <a:lnTo>
                    <a:pt x="17" y="7"/>
                  </a:lnTo>
                  <a:lnTo>
                    <a:pt x="17" y="8"/>
                  </a:lnTo>
                  <a:lnTo>
                    <a:pt x="15" y="8"/>
                  </a:lnTo>
                  <a:lnTo>
                    <a:pt x="15" y="7"/>
                  </a:lnTo>
                  <a:close/>
                  <a:moveTo>
                    <a:pt x="0" y="0"/>
                  </a:moveTo>
                  <a:lnTo>
                    <a:pt x="3" y="0"/>
                  </a:lnTo>
                  <a:lnTo>
                    <a:pt x="3" y="2"/>
                  </a:lnTo>
                  <a:lnTo>
                    <a:pt x="0" y="2"/>
                  </a:lnTo>
                  <a:lnTo>
                    <a:pt x="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62" name="Freeform 79"/>
            <p:cNvSpPr>
              <a:spLocks noEditPoints="1"/>
            </p:cNvSpPr>
            <p:nvPr/>
          </p:nvSpPr>
          <p:spPr bwMode="gray">
            <a:xfrm>
              <a:off x="1663235" y="2957696"/>
              <a:ext cx="720552" cy="959520"/>
            </a:xfrm>
            <a:custGeom>
              <a:avLst/>
              <a:gdLst>
                <a:gd name="T0" fmla="*/ 236 w 395"/>
                <a:gd name="T1" fmla="*/ 499 h 526"/>
                <a:gd name="T2" fmla="*/ 226 w 395"/>
                <a:gd name="T3" fmla="*/ 494 h 526"/>
                <a:gd name="T4" fmla="*/ 188 w 395"/>
                <a:gd name="T5" fmla="*/ 475 h 526"/>
                <a:gd name="T6" fmla="*/ 210 w 395"/>
                <a:gd name="T7" fmla="*/ 456 h 526"/>
                <a:gd name="T8" fmla="*/ 224 w 395"/>
                <a:gd name="T9" fmla="*/ 482 h 526"/>
                <a:gd name="T10" fmla="*/ 217 w 395"/>
                <a:gd name="T11" fmla="*/ 492 h 526"/>
                <a:gd name="T12" fmla="*/ 207 w 395"/>
                <a:gd name="T13" fmla="*/ 494 h 526"/>
                <a:gd name="T14" fmla="*/ 200 w 395"/>
                <a:gd name="T15" fmla="*/ 477 h 526"/>
                <a:gd name="T16" fmla="*/ 190 w 395"/>
                <a:gd name="T17" fmla="*/ 444 h 526"/>
                <a:gd name="T18" fmla="*/ 195 w 395"/>
                <a:gd name="T19" fmla="*/ 441 h 526"/>
                <a:gd name="T20" fmla="*/ 168 w 395"/>
                <a:gd name="T21" fmla="*/ 442 h 526"/>
                <a:gd name="T22" fmla="*/ 168 w 395"/>
                <a:gd name="T23" fmla="*/ 422 h 526"/>
                <a:gd name="T24" fmla="*/ 134 w 395"/>
                <a:gd name="T25" fmla="*/ 393 h 526"/>
                <a:gd name="T26" fmla="*/ 135 w 395"/>
                <a:gd name="T27" fmla="*/ 369 h 526"/>
                <a:gd name="T28" fmla="*/ 149 w 395"/>
                <a:gd name="T29" fmla="*/ 391 h 526"/>
                <a:gd name="T30" fmla="*/ 120 w 395"/>
                <a:gd name="T31" fmla="*/ 379 h 526"/>
                <a:gd name="T32" fmla="*/ 122 w 395"/>
                <a:gd name="T33" fmla="*/ 350 h 526"/>
                <a:gd name="T34" fmla="*/ 86 w 395"/>
                <a:gd name="T35" fmla="*/ 340 h 526"/>
                <a:gd name="T36" fmla="*/ 216 w 395"/>
                <a:gd name="T37" fmla="*/ 251 h 526"/>
                <a:gd name="T38" fmla="*/ 38 w 395"/>
                <a:gd name="T39" fmla="*/ 222 h 526"/>
                <a:gd name="T40" fmla="*/ 55 w 395"/>
                <a:gd name="T41" fmla="*/ 256 h 526"/>
                <a:gd name="T42" fmla="*/ 64 w 395"/>
                <a:gd name="T43" fmla="*/ 275 h 526"/>
                <a:gd name="T44" fmla="*/ 72 w 395"/>
                <a:gd name="T45" fmla="*/ 294 h 526"/>
                <a:gd name="T46" fmla="*/ 82 w 395"/>
                <a:gd name="T47" fmla="*/ 311 h 526"/>
                <a:gd name="T48" fmla="*/ 79 w 395"/>
                <a:gd name="T49" fmla="*/ 314 h 526"/>
                <a:gd name="T50" fmla="*/ 77 w 395"/>
                <a:gd name="T51" fmla="*/ 318 h 526"/>
                <a:gd name="T52" fmla="*/ 40 w 395"/>
                <a:gd name="T53" fmla="*/ 313 h 526"/>
                <a:gd name="T54" fmla="*/ 7 w 395"/>
                <a:gd name="T55" fmla="*/ 267 h 526"/>
                <a:gd name="T56" fmla="*/ 24 w 395"/>
                <a:gd name="T57" fmla="*/ 224 h 526"/>
                <a:gd name="T58" fmla="*/ 193 w 395"/>
                <a:gd name="T59" fmla="*/ 19 h 526"/>
                <a:gd name="T60" fmla="*/ 200 w 395"/>
                <a:gd name="T61" fmla="*/ 58 h 526"/>
                <a:gd name="T62" fmla="*/ 233 w 395"/>
                <a:gd name="T63" fmla="*/ 72 h 526"/>
                <a:gd name="T64" fmla="*/ 263 w 395"/>
                <a:gd name="T65" fmla="*/ 94 h 526"/>
                <a:gd name="T66" fmla="*/ 258 w 395"/>
                <a:gd name="T67" fmla="*/ 125 h 526"/>
                <a:gd name="T68" fmla="*/ 294 w 395"/>
                <a:gd name="T69" fmla="*/ 152 h 526"/>
                <a:gd name="T70" fmla="*/ 328 w 395"/>
                <a:gd name="T71" fmla="*/ 186 h 526"/>
                <a:gd name="T72" fmla="*/ 362 w 395"/>
                <a:gd name="T73" fmla="*/ 207 h 526"/>
                <a:gd name="T74" fmla="*/ 388 w 395"/>
                <a:gd name="T75" fmla="*/ 234 h 526"/>
                <a:gd name="T76" fmla="*/ 371 w 395"/>
                <a:gd name="T77" fmla="*/ 261 h 526"/>
                <a:gd name="T78" fmla="*/ 349 w 395"/>
                <a:gd name="T79" fmla="*/ 308 h 526"/>
                <a:gd name="T80" fmla="*/ 304 w 395"/>
                <a:gd name="T81" fmla="*/ 311 h 526"/>
                <a:gd name="T82" fmla="*/ 320 w 395"/>
                <a:gd name="T83" fmla="*/ 360 h 526"/>
                <a:gd name="T84" fmla="*/ 296 w 395"/>
                <a:gd name="T85" fmla="*/ 401 h 526"/>
                <a:gd name="T86" fmla="*/ 272 w 395"/>
                <a:gd name="T87" fmla="*/ 345 h 526"/>
                <a:gd name="T88" fmla="*/ 245 w 395"/>
                <a:gd name="T89" fmla="*/ 296 h 526"/>
                <a:gd name="T90" fmla="*/ 238 w 395"/>
                <a:gd name="T91" fmla="*/ 272 h 526"/>
                <a:gd name="T92" fmla="*/ 219 w 395"/>
                <a:gd name="T93" fmla="*/ 255 h 526"/>
                <a:gd name="T94" fmla="*/ 217 w 395"/>
                <a:gd name="T95" fmla="*/ 238 h 526"/>
                <a:gd name="T96" fmla="*/ 205 w 395"/>
                <a:gd name="T97" fmla="*/ 207 h 526"/>
                <a:gd name="T98" fmla="*/ 180 w 395"/>
                <a:gd name="T99" fmla="*/ 176 h 526"/>
                <a:gd name="T100" fmla="*/ 139 w 395"/>
                <a:gd name="T101" fmla="*/ 127 h 526"/>
                <a:gd name="T102" fmla="*/ 132 w 395"/>
                <a:gd name="T103" fmla="*/ 106 h 526"/>
                <a:gd name="T104" fmla="*/ 113 w 395"/>
                <a:gd name="T105" fmla="*/ 96 h 526"/>
                <a:gd name="T106" fmla="*/ 93 w 395"/>
                <a:gd name="T107" fmla="*/ 86 h 526"/>
                <a:gd name="T108" fmla="*/ 72 w 395"/>
                <a:gd name="T109" fmla="*/ 74 h 526"/>
                <a:gd name="T110" fmla="*/ 113 w 395"/>
                <a:gd name="T111" fmla="*/ 46 h 526"/>
                <a:gd name="T112" fmla="*/ 158 w 395"/>
                <a:gd name="T113" fmla="*/ 33 h 526"/>
                <a:gd name="T114" fmla="*/ 168 w 395"/>
                <a:gd name="T115" fmla="*/ 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526">
                  <a:moveTo>
                    <a:pt x="246" y="524"/>
                  </a:moveTo>
                  <a:lnTo>
                    <a:pt x="250" y="526"/>
                  </a:lnTo>
                  <a:lnTo>
                    <a:pt x="245" y="526"/>
                  </a:lnTo>
                  <a:lnTo>
                    <a:pt x="245" y="524"/>
                  </a:lnTo>
                  <a:lnTo>
                    <a:pt x="246" y="524"/>
                  </a:lnTo>
                  <a:close/>
                  <a:moveTo>
                    <a:pt x="236" y="499"/>
                  </a:moveTo>
                  <a:lnTo>
                    <a:pt x="238" y="499"/>
                  </a:lnTo>
                  <a:lnTo>
                    <a:pt x="238" y="501"/>
                  </a:lnTo>
                  <a:lnTo>
                    <a:pt x="236" y="501"/>
                  </a:lnTo>
                  <a:lnTo>
                    <a:pt x="236" y="499"/>
                  </a:lnTo>
                  <a:close/>
                  <a:moveTo>
                    <a:pt x="217" y="494"/>
                  </a:moveTo>
                  <a:lnTo>
                    <a:pt x="219" y="494"/>
                  </a:lnTo>
                  <a:lnTo>
                    <a:pt x="219" y="495"/>
                  </a:lnTo>
                  <a:lnTo>
                    <a:pt x="217" y="495"/>
                  </a:lnTo>
                  <a:lnTo>
                    <a:pt x="217" y="494"/>
                  </a:lnTo>
                  <a:close/>
                  <a:moveTo>
                    <a:pt x="226" y="494"/>
                  </a:moveTo>
                  <a:lnTo>
                    <a:pt x="228" y="494"/>
                  </a:lnTo>
                  <a:lnTo>
                    <a:pt x="228" y="495"/>
                  </a:lnTo>
                  <a:lnTo>
                    <a:pt x="226" y="495"/>
                  </a:lnTo>
                  <a:lnTo>
                    <a:pt x="226" y="494"/>
                  </a:lnTo>
                  <a:close/>
                  <a:moveTo>
                    <a:pt x="228" y="485"/>
                  </a:moveTo>
                  <a:lnTo>
                    <a:pt x="233" y="492"/>
                  </a:lnTo>
                  <a:lnTo>
                    <a:pt x="229" y="492"/>
                  </a:lnTo>
                  <a:lnTo>
                    <a:pt x="228" y="490"/>
                  </a:lnTo>
                  <a:lnTo>
                    <a:pt x="228" y="485"/>
                  </a:lnTo>
                  <a:close/>
                  <a:moveTo>
                    <a:pt x="188" y="475"/>
                  </a:moveTo>
                  <a:lnTo>
                    <a:pt x="192" y="475"/>
                  </a:lnTo>
                  <a:lnTo>
                    <a:pt x="192" y="477"/>
                  </a:lnTo>
                  <a:lnTo>
                    <a:pt x="188" y="477"/>
                  </a:lnTo>
                  <a:lnTo>
                    <a:pt x="188" y="475"/>
                  </a:lnTo>
                  <a:close/>
                  <a:moveTo>
                    <a:pt x="185" y="451"/>
                  </a:moveTo>
                  <a:lnTo>
                    <a:pt x="187" y="451"/>
                  </a:lnTo>
                  <a:lnTo>
                    <a:pt x="185" y="451"/>
                  </a:lnTo>
                  <a:close/>
                  <a:moveTo>
                    <a:pt x="197" y="442"/>
                  </a:moveTo>
                  <a:lnTo>
                    <a:pt x="200" y="444"/>
                  </a:lnTo>
                  <a:lnTo>
                    <a:pt x="199" y="446"/>
                  </a:lnTo>
                  <a:lnTo>
                    <a:pt x="200" y="446"/>
                  </a:lnTo>
                  <a:lnTo>
                    <a:pt x="200" y="449"/>
                  </a:lnTo>
                  <a:lnTo>
                    <a:pt x="202" y="449"/>
                  </a:lnTo>
                  <a:lnTo>
                    <a:pt x="210" y="456"/>
                  </a:lnTo>
                  <a:lnTo>
                    <a:pt x="216" y="463"/>
                  </a:lnTo>
                  <a:lnTo>
                    <a:pt x="219" y="465"/>
                  </a:lnTo>
                  <a:lnTo>
                    <a:pt x="221" y="468"/>
                  </a:lnTo>
                  <a:lnTo>
                    <a:pt x="224" y="470"/>
                  </a:lnTo>
                  <a:lnTo>
                    <a:pt x="224" y="472"/>
                  </a:lnTo>
                  <a:lnTo>
                    <a:pt x="222" y="472"/>
                  </a:lnTo>
                  <a:lnTo>
                    <a:pt x="222" y="473"/>
                  </a:lnTo>
                  <a:lnTo>
                    <a:pt x="222" y="472"/>
                  </a:lnTo>
                  <a:lnTo>
                    <a:pt x="224" y="473"/>
                  </a:lnTo>
                  <a:lnTo>
                    <a:pt x="224" y="482"/>
                  </a:lnTo>
                  <a:lnTo>
                    <a:pt x="226" y="483"/>
                  </a:lnTo>
                  <a:lnTo>
                    <a:pt x="226" y="485"/>
                  </a:lnTo>
                  <a:lnTo>
                    <a:pt x="216" y="487"/>
                  </a:lnTo>
                  <a:lnTo>
                    <a:pt x="212" y="489"/>
                  </a:lnTo>
                  <a:lnTo>
                    <a:pt x="216" y="489"/>
                  </a:lnTo>
                  <a:lnTo>
                    <a:pt x="217" y="492"/>
                  </a:lnTo>
                  <a:lnTo>
                    <a:pt x="216" y="492"/>
                  </a:lnTo>
                  <a:lnTo>
                    <a:pt x="214" y="490"/>
                  </a:lnTo>
                  <a:lnTo>
                    <a:pt x="216" y="492"/>
                  </a:lnTo>
                  <a:lnTo>
                    <a:pt x="217" y="492"/>
                  </a:lnTo>
                  <a:lnTo>
                    <a:pt x="216" y="495"/>
                  </a:lnTo>
                  <a:lnTo>
                    <a:pt x="221" y="502"/>
                  </a:lnTo>
                  <a:lnTo>
                    <a:pt x="224" y="506"/>
                  </a:lnTo>
                  <a:lnTo>
                    <a:pt x="224" y="509"/>
                  </a:lnTo>
                  <a:lnTo>
                    <a:pt x="221" y="509"/>
                  </a:lnTo>
                  <a:lnTo>
                    <a:pt x="219" y="506"/>
                  </a:lnTo>
                  <a:lnTo>
                    <a:pt x="214" y="502"/>
                  </a:lnTo>
                  <a:lnTo>
                    <a:pt x="214" y="499"/>
                  </a:lnTo>
                  <a:lnTo>
                    <a:pt x="209" y="497"/>
                  </a:lnTo>
                  <a:lnTo>
                    <a:pt x="207" y="494"/>
                  </a:lnTo>
                  <a:lnTo>
                    <a:pt x="210" y="495"/>
                  </a:lnTo>
                  <a:lnTo>
                    <a:pt x="212" y="495"/>
                  </a:lnTo>
                  <a:lnTo>
                    <a:pt x="210" y="495"/>
                  </a:lnTo>
                  <a:lnTo>
                    <a:pt x="207" y="489"/>
                  </a:lnTo>
                  <a:lnTo>
                    <a:pt x="209" y="485"/>
                  </a:lnTo>
                  <a:lnTo>
                    <a:pt x="204" y="478"/>
                  </a:lnTo>
                  <a:lnTo>
                    <a:pt x="202" y="477"/>
                  </a:lnTo>
                  <a:lnTo>
                    <a:pt x="200" y="478"/>
                  </a:lnTo>
                  <a:lnTo>
                    <a:pt x="199" y="478"/>
                  </a:lnTo>
                  <a:lnTo>
                    <a:pt x="200" y="477"/>
                  </a:lnTo>
                  <a:lnTo>
                    <a:pt x="199" y="475"/>
                  </a:lnTo>
                  <a:lnTo>
                    <a:pt x="199" y="473"/>
                  </a:lnTo>
                  <a:lnTo>
                    <a:pt x="197" y="475"/>
                  </a:lnTo>
                  <a:lnTo>
                    <a:pt x="195" y="472"/>
                  </a:lnTo>
                  <a:lnTo>
                    <a:pt x="192" y="466"/>
                  </a:lnTo>
                  <a:lnTo>
                    <a:pt x="190" y="463"/>
                  </a:lnTo>
                  <a:lnTo>
                    <a:pt x="193" y="460"/>
                  </a:lnTo>
                  <a:lnTo>
                    <a:pt x="192" y="456"/>
                  </a:lnTo>
                  <a:lnTo>
                    <a:pt x="192" y="453"/>
                  </a:lnTo>
                  <a:lnTo>
                    <a:pt x="190" y="444"/>
                  </a:lnTo>
                  <a:lnTo>
                    <a:pt x="197" y="442"/>
                  </a:lnTo>
                  <a:close/>
                  <a:moveTo>
                    <a:pt x="168" y="408"/>
                  </a:moveTo>
                  <a:lnTo>
                    <a:pt x="171" y="412"/>
                  </a:lnTo>
                  <a:lnTo>
                    <a:pt x="176" y="417"/>
                  </a:lnTo>
                  <a:lnTo>
                    <a:pt x="180" y="419"/>
                  </a:lnTo>
                  <a:lnTo>
                    <a:pt x="183" y="422"/>
                  </a:lnTo>
                  <a:lnTo>
                    <a:pt x="190" y="425"/>
                  </a:lnTo>
                  <a:lnTo>
                    <a:pt x="193" y="434"/>
                  </a:lnTo>
                  <a:lnTo>
                    <a:pt x="195" y="437"/>
                  </a:lnTo>
                  <a:lnTo>
                    <a:pt x="195" y="441"/>
                  </a:lnTo>
                  <a:lnTo>
                    <a:pt x="185" y="446"/>
                  </a:lnTo>
                  <a:lnTo>
                    <a:pt x="187" y="449"/>
                  </a:lnTo>
                  <a:lnTo>
                    <a:pt x="180" y="448"/>
                  </a:lnTo>
                  <a:lnTo>
                    <a:pt x="178" y="449"/>
                  </a:lnTo>
                  <a:lnTo>
                    <a:pt x="175" y="446"/>
                  </a:lnTo>
                  <a:lnTo>
                    <a:pt x="173" y="451"/>
                  </a:lnTo>
                  <a:lnTo>
                    <a:pt x="171" y="451"/>
                  </a:lnTo>
                  <a:lnTo>
                    <a:pt x="168" y="448"/>
                  </a:lnTo>
                  <a:lnTo>
                    <a:pt x="171" y="446"/>
                  </a:lnTo>
                  <a:lnTo>
                    <a:pt x="168" y="442"/>
                  </a:lnTo>
                  <a:lnTo>
                    <a:pt x="168" y="441"/>
                  </a:lnTo>
                  <a:lnTo>
                    <a:pt x="166" y="442"/>
                  </a:lnTo>
                  <a:lnTo>
                    <a:pt x="166" y="441"/>
                  </a:lnTo>
                  <a:lnTo>
                    <a:pt x="168" y="441"/>
                  </a:lnTo>
                  <a:lnTo>
                    <a:pt x="168" y="439"/>
                  </a:lnTo>
                  <a:lnTo>
                    <a:pt x="169" y="437"/>
                  </a:lnTo>
                  <a:lnTo>
                    <a:pt x="168" y="432"/>
                  </a:lnTo>
                  <a:lnTo>
                    <a:pt x="169" y="429"/>
                  </a:lnTo>
                  <a:lnTo>
                    <a:pt x="166" y="424"/>
                  </a:lnTo>
                  <a:lnTo>
                    <a:pt x="168" y="422"/>
                  </a:lnTo>
                  <a:lnTo>
                    <a:pt x="164" y="417"/>
                  </a:lnTo>
                  <a:lnTo>
                    <a:pt x="166" y="415"/>
                  </a:lnTo>
                  <a:lnTo>
                    <a:pt x="164" y="410"/>
                  </a:lnTo>
                  <a:lnTo>
                    <a:pt x="168" y="408"/>
                  </a:lnTo>
                  <a:close/>
                  <a:moveTo>
                    <a:pt x="137" y="393"/>
                  </a:moveTo>
                  <a:lnTo>
                    <a:pt x="139" y="393"/>
                  </a:lnTo>
                  <a:lnTo>
                    <a:pt x="137" y="393"/>
                  </a:lnTo>
                  <a:lnTo>
                    <a:pt x="139" y="395"/>
                  </a:lnTo>
                  <a:lnTo>
                    <a:pt x="137" y="396"/>
                  </a:lnTo>
                  <a:lnTo>
                    <a:pt x="134" y="393"/>
                  </a:lnTo>
                  <a:lnTo>
                    <a:pt x="134" y="391"/>
                  </a:lnTo>
                  <a:lnTo>
                    <a:pt x="137" y="393"/>
                  </a:lnTo>
                  <a:close/>
                  <a:moveTo>
                    <a:pt x="122" y="350"/>
                  </a:moveTo>
                  <a:lnTo>
                    <a:pt x="122" y="352"/>
                  </a:lnTo>
                  <a:lnTo>
                    <a:pt x="123" y="352"/>
                  </a:lnTo>
                  <a:lnTo>
                    <a:pt x="125" y="352"/>
                  </a:lnTo>
                  <a:lnTo>
                    <a:pt x="125" y="354"/>
                  </a:lnTo>
                  <a:lnTo>
                    <a:pt x="134" y="359"/>
                  </a:lnTo>
                  <a:lnTo>
                    <a:pt x="134" y="367"/>
                  </a:lnTo>
                  <a:lnTo>
                    <a:pt x="135" y="369"/>
                  </a:lnTo>
                  <a:lnTo>
                    <a:pt x="135" y="371"/>
                  </a:lnTo>
                  <a:lnTo>
                    <a:pt x="137" y="371"/>
                  </a:lnTo>
                  <a:lnTo>
                    <a:pt x="139" y="376"/>
                  </a:lnTo>
                  <a:lnTo>
                    <a:pt x="142" y="379"/>
                  </a:lnTo>
                  <a:lnTo>
                    <a:pt x="142" y="383"/>
                  </a:lnTo>
                  <a:lnTo>
                    <a:pt x="146" y="384"/>
                  </a:lnTo>
                  <a:lnTo>
                    <a:pt x="151" y="388"/>
                  </a:lnTo>
                  <a:lnTo>
                    <a:pt x="152" y="396"/>
                  </a:lnTo>
                  <a:lnTo>
                    <a:pt x="149" y="396"/>
                  </a:lnTo>
                  <a:lnTo>
                    <a:pt x="149" y="391"/>
                  </a:lnTo>
                  <a:lnTo>
                    <a:pt x="144" y="393"/>
                  </a:lnTo>
                  <a:lnTo>
                    <a:pt x="142" y="390"/>
                  </a:lnTo>
                  <a:lnTo>
                    <a:pt x="137" y="390"/>
                  </a:lnTo>
                  <a:lnTo>
                    <a:pt x="129" y="383"/>
                  </a:lnTo>
                  <a:lnTo>
                    <a:pt x="125" y="383"/>
                  </a:lnTo>
                  <a:lnTo>
                    <a:pt x="123" y="381"/>
                  </a:lnTo>
                  <a:lnTo>
                    <a:pt x="122" y="383"/>
                  </a:lnTo>
                  <a:lnTo>
                    <a:pt x="120" y="379"/>
                  </a:lnTo>
                  <a:lnTo>
                    <a:pt x="122" y="378"/>
                  </a:lnTo>
                  <a:lnTo>
                    <a:pt x="120" y="379"/>
                  </a:lnTo>
                  <a:lnTo>
                    <a:pt x="120" y="376"/>
                  </a:lnTo>
                  <a:lnTo>
                    <a:pt x="118" y="378"/>
                  </a:lnTo>
                  <a:lnTo>
                    <a:pt x="118" y="376"/>
                  </a:lnTo>
                  <a:lnTo>
                    <a:pt x="115" y="372"/>
                  </a:lnTo>
                  <a:lnTo>
                    <a:pt x="111" y="367"/>
                  </a:lnTo>
                  <a:lnTo>
                    <a:pt x="117" y="366"/>
                  </a:lnTo>
                  <a:lnTo>
                    <a:pt x="113" y="357"/>
                  </a:lnTo>
                  <a:lnTo>
                    <a:pt x="117" y="355"/>
                  </a:lnTo>
                  <a:lnTo>
                    <a:pt x="115" y="354"/>
                  </a:lnTo>
                  <a:lnTo>
                    <a:pt x="122" y="350"/>
                  </a:lnTo>
                  <a:close/>
                  <a:moveTo>
                    <a:pt x="117" y="349"/>
                  </a:moveTo>
                  <a:lnTo>
                    <a:pt x="118" y="352"/>
                  </a:lnTo>
                  <a:lnTo>
                    <a:pt x="115" y="349"/>
                  </a:lnTo>
                  <a:lnTo>
                    <a:pt x="117" y="349"/>
                  </a:lnTo>
                  <a:close/>
                  <a:moveTo>
                    <a:pt x="122" y="347"/>
                  </a:moveTo>
                  <a:lnTo>
                    <a:pt x="118" y="347"/>
                  </a:lnTo>
                  <a:lnTo>
                    <a:pt x="118" y="345"/>
                  </a:lnTo>
                  <a:lnTo>
                    <a:pt x="122" y="347"/>
                  </a:lnTo>
                  <a:close/>
                  <a:moveTo>
                    <a:pt x="86" y="337"/>
                  </a:moveTo>
                  <a:lnTo>
                    <a:pt x="86" y="340"/>
                  </a:lnTo>
                  <a:lnTo>
                    <a:pt x="84" y="340"/>
                  </a:lnTo>
                  <a:lnTo>
                    <a:pt x="86" y="337"/>
                  </a:lnTo>
                  <a:close/>
                  <a:moveTo>
                    <a:pt x="81" y="323"/>
                  </a:moveTo>
                  <a:lnTo>
                    <a:pt x="84" y="325"/>
                  </a:lnTo>
                  <a:lnTo>
                    <a:pt x="84" y="328"/>
                  </a:lnTo>
                  <a:lnTo>
                    <a:pt x="77" y="330"/>
                  </a:lnTo>
                  <a:lnTo>
                    <a:pt x="81" y="326"/>
                  </a:lnTo>
                  <a:lnTo>
                    <a:pt x="79" y="323"/>
                  </a:lnTo>
                  <a:lnTo>
                    <a:pt x="81" y="323"/>
                  </a:lnTo>
                  <a:close/>
                  <a:moveTo>
                    <a:pt x="216" y="251"/>
                  </a:moveTo>
                  <a:lnTo>
                    <a:pt x="214" y="253"/>
                  </a:lnTo>
                  <a:lnTo>
                    <a:pt x="216" y="253"/>
                  </a:lnTo>
                  <a:lnTo>
                    <a:pt x="217" y="255"/>
                  </a:lnTo>
                  <a:lnTo>
                    <a:pt x="214" y="256"/>
                  </a:lnTo>
                  <a:lnTo>
                    <a:pt x="214" y="251"/>
                  </a:lnTo>
                  <a:lnTo>
                    <a:pt x="216" y="251"/>
                  </a:lnTo>
                  <a:close/>
                  <a:moveTo>
                    <a:pt x="38" y="219"/>
                  </a:moveTo>
                  <a:lnTo>
                    <a:pt x="38" y="220"/>
                  </a:lnTo>
                  <a:lnTo>
                    <a:pt x="36" y="220"/>
                  </a:lnTo>
                  <a:lnTo>
                    <a:pt x="38" y="222"/>
                  </a:lnTo>
                  <a:lnTo>
                    <a:pt x="40" y="220"/>
                  </a:lnTo>
                  <a:lnTo>
                    <a:pt x="43" y="231"/>
                  </a:lnTo>
                  <a:lnTo>
                    <a:pt x="40" y="227"/>
                  </a:lnTo>
                  <a:lnTo>
                    <a:pt x="41" y="236"/>
                  </a:lnTo>
                  <a:lnTo>
                    <a:pt x="43" y="238"/>
                  </a:lnTo>
                  <a:lnTo>
                    <a:pt x="48" y="243"/>
                  </a:lnTo>
                  <a:lnTo>
                    <a:pt x="50" y="248"/>
                  </a:lnTo>
                  <a:lnTo>
                    <a:pt x="53" y="253"/>
                  </a:lnTo>
                  <a:lnTo>
                    <a:pt x="52" y="255"/>
                  </a:lnTo>
                  <a:lnTo>
                    <a:pt x="55" y="256"/>
                  </a:lnTo>
                  <a:lnTo>
                    <a:pt x="57" y="258"/>
                  </a:lnTo>
                  <a:lnTo>
                    <a:pt x="57" y="261"/>
                  </a:lnTo>
                  <a:lnTo>
                    <a:pt x="55" y="261"/>
                  </a:lnTo>
                  <a:lnTo>
                    <a:pt x="57" y="263"/>
                  </a:lnTo>
                  <a:lnTo>
                    <a:pt x="55" y="263"/>
                  </a:lnTo>
                  <a:lnTo>
                    <a:pt x="59" y="263"/>
                  </a:lnTo>
                  <a:lnTo>
                    <a:pt x="60" y="272"/>
                  </a:lnTo>
                  <a:lnTo>
                    <a:pt x="62" y="273"/>
                  </a:lnTo>
                  <a:lnTo>
                    <a:pt x="62" y="275"/>
                  </a:lnTo>
                  <a:lnTo>
                    <a:pt x="64" y="275"/>
                  </a:lnTo>
                  <a:lnTo>
                    <a:pt x="64" y="277"/>
                  </a:lnTo>
                  <a:lnTo>
                    <a:pt x="65" y="277"/>
                  </a:lnTo>
                  <a:lnTo>
                    <a:pt x="69" y="280"/>
                  </a:lnTo>
                  <a:lnTo>
                    <a:pt x="69" y="285"/>
                  </a:lnTo>
                  <a:lnTo>
                    <a:pt x="64" y="282"/>
                  </a:lnTo>
                  <a:lnTo>
                    <a:pt x="70" y="289"/>
                  </a:lnTo>
                  <a:lnTo>
                    <a:pt x="70" y="290"/>
                  </a:lnTo>
                  <a:lnTo>
                    <a:pt x="72" y="289"/>
                  </a:lnTo>
                  <a:lnTo>
                    <a:pt x="74" y="292"/>
                  </a:lnTo>
                  <a:lnTo>
                    <a:pt x="72" y="294"/>
                  </a:lnTo>
                  <a:lnTo>
                    <a:pt x="74" y="294"/>
                  </a:lnTo>
                  <a:lnTo>
                    <a:pt x="72" y="296"/>
                  </a:lnTo>
                  <a:lnTo>
                    <a:pt x="76" y="301"/>
                  </a:lnTo>
                  <a:lnTo>
                    <a:pt x="81" y="299"/>
                  </a:lnTo>
                  <a:lnTo>
                    <a:pt x="84" y="304"/>
                  </a:lnTo>
                  <a:lnTo>
                    <a:pt x="82" y="304"/>
                  </a:lnTo>
                  <a:lnTo>
                    <a:pt x="81" y="306"/>
                  </a:lnTo>
                  <a:lnTo>
                    <a:pt x="84" y="306"/>
                  </a:lnTo>
                  <a:lnTo>
                    <a:pt x="82" y="308"/>
                  </a:lnTo>
                  <a:lnTo>
                    <a:pt x="82" y="311"/>
                  </a:lnTo>
                  <a:lnTo>
                    <a:pt x="82" y="308"/>
                  </a:lnTo>
                  <a:lnTo>
                    <a:pt x="86" y="311"/>
                  </a:lnTo>
                  <a:lnTo>
                    <a:pt x="84" y="311"/>
                  </a:lnTo>
                  <a:lnTo>
                    <a:pt x="84" y="314"/>
                  </a:lnTo>
                  <a:lnTo>
                    <a:pt x="82" y="316"/>
                  </a:lnTo>
                  <a:lnTo>
                    <a:pt x="84" y="318"/>
                  </a:lnTo>
                  <a:lnTo>
                    <a:pt x="82" y="318"/>
                  </a:lnTo>
                  <a:lnTo>
                    <a:pt x="81" y="316"/>
                  </a:lnTo>
                  <a:lnTo>
                    <a:pt x="81" y="314"/>
                  </a:lnTo>
                  <a:lnTo>
                    <a:pt x="79" y="314"/>
                  </a:lnTo>
                  <a:lnTo>
                    <a:pt x="79" y="311"/>
                  </a:lnTo>
                  <a:lnTo>
                    <a:pt x="76" y="304"/>
                  </a:lnTo>
                  <a:lnTo>
                    <a:pt x="74" y="302"/>
                  </a:lnTo>
                  <a:lnTo>
                    <a:pt x="72" y="306"/>
                  </a:lnTo>
                  <a:lnTo>
                    <a:pt x="74" y="306"/>
                  </a:lnTo>
                  <a:lnTo>
                    <a:pt x="77" y="309"/>
                  </a:lnTo>
                  <a:lnTo>
                    <a:pt x="77" y="311"/>
                  </a:lnTo>
                  <a:lnTo>
                    <a:pt x="76" y="309"/>
                  </a:lnTo>
                  <a:lnTo>
                    <a:pt x="77" y="313"/>
                  </a:lnTo>
                  <a:lnTo>
                    <a:pt x="77" y="318"/>
                  </a:lnTo>
                  <a:lnTo>
                    <a:pt x="81" y="321"/>
                  </a:lnTo>
                  <a:lnTo>
                    <a:pt x="77" y="325"/>
                  </a:lnTo>
                  <a:lnTo>
                    <a:pt x="69" y="321"/>
                  </a:lnTo>
                  <a:lnTo>
                    <a:pt x="65" y="325"/>
                  </a:lnTo>
                  <a:lnTo>
                    <a:pt x="62" y="326"/>
                  </a:lnTo>
                  <a:lnTo>
                    <a:pt x="62" y="325"/>
                  </a:lnTo>
                  <a:lnTo>
                    <a:pt x="55" y="323"/>
                  </a:lnTo>
                  <a:lnTo>
                    <a:pt x="50" y="319"/>
                  </a:lnTo>
                  <a:lnTo>
                    <a:pt x="43" y="316"/>
                  </a:lnTo>
                  <a:lnTo>
                    <a:pt x="40" y="313"/>
                  </a:lnTo>
                  <a:lnTo>
                    <a:pt x="35" y="309"/>
                  </a:lnTo>
                  <a:lnTo>
                    <a:pt x="31" y="306"/>
                  </a:lnTo>
                  <a:lnTo>
                    <a:pt x="28" y="302"/>
                  </a:lnTo>
                  <a:lnTo>
                    <a:pt x="30" y="299"/>
                  </a:lnTo>
                  <a:lnTo>
                    <a:pt x="24" y="290"/>
                  </a:lnTo>
                  <a:lnTo>
                    <a:pt x="19" y="282"/>
                  </a:lnTo>
                  <a:lnTo>
                    <a:pt x="18" y="282"/>
                  </a:lnTo>
                  <a:lnTo>
                    <a:pt x="18" y="279"/>
                  </a:lnTo>
                  <a:lnTo>
                    <a:pt x="12" y="272"/>
                  </a:lnTo>
                  <a:lnTo>
                    <a:pt x="7" y="267"/>
                  </a:lnTo>
                  <a:lnTo>
                    <a:pt x="6" y="260"/>
                  </a:lnTo>
                  <a:lnTo>
                    <a:pt x="0" y="255"/>
                  </a:lnTo>
                  <a:lnTo>
                    <a:pt x="0" y="253"/>
                  </a:lnTo>
                  <a:lnTo>
                    <a:pt x="6" y="246"/>
                  </a:lnTo>
                  <a:lnTo>
                    <a:pt x="7" y="239"/>
                  </a:lnTo>
                  <a:lnTo>
                    <a:pt x="7" y="236"/>
                  </a:lnTo>
                  <a:lnTo>
                    <a:pt x="9" y="226"/>
                  </a:lnTo>
                  <a:lnTo>
                    <a:pt x="14" y="222"/>
                  </a:lnTo>
                  <a:lnTo>
                    <a:pt x="18" y="224"/>
                  </a:lnTo>
                  <a:lnTo>
                    <a:pt x="24" y="224"/>
                  </a:lnTo>
                  <a:lnTo>
                    <a:pt x="33" y="220"/>
                  </a:lnTo>
                  <a:lnTo>
                    <a:pt x="36" y="217"/>
                  </a:lnTo>
                  <a:lnTo>
                    <a:pt x="38" y="219"/>
                  </a:lnTo>
                  <a:close/>
                  <a:moveTo>
                    <a:pt x="82" y="80"/>
                  </a:moveTo>
                  <a:lnTo>
                    <a:pt x="84" y="80"/>
                  </a:lnTo>
                  <a:lnTo>
                    <a:pt x="84" y="84"/>
                  </a:lnTo>
                  <a:lnTo>
                    <a:pt x="82" y="84"/>
                  </a:lnTo>
                  <a:lnTo>
                    <a:pt x="82" y="80"/>
                  </a:lnTo>
                  <a:close/>
                  <a:moveTo>
                    <a:pt x="190" y="17"/>
                  </a:moveTo>
                  <a:lnTo>
                    <a:pt x="193" y="19"/>
                  </a:lnTo>
                  <a:lnTo>
                    <a:pt x="197" y="21"/>
                  </a:lnTo>
                  <a:lnTo>
                    <a:pt x="197" y="26"/>
                  </a:lnTo>
                  <a:lnTo>
                    <a:pt x="193" y="31"/>
                  </a:lnTo>
                  <a:lnTo>
                    <a:pt x="188" y="38"/>
                  </a:lnTo>
                  <a:lnTo>
                    <a:pt x="192" y="41"/>
                  </a:lnTo>
                  <a:lnTo>
                    <a:pt x="197" y="45"/>
                  </a:lnTo>
                  <a:lnTo>
                    <a:pt x="195" y="46"/>
                  </a:lnTo>
                  <a:lnTo>
                    <a:pt x="197" y="50"/>
                  </a:lnTo>
                  <a:lnTo>
                    <a:pt x="197" y="51"/>
                  </a:lnTo>
                  <a:lnTo>
                    <a:pt x="200" y="58"/>
                  </a:lnTo>
                  <a:lnTo>
                    <a:pt x="204" y="60"/>
                  </a:lnTo>
                  <a:lnTo>
                    <a:pt x="207" y="60"/>
                  </a:lnTo>
                  <a:lnTo>
                    <a:pt x="210" y="63"/>
                  </a:lnTo>
                  <a:lnTo>
                    <a:pt x="214" y="62"/>
                  </a:lnTo>
                  <a:lnTo>
                    <a:pt x="219" y="58"/>
                  </a:lnTo>
                  <a:lnTo>
                    <a:pt x="224" y="62"/>
                  </a:lnTo>
                  <a:lnTo>
                    <a:pt x="226" y="60"/>
                  </a:lnTo>
                  <a:lnTo>
                    <a:pt x="228" y="65"/>
                  </a:lnTo>
                  <a:lnTo>
                    <a:pt x="233" y="68"/>
                  </a:lnTo>
                  <a:lnTo>
                    <a:pt x="233" y="72"/>
                  </a:lnTo>
                  <a:lnTo>
                    <a:pt x="236" y="74"/>
                  </a:lnTo>
                  <a:lnTo>
                    <a:pt x="241" y="77"/>
                  </a:lnTo>
                  <a:lnTo>
                    <a:pt x="243" y="82"/>
                  </a:lnTo>
                  <a:lnTo>
                    <a:pt x="250" y="86"/>
                  </a:lnTo>
                  <a:lnTo>
                    <a:pt x="253" y="79"/>
                  </a:lnTo>
                  <a:lnTo>
                    <a:pt x="260" y="80"/>
                  </a:lnTo>
                  <a:lnTo>
                    <a:pt x="265" y="77"/>
                  </a:lnTo>
                  <a:lnTo>
                    <a:pt x="269" y="82"/>
                  </a:lnTo>
                  <a:lnTo>
                    <a:pt x="269" y="91"/>
                  </a:lnTo>
                  <a:lnTo>
                    <a:pt x="263" y="94"/>
                  </a:lnTo>
                  <a:lnTo>
                    <a:pt x="262" y="96"/>
                  </a:lnTo>
                  <a:lnTo>
                    <a:pt x="265" y="103"/>
                  </a:lnTo>
                  <a:lnTo>
                    <a:pt x="269" y="101"/>
                  </a:lnTo>
                  <a:lnTo>
                    <a:pt x="270" y="103"/>
                  </a:lnTo>
                  <a:lnTo>
                    <a:pt x="270" y="108"/>
                  </a:lnTo>
                  <a:lnTo>
                    <a:pt x="265" y="113"/>
                  </a:lnTo>
                  <a:lnTo>
                    <a:pt x="262" y="109"/>
                  </a:lnTo>
                  <a:lnTo>
                    <a:pt x="257" y="115"/>
                  </a:lnTo>
                  <a:lnTo>
                    <a:pt x="258" y="115"/>
                  </a:lnTo>
                  <a:lnTo>
                    <a:pt x="258" y="125"/>
                  </a:lnTo>
                  <a:lnTo>
                    <a:pt x="260" y="127"/>
                  </a:lnTo>
                  <a:lnTo>
                    <a:pt x="260" y="133"/>
                  </a:lnTo>
                  <a:lnTo>
                    <a:pt x="265" y="138"/>
                  </a:lnTo>
                  <a:lnTo>
                    <a:pt x="265" y="142"/>
                  </a:lnTo>
                  <a:lnTo>
                    <a:pt x="269" y="144"/>
                  </a:lnTo>
                  <a:lnTo>
                    <a:pt x="270" y="149"/>
                  </a:lnTo>
                  <a:lnTo>
                    <a:pt x="277" y="149"/>
                  </a:lnTo>
                  <a:lnTo>
                    <a:pt x="282" y="145"/>
                  </a:lnTo>
                  <a:lnTo>
                    <a:pt x="289" y="147"/>
                  </a:lnTo>
                  <a:lnTo>
                    <a:pt x="294" y="152"/>
                  </a:lnTo>
                  <a:lnTo>
                    <a:pt x="294" y="154"/>
                  </a:lnTo>
                  <a:lnTo>
                    <a:pt x="291" y="156"/>
                  </a:lnTo>
                  <a:lnTo>
                    <a:pt x="294" y="164"/>
                  </a:lnTo>
                  <a:lnTo>
                    <a:pt x="298" y="169"/>
                  </a:lnTo>
                  <a:lnTo>
                    <a:pt x="301" y="169"/>
                  </a:lnTo>
                  <a:lnTo>
                    <a:pt x="308" y="173"/>
                  </a:lnTo>
                  <a:lnTo>
                    <a:pt x="311" y="178"/>
                  </a:lnTo>
                  <a:lnTo>
                    <a:pt x="320" y="183"/>
                  </a:lnTo>
                  <a:lnTo>
                    <a:pt x="325" y="183"/>
                  </a:lnTo>
                  <a:lnTo>
                    <a:pt x="328" y="186"/>
                  </a:lnTo>
                  <a:lnTo>
                    <a:pt x="332" y="188"/>
                  </a:lnTo>
                  <a:lnTo>
                    <a:pt x="332" y="191"/>
                  </a:lnTo>
                  <a:lnTo>
                    <a:pt x="335" y="191"/>
                  </a:lnTo>
                  <a:lnTo>
                    <a:pt x="337" y="195"/>
                  </a:lnTo>
                  <a:lnTo>
                    <a:pt x="335" y="197"/>
                  </a:lnTo>
                  <a:lnTo>
                    <a:pt x="338" y="197"/>
                  </a:lnTo>
                  <a:lnTo>
                    <a:pt x="347" y="202"/>
                  </a:lnTo>
                  <a:lnTo>
                    <a:pt x="349" y="205"/>
                  </a:lnTo>
                  <a:lnTo>
                    <a:pt x="356" y="208"/>
                  </a:lnTo>
                  <a:lnTo>
                    <a:pt x="362" y="207"/>
                  </a:lnTo>
                  <a:lnTo>
                    <a:pt x="366" y="208"/>
                  </a:lnTo>
                  <a:lnTo>
                    <a:pt x="371" y="212"/>
                  </a:lnTo>
                  <a:lnTo>
                    <a:pt x="374" y="212"/>
                  </a:lnTo>
                  <a:lnTo>
                    <a:pt x="374" y="217"/>
                  </a:lnTo>
                  <a:lnTo>
                    <a:pt x="371" y="222"/>
                  </a:lnTo>
                  <a:lnTo>
                    <a:pt x="376" y="222"/>
                  </a:lnTo>
                  <a:lnTo>
                    <a:pt x="378" y="224"/>
                  </a:lnTo>
                  <a:lnTo>
                    <a:pt x="388" y="226"/>
                  </a:lnTo>
                  <a:lnTo>
                    <a:pt x="386" y="229"/>
                  </a:lnTo>
                  <a:lnTo>
                    <a:pt x="388" y="234"/>
                  </a:lnTo>
                  <a:lnTo>
                    <a:pt x="386" y="239"/>
                  </a:lnTo>
                  <a:lnTo>
                    <a:pt x="391" y="241"/>
                  </a:lnTo>
                  <a:lnTo>
                    <a:pt x="393" y="239"/>
                  </a:lnTo>
                  <a:lnTo>
                    <a:pt x="395" y="241"/>
                  </a:lnTo>
                  <a:lnTo>
                    <a:pt x="395" y="244"/>
                  </a:lnTo>
                  <a:lnTo>
                    <a:pt x="393" y="246"/>
                  </a:lnTo>
                  <a:lnTo>
                    <a:pt x="388" y="251"/>
                  </a:lnTo>
                  <a:lnTo>
                    <a:pt x="386" y="255"/>
                  </a:lnTo>
                  <a:lnTo>
                    <a:pt x="374" y="256"/>
                  </a:lnTo>
                  <a:lnTo>
                    <a:pt x="371" y="261"/>
                  </a:lnTo>
                  <a:lnTo>
                    <a:pt x="371" y="265"/>
                  </a:lnTo>
                  <a:lnTo>
                    <a:pt x="374" y="270"/>
                  </a:lnTo>
                  <a:lnTo>
                    <a:pt x="373" y="277"/>
                  </a:lnTo>
                  <a:lnTo>
                    <a:pt x="374" y="279"/>
                  </a:lnTo>
                  <a:lnTo>
                    <a:pt x="371" y="285"/>
                  </a:lnTo>
                  <a:lnTo>
                    <a:pt x="364" y="292"/>
                  </a:lnTo>
                  <a:lnTo>
                    <a:pt x="361" y="294"/>
                  </a:lnTo>
                  <a:lnTo>
                    <a:pt x="356" y="297"/>
                  </a:lnTo>
                  <a:lnTo>
                    <a:pt x="352" y="301"/>
                  </a:lnTo>
                  <a:lnTo>
                    <a:pt x="349" y="308"/>
                  </a:lnTo>
                  <a:lnTo>
                    <a:pt x="345" y="309"/>
                  </a:lnTo>
                  <a:lnTo>
                    <a:pt x="340" y="311"/>
                  </a:lnTo>
                  <a:lnTo>
                    <a:pt x="338" y="309"/>
                  </a:lnTo>
                  <a:lnTo>
                    <a:pt x="330" y="311"/>
                  </a:lnTo>
                  <a:lnTo>
                    <a:pt x="327" y="313"/>
                  </a:lnTo>
                  <a:lnTo>
                    <a:pt x="321" y="311"/>
                  </a:lnTo>
                  <a:lnTo>
                    <a:pt x="316" y="314"/>
                  </a:lnTo>
                  <a:lnTo>
                    <a:pt x="311" y="309"/>
                  </a:lnTo>
                  <a:lnTo>
                    <a:pt x="308" y="313"/>
                  </a:lnTo>
                  <a:lnTo>
                    <a:pt x="304" y="311"/>
                  </a:lnTo>
                  <a:lnTo>
                    <a:pt x="304" y="319"/>
                  </a:lnTo>
                  <a:lnTo>
                    <a:pt x="308" y="328"/>
                  </a:lnTo>
                  <a:lnTo>
                    <a:pt x="309" y="331"/>
                  </a:lnTo>
                  <a:lnTo>
                    <a:pt x="308" y="335"/>
                  </a:lnTo>
                  <a:lnTo>
                    <a:pt x="306" y="337"/>
                  </a:lnTo>
                  <a:lnTo>
                    <a:pt x="306" y="340"/>
                  </a:lnTo>
                  <a:lnTo>
                    <a:pt x="313" y="345"/>
                  </a:lnTo>
                  <a:lnTo>
                    <a:pt x="313" y="349"/>
                  </a:lnTo>
                  <a:lnTo>
                    <a:pt x="318" y="357"/>
                  </a:lnTo>
                  <a:lnTo>
                    <a:pt x="320" y="360"/>
                  </a:lnTo>
                  <a:lnTo>
                    <a:pt x="321" y="366"/>
                  </a:lnTo>
                  <a:lnTo>
                    <a:pt x="321" y="378"/>
                  </a:lnTo>
                  <a:lnTo>
                    <a:pt x="321" y="379"/>
                  </a:lnTo>
                  <a:lnTo>
                    <a:pt x="323" y="381"/>
                  </a:lnTo>
                  <a:lnTo>
                    <a:pt x="316" y="386"/>
                  </a:lnTo>
                  <a:lnTo>
                    <a:pt x="316" y="390"/>
                  </a:lnTo>
                  <a:lnTo>
                    <a:pt x="308" y="395"/>
                  </a:lnTo>
                  <a:lnTo>
                    <a:pt x="306" y="395"/>
                  </a:lnTo>
                  <a:lnTo>
                    <a:pt x="304" y="396"/>
                  </a:lnTo>
                  <a:lnTo>
                    <a:pt x="296" y="401"/>
                  </a:lnTo>
                  <a:lnTo>
                    <a:pt x="291" y="405"/>
                  </a:lnTo>
                  <a:lnTo>
                    <a:pt x="287" y="400"/>
                  </a:lnTo>
                  <a:lnTo>
                    <a:pt x="280" y="393"/>
                  </a:lnTo>
                  <a:lnTo>
                    <a:pt x="275" y="388"/>
                  </a:lnTo>
                  <a:lnTo>
                    <a:pt x="274" y="378"/>
                  </a:lnTo>
                  <a:lnTo>
                    <a:pt x="267" y="369"/>
                  </a:lnTo>
                  <a:lnTo>
                    <a:pt x="267" y="366"/>
                  </a:lnTo>
                  <a:lnTo>
                    <a:pt x="272" y="360"/>
                  </a:lnTo>
                  <a:lnTo>
                    <a:pt x="274" y="355"/>
                  </a:lnTo>
                  <a:lnTo>
                    <a:pt x="272" y="345"/>
                  </a:lnTo>
                  <a:lnTo>
                    <a:pt x="272" y="340"/>
                  </a:lnTo>
                  <a:lnTo>
                    <a:pt x="269" y="333"/>
                  </a:lnTo>
                  <a:lnTo>
                    <a:pt x="263" y="326"/>
                  </a:lnTo>
                  <a:lnTo>
                    <a:pt x="262" y="323"/>
                  </a:lnTo>
                  <a:lnTo>
                    <a:pt x="260" y="323"/>
                  </a:lnTo>
                  <a:lnTo>
                    <a:pt x="258" y="318"/>
                  </a:lnTo>
                  <a:lnTo>
                    <a:pt x="253" y="313"/>
                  </a:lnTo>
                  <a:lnTo>
                    <a:pt x="251" y="308"/>
                  </a:lnTo>
                  <a:lnTo>
                    <a:pt x="246" y="302"/>
                  </a:lnTo>
                  <a:lnTo>
                    <a:pt x="245" y="296"/>
                  </a:lnTo>
                  <a:lnTo>
                    <a:pt x="243" y="292"/>
                  </a:lnTo>
                  <a:lnTo>
                    <a:pt x="243" y="289"/>
                  </a:lnTo>
                  <a:lnTo>
                    <a:pt x="239" y="287"/>
                  </a:lnTo>
                  <a:lnTo>
                    <a:pt x="236" y="282"/>
                  </a:lnTo>
                  <a:lnTo>
                    <a:pt x="238" y="279"/>
                  </a:lnTo>
                  <a:lnTo>
                    <a:pt x="236" y="277"/>
                  </a:lnTo>
                  <a:lnTo>
                    <a:pt x="239" y="275"/>
                  </a:lnTo>
                  <a:lnTo>
                    <a:pt x="238" y="273"/>
                  </a:lnTo>
                  <a:lnTo>
                    <a:pt x="236" y="273"/>
                  </a:lnTo>
                  <a:lnTo>
                    <a:pt x="238" y="272"/>
                  </a:lnTo>
                  <a:lnTo>
                    <a:pt x="236" y="268"/>
                  </a:lnTo>
                  <a:lnTo>
                    <a:pt x="234" y="265"/>
                  </a:lnTo>
                  <a:lnTo>
                    <a:pt x="228" y="265"/>
                  </a:lnTo>
                  <a:lnTo>
                    <a:pt x="222" y="260"/>
                  </a:lnTo>
                  <a:lnTo>
                    <a:pt x="219" y="261"/>
                  </a:lnTo>
                  <a:lnTo>
                    <a:pt x="217" y="261"/>
                  </a:lnTo>
                  <a:lnTo>
                    <a:pt x="217" y="256"/>
                  </a:lnTo>
                  <a:lnTo>
                    <a:pt x="221" y="258"/>
                  </a:lnTo>
                  <a:lnTo>
                    <a:pt x="221" y="256"/>
                  </a:lnTo>
                  <a:lnTo>
                    <a:pt x="219" y="255"/>
                  </a:lnTo>
                  <a:lnTo>
                    <a:pt x="221" y="251"/>
                  </a:lnTo>
                  <a:lnTo>
                    <a:pt x="214" y="249"/>
                  </a:lnTo>
                  <a:lnTo>
                    <a:pt x="214" y="246"/>
                  </a:lnTo>
                  <a:lnTo>
                    <a:pt x="210" y="249"/>
                  </a:lnTo>
                  <a:lnTo>
                    <a:pt x="212" y="246"/>
                  </a:lnTo>
                  <a:lnTo>
                    <a:pt x="212" y="243"/>
                  </a:lnTo>
                  <a:lnTo>
                    <a:pt x="216" y="243"/>
                  </a:lnTo>
                  <a:lnTo>
                    <a:pt x="212" y="238"/>
                  </a:lnTo>
                  <a:lnTo>
                    <a:pt x="214" y="236"/>
                  </a:lnTo>
                  <a:lnTo>
                    <a:pt x="217" y="238"/>
                  </a:lnTo>
                  <a:lnTo>
                    <a:pt x="217" y="234"/>
                  </a:lnTo>
                  <a:lnTo>
                    <a:pt x="216" y="232"/>
                  </a:lnTo>
                  <a:lnTo>
                    <a:pt x="214" y="232"/>
                  </a:lnTo>
                  <a:lnTo>
                    <a:pt x="216" y="229"/>
                  </a:lnTo>
                  <a:lnTo>
                    <a:pt x="214" y="227"/>
                  </a:lnTo>
                  <a:lnTo>
                    <a:pt x="212" y="229"/>
                  </a:lnTo>
                  <a:lnTo>
                    <a:pt x="210" y="224"/>
                  </a:lnTo>
                  <a:lnTo>
                    <a:pt x="210" y="215"/>
                  </a:lnTo>
                  <a:lnTo>
                    <a:pt x="204" y="207"/>
                  </a:lnTo>
                  <a:lnTo>
                    <a:pt x="205" y="207"/>
                  </a:lnTo>
                  <a:lnTo>
                    <a:pt x="204" y="205"/>
                  </a:lnTo>
                  <a:lnTo>
                    <a:pt x="205" y="205"/>
                  </a:lnTo>
                  <a:lnTo>
                    <a:pt x="204" y="205"/>
                  </a:lnTo>
                  <a:lnTo>
                    <a:pt x="204" y="207"/>
                  </a:lnTo>
                  <a:lnTo>
                    <a:pt x="199" y="200"/>
                  </a:lnTo>
                  <a:lnTo>
                    <a:pt x="192" y="195"/>
                  </a:lnTo>
                  <a:lnTo>
                    <a:pt x="188" y="190"/>
                  </a:lnTo>
                  <a:lnTo>
                    <a:pt x="183" y="186"/>
                  </a:lnTo>
                  <a:lnTo>
                    <a:pt x="180" y="178"/>
                  </a:lnTo>
                  <a:lnTo>
                    <a:pt x="180" y="176"/>
                  </a:lnTo>
                  <a:lnTo>
                    <a:pt x="175" y="169"/>
                  </a:lnTo>
                  <a:lnTo>
                    <a:pt x="166" y="162"/>
                  </a:lnTo>
                  <a:lnTo>
                    <a:pt x="163" y="159"/>
                  </a:lnTo>
                  <a:lnTo>
                    <a:pt x="158" y="157"/>
                  </a:lnTo>
                  <a:lnTo>
                    <a:pt x="158" y="154"/>
                  </a:lnTo>
                  <a:lnTo>
                    <a:pt x="154" y="149"/>
                  </a:lnTo>
                  <a:lnTo>
                    <a:pt x="147" y="144"/>
                  </a:lnTo>
                  <a:lnTo>
                    <a:pt x="146" y="142"/>
                  </a:lnTo>
                  <a:lnTo>
                    <a:pt x="144" y="133"/>
                  </a:lnTo>
                  <a:lnTo>
                    <a:pt x="139" y="127"/>
                  </a:lnTo>
                  <a:lnTo>
                    <a:pt x="137" y="125"/>
                  </a:lnTo>
                  <a:lnTo>
                    <a:pt x="139" y="120"/>
                  </a:lnTo>
                  <a:lnTo>
                    <a:pt x="140" y="121"/>
                  </a:lnTo>
                  <a:lnTo>
                    <a:pt x="139" y="120"/>
                  </a:lnTo>
                  <a:lnTo>
                    <a:pt x="140" y="120"/>
                  </a:lnTo>
                  <a:lnTo>
                    <a:pt x="140" y="116"/>
                  </a:lnTo>
                  <a:lnTo>
                    <a:pt x="137" y="111"/>
                  </a:lnTo>
                  <a:lnTo>
                    <a:pt x="132" y="108"/>
                  </a:lnTo>
                  <a:lnTo>
                    <a:pt x="134" y="106"/>
                  </a:lnTo>
                  <a:lnTo>
                    <a:pt x="132" y="106"/>
                  </a:lnTo>
                  <a:lnTo>
                    <a:pt x="132" y="104"/>
                  </a:lnTo>
                  <a:lnTo>
                    <a:pt x="132" y="106"/>
                  </a:lnTo>
                  <a:lnTo>
                    <a:pt x="134" y="106"/>
                  </a:lnTo>
                  <a:lnTo>
                    <a:pt x="132" y="108"/>
                  </a:lnTo>
                  <a:lnTo>
                    <a:pt x="123" y="101"/>
                  </a:lnTo>
                  <a:lnTo>
                    <a:pt x="125" y="101"/>
                  </a:lnTo>
                  <a:lnTo>
                    <a:pt x="123" y="99"/>
                  </a:lnTo>
                  <a:lnTo>
                    <a:pt x="123" y="101"/>
                  </a:lnTo>
                  <a:lnTo>
                    <a:pt x="122" y="101"/>
                  </a:lnTo>
                  <a:lnTo>
                    <a:pt x="113" y="96"/>
                  </a:lnTo>
                  <a:lnTo>
                    <a:pt x="111" y="94"/>
                  </a:lnTo>
                  <a:lnTo>
                    <a:pt x="108" y="94"/>
                  </a:lnTo>
                  <a:lnTo>
                    <a:pt x="111" y="96"/>
                  </a:lnTo>
                  <a:lnTo>
                    <a:pt x="111" y="94"/>
                  </a:lnTo>
                  <a:lnTo>
                    <a:pt x="110" y="94"/>
                  </a:lnTo>
                  <a:lnTo>
                    <a:pt x="100" y="91"/>
                  </a:lnTo>
                  <a:lnTo>
                    <a:pt x="101" y="91"/>
                  </a:lnTo>
                  <a:lnTo>
                    <a:pt x="96" y="91"/>
                  </a:lnTo>
                  <a:lnTo>
                    <a:pt x="96" y="86"/>
                  </a:lnTo>
                  <a:lnTo>
                    <a:pt x="93" y="86"/>
                  </a:lnTo>
                  <a:lnTo>
                    <a:pt x="94" y="84"/>
                  </a:lnTo>
                  <a:lnTo>
                    <a:pt x="94" y="86"/>
                  </a:lnTo>
                  <a:lnTo>
                    <a:pt x="91" y="80"/>
                  </a:lnTo>
                  <a:lnTo>
                    <a:pt x="82" y="80"/>
                  </a:lnTo>
                  <a:lnTo>
                    <a:pt x="81" y="84"/>
                  </a:lnTo>
                  <a:lnTo>
                    <a:pt x="74" y="82"/>
                  </a:lnTo>
                  <a:lnTo>
                    <a:pt x="72" y="79"/>
                  </a:lnTo>
                  <a:lnTo>
                    <a:pt x="69" y="80"/>
                  </a:lnTo>
                  <a:lnTo>
                    <a:pt x="72" y="75"/>
                  </a:lnTo>
                  <a:lnTo>
                    <a:pt x="72" y="74"/>
                  </a:lnTo>
                  <a:lnTo>
                    <a:pt x="79" y="68"/>
                  </a:lnTo>
                  <a:lnTo>
                    <a:pt x="88" y="67"/>
                  </a:lnTo>
                  <a:lnTo>
                    <a:pt x="91" y="62"/>
                  </a:lnTo>
                  <a:lnTo>
                    <a:pt x="94" y="55"/>
                  </a:lnTo>
                  <a:lnTo>
                    <a:pt x="96" y="53"/>
                  </a:lnTo>
                  <a:lnTo>
                    <a:pt x="98" y="50"/>
                  </a:lnTo>
                  <a:lnTo>
                    <a:pt x="100" y="50"/>
                  </a:lnTo>
                  <a:lnTo>
                    <a:pt x="106" y="45"/>
                  </a:lnTo>
                  <a:lnTo>
                    <a:pt x="110" y="43"/>
                  </a:lnTo>
                  <a:lnTo>
                    <a:pt x="113" y="46"/>
                  </a:lnTo>
                  <a:lnTo>
                    <a:pt x="118" y="48"/>
                  </a:lnTo>
                  <a:lnTo>
                    <a:pt x="127" y="43"/>
                  </a:lnTo>
                  <a:lnTo>
                    <a:pt x="130" y="51"/>
                  </a:lnTo>
                  <a:lnTo>
                    <a:pt x="135" y="55"/>
                  </a:lnTo>
                  <a:lnTo>
                    <a:pt x="140" y="51"/>
                  </a:lnTo>
                  <a:lnTo>
                    <a:pt x="147" y="53"/>
                  </a:lnTo>
                  <a:lnTo>
                    <a:pt x="158" y="53"/>
                  </a:lnTo>
                  <a:lnTo>
                    <a:pt x="163" y="48"/>
                  </a:lnTo>
                  <a:lnTo>
                    <a:pt x="164" y="43"/>
                  </a:lnTo>
                  <a:lnTo>
                    <a:pt x="158" y="33"/>
                  </a:lnTo>
                  <a:lnTo>
                    <a:pt x="158" y="27"/>
                  </a:lnTo>
                  <a:lnTo>
                    <a:pt x="149" y="24"/>
                  </a:lnTo>
                  <a:lnTo>
                    <a:pt x="147" y="21"/>
                  </a:lnTo>
                  <a:lnTo>
                    <a:pt x="151" y="12"/>
                  </a:lnTo>
                  <a:lnTo>
                    <a:pt x="149" y="10"/>
                  </a:lnTo>
                  <a:lnTo>
                    <a:pt x="149" y="2"/>
                  </a:lnTo>
                  <a:lnTo>
                    <a:pt x="152" y="0"/>
                  </a:lnTo>
                  <a:lnTo>
                    <a:pt x="163" y="4"/>
                  </a:lnTo>
                  <a:lnTo>
                    <a:pt x="164" y="7"/>
                  </a:lnTo>
                  <a:lnTo>
                    <a:pt x="168" y="7"/>
                  </a:lnTo>
                  <a:lnTo>
                    <a:pt x="176" y="12"/>
                  </a:lnTo>
                  <a:lnTo>
                    <a:pt x="178" y="12"/>
                  </a:lnTo>
                  <a:lnTo>
                    <a:pt x="188" y="17"/>
                  </a:lnTo>
                  <a:lnTo>
                    <a:pt x="190" y="1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63" name="Freeform 80"/>
            <p:cNvSpPr>
              <a:spLocks noEditPoints="1"/>
            </p:cNvSpPr>
            <p:nvPr/>
          </p:nvSpPr>
          <p:spPr bwMode="gray">
            <a:xfrm>
              <a:off x="4313774" y="2983235"/>
              <a:ext cx="1118224" cy="946751"/>
            </a:xfrm>
            <a:custGeom>
              <a:avLst/>
              <a:gdLst>
                <a:gd name="T0" fmla="*/ 313 w 613"/>
                <a:gd name="T1" fmla="*/ 480 h 519"/>
                <a:gd name="T2" fmla="*/ 586 w 613"/>
                <a:gd name="T3" fmla="*/ 258 h 519"/>
                <a:gd name="T4" fmla="*/ 558 w 613"/>
                <a:gd name="T5" fmla="*/ 275 h 519"/>
                <a:gd name="T6" fmla="*/ 548 w 613"/>
                <a:gd name="T7" fmla="*/ 312 h 519"/>
                <a:gd name="T8" fmla="*/ 564 w 613"/>
                <a:gd name="T9" fmla="*/ 324 h 519"/>
                <a:gd name="T10" fmla="*/ 553 w 613"/>
                <a:gd name="T11" fmla="*/ 345 h 519"/>
                <a:gd name="T12" fmla="*/ 533 w 613"/>
                <a:gd name="T13" fmla="*/ 365 h 519"/>
                <a:gd name="T14" fmla="*/ 494 w 613"/>
                <a:gd name="T15" fmla="*/ 398 h 519"/>
                <a:gd name="T16" fmla="*/ 466 w 613"/>
                <a:gd name="T17" fmla="*/ 440 h 519"/>
                <a:gd name="T18" fmla="*/ 444 w 613"/>
                <a:gd name="T19" fmla="*/ 475 h 519"/>
                <a:gd name="T20" fmla="*/ 422 w 613"/>
                <a:gd name="T21" fmla="*/ 502 h 519"/>
                <a:gd name="T22" fmla="*/ 398 w 613"/>
                <a:gd name="T23" fmla="*/ 495 h 519"/>
                <a:gd name="T24" fmla="*/ 347 w 613"/>
                <a:gd name="T25" fmla="*/ 510 h 519"/>
                <a:gd name="T26" fmla="*/ 330 w 613"/>
                <a:gd name="T27" fmla="*/ 475 h 519"/>
                <a:gd name="T28" fmla="*/ 311 w 613"/>
                <a:gd name="T29" fmla="*/ 481 h 519"/>
                <a:gd name="T30" fmla="*/ 277 w 613"/>
                <a:gd name="T31" fmla="*/ 451 h 519"/>
                <a:gd name="T32" fmla="*/ 272 w 613"/>
                <a:gd name="T33" fmla="*/ 475 h 519"/>
                <a:gd name="T34" fmla="*/ 220 w 613"/>
                <a:gd name="T35" fmla="*/ 505 h 519"/>
                <a:gd name="T36" fmla="*/ 174 w 613"/>
                <a:gd name="T37" fmla="*/ 495 h 519"/>
                <a:gd name="T38" fmla="*/ 128 w 613"/>
                <a:gd name="T39" fmla="*/ 517 h 519"/>
                <a:gd name="T40" fmla="*/ 130 w 613"/>
                <a:gd name="T41" fmla="*/ 469 h 519"/>
                <a:gd name="T42" fmla="*/ 116 w 613"/>
                <a:gd name="T43" fmla="*/ 428 h 519"/>
                <a:gd name="T44" fmla="*/ 98 w 613"/>
                <a:gd name="T45" fmla="*/ 458 h 519"/>
                <a:gd name="T46" fmla="*/ 60 w 613"/>
                <a:gd name="T47" fmla="*/ 451 h 519"/>
                <a:gd name="T48" fmla="*/ 7 w 613"/>
                <a:gd name="T49" fmla="*/ 451 h 519"/>
                <a:gd name="T50" fmla="*/ 38 w 613"/>
                <a:gd name="T51" fmla="*/ 428 h 519"/>
                <a:gd name="T52" fmla="*/ 46 w 613"/>
                <a:gd name="T53" fmla="*/ 399 h 519"/>
                <a:gd name="T54" fmla="*/ 39 w 613"/>
                <a:gd name="T55" fmla="*/ 346 h 519"/>
                <a:gd name="T56" fmla="*/ 33 w 613"/>
                <a:gd name="T57" fmla="*/ 323 h 519"/>
                <a:gd name="T58" fmla="*/ 21 w 613"/>
                <a:gd name="T59" fmla="*/ 300 h 519"/>
                <a:gd name="T60" fmla="*/ 39 w 613"/>
                <a:gd name="T61" fmla="*/ 278 h 519"/>
                <a:gd name="T62" fmla="*/ 68 w 613"/>
                <a:gd name="T63" fmla="*/ 261 h 519"/>
                <a:gd name="T64" fmla="*/ 103 w 613"/>
                <a:gd name="T65" fmla="*/ 237 h 519"/>
                <a:gd name="T66" fmla="*/ 108 w 613"/>
                <a:gd name="T67" fmla="*/ 213 h 519"/>
                <a:gd name="T68" fmla="*/ 140 w 613"/>
                <a:gd name="T69" fmla="*/ 193 h 519"/>
                <a:gd name="T70" fmla="*/ 173 w 613"/>
                <a:gd name="T71" fmla="*/ 181 h 519"/>
                <a:gd name="T72" fmla="*/ 193 w 613"/>
                <a:gd name="T73" fmla="*/ 179 h 519"/>
                <a:gd name="T74" fmla="*/ 224 w 613"/>
                <a:gd name="T75" fmla="*/ 177 h 519"/>
                <a:gd name="T76" fmla="*/ 258 w 613"/>
                <a:gd name="T77" fmla="*/ 160 h 519"/>
                <a:gd name="T78" fmla="*/ 299 w 613"/>
                <a:gd name="T79" fmla="*/ 155 h 519"/>
                <a:gd name="T80" fmla="*/ 319 w 613"/>
                <a:gd name="T81" fmla="*/ 118 h 519"/>
                <a:gd name="T82" fmla="*/ 319 w 613"/>
                <a:gd name="T83" fmla="*/ 78 h 519"/>
                <a:gd name="T84" fmla="*/ 335 w 613"/>
                <a:gd name="T85" fmla="*/ 54 h 519"/>
                <a:gd name="T86" fmla="*/ 371 w 613"/>
                <a:gd name="T87" fmla="*/ 19 h 519"/>
                <a:gd name="T88" fmla="*/ 405 w 613"/>
                <a:gd name="T89" fmla="*/ 12 h 519"/>
                <a:gd name="T90" fmla="*/ 420 w 613"/>
                <a:gd name="T91" fmla="*/ 31 h 519"/>
                <a:gd name="T92" fmla="*/ 447 w 613"/>
                <a:gd name="T93" fmla="*/ 27 h 519"/>
                <a:gd name="T94" fmla="*/ 476 w 613"/>
                <a:gd name="T95" fmla="*/ 10 h 519"/>
                <a:gd name="T96" fmla="*/ 509 w 613"/>
                <a:gd name="T97" fmla="*/ 5 h 519"/>
                <a:gd name="T98" fmla="*/ 528 w 613"/>
                <a:gd name="T99" fmla="*/ 42 h 519"/>
                <a:gd name="T100" fmla="*/ 500 w 613"/>
                <a:gd name="T101" fmla="*/ 58 h 519"/>
                <a:gd name="T102" fmla="*/ 500 w 613"/>
                <a:gd name="T103" fmla="*/ 90 h 519"/>
                <a:gd name="T104" fmla="*/ 529 w 613"/>
                <a:gd name="T105" fmla="*/ 111 h 519"/>
                <a:gd name="T106" fmla="*/ 545 w 613"/>
                <a:gd name="T107" fmla="*/ 118 h 519"/>
                <a:gd name="T108" fmla="*/ 548 w 613"/>
                <a:gd name="T109" fmla="*/ 155 h 519"/>
                <a:gd name="T110" fmla="*/ 576 w 613"/>
                <a:gd name="T111" fmla="*/ 200 h 519"/>
                <a:gd name="T112" fmla="*/ 608 w 613"/>
                <a:gd name="T113" fmla="*/ 22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3" h="519">
                  <a:moveTo>
                    <a:pt x="318" y="490"/>
                  </a:moveTo>
                  <a:lnTo>
                    <a:pt x="316" y="490"/>
                  </a:lnTo>
                  <a:lnTo>
                    <a:pt x="316" y="487"/>
                  </a:lnTo>
                  <a:lnTo>
                    <a:pt x="319" y="483"/>
                  </a:lnTo>
                  <a:lnTo>
                    <a:pt x="321" y="487"/>
                  </a:lnTo>
                  <a:lnTo>
                    <a:pt x="318" y="490"/>
                  </a:lnTo>
                  <a:close/>
                  <a:moveTo>
                    <a:pt x="311" y="480"/>
                  </a:moveTo>
                  <a:lnTo>
                    <a:pt x="313" y="480"/>
                  </a:lnTo>
                  <a:lnTo>
                    <a:pt x="313" y="483"/>
                  </a:lnTo>
                  <a:lnTo>
                    <a:pt x="311" y="483"/>
                  </a:lnTo>
                  <a:lnTo>
                    <a:pt x="311" y="480"/>
                  </a:lnTo>
                  <a:close/>
                  <a:moveTo>
                    <a:pt x="603" y="251"/>
                  </a:moveTo>
                  <a:lnTo>
                    <a:pt x="598" y="254"/>
                  </a:lnTo>
                  <a:lnTo>
                    <a:pt x="593" y="254"/>
                  </a:lnTo>
                  <a:lnTo>
                    <a:pt x="591" y="254"/>
                  </a:lnTo>
                  <a:lnTo>
                    <a:pt x="586" y="258"/>
                  </a:lnTo>
                  <a:lnTo>
                    <a:pt x="581" y="261"/>
                  </a:lnTo>
                  <a:lnTo>
                    <a:pt x="579" y="261"/>
                  </a:lnTo>
                  <a:lnTo>
                    <a:pt x="570" y="263"/>
                  </a:lnTo>
                  <a:lnTo>
                    <a:pt x="565" y="266"/>
                  </a:lnTo>
                  <a:lnTo>
                    <a:pt x="562" y="265"/>
                  </a:lnTo>
                  <a:lnTo>
                    <a:pt x="562" y="266"/>
                  </a:lnTo>
                  <a:lnTo>
                    <a:pt x="558" y="273"/>
                  </a:lnTo>
                  <a:lnTo>
                    <a:pt x="558" y="275"/>
                  </a:lnTo>
                  <a:lnTo>
                    <a:pt x="557" y="283"/>
                  </a:lnTo>
                  <a:lnTo>
                    <a:pt x="553" y="292"/>
                  </a:lnTo>
                  <a:lnTo>
                    <a:pt x="555" y="294"/>
                  </a:lnTo>
                  <a:lnTo>
                    <a:pt x="553" y="294"/>
                  </a:lnTo>
                  <a:lnTo>
                    <a:pt x="552" y="304"/>
                  </a:lnTo>
                  <a:lnTo>
                    <a:pt x="548" y="311"/>
                  </a:lnTo>
                  <a:lnTo>
                    <a:pt x="550" y="314"/>
                  </a:lnTo>
                  <a:lnTo>
                    <a:pt x="548" y="312"/>
                  </a:lnTo>
                  <a:lnTo>
                    <a:pt x="550" y="321"/>
                  </a:lnTo>
                  <a:lnTo>
                    <a:pt x="557" y="321"/>
                  </a:lnTo>
                  <a:lnTo>
                    <a:pt x="560" y="323"/>
                  </a:lnTo>
                  <a:lnTo>
                    <a:pt x="560" y="321"/>
                  </a:lnTo>
                  <a:lnTo>
                    <a:pt x="560" y="323"/>
                  </a:lnTo>
                  <a:lnTo>
                    <a:pt x="562" y="321"/>
                  </a:lnTo>
                  <a:lnTo>
                    <a:pt x="562" y="324"/>
                  </a:lnTo>
                  <a:lnTo>
                    <a:pt x="564" y="324"/>
                  </a:lnTo>
                  <a:lnTo>
                    <a:pt x="562" y="326"/>
                  </a:lnTo>
                  <a:lnTo>
                    <a:pt x="565" y="328"/>
                  </a:lnTo>
                  <a:lnTo>
                    <a:pt x="564" y="331"/>
                  </a:lnTo>
                  <a:lnTo>
                    <a:pt x="560" y="331"/>
                  </a:lnTo>
                  <a:lnTo>
                    <a:pt x="560" y="329"/>
                  </a:lnTo>
                  <a:lnTo>
                    <a:pt x="557" y="335"/>
                  </a:lnTo>
                  <a:lnTo>
                    <a:pt x="560" y="341"/>
                  </a:lnTo>
                  <a:lnTo>
                    <a:pt x="553" y="345"/>
                  </a:lnTo>
                  <a:lnTo>
                    <a:pt x="550" y="343"/>
                  </a:lnTo>
                  <a:lnTo>
                    <a:pt x="550" y="348"/>
                  </a:lnTo>
                  <a:lnTo>
                    <a:pt x="548" y="352"/>
                  </a:lnTo>
                  <a:lnTo>
                    <a:pt x="546" y="362"/>
                  </a:lnTo>
                  <a:lnTo>
                    <a:pt x="543" y="362"/>
                  </a:lnTo>
                  <a:lnTo>
                    <a:pt x="541" y="358"/>
                  </a:lnTo>
                  <a:lnTo>
                    <a:pt x="541" y="360"/>
                  </a:lnTo>
                  <a:lnTo>
                    <a:pt x="533" y="365"/>
                  </a:lnTo>
                  <a:lnTo>
                    <a:pt x="528" y="369"/>
                  </a:lnTo>
                  <a:lnTo>
                    <a:pt x="524" y="372"/>
                  </a:lnTo>
                  <a:lnTo>
                    <a:pt x="516" y="377"/>
                  </a:lnTo>
                  <a:lnTo>
                    <a:pt x="511" y="384"/>
                  </a:lnTo>
                  <a:lnTo>
                    <a:pt x="502" y="389"/>
                  </a:lnTo>
                  <a:lnTo>
                    <a:pt x="500" y="389"/>
                  </a:lnTo>
                  <a:lnTo>
                    <a:pt x="499" y="394"/>
                  </a:lnTo>
                  <a:lnTo>
                    <a:pt x="494" y="398"/>
                  </a:lnTo>
                  <a:lnTo>
                    <a:pt x="487" y="405"/>
                  </a:lnTo>
                  <a:lnTo>
                    <a:pt x="487" y="415"/>
                  </a:lnTo>
                  <a:lnTo>
                    <a:pt x="483" y="420"/>
                  </a:lnTo>
                  <a:lnTo>
                    <a:pt x="478" y="423"/>
                  </a:lnTo>
                  <a:lnTo>
                    <a:pt x="473" y="422"/>
                  </a:lnTo>
                  <a:lnTo>
                    <a:pt x="471" y="430"/>
                  </a:lnTo>
                  <a:lnTo>
                    <a:pt x="465" y="432"/>
                  </a:lnTo>
                  <a:lnTo>
                    <a:pt x="466" y="440"/>
                  </a:lnTo>
                  <a:lnTo>
                    <a:pt x="459" y="439"/>
                  </a:lnTo>
                  <a:lnTo>
                    <a:pt x="456" y="446"/>
                  </a:lnTo>
                  <a:lnTo>
                    <a:pt x="454" y="446"/>
                  </a:lnTo>
                  <a:lnTo>
                    <a:pt x="458" y="447"/>
                  </a:lnTo>
                  <a:lnTo>
                    <a:pt x="451" y="456"/>
                  </a:lnTo>
                  <a:lnTo>
                    <a:pt x="458" y="463"/>
                  </a:lnTo>
                  <a:lnTo>
                    <a:pt x="446" y="471"/>
                  </a:lnTo>
                  <a:lnTo>
                    <a:pt x="444" y="475"/>
                  </a:lnTo>
                  <a:lnTo>
                    <a:pt x="446" y="480"/>
                  </a:lnTo>
                  <a:lnTo>
                    <a:pt x="437" y="487"/>
                  </a:lnTo>
                  <a:lnTo>
                    <a:pt x="436" y="493"/>
                  </a:lnTo>
                  <a:lnTo>
                    <a:pt x="434" y="497"/>
                  </a:lnTo>
                  <a:lnTo>
                    <a:pt x="436" y="500"/>
                  </a:lnTo>
                  <a:lnTo>
                    <a:pt x="432" y="509"/>
                  </a:lnTo>
                  <a:lnTo>
                    <a:pt x="427" y="507"/>
                  </a:lnTo>
                  <a:lnTo>
                    <a:pt x="422" y="502"/>
                  </a:lnTo>
                  <a:lnTo>
                    <a:pt x="420" y="498"/>
                  </a:lnTo>
                  <a:lnTo>
                    <a:pt x="413" y="502"/>
                  </a:lnTo>
                  <a:lnTo>
                    <a:pt x="408" y="500"/>
                  </a:lnTo>
                  <a:lnTo>
                    <a:pt x="403" y="497"/>
                  </a:lnTo>
                  <a:lnTo>
                    <a:pt x="400" y="493"/>
                  </a:lnTo>
                  <a:lnTo>
                    <a:pt x="403" y="488"/>
                  </a:lnTo>
                  <a:lnTo>
                    <a:pt x="398" y="492"/>
                  </a:lnTo>
                  <a:lnTo>
                    <a:pt x="398" y="495"/>
                  </a:lnTo>
                  <a:lnTo>
                    <a:pt x="388" y="498"/>
                  </a:lnTo>
                  <a:lnTo>
                    <a:pt x="383" y="500"/>
                  </a:lnTo>
                  <a:lnTo>
                    <a:pt x="374" y="507"/>
                  </a:lnTo>
                  <a:lnTo>
                    <a:pt x="371" y="509"/>
                  </a:lnTo>
                  <a:lnTo>
                    <a:pt x="367" y="509"/>
                  </a:lnTo>
                  <a:lnTo>
                    <a:pt x="359" y="510"/>
                  </a:lnTo>
                  <a:lnTo>
                    <a:pt x="354" y="510"/>
                  </a:lnTo>
                  <a:lnTo>
                    <a:pt x="347" y="510"/>
                  </a:lnTo>
                  <a:lnTo>
                    <a:pt x="342" y="507"/>
                  </a:lnTo>
                  <a:lnTo>
                    <a:pt x="345" y="502"/>
                  </a:lnTo>
                  <a:lnTo>
                    <a:pt x="348" y="493"/>
                  </a:lnTo>
                  <a:lnTo>
                    <a:pt x="347" y="485"/>
                  </a:lnTo>
                  <a:lnTo>
                    <a:pt x="345" y="476"/>
                  </a:lnTo>
                  <a:lnTo>
                    <a:pt x="345" y="475"/>
                  </a:lnTo>
                  <a:lnTo>
                    <a:pt x="337" y="473"/>
                  </a:lnTo>
                  <a:lnTo>
                    <a:pt x="330" y="475"/>
                  </a:lnTo>
                  <a:lnTo>
                    <a:pt x="326" y="476"/>
                  </a:lnTo>
                  <a:lnTo>
                    <a:pt x="325" y="481"/>
                  </a:lnTo>
                  <a:lnTo>
                    <a:pt x="319" y="483"/>
                  </a:lnTo>
                  <a:lnTo>
                    <a:pt x="316" y="487"/>
                  </a:lnTo>
                  <a:lnTo>
                    <a:pt x="313" y="485"/>
                  </a:lnTo>
                  <a:lnTo>
                    <a:pt x="313" y="481"/>
                  </a:lnTo>
                  <a:lnTo>
                    <a:pt x="311" y="480"/>
                  </a:lnTo>
                  <a:lnTo>
                    <a:pt x="311" y="481"/>
                  </a:lnTo>
                  <a:lnTo>
                    <a:pt x="313" y="488"/>
                  </a:lnTo>
                  <a:lnTo>
                    <a:pt x="307" y="480"/>
                  </a:lnTo>
                  <a:lnTo>
                    <a:pt x="302" y="475"/>
                  </a:lnTo>
                  <a:lnTo>
                    <a:pt x="296" y="468"/>
                  </a:lnTo>
                  <a:lnTo>
                    <a:pt x="294" y="464"/>
                  </a:lnTo>
                  <a:lnTo>
                    <a:pt x="290" y="463"/>
                  </a:lnTo>
                  <a:lnTo>
                    <a:pt x="284" y="458"/>
                  </a:lnTo>
                  <a:lnTo>
                    <a:pt x="277" y="451"/>
                  </a:lnTo>
                  <a:lnTo>
                    <a:pt x="273" y="458"/>
                  </a:lnTo>
                  <a:lnTo>
                    <a:pt x="272" y="459"/>
                  </a:lnTo>
                  <a:lnTo>
                    <a:pt x="270" y="459"/>
                  </a:lnTo>
                  <a:lnTo>
                    <a:pt x="265" y="468"/>
                  </a:lnTo>
                  <a:lnTo>
                    <a:pt x="267" y="471"/>
                  </a:lnTo>
                  <a:lnTo>
                    <a:pt x="272" y="473"/>
                  </a:lnTo>
                  <a:lnTo>
                    <a:pt x="277" y="469"/>
                  </a:lnTo>
                  <a:lnTo>
                    <a:pt x="272" y="475"/>
                  </a:lnTo>
                  <a:lnTo>
                    <a:pt x="268" y="478"/>
                  </a:lnTo>
                  <a:lnTo>
                    <a:pt x="261" y="483"/>
                  </a:lnTo>
                  <a:lnTo>
                    <a:pt x="260" y="485"/>
                  </a:lnTo>
                  <a:lnTo>
                    <a:pt x="249" y="490"/>
                  </a:lnTo>
                  <a:lnTo>
                    <a:pt x="241" y="495"/>
                  </a:lnTo>
                  <a:lnTo>
                    <a:pt x="234" y="497"/>
                  </a:lnTo>
                  <a:lnTo>
                    <a:pt x="229" y="502"/>
                  </a:lnTo>
                  <a:lnTo>
                    <a:pt x="220" y="505"/>
                  </a:lnTo>
                  <a:lnTo>
                    <a:pt x="220" y="507"/>
                  </a:lnTo>
                  <a:lnTo>
                    <a:pt x="217" y="507"/>
                  </a:lnTo>
                  <a:lnTo>
                    <a:pt x="210" y="504"/>
                  </a:lnTo>
                  <a:lnTo>
                    <a:pt x="205" y="497"/>
                  </a:lnTo>
                  <a:lnTo>
                    <a:pt x="202" y="495"/>
                  </a:lnTo>
                  <a:lnTo>
                    <a:pt x="193" y="492"/>
                  </a:lnTo>
                  <a:lnTo>
                    <a:pt x="183" y="492"/>
                  </a:lnTo>
                  <a:lnTo>
                    <a:pt x="174" y="495"/>
                  </a:lnTo>
                  <a:lnTo>
                    <a:pt x="169" y="498"/>
                  </a:lnTo>
                  <a:lnTo>
                    <a:pt x="162" y="502"/>
                  </a:lnTo>
                  <a:lnTo>
                    <a:pt x="156" y="507"/>
                  </a:lnTo>
                  <a:lnTo>
                    <a:pt x="152" y="509"/>
                  </a:lnTo>
                  <a:lnTo>
                    <a:pt x="147" y="514"/>
                  </a:lnTo>
                  <a:lnTo>
                    <a:pt x="140" y="519"/>
                  </a:lnTo>
                  <a:lnTo>
                    <a:pt x="135" y="519"/>
                  </a:lnTo>
                  <a:lnTo>
                    <a:pt x="128" y="517"/>
                  </a:lnTo>
                  <a:lnTo>
                    <a:pt x="125" y="514"/>
                  </a:lnTo>
                  <a:lnTo>
                    <a:pt x="128" y="509"/>
                  </a:lnTo>
                  <a:lnTo>
                    <a:pt x="130" y="500"/>
                  </a:lnTo>
                  <a:lnTo>
                    <a:pt x="130" y="492"/>
                  </a:lnTo>
                  <a:lnTo>
                    <a:pt x="130" y="488"/>
                  </a:lnTo>
                  <a:lnTo>
                    <a:pt x="128" y="480"/>
                  </a:lnTo>
                  <a:lnTo>
                    <a:pt x="128" y="478"/>
                  </a:lnTo>
                  <a:lnTo>
                    <a:pt x="130" y="469"/>
                  </a:lnTo>
                  <a:lnTo>
                    <a:pt x="130" y="466"/>
                  </a:lnTo>
                  <a:lnTo>
                    <a:pt x="132" y="459"/>
                  </a:lnTo>
                  <a:lnTo>
                    <a:pt x="130" y="452"/>
                  </a:lnTo>
                  <a:lnTo>
                    <a:pt x="125" y="446"/>
                  </a:lnTo>
                  <a:lnTo>
                    <a:pt x="123" y="440"/>
                  </a:lnTo>
                  <a:lnTo>
                    <a:pt x="120" y="439"/>
                  </a:lnTo>
                  <a:lnTo>
                    <a:pt x="121" y="434"/>
                  </a:lnTo>
                  <a:lnTo>
                    <a:pt x="116" y="428"/>
                  </a:lnTo>
                  <a:lnTo>
                    <a:pt x="118" y="435"/>
                  </a:lnTo>
                  <a:lnTo>
                    <a:pt x="113" y="442"/>
                  </a:lnTo>
                  <a:lnTo>
                    <a:pt x="115" y="444"/>
                  </a:lnTo>
                  <a:lnTo>
                    <a:pt x="118" y="442"/>
                  </a:lnTo>
                  <a:lnTo>
                    <a:pt x="115" y="447"/>
                  </a:lnTo>
                  <a:lnTo>
                    <a:pt x="108" y="449"/>
                  </a:lnTo>
                  <a:lnTo>
                    <a:pt x="99" y="454"/>
                  </a:lnTo>
                  <a:lnTo>
                    <a:pt x="98" y="458"/>
                  </a:lnTo>
                  <a:lnTo>
                    <a:pt x="96" y="452"/>
                  </a:lnTo>
                  <a:lnTo>
                    <a:pt x="91" y="447"/>
                  </a:lnTo>
                  <a:lnTo>
                    <a:pt x="84" y="444"/>
                  </a:lnTo>
                  <a:lnTo>
                    <a:pt x="86" y="439"/>
                  </a:lnTo>
                  <a:lnTo>
                    <a:pt x="79" y="444"/>
                  </a:lnTo>
                  <a:lnTo>
                    <a:pt x="74" y="444"/>
                  </a:lnTo>
                  <a:lnTo>
                    <a:pt x="68" y="446"/>
                  </a:lnTo>
                  <a:lnTo>
                    <a:pt x="60" y="451"/>
                  </a:lnTo>
                  <a:lnTo>
                    <a:pt x="55" y="452"/>
                  </a:lnTo>
                  <a:lnTo>
                    <a:pt x="48" y="458"/>
                  </a:lnTo>
                  <a:lnTo>
                    <a:pt x="39" y="459"/>
                  </a:lnTo>
                  <a:lnTo>
                    <a:pt x="31" y="463"/>
                  </a:lnTo>
                  <a:lnTo>
                    <a:pt x="22" y="459"/>
                  </a:lnTo>
                  <a:lnTo>
                    <a:pt x="16" y="454"/>
                  </a:lnTo>
                  <a:lnTo>
                    <a:pt x="12" y="452"/>
                  </a:lnTo>
                  <a:lnTo>
                    <a:pt x="7" y="451"/>
                  </a:lnTo>
                  <a:lnTo>
                    <a:pt x="0" y="452"/>
                  </a:lnTo>
                  <a:lnTo>
                    <a:pt x="4" y="447"/>
                  </a:lnTo>
                  <a:lnTo>
                    <a:pt x="7" y="444"/>
                  </a:lnTo>
                  <a:lnTo>
                    <a:pt x="16" y="442"/>
                  </a:lnTo>
                  <a:lnTo>
                    <a:pt x="19" y="439"/>
                  </a:lnTo>
                  <a:lnTo>
                    <a:pt x="29" y="437"/>
                  </a:lnTo>
                  <a:lnTo>
                    <a:pt x="34" y="428"/>
                  </a:lnTo>
                  <a:lnTo>
                    <a:pt x="38" y="428"/>
                  </a:lnTo>
                  <a:lnTo>
                    <a:pt x="45" y="427"/>
                  </a:lnTo>
                  <a:lnTo>
                    <a:pt x="48" y="425"/>
                  </a:lnTo>
                  <a:lnTo>
                    <a:pt x="53" y="418"/>
                  </a:lnTo>
                  <a:lnTo>
                    <a:pt x="53" y="415"/>
                  </a:lnTo>
                  <a:lnTo>
                    <a:pt x="50" y="415"/>
                  </a:lnTo>
                  <a:lnTo>
                    <a:pt x="46" y="413"/>
                  </a:lnTo>
                  <a:lnTo>
                    <a:pt x="50" y="406"/>
                  </a:lnTo>
                  <a:lnTo>
                    <a:pt x="46" y="399"/>
                  </a:lnTo>
                  <a:lnTo>
                    <a:pt x="45" y="389"/>
                  </a:lnTo>
                  <a:lnTo>
                    <a:pt x="43" y="381"/>
                  </a:lnTo>
                  <a:lnTo>
                    <a:pt x="43" y="376"/>
                  </a:lnTo>
                  <a:lnTo>
                    <a:pt x="39" y="367"/>
                  </a:lnTo>
                  <a:lnTo>
                    <a:pt x="36" y="364"/>
                  </a:lnTo>
                  <a:lnTo>
                    <a:pt x="41" y="357"/>
                  </a:lnTo>
                  <a:lnTo>
                    <a:pt x="43" y="353"/>
                  </a:lnTo>
                  <a:lnTo>
                    <a:pt x="39" y="346"/>
                  </a:lnTo>
                  <a:lnTo>
                    <a:pt x="39" y="341"/>
                  </a:lnTo>
                  <a:lnTo>
                    <a:pt x="43" y="340"/>
                  </a:lnTo>
                  <a:lnTo>
                    <a:pt x="43" y="336"/>
                  </a:lnTo>
                  <a:lnTo>
                    <a:pt x="39" y="336"/>
                  </a:lnTo>
                  <a:lnTo>
                    <a:pt x="39" y="333"/>
                  </a:lnTo>
                  <a:lnTo>
                    <a:pt x="34" y="329"/>
                  </a:lnTo>
                  <a:lnTo>
                    <a:pt x="31" y="328"/>
                  </a:lnTo>
                  <a:lnTo>
                    <a:pt x="33" y="323"/>
                  </a:lnTo>
                  <a:lnTo>
                    <a:pt x="29" y="319"/>
                  </a:lnTo>
                  <a:lnTo>
                    <a:pt x="31" y="316"/>
                  </a:lnTo>
                  <a:lnTo>
                    <a:pt x="34" y="307"/>
                  </a:lnTo>
                  <a:lnTo>
                    <a:pt x="34" y="299"/>
                  </a:lnTo>
                  <a:lnTo>
                    <a:pt x="31" y="295"/>
                  </a:lnTo>
                  <a:lnTo>
                    <a:pt x="29" y="295"/>
                  </a:lnTo>
                  <a:lnTo>
                    <a:pt x="26" y="299"/>
                  </a:lnTo>
                  <a:lnTo>
                    <a:pt x="21" y="300"/>
                  </a:lnTo>
                  <a:lnTo>
                    <a:pt x="19" y="295"/>
                  </a:lnTo>
                  <a:lnTo>
                    <a:pt x="16" y="295"/>
                  </a:lnTo>
                  <a:lnTo>
                    <a:pt x="16" y="290"/>
                  </a:lnTo>
                  <a:lnTo>
                    <a:pt x="22" y="285"/>
                  </a:lnTo>
                  <a:lnTo>
                    <a:pt x="28" y="283"/>
                  </a:lnTo>
                  <a:lnTo>
                    <a:pt x="31" y="278"/>
                  </a:lnTo>
                  <a:lnTo>
                    <a:pt x="34" y="282"/>
                  </a:lnTo>
                  <a:lnTo>
                    <a:pt x="39" y="278"/>
                  </a:lnTo>
                  <a:lnTo>
                    <a:pt x="41" y="282"/>
                  </a:lnTo>
                  <a:lnTo>
                    <a:pt x="46" y="280"/>
                  </a:lnTo>
                  <a:lnTo>
                    <a:pt x="46" y="276"/>
                  </a:lnTo>
                  <a:lnTo>
                    <a:pt x="50" y="270"/>
                  </a:lnTo>
                  <a:lnTo>
                    <a:pt x="51" y="266"/>
                  </a:lnTo>
                  <a:lnTo>
                    <a:pt x="57" y="266"/>
                  </a:lnTo>
                  <a:lnTo>
                    <a:pt x="60" y="265"/>
                  </a:lnTo>
                  <a:lnTo>
                    <a:pt x="68" y="261"/>
                  </a:lnTo>
                  <a:lnTo>
                    <a:pt x="74" y="254"/>
                  </a:lnTo>
                  <a:lnTo>
                    <a:pt x="75" y="253"/>
                  </a:lnTo>
                  <a:lnTo>
                    <a:pt x="79" y="247"/>
                  </a:lnTo>
                  <a:lnTo>
                    <a:pt x="80" y="247"/>
                  </a:lnTo>
                  <a:lnTo>
                    <a:pt x="82" y="244"/>
                  </a:lnTo>
                  <a:lnTo>
                    <a:pt x="92" y="242"/>
                  </a:lnTo>
                  <a:lnTo>
                    <a:pt x="101" y="239"/>
                  </a:lnTo>
                  <a:lnTo>
                    <a:pt x="103" y="237"/>
                  </a:lnTo>
                  <a:lnTo>
                    <a:pt x="99" y="234"/>
                  </a:lnTo>
                  <a:lnTo>
                    <a:pt x="101" y="232"/>
                  </a:lnTo>
                  <a:lnTo>
                    <a:pt x="99" y="227"/>
                  </a:lnTo>
                  <a:lnTo>
                    <a:pt x="101" y="224"/>
                  </a:lnTo>
                  <a:lnTo>
                    <a:pt x="104" y="224"/>
                  </a:lnTo>
                  <a:lnTo>
                    <a:pt x="108" y="218"/>
                  </a:lnTo>
                  <a:lnTo>
                    <a:pt x="108" y="217"/>
                  </a:lnTo>
                  <a:lnTo>
                    <a:pt x="108" y="213"/>
                  </a:lnTo>
                  <a:lnTo>
                    <a:pt x="116" y="208"/>
                  </a:lnTo>
                  <a:lnTo>
                    <a:pt x="120" y="206"/>
                  </a:lnTo>
                  <a:lnTo>
                    <a:pt x="121" y="205"/>
                  </a:lnTo>
                  <a:lnTo>
                    <a:pt x="127" y="203"/>
                  </a:lnTo>
                  <a:lnTo>
                    <a:pt x="133" y="205"/>
                  </a:lnTo>
                  <a:lnTo>
                    <a:pt x="138" y="198"/>
                  </a:lnTo>
                  <a:lnTo>
                    <a:pt x="142" y="200"/>
                  </a:lnTo>
                  <a:lnTo>
                    <a:pt x="140" y="193"/>
                  </a:lnTo>
                  <a:lnTo>
                    <a:pt x="142" y="188"/>
                  </a:lnTo>
                  <a:lnTo>
                    <a:pt x="147" y="193"/>
                  </a:lnTo>
                  <a:lnTo>
                    <a:pt x="156" y="191"/>
                  </a:lnTo>
                  <a:lnTo>
                    <a:pt x="157" y="189"/>
                  </a:lnTo>
                  <a:lnTo>
                    <a:pt x="156" y="179"/>
                  </a:lnTo>
                  <a:lnTo>
                    <a:pt x="162" y="179"/>
                  </a:lnTo>
                  <a:lnTo>
                    <a:pt x="168" y="181"/>
                  </a:lnTo>
                  <a:lnTo>
                    <a:pt x="173" y="181"/>
                  </a:lnTo>
                  <a:lnTo>
                    <a:pt x="171" y="177"/>
                  </a:lnTo>
                  <a:lnTo>
                    <a:pt x="173" y="172"/>
                  </a:lnTo>
                  <a:lnTo>
                    <a:pt x="178" y="167"/>
                  </a:lnTo>
                  <a:lnTo>
                    <a:pt x="183" y="171"/>
                  </a:lnTo>
                  <a:lnTo>
                    <a:pt x="188" y="177"/>
                  </a:lnTo>
                  <a:lnTo>
                    <a:pt x="188" y="183"/>
                  </a:lnTo>
                  <a:lnTo>
                    <a:pt x="190" y="183"/>
                  </a:lnTo>
                  <a:lnTo>
                    <a:pt x="193" y="179"/>
                  </a:lnTo>
                  <a:lnTo>
                    <a:pt x="195" y="181"/>
                  </a:lnTo>
                  <a:lnTo>
                    <a:pt x="198" y="179"/>
                  </a:lnTo>
                  <a:lnTo>
                    <a:pt x="205" y="176"/>
                  </a:lnTo>
                  <a:lnTo>
                    <a:pt x="210" y="183"/>
                  </a:lnTo>
                  <a:lnTo>
                    <a:pt x="212" y="181"/>
                  </a:lnTo>
                  <a:lnTo>
                    <a:pt x="212" y="177"/>
                  </a:lnTo>
                  <a:lnTo>
                    <a:pt x="217" y="177"/>
                  </a:lnTo>
                  <a:lnTo>
                    <a:pt x="224" y="177"/>
                  </a:lnTo>
                  <a:lnTo>
                    <a:pt x="226" y="174"/>
                  </a:lnTo>
                  <a:lnTo>
                    <a:pt x="236" y="172"/>
                  </a:lnTo>
                  <a:lnTo>
                    <a:pt x="238" y="169"/>
                  </a:lnTo>
                  <a:lnTo>
                    <a:pt x="243" y="169"/>
                  </a:lnTo>
                  <a:lnTo>
                    <a:pt x="241" y="164"/>
                  </a:lnTo>
                  <a:lnTo>
                    <a:pt x="243" y="162"/>
                  </a:lnTo>
                  <a:lnTo>
                    <a:pt x="253" y="164"/>
                  </a:lnTo>
                  <a:lnTo>
                    <a:pt x="258" y="160"/>
                  </a:lnTo>
                  <a:lnTo>
                    <a:pt x="260" y="159"/>
                  </a:lnTo>
                  <a:lnTo>
                    <a:pt x="268" y="155"/>
                  </a:lnTo>
                  <a:lnTo>
                    <a:pt x="273" y="153"/>
                  </a:lnTo>
                  <a:lnTo>
                    <a:pt x="282" y="153"/>
                  </a:lnTo>
                  <a:lnTo>
                    <a:pt x="289" y="148"/>
                  </a:lnTo>
                  <a:lnTo>
                    <a:pt x="296" y="150"/>
                  </a:lnTo>
                  <a:lnTo>
                    <a:pt x="297" y="155"/>
                  </a:lnTo>
                  <a:lnTo>
                    <a:pt x="299" y="155"/>
                  </a:lnTo>
                  <a:lnTo>
                    <a:pt x="304" y="145"/>
                  </a:lnTo>
                  <a:lnTo>
                    <a:pt x="304" y="142"/>
                  </a:lnTo>
                  <a:lnTo>
                    <a:pt x="299" y="136"/>
                  </a:lnTo>
                  <a:lnTo>
                    <a:pt x="299" y="131"/>
                  </a:lnTo>
                  <a:lnTo>
                    <a:pt x="304" y="128"/>
                  </a:lnTo>
                  <a:lnTo>
                    <a:pt x="307" y="123"/>
                  </a:lnTo>
                  <a:lnTo>
                    <a:pt x="314" y="121"/>
                  </a:lnTo>
                  <a:lnTo>
                    <a:pt x="319" y="118"/>
                  </a:lnTo>
                  <a:lnTo>
                    <a:pt x="323" y="113"/>
                  </a:lnTo>
                  <a:lnTo>
                    <a:pt x="321" y="109"/>
                  </a:lnTo>
                  <a:lnTo>
                    <a:pt x="326" y="102"/>
                  </a:lnTo>
                  <a:lnTo>
                    <a:pt x="323" y="101"/>
                  </a:lnTo>
                  <a:lnTo>
                    <a:pt x="325" y="94"/>
                  </a:lnTo>
                  <a:lnTo>
                    <a:pt x="319" y="87"/>
                  </a:lnTo>
                  <a:lnTo>
                    <a:pt x="321" y="80"/>
                  </a:lnTo>
                  <a:lnTo>
                    <a:pt x="319" y="78"/>
                  </a:lnTo>
                  <a:lnTo>
                    <a:pt x="318" y="77"/>
                  </a:lnTo>
                  <a:lnTo>
                    <a:pt x="309" y="73"/>
                  </a:lnTo>
                  <a:lnTo>
                    <a:pt x="306" y="66"/>
                  </a:lnTo>
                  <a:lnTo>
                    <a:pt x="314" y="61"/>
                  </a:lnTo>
                  <a:lnTo>
                    <a:pt x="325" y="63"/>
                  </a:lnTo>
                  <a:lnTo>
                    <a:pt x="326" y="61"/>
                  </a:lnTo>
                  <a:lnTo>
                    <a:pt x="335" y="56"/>
                  </a:lnTo>
                  <a:lnTo>
                    <a:pt x="335" y="54"/>
                  </a:lnTo>
                  <a:lnTo>
                    <a:pt x="342" y="48"/>
                  </a:lnTo>
                  <a:lnTo>
                    <a:pt x="343" y="46"/>
                  </a:lnTo>
                  <a:lnTo>
                    <a:pt x="352" y="41"/>
                  </a:lnTo>
                  <a:lnTo>
                    <a:pt x="354" y="34"/>
                  </a:lnTo>
                  <a:lnTo>
                    <a:pt x="360" y="31"/>
                  </a:lnTo>
                  <a:lnTo>
                    <a:pt x="362" y="27"/>
                  </a:lnTo>
                  <a:lnTo>
                    <a:pt x="366" y="27"/>
                  </a:lnTo>
                  <a:lnTo>
                    <a:pt x="371" y="19"/>
                  </a:lnTo>
                  <a:lnTo>
                    <a:pt x="374" y="15"/>
                  </a:lnTo>
                  <a:lnTo>
                    <a:pt x="377" y="15"/>
                  </a:lnTo>
                  <a:lnTo>
                    <a:pt x="379" y="17"/>
                  </a:lnTo>
                  <a:lnTo>
                    <a:pt x="381" y="15"/>
                  </a:lnTo>
                  <a:lnTo>
                    <a:pt x="391" y="15"/>
                  </a:lnTo>
                  <a:lnTo>
                    <a:pt x="393" y="15"/>
                  </a:lnTo>
                  <a:lnTo>
                    <a:pt x="400" y="12"/>
                  </a:lnTo>
                  <a:lnTo>
                    <a:pt x="405" y="12"/>
                  </a:lnTo>
                  <a:lnTo>
                    <a:pt x="410" y="13"/>
                  </a:lnTo>
                  <a:lnTo>
                    <a:pt x="413" y="19"/>
                  </a:lnTo>
                  <a:lnTo>
                    <a:pt x="413" y="20"/>
                  </a:lnTo>
                  <a:lnTo>
                    <a:pt x="410" y="22"/>
                  </a:lnTo>
                  <a:lnTo>
                    <a:pt x="410" y="24"/>
                  </a:lnTo>
                  <a:lnTo>
                    <a:pt x="413" y="25"/>
                  </a:lnTo>
                  <a:lnTo>
                    <a:pt x="417" y="31"/>
                  </a:lnTo>
                  <a:lnTo>
                    <a:pt x="420" y="31"/>
                  </a:lnTo>
                  <a:lnTo>
                    <a:pt x="425" y="31"/>
                  </a:lnTo>
                  <a:lnTo>
                    <a:pt x="430" y="29"/>
                  </a:lnTo>
                  <a:lnTo>
                    <a:pt x="436" y="31"/>
                  </a:lnTo>
                  <a:lnTo>
                    <a:pt x="439" y="34"/>
                  </a:lnTo>
                  <a:lnTo>
                    <a:pt x="442" y="36"/>
                  </a:lnTo>
                  <a:lnTo>
                    <a:pt x="444" y="34"/>
                  </a:lnTo>
                  <a:lnTo>
                    <a:pt x="444" y="29"/>
                  </a:lnTo>
                  <a:lnTo>
                    <a:pt x="447" y="27"/>
                  </a:lnTo>
                  <a:lnTo>
                    <a:pt x="454" y="27"/>
                  </a:lnTo>
                  <a:lnTo>
                    <a:pt x="458" y="24"/>
                  </a:lnTo>
                  <a:lnTo>
                    <a:pt x="458" y="19"/>
                  </a:lnTo>
                  <a:lnTo>
                    <a:pt x="463" y="20"/>
                  </a:lnTo>
                  <a:lnTo>
                    <a:pt x="470" y="13"/>
                  </a:lnTo>
                  <a:lnTo>
                    <a:pt x="471" y="10"/>
                  </a:lnTo>
                  <a:lnTo>
                    <a:pt x="476" y="8"/>
                  </a:lnTo>
                  <a:lnTo>
                    <a:pt x="476" y="10"/>
                  </a:lnTo>
                  <a:lnTo>
                    <a:pt x="478" y="10"/>
                  </a:lnTo>
                  <a:lnTo>
                    <a:pt x="483" y="5"/>
                  </a:lnTo>
                  <a:lnTo>
                    <a:pt x="487" y="7"/>
                  </a:lnTo>
                  <a:lnTo>
                    <a:pt x="490" y="5"/>
                  </a:lnTo>
                  <a:lnTo>
                    <a:pt x="497" y="10"/>
                  </a:lnTo>
                  <a:lnTo>
                    <a:pt x="497" y="7"/>
                  </a:lnTo>
                  <a:lnTo>
                    <a:pt x="502" y="0"/>
                  </a:lnTo>
                  <a:lnTo>
                    <a:pt x="509" y="5"/>
                  </a:lnTo>
                  <a:lnTo>
                    <a:pt x="511" y="10"/>
                  </a:lnTo>
                  <a:lnTo>
                    <a:pt x="512" y="19"/>
                  </a:lnTo>
                  <a:lnTo>
                    <a:pt x="514" y="20"/>
                  </a:lnTo>
                  <a:lnTo>
                    <a:pt x="514" y="22"/>
                  </a:lnTo>
                  <a:lnTo>
                    <a:pt x="517" y="29"/>
                  </a:lnTo>
                  <a:lnTo>
                    <a:pt x="521" y="34"/>
                  </a:lnTo>
                  <a:lnTo>
                    <a:pt x="524" y="41"/>
                  </a:lnTo>
                  <a:lnTo>
                    <a:pt x="528" y="42"/>
                  </a:lnTo>
                  <a:lnTo>
                    <a:pt x="528" y="48"/>
                  </a:lnTo>
                  <a:lnTo>
                    <a:pt x="524" y="54"/>
                  </a:lnTo>
                  <a:lnTo>
                    <a:pt x="521" y="54"/>
                  </a:lnTo>
                  <a:lnTo>
                    <a:pt x="517" y="58"/>
                  </a:lnTo>
                  <a:lnTo>
                    <a:pt x="514" y="54"/>
                  </a:lnTo>
                  <a:lnTo>
                    <a:pt x="507" y="58"/>
                  </a:lnTo>
                  <a:lnTo>
                    <a:pt x="504" y="54"/>
                  </a:lnTo>
                  <a:lnTo>
                    <a:pt x="500" y="58"/>
                  </a:lnTo>
                  <a:lnTo>
                    <a:pt x="497" y="66"/>
                  </a:lnTo>
                  <a:lnTo>
                    <a:pt x="492" y="68"/>
                  </a:lnTo>
                  <a:lnTo>
                    <a:pt x="492" y="72"/>
                  </a:lnTo>
                  <a:lnTo>
                    <a:pt x="488" y="73"/>
                  </a:lnTo>
                  <a:lnTo>
                    <a:pt x="487" y="83"/>
                  </a:lnTo>
                  <a:lnTo>
                    <a:pt x="490" y="87"/>
                  </a:lnTo>
                  <a:lnTo>
                    <a:pt x="492" y="85"/>
                  </a:lnTo>
                  <a:lnTo>
                    <a:pt x="500" y="90"/>
                  </a:lnTo>
                  <a:lnTo>
                    <a:pt x="499" y="97"/>
                  </a:lnTo>
                  <a:lnTo>
                    <a:pt x="504" y="106"/>
                  </a:lnTo>
                  <a:lnTo>
                    <a:pt x="502" y="111"/>
                  </a:lnTo>
                  <a:lnTo>
                    <a:pt x="504" y="118"/>
                  </a:lnTo>
                  <a:lnTo>
                    <a:pt x="511" y="116"/>
                  </a:lnTo>
                  <a:lnTo>
                    <a:pt x="517" y="118"/>
                  </a:lnTo>
                  <a:lnTo>
                    <a:pt x="523" y="113"/>
                  </a:lnTo>
                  <a:lnTo>
                    <a:pt x="529" y="111"/>
                  </a:lnTo>
                  <a:lnTo>
                    <a:pt x="531" y="107"/>
                  </a:lnTo>
                  <a:lnTo>
                    <a:pt x="536" y="104"/>
                  </a:lnTo>
                  <a:lnTo>
                    <a:pt x="538" y="104"/>
                  </a:lnTo>
                  <a:lnTo>
                    <a:pt x="541" y="101"/>
                  </a:lnTo>
                  <a:lnTo>
                    <a:pt x="548" y="99"/>
                  </a:lnTo>
                  <a:lnTo>
                    <a:pt x="550" y="106"/>
                  </a:lnTo>
                  <a:lnTo>
                    <a:pt x="545" y="113"/>
                  </a:lnTo>
                  <a:lnTo>
                    <a:pt x="545" y="118"/>
                  </a:lnTo>
                  <a:lnTo>
                    <a:pt x="541" y="123"/>
                  </a:lnTo>
                  <a:lnTo>
                    <a:pt x="543" y="130"/>
                  </a:lnTo>
                  <a:lnTo>
                    <a:pt x="540" y="130"/>
                  </a:lnTo>
                  <a:lnTo>
                    <a:pt x="541" y="136"/>
                  </a:lnTo>
                  <a:lnTo>
                    <a:pt x="541" y="140"/>
                  </a:lnTo>
                  <a:lnTo>
                    <a:pt x="543" y="145"/>
                  </a:lnTo>
                  <a:lnTo>
                    <a:pt x="541" y="148"/>
                  </a:lnTo>
                  <a:lnTo>
                    <a:pt x="548" y="155"/>
                  </a:lnTo>
                  <a:lnTo>
                    <a:pt x="553" y="164"/>
                  </a:lnTo>
                  <a:lnTo>
                    <a:pt x="553" y="172"/>
                  </a:lnTo>
                  <a:lnTo>
                    <a:pt x="555" y="177"/>
                  </a:lnTo>
                  <a:lnTo>
                    <a:pt x="557" y="184"/>
                  </a:lnTo>
                  <a:lnTo>
                    <a:pt x="558" y="191"/>
                  </a:lnTo>
                  <a:lnTo>
                    <a:pt x="562" y="194"/>
                  </a:lnTo>
                  <a:lnTo>
                    <a:pt x="569" y="194"/>
                  </a:lnTo>
                  <a:lnTo>
                    <a:pt x="576" y="200"/>
                  </a:lnTo>
                  <a:lnTo>
                    <a:pt x="577" y="200"/>
                  </a:lnTo>
                  <a:lnTo>
                    <a:pt x="582" y="208"/>
                  </a:lnTo>
                  <a:lnTo>
                    <a:pt x="591" y="213"/>
                  </a:lnTo>
                  <a:lnTo>
                    <a:pt x="593" y="222"/>
                  </a:lnTo>
                  <a:lnTo>
                    <a:pt x="596" y="220"/>
                  </a:lnTo>
                  <a:lnTo>
                    <a:pt x="601" y="225"/>
                  </a:lnTo>
                  <a:lnTo>
                    <a:pt x="603" y="230"/>
                  </a:lnTo>
                  <a:lnTo>
                    <a:pt x="608" y="229"/>
                  </a:lnTo>
                  <a:lnTo>
                    <a:pt x="613" y="234"/>
                  </a:lnTo>
                  <a:lnTo>
                    <a:pt x="610" y="237"/>
                  </a:lnTo>
                  <a:lnTo>
                    <a:pt x="606" y="241"/>
                  </a:lnTo>
                  <a:lnTo>
                    <a:pt x="603" y="25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64" name="Freeform 81"/>
            <p:cNvSpPr>
              <a:spLocks noEditPoints="1"/>
            </p:cNvSpPr>
            <p:nvPr/>
          </p:nvSpPr>
          <p:spPr bwMode="gray">
            <a:xfrm>
              <a:off x="2194072" y="3652709"/>
              <a:ext cx="596507" cy="707783"/>
            </a:xfrm>
            <a:custGeom>
              <a:avLst/>
              <a:gdLst>
                <a:gd name="T0" fmla="*/ 157 w 327"/>
                <a:gd name="T1" fmla="*/ 371 h 388"/>
                <a:gd name="T2" fmla="*/ 162 w 327"/>
                <a:gd name="T3" fmla="*/ 384 h 388"/>
                <a:gd name="T4" fmla="*/ 150 w 327"/>
                <a:gd name="T5" fmla="*/ 388 h 388"/>
                <a:gd name="T6" fmla="*/ 136 w 327"/>
                <a:gd name="T7" fmla="*/ 376 h 388"/>
                <a:gd name="T8" fmla="*/ 135 w 327"/>
                <a:gd name="T9" fmla="*/ 360 h 388"/>
                <a:gd name="T10" fmla="*/ 1 w 327"/>
                <a:gd name="T11" fmla="*/ 208 h 388"/>
                <a:gd name="T12" fmla="*/ 133 w 327"/>
                <a:gd name="T13" fmla="*/ 72 h 388"/>
                <a:gd name="T14" fmla="*/ 148 w 327"/>
                <a:gd name="T15" fmla="*/ 92 h 388"/>
                <a:gd name="T16" fmla="*/ 176 w 327"/>
                <a:gd name="T17" fmla="*/ 99 h 388"/>
                <a:gd name="T18" fmla="*/ 193 w 327"/>
                <a:gd name="T19" fmla="*/ 130 h 388"/>
                <a:gd name="T20" fmla="*/ 222 w 327"/>
                <a:gd name="T21" fmla="*/ 128 h 388"/>
                <a:gd name="T22" fmla="*/ 235 w 327"/>
                <a:gd name="T23" fmla="*/ 131 h 388"/>
                <a:gd name="T24" fmla="*/ 230 w 327"/>
                <a:gd name="T25" fmla="*/ 152 h 388"/>
                <a:gd name="T26" fmla="*/ 211 w 327"/>
                <a:gd name="T27" fmla="*/ 157 h 388"/>
                <a:gd name="T28" fmla="*/ 194 w 327"/>
                <a:gd name="T29" fmla="*/ 181 h 388"/>
                <a:gd name="T30" fmla="*/ 208 w 327"/>
                <a:gd name="T31" fmla="*/ 196 h 388"/>
                <a:gd name="T32" fmla="*/ 218 w 327"/>
                <a:gd name="T33" fmla="*/ 203 h 388"/>
                <a:gd name="T34" fmla="*/ 232 w 327"/>
                <a:gd name="T35" fmla="*/ 213 h 388"/>
                <a:gd name="T36" fmla="*/ 237 w 327"/>
                <a:gd name="T37" fmla="*/ 225 h 388"/>
                <a:gd name="T38" fmla="*/ 252 w 327"/>
                <a:gd name="T39" fmla="*/ 237 h 388"/>
                <a:gd name="T40" fmla="*/ 276 w 327"/>
                <a:gd name="T41" fmla="*/ 243 h 388"/>
                <a:gd name="T42" fmla="*/ 288 w 327"/>
                <a:gd name="T43" fmla="*/ 261 h 388"/>
                <a:gd name="T44" fmla="*/ 305 w 327"/>
                <a:gd name="T45" fmla="*/ 270 h 388"/>
                <a:gd name="T46" fmla="*/ 321 w 327"/>
                <a:gd name="T47" fmla="*/ 287 h 388"/>
                <a:gd name="T48" fmla="*/ 327 w 327"/>
                <a:gd name="T49" fmla="*/ 297 h 388"/>
                <a:gd name="T50" fmla="*/ 310 w 327"/>
                <a:gd name="T51" fmla="*/ 311 h 388"/>
                <a:gd name="T52" fmla="*/ 297 w 327"/>
                <a:gd name="T53" fmla="*/ 311 h 388"/>
                <a:gd name="T54" fmla="*/ 283 w 327"/>
                <a:gd name="T55" fmla="*/ 302 h 388"/>
                <a:gd name="T56" fmla="*/ 271 w 327"/>
                <a:gd name="T57" fmla="*/ 292 h 388"/>
                <a:gd name="T58" fmla="*/ 256 w 327"/>
                <a:gd name="T59" fmla="*/ 280 h 388"/>
                <a:gd name="T60" fmla="*/ 235 w 327"/>
                <a:gd name="T61" fmla="*/ 268 h 388"/>
                <a:gd name="T62" fmla="*/ 215 w 327"/>
                <a:gd name="T63" fmla="*/ 253 h 388"/>
                <a:gd name="T64" fmla="*/ 198 w 327"/>
                <a:gd name="T65" fmla="*/ 239 h 388"/>
                <a:gd name="T66" fmla="*/ 177 w 327"/>
                <a:gd name="T67" fmla="*/ 224 h 388"/>
                <a:gd name="T68" fmla="*/ 165 w 327"/>
                <a:gd name="T69" fmla="*/ 213 h 388"/>
                <a:gd name="T70" fmla="*/ 148 w 327"/>
                <a:gd name="T71" fmla="*/ 196 h 388"/>
                <a:gd name="T72" fmla="*/ 150 w 327"/>
                <a:gd name="T73" fmla="*/ 195 h 388"/>
                <a:gd name="T74" fmla="*/ 152 w 327"/>
                <a:gd name="T75" fmla="*/ 188 h 388"/>
                <a:gd name="T76" fmla="*/ 143 w 327"/>
                <a:gd name="T77" fmla="*/ 166 h 388"/>
                <a:gd name="T78" fmla="*/ 123 w 327"/>
                <a:gd name="T79" fmla="*/ 152 h 388"/>
                <a:gd name="T80" fmla="*/ 106 w 327"/>
                <a:gd name="T81" fmla="*/ 138 h 388"/>
                <a:gd name="T82" fmla="*/ 90 w 327"/>
                <a:gd name="T83" fmla="*/ 130 h 388"/>
                <a:gd name="T84" fmla="*/ 71 w 327"/>
                <a:gd name="T85" fmla="*/ 116 h 388"/>
                <a:gd name="T86" fmla="*/ 59 w 327"/>
                <a:gd name="T87" fmla="*/ 101 h 388"/>
                <a:gd name="T88" fmla="*/ 56 w 327"/>
                <a:gd name="T89" fmla="*/ 91 h 388"/>
                <a:gd name="T90" fmla="*/ 42 w 327"/>
                <a:gd name="T91" fmla="*/ 70 h 388"/>
                <a:gd name="T92" fmla="*/ 25 w 327"/>
                <a:gd name="T93" fmla="*/ 48 h 388"/>
                <a:gd name="T94" fmla="*/ 8 w 327"/>
                <a:gd name="T95" fmla="*/ 34 h 388"/>
                <a:gd name="T96" fmla="*/ 15 w 327"/>
                <a:gd name="T97" fmla="*/ 14 h 388"/>
                <a:gd name="T98" fmla="*/ 37 w 327"/>
                <a:gd name="T99" fmla="*/ 5 h 388"/>
                <a:gd name="T100" fmla="*/ 56 w 327"/>
                <a:gd name="T101" fmla="*/ 17 h 388"/>
                <a:gd name="T102" fmla="*/ 63 w 327"/>
                <a:gd name="T103" fmla="*/ 34 h 388"/>
                <a:gd name="T104" fmla="*/ 77 w 327"/>
                <a:gd name="T105" fmla="*/ 31 h 388"/>
                <a:gd name="T106" fmla="*/ 95 w 327"/>
                <a:gd name="T107" fmla="*/ 50 h 388"/>
                <a:gd name="T108" fmla="*/ 124 w 327"/>
                <a:gd name="T109" fmla="*/ 6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7" h="388">
                  <a:moveTo>
                    <a:pt x="136" y="360"/>
                  </a:moveTo>
                  <a:lnTo>
                    <a:pt x="143" y="365"/>
                  </a:lnTo>
                  <a:lnTo>
                    <a:pt x="147" y="365"/>
                  </a:lnTo>
                  <a:lnTo>
                    <a:pt x="152" y="369"/>
                  </a:lnTo>
                  <a:lnTo>
                    <a:pt x="157" y="371"/>
                  </a:lnTo>
                  <a:lnTo>
                    <a:pt x="162" y="372"/>
                  </a:lnTo>
                  <a:lnTo>
                    <a:pt x="164" y="376"/>
                  </a:lnTo>
                  <a:lnTo>
                    <a:pt x="160" y="381"/>
                  </a:lnTo>
                  <a:lnTo>
                    <a:pt x="157" y="381"/>
                  </a:lnTo>
                  <a:lnTo>
                    <a:pt x="162" y="384"/>
                  </a:lnTo>
                  <a:lnTo>
                    <a:pt x="160" y="388"/>
                  </a:lnTo>
                  <a:lnTo>
                    <a:pt x="155" y="386"/>
                  </a:lnTo>
                  <a:lnTo>
                    <a:pt x="153" y="384"/>
                  </a:lnTo>
                  <a:lnTo>
                    <a:pt x="150" y="384"/>
                  </a:lnTo>
                  <a:lnTo>
                    <a:pt x="150" y="388"/>
                  </a:lnTo>
                  <a:lnTo>
                    <a:pt x="147" y="386"/>
                  </a:lnTo>
                  <a:lnTo>
                    <a:pt x="147" y="383"/>
                  </a:lnTo>
                  <a:lnTo>
                    <a:pt x="145" y="383"/>
                  </a:lnTo>
                  <a:lnTo>
                    <a:pt x="141" y="377"/>
                  </a:lnTo>
                  <a:lnTo>
                    <a:pt x="136" y="376"/>
                  </a:lnTo>
                  <a:lnTo>
                    <a:pt x="136" y="374"/>
                  </a:lnTo>
                  <a:lnTo>
                    <a:pt x="128" y="369"/>
                  </a:lnTo>
                  <a:lnTo>
                    <a:pt x="128" y="365"/>
                  </a:lnTo>
                  <a:lnTo>
                    <a:pt x="133" y="364"/>
                  </a:lnTo>
                  <a:lnTo>
                    <a:pt x="135" y="360"/>
                  </a:lnTo>
                  <a:lnTo>
                    <a:pt x="136" y="360"/>
                  </a:lnTo>
                  <a:close/>
                  <a:moveTo>
                    <a:pt x="1" y="207"/>
                  </a:moveTo>
                  <a:lnTo>
                    <a:pt x="3" y="207"/>
                  </a:lnTo>
                  <a:lnTo>
                    <a:pt x="3" y="208"/>
                  </a:lnTo>
                  <a:lnTo>
                    <a:pt x="1" y="208"/>
                  </a:lnTo>
                  <a:lnTo>
                    <a:pt x="1" y="207"/>
                  </a:lnTo>
                  <a:close/>
                  <a:moveTo>
                    <a:pt x="124" y="60"/>
                  </a:moveTo>
                  <a:lnTo>
                    <a:pt x="126" y="61"/>
                  </a:lnTo>
                  <a:lnTo>
                    <a:pt x="133" y="68"/>
                  </a:lnTo>
                  <a:lnTo>
                    <a:pt x="133" y="72"/>
                  </a:lnTo>
                  <a:lnTo>
                    <a:pt x="140" y="77"/>
                  </a:lnTo>
                  <a:lnTo>
                    <a:pt x="145" y="79"/>
                  </a:lnTo>
                  <a:lnTo>
                    <a:pt x="143" y="80"/>
                  </a:lnTo>
                  <a:lnTo>
                    <a:pt x="147" y="91"/>
                  </a:lnTo>
                  <a:lnTo>
                    <a:pt x="148" y="92"/>
                  </a:lnTo>
                  <a:lnTo>
                    <a:pt x="152" y="92"/>
                  </a:lnTo>
                  <a:lnTo>
                    <a:pt x="155" y="96"/>
                  </a:lnTo>
                  <a:lnTo>
                    <a:pt x="162" y="92"/>
                  </a:lnTo>
                  <a:lnTo>
                    <a:pt x="167" y="94"/>
                  </a:lnTo>
                  <a:lnTo>
                    <a:pt x="176" y="99"/>
                  </a:lnTo>
                  <a:lnTo>
                    <a:pt x="176" y="111"/>
                  </a:lnTo>
                  <a:lnTo>
                    <a:pt x="177" y="118"/>
                  </a:lnTo>
                  <a:lnTo>
                    <a:pt x="184" y="123"/>
                  </a:lnTo>
                  <a:lnTo>
                    <a:pt x="189" y="126"/>
                  </a:lnTo>
                  <a:lnTo>
                    <a:pt x="193" y="130"/>
                  </a:lnTo>
                  <a:lnTo>
                    <a:pt x="198" y="126"/>
                  </a:lnTo>
                  <a:lnTo>
                    <a:pt x="206" y="125"/>
                  </a:lnTo>
                  <a:lnTo>
                    <a:pt x="210" y="121"/>
                  </a:lnTo>
                  <a:lnTo>
                    <a:pt x="215" y="128"/>
                  </a:lnTo>
                  <a:lnTo>
                    <a:pt x="222" y="128"/>
                  </a:lnTo>
                  <a:lnTo>
                    <a:pt x="223" y="126"/>
                  </a:lnTo>
                  <a:lnTo>
                    <a:pt x="223" y="128"/>
                  </a:lnTo>
                  <a:lnTo>
                    <a:pt x="223" y="131"/>
                  </a:lnTo>
                  <a:lnTo>
                    <a:pt x="232" y="130"/>
                  </a:lnTo>
                  <a:lnTo>
                    <a:pt x="235" y="131"/>
                  </a:lnTo>
                  <a:lnTo>
                    <a:pt x="237" y="135"/>
                  </a:lnTo>
                  <a:lnTo>
                    <a:pt x="237" y="143"/>
                  </a:lnTo>
                  <a:lnTo>
                    <a:pt x="235" y="147"/>
                  </a:lnTo>
                  <a:lnTo>
                    <a:pt x="235" y="149"/>
                  </a:lnTo>
                  <a:lnTo>
                    <a:pt x="230" y="152"/>
                  </a:lnTo>
                  <a:lnTo>
                    <a:pt x="230" y="155"/>
                  </a:lnTo>
                  <a:lnTo>
                    <a:pt x="225" y="161"/>
                  </a:lnTo>
                  <a:lnTo>
                    <a:pt x="220" y="152"/>
                  </a:lnTo>
                  <a:lnTo>
                    <a:pt x="215" y="150"/>
                  </a:lnTo>
                  <a:lnTo>
                    <a:pt x="211" y="157"/>
                  </a:lnTo>
                  <a:lnTo>
                    <a:pt x="213" y="161"/>
                  </a:lnTo>
                  <a:lnTo>
                    <a:pt x="206" y="167"/>
                  </a:lnTo>
                  <a:lnTo>
                    <a:pt x="205" y="176"/>
                  </a:lnTo>
                  <a:lnTo>
                    <a:pt x="196" y="179"/>
                  </a:lnTo>
                  <a:lnTo>
                    <a:pt x="194" y="181"/>
                  </a:lnTo>
                  <a:lnTo>
                    <a:pt x="191" y="183"/>
                  </a:lnTo>
                  <a:lnTo>
                    <a:pt x="196" y="184"/>
                  </a:lnTo>
                  <a:lnTo>
                    <a:pt x="199" y="190"/>
                  </a:lnTo>
                  <a:lnTo>
                    <a:pt x="206" y="195"/>
                  </a:lnTo>
                  <a:lnTo>
                    <a:pt x="208" y="196"/>
                  </a:lnTo>
                  <a:lnTo>
                    <a:pt x="210" y="196"/>
                  </a:lnTo>
                  <a:lnTo>
                    <a:pt x="211" y="200"/>
                  </a:lnTo>
                  <a:lnTo>
                    <a:pt x="215" y="203"/>
                  </a:lnTo>
                  <a:lnTo>
                    <a:pt x="215" y="205"/>
                  </a:lnTo>
                  <a:lnTo>
                    <a:pt x="218" y="203"/>
                  </a:lnTo>
                  <a:lnTo>
                    <a:pt x="220" y="207"/>
                  </a:lnTo>
                  <a:lnTo>
                    <a:pt x="227" y="203"/>
                  </a:lnTo>
                  <a:lnTo>
                    <a:pt x="232" y="208"/>
                  </a:lnTo>
                  <a:lnTo>
                    <a:pt x="237" y="208"/>
                  </a:lnTo>
                  <a:lnTo>
                    <a:pt x="232" y="213"/>
                  </a:lnTo>
                  <a:lnTo>
                    <a:pt x="228" y="212"/>
                  </a:lnTo>
                  <a:lnTo>
                    <a:pt x="227" y="213"/>
                  </a:lnTo>
                  <a:lnTo>
                    <a:pt x="227" y="219"/>
                  </a:lnTo>
                  <a:lnTo>
                    <a:pt x="234" y="222"/>
                  </a:lnTo>
                  <a:lnTo>
                    <a:pt x="237" y="225"/>
                  </a:lnTo>
                  <a:lnTo>
                    <a:pt x="244" y="231"/>
                  </a:lnTo>
                  <a:lnTo>
                    <a:pt x="242" y="234"/>
                  </a:lnTo>
                  <a:lnTo>
                    <a:pt x="246" y="237"/>
                  </a:lnTo>
                  <a:lnTo>
                    <a:pt x="251" y="236"/>
                  </a:lnTo>
                  <a:lnTo>
                    <a:pt x="252" y="237"/>
                  </a:lnTo>
                  <a:lnTo>
                    <a:pt x="257" y="236"/>
                  </a:lnTo>
                  <a:lnTo>
                    <a:pt x="261" y="236"/>
                  </a:lnTo>
                  <a:lnTo>
                    <a:pt x="263" y="236"/>
                  </a:lnTo>
                  <a:lnTo>
                    <a:pt x="273" y="237"/>
                  </a:lnTo>
                  <a:lnTo>
                    <a:pt x="276" y="243"/>
                  </a:lnTo>
                  <a:lnTo>
                    <a:pt x="281" y="244"/>
                  </a:lnTo>
                  <a:lnTo>
                    <a:pt x="292" y="246"/>
                  </a:lnTo>
                  <a:lnTo>
                    <a:pt x="293" y="249"/>
                  </a:lnTo>
                  <a:lnTo>
                    <a:pt x="288" y="256"/>
                  </a:lnTo>
                  <a:lnTo>
                    <a:pt x="288" y="261"/>
                  </a:lnTo>
                  <a:lnTo>
                    <a:pt x="285" y="268"/>
                  </a:lnTo>
                  <a:lnTo>
                    <a:pt x="288" y="270"/>
                  </a:lnTo>
                  <a:lnTo>
                    <a:pt x="295" y="277"/>
                  </a:lnTo>
                  <a:lnTo>
                    <a:pt x="300" y="275"/>
                  </a:lnTo>
                  <a:lnTo>
                    <a:pt x="305" y="270"/>
                  </a:lnTo>
                  <a:lnTo>
                    <a:pt x="310" y="270"/>
                  </a:lnTo>
                  <a:lnTo>
                    <a:pt x="312" y="273"/>
                  </a:lnTo>
                  <a:lnTo>
                    <a:pt x="309" y="278"/>
                  </a:lnTo>
                  <a:lnTo>
                    <a:pt x="316" y="280"/>
                  </a:lnTo>
                  <a:lnTo>
                    <a:pt x="321" y="287"/>
                  </a:lnTo>
                  <a:lnTo>
                    <a:pt x="321" y="290"/>
                  </a:lnTo>
                  <a:lnTo>
                    <a:pt x="317" y="294"/>
                  </a:lnTo>
                  <a:lnTo>
                    <a:pt x="321" y="294"/>
                  </a:lnTo>
                  <a:lnTo>
                    <a:pt x="326" y="295"/>
                  </a:lnTo>
                  <a:lnTo>
                    <a:pt x="327" y="297"/>
                  </a:lnTo>
                  <a:lnTo>
                    <a:pt x="327" y="299"/>
                  </a:lnTo>
                  <a:lnTo>
                    <a:pt x="322" y="302"/>
                  </a:lnTo>
                  <a:lnTo>
                    <a:pt x="321" y="304"/>
                  </a:lnTo>
                  <a:lnTo>
                    <a:pt x="312" y="309"/>
                  </a:lnTo>
                  <a:lnTo>
                    <a:pt x="310" y="311"/>
                  </a:lnTo>
                  <a:lnTo>
                    <a:pt x="309" y="311"/>
                  </a:lnTo>
                  <a:lnTo>
                    <a:pt x="305" y="318"/>
                  </a:lnTo>
                  <a:lnTo>
                    <a:pt x="300" y="316"/>
                  </a:lnTo>
                  <a:lnTo>
                    <a:pt x="300" y="314"/>
                  </a:lnTo>
                  <a:lnTo>
                    <a:pt x="297" y="311"/>
                  </a:lnTo>
                  <a:lnTo>
                    <a:pt x="292" y="309"/>
                  </a:lnTo>
                  <a:lnTo>
                    <a:pt x="286" y="311"/>
                  </a:lnTo>
                  <a:lnTo>
                    <a:pt x="285" y="309"/>
                  </a:lnTo>
                  <a:lnTo>
                    <a:pt x="286" y="307"/>
                  </a:lnTo>
                  <a:lnTo>
                    <a:pt x="283" y="302"/>
                  </a:lnTo>
                  <a:lnTo>
                    <a:pt x="276" y="304"/>
                  </a:lnTo>
                  <a:lnTo>
                    <a:pt x="273" y="301"/>
                  </a:lnTo>
                  <a:lnTo>
                    <a:pt x="275" y="297"/>
                  </a:lnTo>
                  <a:lnTo>
                    <a:pt x="271" y="294"/>
                  </a:lnTo>
                  <a:lnTo>
                    <a:pt x="271" y="292"/>
                  </a:lnTo>
                  <a:lnTo>
                    <a:pt x="268" y="290"/>
                  </a:lnTo>
                  <a:lnTo>
                    <a:pt x="266" y="285"/>
                  </a:lnTo>
                  <a:lnTo>
                    <a:pt x="266" y="287"/>
                  </a:lnTo>
                  <a:lnTo>
                    <a:pt x="263" y="285"/>
                  </a:lnTo>
                  <a:lnTo>
                    <a:pt x="256" y="280"/>
                  </a:lnTo>
                  <a:lnTo>
                    <a:pt x="256" y="278"/>
                  </a:lnTo>
                  <a:lnTo>
                    <a:pt x="251" y="277"/>
                  </a:lnTo>
                  <a:lnTo>
                    <a:pt x="246" y="273"/>
                  </a:lnTo>
                  <a:lnTo>
                    <a:pt x="242" y="272"/>
                  </a:lnTo>
                  <a:lnTo>
                    <a:pt x="235" y="268"/>
                  </a:lnTo>
                  <a:lnTo>
                    <a:pt x="230" y="266"/>
                  </a:lnTo>
                  <a:lnTo>
                    <a:pt x="225" y="266"/>
                  </a:lnTo>
                  <a:lnTo>
                    <a:pt x="223" y="260"/>
                  </a:lnTo>
                  <a:lnTo>
                    <a:pt x="218" y="256"/>
                  </a:lnTo>
                  <a:lnTo>
                    <a:pt x="215" y="253"/>
                  </a:lnTo>
                  <a:lnTo>
                    <a:pt x="211" y="249"/>
                  </a:lnTo>
                  <a:lnTo>
                    <a:pt x="205" y="244"/>
                  </a:lnTo>
                  <a:lnTo>
                    <a:pt x="199" y="237"/>
                  </a:lnTo>
                  <a:lnTo>
                    <a:pt x="199" y="239"/>
                  </a:lnTo>
                  <a:lnTo>
                    <a:pt x="198" y="239"/>
                  </a:lnTo>
                  <a:lnTo>
                    <a:pt x="196" y="237"/>
                  </a:lnTo>
                  <a:lnTo>
                    <a:pt x="191" y="234"/>
                  </a:lnTo>
                  <a:lnTo>
                    <a:pt x="187" y="231"/>
                  </a:lnTo>
                  <a:lnTo>
                    <a:pt x="179" y="224"/>
                  </a:lnTo>
                  <a:lnTo>
                    <a:pt x="177" y="224"/>
                  </a:lnTo>
                  <a:lnTo>
                    <a:pt x="179" y="224"/>
                  </a:lnTo>
                  <a:lnTo>
                    <a:pt x="176" y="222"/>
                  </a:lnTo>
                  <a:lnTo>
                    <a:pt x="172" y="219"/>
                  </a:lnTo>
                  <a:lnTo>
                    <a:pt x="165" y="215"/>
                  </a:lnTo>
                  <a:lnTo>
                    <a:pt x="165" y="213"/>
                  </a:lnTo>
                  <a:lnTo>
                    <a:pt x="158" y="210"/>
                  </a:lnTo>
                  <a:lnTo>
                    <a:pt x="160" y="208"/>
                  </a:lnTo>
                  <a:lnTo>
                    <a:pt x="158" y="208"/>
                  </a:lnTo>
                  <a:lnTo>
                    <a:pt x="150" y="203"/>
                  </a:lnTo>
                  <a:lnTo>
                    <a:pt x="148" y="196"/>
                  </a:lnTo>
                  <a:lnTo>
                    <a:pt x="150" y="195"/>
                  </a:lnTo>
                  <a:lnTo>
                    <a:pt x="152" y="198"/>
                  </a:lnTo>
                  <a:lnTo>
                    <a:pt x="153" y="196"/>
                  </a:lnTo>
                  <a:lnTo>
                    <a:pt x="153" y="193"/>
                  </a:lnTo>
                  <a:lnTo>
                    <a:pt x="150" y="195"/>
                  </a:lnTo>
                  <a:lnTo>
                    <a:pt x="153" y="193"/>
                  </a:lnTo>
                  <a:lnTo>
                    <a:pt x="152" y="188"/>
                  </a:lnTo>
                  <a:lnTo>
                    <a:pt x="153" y="193"/>
                  </a:lnTo>
                  <a:lnTo>
                    <a:pt x="153" y="191"/>
                  </a:lnTo>
                  <a:lnTo>
                    <a:pt x="152" y="188"/>
                  </a:lnTo>
                  <a:lnTo>
                    <a:pt x="147" y="183"/>
                  </a:lnTo>
                  <a:lnTo>
                    <a:pt x="148" y="179"/>
                  </a:lnTo>
                  <a:lnTo>
                    <a:pt x="145" y="172"/>
                  </a:lnTo>
                  <a:lnTo>
                    <a:pt x="147" y="171"/>
                  </a:lnTo>
                  <a:lnTo>
                    <a:pt x="143" y="166"/>
                  </a:lnTo>
                  <a:lnTo>
                    <a:pt x="141" y="166"/>
                  </a:lnTo>
                  <a:lnTo>
                    <a:pt x="135" y="161"/>
                  </a:lnTo>
                  <a:lnTo>
                    <a:pt x="131" y="157"/>
                  </a:lnTo>
                  <a:lnTo>
                    <a:pt x="128" y="154"/>
                  </a:lnTo>
                  <a:lnTo>
                    <a:pt x="123" y="152"/>
                  </a:lnTo>
                  <a:lnTo>
                    <a:pt x="123" y="150"/>
                  </a:lnTo>
                  <a:lnTo>
                    <a:pt x="121" y="150"/>
                  </a:lnTo>
                  <a:lnTo>
                    <a:pt x="114" y="147"/>
                  </a:lnTo>
                  <a:lnTo>
                    <a:pt x="107" y="143"/>
                  </a:lnTo>
                  <a:lnTo>
                    <a:pt x="106" y="138"/>
                  </a:lnTo>
                  <a:lnTo>
                    <a:pt x="100" y="137"/>
                  </a:lnTo>
                  <a:lnTo>
                    <a:pt x="95" y="133"/>
                  </a:lnTo>
                  <a:lnTo>
                    <a:pt x="97" y="131"/>
                  </a:lnTo>
                  <a:lnTo>
                    <a:pt x="92" y="131"/>
                  </a:lnTo>
                  <a:lnTo>
                    <a:pt x="90" y="130"/>
                  </a:lnTo>
                  <a:lnTo>
                    <a:pt x="88" y="128"/>
                  </a:lnTo>
                  <a:lnTo>
                    <a:pt x="82" y="125"/>
                  </a:lnTo>
                  <a:lnTo>
                    <a:pt x="82" y="123"/>
                  </a:lnTo>
                  <a:lnTo>
                    <a:pt x="77" y="120"/>
                  </a:lnTo>
                  <a:lnTo>
                    <a:pt x="71" y="116"/>
                  </a:lnTo>
                  <a:lnTo>
                    <a:pt x="70" y="114"/>
                  </a:lnTo>
                  <a:lnTo>
                    <a:pt x="68" y="113"/>
                  </a:lnTo>
                  <a:lnTo>
                    <a:pt x="68" y="111"/>
                  </a:lnTo>
                  <a:lnTo>
                    <a:pt x="63" y="104"/>
                  </a:lnTo>
                  <a:lnTo>
                    <a:pt x="59" y="101"/>
                  </a:lnTo>
                  <a:lnTo>
                    <a:pt x="59" y="97"/>
                  </a:lnTo>
                  <a:lnTo>
                    <a:pt x="56" y="94"/>
                  </a:lnTo>
                  <a:lnTo>
                    <a:pt x="56" y="91"/>
                  </a:lnTo>
                  <a:lnTo>
                    <a:pt x="56" y="89"/>
                  </a:lnTo>
                  <a:lnTo>
                    <a:pt x="56" y="91"/>
                  </a:lnTo>
                  <a:lnTo>
                    <a:pt x="54" y="89"/>
                  </a:lnTo>
                  <a:lnTo>
                    <a:pt x="49" y="82"/>
                  </a:lnTo>
                  <a:lnTo>
                    <a:pt x="46" y="79"/>
                  </a:lnTo>
                  <a:lnTo>
                    <a:pt x="46" y="77"/>
                  </a:lnTo>
                  <a:lnTo>
                    <a:pt x="42" y="70"/>
                  </a:lnTo>
                  <a:lnTo>
                    <a:pt x="39" y="61"/>
                  </a:lnTo>
                  <a:lnTo>
                    <a:pt x="37" y="58"/>
                  </a:lnTo>
                  <a:lnTo>
                    <a:pt x="37" y="56"/>
                  </a:lnTo>
                  <a:lnTo>
                    <a:pt x="34" y="53"/>
                  </a:lnTo>
                  <a:lnTo>
                    <a:pt x="25" y="48"/>
                  </a:lnTo>
                  <a:lnTo>
                    <a:pt x="20" y="46"/>
                  </a:lnTo>
                  <a:lnTo>
                    <a:pt x="15" y="43"/>
                  </a:lnTo>
                  <a:lnTo>
                    <a:pt x="12" y="39"/>
                  </a:lnTo>
                  <a:lnTo>
                    <a:pt x="7" y="32"/>
                  </a:lnTo>
                  <a:lnTo>
                    <a:pt x="8" y="34"/>
                  </a:lnTo>
                  <a:lnTo>
                    <a:pt x="7" y="31"/>
                  </a:lnTo>
                  <a:lnTo>
                    <a:pt x="0" y="24"/>
                  </a:lnTo>
                  <a:lnTo>
                    <a:pt x="5" y="20"/>
                  </a:lnTo>
                  <a:lnTo>
                    <a:pt x="13" y="15"/>
                  </a:lnTo>
                  <a:lnTo>
                    <a:pt x="15" y="14"/>
                  </a:lnTo>
                  <a:lnTo>
                    <a:pt x="17" y="14"/>
                  </a:lnTo>
                  <a:lnTo>
                    <a:pt x="25" y="9"/>
                  </a:lnTo>
                  <a:lnTo>
                    <a:pt x="25" y="5"/>
                  </a:lnTo>
                  <a:lnTo>
                    <a:pt x="32" y="0"/>
                  </a:lnTo>
                  <a:lnTo>
                    <a:pt x="37" y="5"/>
                  </a:lnTo>
                  <a:lnTo>
                    <a:pt x="41" y="7"/>
                  </a:lnTo>
                  <a:lnTo>
                    <a:pt x="47" y="12"/>
                  </a:lnTo>
                  <a:lnTo>
                    <a:pt x="49" y="12"/>
                  </a:lnTo>
                  <a:lnTo>
                    <a:pt x="51" y="14"/>
                  </a:lnTo>
                  <a:lnTo>
                    <a:pt x="56" y="17"/>
                  </a:lnTo>
                  <a:lnTo>
                    <a:pt x="63" y="20"/>
                  </a:lnTo>
                  <a:lnTo>
                    <a:pt x="65" y="20"/>
                  </a:lnTo>
                  <a:lnTo>
                    <a:pt x="65" y="22"/>
                  </a:lnTo>
                  <a:lnTo>
                    <a:pt x="63" y="26"/>
                  </a:lnTo>
                  <a:lnTo>
                    <a:pt x="63" y="34"/>
                  </a:lnTo>
                  <a:lnTo>
                    <a:pt x="63" y="36"/>
                  </a:lnTo>
                  <a:lnTo>
                    <a:pt x="66" y="32"/>
                  </a:lnTo>
                  <a:lnTo>
                    <a:pt x="70" y="31"/>
                  </a:lnTo>
                  <a:lnTo>
                    <a:pt x="71" y="32"/>
                  </a:lnTo>
                  <a:lnTo>
                    <a:pt x="77" y="31"/>
                  </a:lnTo>
                  <a:lnTo>
                    <a:pt x="80" y="32"/>
                  </a:lnTo>
                  <a:lnTo>
                    <a:pt x="82" y="36"/>
                  </a:lnTo>
                  <a:lnTo>
                    <a:pt x="88" y="44"/>
                  </a:lnTo>
                  <a:lnTo>
                    <a:pt x="95" y="48"/>
                  </a:lnTo>
                  <a:lnTo>
                    <a:pt x="95" y="50"/>
                  </a:lnTo>
                  <a:lnTo>
                    <a:pt x="102" y="55"/>
                  </a:lnTo>
                  <a:lnTo>
                    <a:pt x="107" y="56"/>
                  </a:lnTo>
                  <a:lnTo>
                    <a:pt x="116" y="53"/>
                  </a:lnTo>
                  <a:lnTo>
                    <a:pt x="121" y="58"/>
                  </a:lnTo>
                  <a:lnTo>
                    <a:pt x="124" y="6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65" name="Freeform 82"/>
            <p:cNvSpPr/>
            <p:nvPr/>
          </p:nvSpPr>
          <p:spPr bwMode="gray">
            <a:xfrm>
              <a:off x="4158718" y="4805593"/>
              <a:ext cx="173297" cy="142286"/>
            </a:xfrm>
            <a:custGeom>
              <a:avLst/>
              <a:gdLst>
                <a:gd name="T0" fmla="*/ 95 w 95"/>
                <a:gd name="T1" fmla="*/ 78 h 78"/>
                <a:gd name="T2" fmla="*/ 90 w 95"/>
                <a:gd name="T3" fmla="*/ 77 h 78"/>
                <a:gd name="T4" fmla="*/ 80 w 95"/>
                <a:gd name="T5" fmla="*/ 78 h 78"/>
                <a:gd name="T6" fmla="*/ 80 w 95"/>
                <a:gd name="T7" fmla="*/ 77 h 78"/>
                <a:gd name="T8" fmla="*/ 75 w 95"/>
                <a:gd name="T9" fmla="*/ 75 h 78"/>
                <a:gd name="T10" fmla="*/ 68 w 95"/>
                <a:gd name="T11" fmla="*/ 72 h 78"/>
                <a:gd name="T12" fmla="*/ 60 w 95"/>
                <a:gd name="T13" fmla="*/ 70 h 78"/>
                <a:gd name="T14" fmla="*/ 53 w 95"/>
                <a:gd name="T15" fmla="*/ 68 h 78"/>
                <a:gd name="T16" fmla="*/ 48 w 95"/>
                <a:gd name="T17" fmla="*/ 67 h 78"/>
                <a:gd name="T18" fmla="*/ 41 w 95"/>
                <a:gd name="T19" fmla="*/ 63 h 78"/>
                <a:gd name="T20" fmla="*/ 37 w 95"/>
                <a:gd name="T21" fmla="*/ 58 h 78"/>
                <a:gd name="T22" fmla="*/ 31 w 95"/>
                <a:gd name="T23" fmla="*/ 56 h 78"/>
                <a:gd name="T24" fmla="*/ 22 w 95"/>
                <a:gd name="T25" fmla="*/ 53 h 78"/>
                <a:gd name="T26" fmla="*/ 22 w 95"/>
                <a:gd name="T27" fmla="*/ 51 h 78"/>
                <a:gd name="T28" fmla="*/ 20 w 95"/>
                <a:gd name="T29" fmla="*/ 51 h 78"/>
                <a:gd name="T30" fmla="*/ 12 w 95"/>
                <a:gd name="T31" fmla="*/ 48 h 78"/>
                <a:gd name="T32" fmla="*/ 5 w 95"/>
                <a:gd name="T33" fmla="*/ 44 h 78"/>
                <a:gd name="T34" fmla="*/ 0 w 95"/>
                <a:gd name="T35" fmla="*/ 43 h 78"/>
                <a:gd name="T36" fmla="*/ 0 w 95"/>
                <a:gd name="T37" fmla="*/ 41 h 78"/>
                <a:gd name="T38" fmla="*/ 3 w 95"/>
                <a:gd name="T39" fmla="*/ 32 h 78"/>
                <a:gd name="T40" fmla="*/ 10 w 95"/>
                <a:gd name="T41" fmla="*/ 27 h 78"/>
                <a:gd name="T42" fmla="*/ 12 w 95"/>
                <a:gd name="T43" fmla="*/ 24 h 78"/>
                <a:gd name="T44" fmla="*/ 12 w 95"/>
                <a:gd name="T45" fmla="*/ 17 h 78"/>
                <a:gd name="T46" fmla="*/ 10 w 95"/>
                <a:gd name="T47" fmla="*/ 15 h 78"/>
                <a:gd name="T48" fmla="*/ 14 w 95"/>
                <a:gd name="T49" fmla="*/ 12 h 78"/>
                <a:gd name="T50" fmla="*/ 22 w 95"/>
                <a:gd name="T51" fmla="*/ 12 h 78"/>
                <a:gd name="T52" fmla="*/ 25 w 95"/>
                <a:gd name="T53" fmla="*/ 12 h 78"/>
                <a:gd name="T54" fmla="*/ 27 w 95"/>
                <a:gd name="T55" fmla="*/ 12 h 78"/>
                <a:gd name="T56" fmla="*/ 27 w 95"/>
                <a:gd name="T57" fmla="*/ 17 h 78"/>
                <a:gd name="T58" fmla="*/ 29 w 95"/>
                <a:gd name="T59" fmla="*/ 19 h 78"/>
                <a:gd name="T60" fmla="*/ 32 w 95"/>
                <a:gd name="T61" fmla="*/ 14 h 78"/>
                <a:gd name="T62" fmla="*/ 36 w 95"/>
                <a:gd name="T63" fmla="*/ 10 h 78"/>
                <a:gd name="T64" fmla="*/ 43 w 95"/>
                <a:gd name="T65" fmla="*/ 7 h 78"/>
                <a:gd name="T66" fmla="*/ 49 w 95"/>
                <a:gd name="T67" fmla="*/ 0 h 78"/>
                <a:gd name="T68" fmla="*/ 51 w 95"/>
                <a:gd name="T69" fmla="*/ 5 h 78"/>
                <a:gd name="T70" fmla="*/ 53 w 95"/>
                <a:gd name="T71" fmla="*/ 14 h 78"/>
                <a:gd name="T72" fmla="*/ 54 w 95"/>
                <a:gd name="T73" fmla="*/ 24 h 78"/>
                <a:gd name="T74" fmla="*/ 54 w 95"/>
                <a:gd name="T75" fmla="*/ 26 h 78"/>
                <a:gd name="T76" fmla="*/ 60 w 95"/>
                <a:gd name="T77" fmla="*/ 31 h 78"/>
                <a:gd name="T78" fmla="*/ 63 w 95"/>
                <a:gd name="T79" fmla="*/ 29 h 78"/>
                <a:gd name="T80" fmla="*/ 66 w 95"/>
                <a:gd name="T81" fmla="*/ 31 h 78"/>
                <a:gd name="T82" fmla="*/ 73 w 95"/>
                <a:gd name="T83" fmla="*/ 29 h 78"/>
                <a:gd name="T84" fmla="*/ 75 w 95"/>
                <a:gd name="T85" fmla="*/ 31 h 78"/>
                <a:gd name="T86" fmla="*/ 77 w 95"/>
                <a:gd name="T87" fmla="*/ 29 h 78"/>
                <a:gd name="T88" fmla="*/ 77 w 95"/>
                <a:gd name="T89" fmla="*/ 31 h 78"/>
                <a:gd name="T90" fmla="*/ 80 w 95"/>
                <a:gd name="T91" fmla="*/ 31 h 78"/>
                <a:gd name="T92" fmla="*/ 82 w 95"/>
                <a:gd name="T93" fmla="*/ 29 h 78"/>
                <a:gd name="T94" fmla="*/ 87 w 95"/>
                <a:gd name="T95" fmla="*/ 32 h 78"/>
                <a:gd name="T96" fmla="*/ 89 w 95"/>
                <a:gd name="T97" fmla="*/ 31 h 78"/>
                <a:gd name="T98" fmla="*/ 90 w 95"/>
                <a:gd name="T99" fmla="*/ 32 h 78"/>
                <a:gd name="T100" fmla="*/ 90 w 95"/>
                <a:gd name="T101" fmla="*/ 38 h 78"/>
                <a:gd name="T102" fmla="*/ 89 w 95"/>
                <a:gd name="T103" fmla="*/ 43 h 78"/>
                <a:gd name="T104" fmla="*/ 89 w 95"/>
                <a:gd name="T105" fmla="*/ 51 h 78"/>
                <a:gd name="T106" fmla="*/ 87 w 95"/>
                <a:gd name="T107" fmla="*/ 58 h 78"/>
                <a:gd name="T108" fmla="*/ 90 w 95"/>
                <a:gd name="T109" fmla="*/ 67 h 78"/>
                <a:gd name="T110" fmla="*/ 89 w 95"/>
                <a:gd name="T111" fmla="*/ 73 h 78"/>
                <a:gd name="T112" fmla="*/ 92 w 95"/>
                <a:gd name="T113" fmla="*/ 75 h 78"/>
                <a:gd name="T114" fmla="*/ 94 w 95"/>
                <a:gd name="T115" fmla="*/ 72 h 78"/>
                <a:gd name="T116" fmla="*/ 95 w 95"/>
                <a:gd name="T117" fmla="*/ 75 h 78"/>
                <a:gd name="T118" fmla="*/ 95 w 95"/>
                <a:gd name="T1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78">
                  <a:moveTo>
                    <a:pt x="95" y="78"/>
                  </a:moveTo>
                  <a:lnTo>
                    <a:pt x="90" y="77"/>
                  </a:lnTo>
                  <a:lnTo>
                    <a:pt x="80" y="78"/>
                  </a:lnTo>
                  <a:lnTo>
                    <a:pt x="80" y="77"/>
                  </a:lnTo>
                  <a:lnTo>
                    <a:pt x="75" y="75"/>
                  </a:lnTo>
                  <a:lnTo>
                    <a:pt x="68" y="72"/>
                  </a:lnTo>
                  <a:lnTo>
                    <a:pt x="60" y="70"/>
                  </a:lnTo>
                  <a:lnTo>
                    <a:pt x="53" y="68"/>
                  </a:lnTo>
                  <a:lnTo>
                    <a:pt x="48" y="67"/>
                  </a:lnTo>
                  <a:lnTo>
                    <a:pt x="41" y="63"/>
                  </a:lnTo>
                  <a:lnTo>
                    <a:pt x="37" y="58"/>
                  </a:lnTo>
                  <a:lnTo>
                    <a:pt x="31" y="56"/>
                  </a:lnTo>
                  <a:lnTo>
                    <a:pt x="22" y="53"/>
                  </a:lnTo>
                  <a:lnTo>
                    <a:pt x="22" y="51"/>
                  </a:lnTo>
                  <a:lnTo>
                    <a:pt x="20" y="51"/>
                  </a:lnTo>
                  <a:lnTo>
                    <a:pt x="12" y="48"/>
                  </a:lnTo>
                  <a:lnTo>
                    <a:pt x="5" y="44"/>
                  </a:lnTo>
                  <a:lnTo>
                    <a:pt x="0" y="43"/>
                  </a:lnTo>
                  <a:lnTo>
                    <a:pt x="0" y="41"/>
                  </a:lnTo>
                  <a:lnTo>
                    <a:pt x="3" y="32"/>
                  </a:lnTo>
                  <a:lnTo>
                    <a:pt x="10" y="27"/>
                  </a:lnTo>
                  <a:lnTo>
                    <a:pt x="12" y="24"/>
                  </a:lnTo>
                  <a:lnTo>
                    <a:pt x="12" y="17"/>
                  </a:lnTo>
                  <a:lnTo>
                    <a:pt x="10" y="15"/>
                  </a:lnTo>
                  <a:lnTo>
                    <a:pt x="14" y="12"/>
                  </a:lnTo>
                  <a:lnTo>
                    <a:pt x="22" y="12"/>
                  </a:lnTo>
                  <a:lnTo>
                    <a:pt x="25" y="12"/>
                  </a:lnTo>
                  <a:lnTo>
                    <a:pt x="27" y="12"/>
                  </a:lnTo>
                  <a:lnTo>
                    <a:pt x="27" y="17"/>
                  </a:lnTo>
                  <a:lnTo>
                    <a:pt x="29" y="19"/>
                  </a:lnTo>
                  <a:lnTo>
                    <a:pt x="32" y="14"/>
                  </a:lnTo>
                  <a:lnTo>
                    <a:pt x="36" y="10"/>
                  </a:lnTo>
                  <a:lnTo>
                    <a:pt x="43" y="7"/>
                  </a:lnTo>
                  <a:lnTo>
                    <a:pt x="49" y="0"/>
                  </a:lnTo>
                  <a:lnTo>
                    <a:pt x="51" y="5"/>
                  </a:lnTo>
                  <a:lnTo>
                    <a:pt x="53" y="14"/>
                  </a:lnTo>
                  <a:lnTo>
                    <a:pt x="54" y="24"/>
                  </a:lnTo>
                  <a:lnTo>
                    <a:pt x="54" y="26"/>
                  </a:lnTo>
                  <a:lnTo>
                    <a:pt x="60" y="31"/>
                  </a:lnTo>
                  <a:lnTo>
                    <a:pt x="63" y="29"/>
                  </a:lnTo>
                  <a:lnTo>
                    <a:pt x="66" y="31"/>
                  </a:lnTo>
                  <a:lnTo>
                    <a:pt x="73" y="29"/>
                  </a:lnTo>
                  <a:lnTo>
                    <a:pt x="75" y="31"/>
                  </a:lnTo>
                  <a:lnTo>
                    <a:pt x="77" y="29"/>
                  </a:lnTo>
                  <a:lnTo>
                    <a:pt x="77" y="31"/>
                  </a:lnTo>
                  <a:lnTo>
                    <a:pt x="80" y="31"/>
                  </a:lnTo>
                  <a:lnTo>
                    <a:pt x="82" y="29"/>
                  </a:lnTo>
                  <a:lnTo>
                    <a:pt x="87" y="32"/>
                  </a:lnTo>
                  <a:lnTo>
                    <a:pt x="89" y="31"/>
                  </a:lnTo>
                  <a:lnTo>
                    <a:pt x="90" y="32"/>
                  </a:lnTo>
                  <a:lnTo>
                    <a:pt x="90" y="38"/>
                  </a:lnTo>
                  <a:lnTo>
                    <a:pt x="89" y="43"/>
                  </a:lnTo>
                  <a:lnTo>
                    <a:pt x="89" y="51"/>
                  </a:lnTo>
                  <a:lnTo>
                    <a:pt x="87" y="58"/>
                  </a:lnTo>
                  <a:lnTo>
                    <a:pt x="90" y="67"/>
                  </a:lnTo>
                  <a:lnTo>
                    <a:pt x="89" y="73"/>
                  </a:lnTo>
                  <a:lnTo>
                    <a:pt x="92" y="75"/>
                  </a:lnTo>
                  <a:lnTo>
                    <a:pt x="94" y="72"/>
                  </a:lnTo>
                  <a:lnTo>
                    <a:pt x="95" y="75"/>
                  </a:lnTo>
                  <a:lnTo>
                    <a:pt x="95" y="78"/>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grpSp>
      <p:sp>
        <p:nvSpPr>
          <p:cNvPr id="3" name="Title 2"/>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ntent &amp; Two Map">
    <p:spTree>
      <p:nvGrpSpPr>
        <p:cNvPr id="1" name=""/>
        <p:cNvGrpSpPr/>
        <p:nvPr/>
      </p:nvGrpSpPr>
      <p:grpSpPr>
        <a:xfrm>
          <a:off x="0" y="0"/>
          <a:ext cx="0" cy="0"/>
          <a:chOff x="0" y="0"/>
          <a:chExt cx="0" cy="0"/>
        </a:xfrm>
      </p:grpSpPr>
      <p:sp>
        <p:nvSpPr>
          <p:cNvPr id="10" name="Text Placeholder 8"/>
          <p:cNvSpPr>
            <a:spLocks noGrp="1"/>
          </p:cNvSpPr>
          <p:nvPr>
            <p:ph type="body" sz="quarter" idx="14" hasCustomPrompt="1"/>
          </p:nvPr>
        </p:nvSpPr>
        <p:spPr>
          <a:xfrm>
            <a:off x="334964" y="1354667"/>
            <a:ext cx="5617020" cy="287086"/>
          </a:xfrm>
        </p:spPr>
        <p:txBody>
          <a:bodyPr anchor="t">
            <a:normAutofit/>
          </a:bodyPr>
          <a:lstStyle>
            <a:lvl1pPr marL="0" indent="0">
              <a:lnSpc>
                <a:spcPct val="100000"/>
              </a:lnSpc>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9" name="Text Placeholder 8"/>
          <p:cNvSpPr>
            <a:spLocks noGrp="1"/>
          </p:cNvSpPr>
          <p:nvPr>
            <p:ph type="body" sz="quarter" idx="18" hasCustomPrompt="1"/>
          </p:nvPr>
        </p:nvSpPr>
        <p:spPr>
          <a:xfrm>
            <a:off x="2358926"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3" name="Text Placeholder 8"/>
          <p:cNvSpPr>
            <a:spLocks noGrp="1"/>
          </p:cNvSpPr>
          <p:nvPr>
            <p:ph type="body" sz="quarter" idx="22" hasCustomPrompt="1"/>
          </p:nvPr>
        </p:nvSpPr>
        <p:spPr>
          <a:xfrm>
            <a:off x="334963"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4" name="Text Placeholder 8"/>
          <p:cNvSpPr>
            <a:spLocks noGrp="1"/>
          </p:cNvSpPr>
          <p:nvPr>
            <p:ph type="body" sz="quarter" idx="23" hasCustomPrompt="1"/>
          </p:nvPr>
        </p:nvSpPr>
        <p:spPr>
          <a:xfrm>
            <a:off x="2358926"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27" name="Text Placeholder 8"/>
          <p:cNvSpPr>
            <a:spLocks noGrp="1"/>
          </p:cNvSpPr>
          <p:nvPr>
            <p:ph type="body" sz="quarter" idx="26" hasCustomPrompt="1"/>
          </p:nvPr>
        </p:nvSpPr>
        <p:spPr>
          <a:xfrm>
            <a:off x="334963" y="5013176"/>
            <a:ext cx="5617021" cy="374119"/>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a:t>
            </a:r>
          </a:p>
        </p:txBody>
      </p:sp>
      <p:sp>
        <p:nvSpPr>
          <p:cNvPr id="28" name="Text Placeholder 8"/>
          <p:cNvSpPr>
            <a:spLocks noGrp="1"/>
          </p:cNvSpPr>
          <p:nvPr>
            <p:ph type="body" sz="quarter" idx="27" hasCustomPrompt="1"/>
          </p:nvPr>
        </p:nvSpPr>
        <p:spPr>
          <a:xfrm>
            <a:off x="334963" y="5663201"/>
            <a:ext cx="11485562" cy="142063"/>
          </a:xfrm>
        </p:spPr>
        <p:txBody>
          <a:bodyPr rIns="0" bIns="0"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30" name="Text Placeholder 8"/>
          <p:cNvSpPr>
            <a:spLocks noGrp="1"/>
          </p:cNvSpPr>
          <p:nvPr>
            <p:ph type="body" sz="quarter" idx="31" hasCustomPrompt="1"/>
          </p:nvPr>
        </p:nvSpPr>
        <p:spPr>
          <a:xfrm>
            <a:off x="6272212" y="1354667"/>
            <a:ext cx="5537645" cy="287086"/>
          </a:xfrm>
        </p:spPr>
        <p:txBody>
          <a:bodyPr anchor="t">
            <a:normAutofit/>
          </a:bodyPr>
          <a:lstStyle>
            <a:lvl1pPr marL="0" indent="0">
              <a:lnSpc>
                <a:spcPct val="100000"/>
              </a:lnSpc>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2" name="Text Placeholder 8"/>
          <p:cNvSpPr>
            <a:spLocks noGrp="1"/>
          </p:cNvSpPr>
          <p:nvPr>
            <p:ph type="body" sz="quarter" idx="32" hasCustomPrompt="1"/>
          </p:nvPr>
        </p:nvSpPr>
        <p:spPr>
          <a:xfrm>
            <a:off x="4382889"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3" name="Text Placeholder 8"/>
          <p:cNvSpPr>
            <a:spLocks noGrp="1"/>
          </p:cNvSpPr>
          <p:nvPr>
            <p:ph type="body" sz="quarter" idx="33" hasCustomPrompt="1"/>
          </p:nvPr>
        </p:nvSpPr>
        <p:spPr>
          <a:xfrm>
            <a:off x="4382889"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4" name="Text Placeholder 8"/>
          <p:cNvSpPr>
            <a:spLocks noGrp="1"/>
          </p:cNvSpPr>
          <p:nvPr>
            <p:ph type="body" sz="quarter" idx="34" hasCustomPrompt="1"/>
          </p:nvPr>
        </p:nvSpPr>
        <p:spPr>
          <a:xfrm>
            <a:off x="6240019" y="5013176"/>
            <a:ext cx="5580506" cy="374119"/>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a:t>
            </a:r>
          </a:p>
        </p:txBody>
      </p:sp>
      <p:sp>
        <p:nvSpPr>
          <p:cNvPr id="35" name="Text Placeholder 8"/>
          <p:cNvSpPr>
            <a:spLocks noGrp="1"/>
          </p:cNvSpPr>
          <p:nvPr>
            <p:ph type="body" sz="quarter" idx="35" hasCustomPrompt="1"/>
          </p:nvPr>
        </p:nvSpPr>
        <p:spPr>
          <a:xfrm>
            <a:off x="6249988"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6" name="Text Placeholder 8"/>
          <p:cNvSpPr>
            <a:spLocks noGrp="1"/>
          </p:cNvSpPr>
          <p:nvPr>
            <p:ph type="body" sz="quarter" idx="36" hasCustomPrompt="1"/>
          </p:nvPr>
        </p:nvSpPr>
        <p:spPr>
          <a:xfrm>
            <a:off x="8240807"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7" name="Text Placeholder 8"/>
          <p:cNvSpPr>
            <a:spLocks noGrp="1"/>
          </p:cNvSpPr>
          <p:nvPr>
            <p:ph type="body" sz="quarter" idx="37" hasCustomPrompt="1"/>
          </p:nvPr>
        </p:nvSpPr>
        <p:spPr>
          <a:xfrm>
            <a:off x="6249988"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8" name="Text Placeholder 8"/>
          <p:cNvSpPr>
            <a:spLocks noGrp="1"/>
          </p:cNvSpPr>
          <p:nvPr>
            <p:ph type="body" sz="quarter" idx="38" hasCustomPrompt="1"/>
          </p:nvPr>
        </p:nvSpPr>
        <p:spPr>
          <a:xfrm>
            <a:off x="8240807"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9" name="Text Placeholder 8"/>
          <p:cNvSpPr>
            <a:spLocks noGrp="1"/>
          </p:cNvSpPr>
          <p:nvPr>
            <p:ph type="body" sz="quarter" idx="39" hasCustomPrompt="1"/>
          </p:nvPr>
        </p:nvSpPr>
        <p:spPr>
          <a:xfrm>
            <a:off x="10231626" y="1917659"/>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40" name="Text Placeholder 8"/>
          <p:cNvSpPr>
            <a:spLocks noGrp="1"/>
          </p:cNvSpPr>
          <p:nvPr>
            <p:ph type="body" sz="quarter" idx="40" hasCustomPrompt="1"/>
          </p:nvPr>
        </p:nvSpPr>
        <p:spPr>
          <a:xfrm>
            <a:off x="10231626" y="4503696"/>
            <a:ext cx="1584573" cy="456665"/>
          </a:xfrm>
        </p:spPr>
        <p:txBody>
          <a:bodyPr anchor="t">
            <a:normAutofit/>
          </a:bodyPr>
          <a:lstStyle>
            <a:lvl1pPr marL="0" marR="0" indent="0" algn="l" defTabSz="914400" rtl="0" eaLnBrk="1" fontAlgn="auto" latinLnBrk="0" hangingPunct="1">
              <a:lnSpc>
                <a:spcPct val="100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6" name="Date Placeholder 5"/>
          <p:cNvSpPr>
            <a:spLocks noGrp="1"/>
          </p:cNvSpPr>
          <p:nvPr>
            <p:ph type="dt" sz="half" idx="41"/>
          </p:nvPr>
        </p:nvSpPr>
        <p:spPr/>
        <p:txBody>
          <a:bodyPr/>
          <a:lstStyle/>
          <a:p>
            <a:fld id="{CB6E0E24-B4F7-E843-AFC0-C1F83B7A48CA}" type="datetime2">
              <a:rPr lang="en-ID" smtClean="0"/>
              <a:t>Sunday, 12 May 2024</a:t>
            </a:fld>
            <a:endParaRPr lang="id-ID"/>
          </a:p>
        </p:txBody>
      </p:sp>
      <p:sp>
        <p:nvSpPr>
          <p:cNvPr id="8" name="Slide Number Placeholder 7"/>
          <p:cNvSpPr>
            <a:spLocks noGrp="1"/>
          </p:cNvSpPr>
          <p:nvPr>
            <p:ph type="sldNum" sz="quarter" idx="43"/>
          </p:nvPr>
        </p:nvSpPr>
        <p:spPr/>
        <p:txBody>
          <a:bodyPr/>
          <a:lstStyle/>
          <a:p>
            <a:r>
              <a:rPr lang="id-ID"/>
              <a:t>|         </a:t>
            </a:r>
            <a:fld id="{7904F5B5-DD6E-6442-8C14-4BFE420CE974}" type="slidenum">
              <a:rPr lang="id-ID" smtClean="0"/>
              <a:t>‹#›</a:t>
            </a:fld>
            <a:endParaRPr lang="id-ID"/>
          </a:p>
        </p:txBody>
      </p:sp>
      <p:sp>
        <p:nvSpPr>
          <p:cNvPr id="25" name="Text Placeholder 3"/>
          <p:cNvSpPr>
            <a:spLocks noGrp="1"/>
          </p:cNvSpPr>
          <p:nvPr>
            <p:ph type="body" sz="quarter" idx="44" hasCustomPrompt="1"/>
          </p:nvPr>
        </p:nvSpPr>
        <p:spPr>
          <a:xfrm>
            <a:off x="334961" y="5885645"/>
            <a:ext cx="11485564" cy="496105"/>
          </a:xfrm>
        </p:spPr>
        <p:txBody>
          <a:bodyPr anchor="t">
            <a:norm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90204"/>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marL="0" marR="0" lvl="0" indent="0" algn="l" defTabSz="914400" rtl="0" eaLnBrk="1" fontAlgn="auto" latinLnBrk="0" hangingPunct="1">
              <a:lnSpc>
                <a:spcPct val="100000"/>
              </a:lnSpc>
              <a:spcBef>
                <a:spcPts val="1000"/>
              </a:spcBef>
              <a:spcAft>
                <a:spcPts val="0"/>
              </a:spcAft>
              <a:buClrTx/>
              <a:buSzTx/>
              <a:buFont typeface="Arial" panose="020B0604020202090204"/>
              <a:buNone/>
              <a:defRPr/>
            </a:pPr>
            <a:r>
              <a:rPr lang="en-US"/>
              <a:t>Click to edit Master text styles Click to edit Master text styles</a:t>
            </a:r>
            <a:endParaRPr lang="id-ID"/>
          </a:p>
        </p:txBody>
      </p:sp>
      <p:grpSp>
        <p:nvGrpSpPr>
          <p:cNvPr id="75" name="Group 74"/>
          <p:cNvGrpSpPr/>
          <p:nvPr/>
        </p:nvGrpSpPr>
        <p:grpSpPr>
          <a:xfrm>
            <a:off x="470788" y="2509161"/>
            <a:ext cx="5337180" cy="2035796"/>
            <a:chOff x="882484" y="1865010"/>
            <a:chExt cx="10045779" cy="3697619"/>
          </a:xfrm>
          <a:solidFill>
            <a:schemeClr val="bg1">
              <a:lumMod val="85000"/>
            </a:schemeClr>
          </a:solidFill>
        </p:grpSpPr>
        <p:sp>
          <p:nvSpPr>
            <p:cNvPr id="76" name="Freeform 49"/>
            <p:cNvSpPr>
              <a:spLocks noEditPoints="1"/>
            </p:cNvSpPr>
            <p:nvPr/>
          </p:nvSpPr>
          <p:spPr bwMode="gray">
            <a:xfrm>
              <a:off x="882484" y="1865010"/>
              <a:ext cx="713255" cy="853718"/>
            </a:xfrm>
            <a:custGeom>
              <a:avLst/>
              <a:gdLst>
                <a:gd name="T0" fmla="*/ 196 w 391"/>
                <a:gd name="T1" fmla="*/ 452 h 468"/>
                <a:gd name="T2" fmla="*/ 191 w 391"/>
                <a:gd name="T3" fmla="*/ 447 h 468"/>
                <a:gd name="T4" fmla="*/ 273 w 391"/>
                <a:gd name="T5" fmla="*/ 445 h 468"/>
                <a:gd name="T6" fmla="*/ 278 w 391"/>
                <a:gd name="T7" fmla="*/ 461 h 468"/>
                <a:gd name="T8" fmla="*/ 251 w 391"/>
                <a:gd name="T9" fmla="*/ 442 h 468"/>
                <a:gd name="T10" fmla="*/ 287 w 391"/>
                <a:gd name="T11" fmla="*/ 433 h 468"/>
                <a:gd name="T12" fmla="*/ 275 w 391"/>
                <a:gd name="T13" fmla="*/ 433 h 468"/>
                <a:gd name="T14" fmla="*/ 283 w 391"/>
                <a:gd name="T15" fmla="*/ 427 h 468"/>
                <a:gd name="T16" fmla="*/ 178 w 391"/>
                <a:gd name="T17" fmla="*/ 418 h 468"/>
                <a:gd name="T18" fmla="*/ 160 w 391"/>
                <a:gd name="T19" fmla="*/ 389 h 468"/>
                <a:gd name="T20" fmla="*/ 99 w 391"/>
                <a:gd name="T21" fmla="*/ 362 h 468"/>
                <a:gd name="T22" fmla="*/ 104 w 391"/>
                <a:gd name="T23" fmla="*/ 369 h 468"/>
                <a:gd name="T24" fmla="*/ 128 w 391"/>
                <a:gd name="T25" fmla="*/ 379 h 468"/>
                <a:gd name="T26" fmla="*/ 130 w 391"/>
                <a:gd name="T27" fmla="*/ 391 h 468"/>
                <a:gd name="T28" fmla="*/ 137 w 391"/>
                <a:gd name="T29" fmla="*/ 387 h 468"/>
                <a:gd name="T30" fmla="*/ 162 w 391"/>
                <a:gd name="T31" fmla="*/ 410 h 468"/>
                <a:gd name="T32" fmla="*/ 176 w 391"/>
                <a:gd name="T33" fmla="*/ 420 h 468"/>
                <a:gd name="T34" fmla="*/ 145 w 391"/>
                <a:gd name="T35" fmla="*/ 415 h 468"/>
                <a:gd name="T36" fmla="*/ 114 w 391"/>
                <a:gd name="T37" fmla="*/ 398 h 468"/>
                <a:gd name="T38" fmla="*/ 92 w 391"/>
                <a:gd name="T39" fmla="*/ 386 h 468"/>
                <a:gd name="T40" fmla="*/ 92 w 391"/>
                <a:gd name="T41" fmla="*/ 369 h 468"/>
                <a:gd name="T42" fmla="*/ 44 w 391"/>
                <a:gd name="T43" fmla="*/ 350 h 468"/>
                <a:gd name="T44" fmla="*/ 15 w 391"/>
                <a:gd name="T45" fmla="*/ 41 h 468"/>
                <a:gd name="T46" fmla="*/ 386 w 391"/>
                <a:gd name="T47" fmla="*/ 194 h 468"/>
                <a:gd name="T48" fmla="*/ 365 w 391"/>
                <a:gd name="T49" fmla="*/ 211 h 468"/>
                <a:gd name="T50" fmla="*/ 347 w 391"/>
                <a:gd name="T51" fmla="*/ 249 h 468"/>
                <a:gd name="T52" fmla="*/ 348 w 391"/>
                <a:gd name="T53" fmla="*/ 297 h 468"/>
                <a:gd name="T54" fmla="*/ 341 w 391"/>
                <a:gd name="T55" fmla="*/ 317 h 468"/>
                <a:gd name="T56" fmla="*/ 350 w 391"/>
                <a:gd name="T57" fmla="*/ 360 h 468"/>
                <a:gd name="T58" fmla="*/ 367 w 391"/>
                <a:gd name="T59" fmla="*/ 406 h 468"/>
                <a:gd name="T60" fmla="*/ 359 w 391"/>
                <a:gd name="T61" fmla="*/ 439 h 468"/>
                <a:gd name="T62" fmla="*/ 318 w 391"/>
                <a:gd name="T63" fmla="*/ 420 h 468"/>
                <a:gd name="T64" fmla="*/ 309 w 391"/>
                <a:gd name="T65" fmla="*/ 363 h 468"/>
                <a:gd name="T66" fmla="*/ 271 w 391"/>
                <a:gd name="T67" fmla="*/ 326 h 468"/>
                <a:gd name="T68" fmla="*/ 239 w 391"/>
                <a:gd name="T69" fmla="*/ 288 h 468"/>
                <a:gd name="T70" fmla="*/ 198 w 391"/>
                <a:gd name="T71" fmla="*/ 259 h 468"/>
                <a:gd name="T72" fmla="*/ 152 w 391"/>
                <a:gd name="T73" fmla="*/ 228 h 468"/>
                <a:gd name="T74" fmla="*/ 121 w 391"/>
                <a:gd name="T75" fmla="*/ 205 h 468"/>
                <a:gd name="T76" fmla="*/ 79 w 391"/>
                <a:gd name="T77" fmla="*/ 160 h 468"/>
                <a:gd name="T78" fmla="*/ 56 w 391"/>
                <a:gd name="T79" fmla="*/ 138 h 468"/>
                <a:gd name="T80" fmla="*/ 43 w 391"/>
                <a:gd name="T81" fmla="*/ 104 h 468"/>
                <a:gd name="T82" fmla="*/ 27 w 391"/>
                <a:gd name="T83" fmla="*/ 75 h 468"/>
                <a:gd name="T84" fmla="*/ 27 w 391"/>
                <a:gd name="T85" fmla="*/ 54 h 468"/>
                <a:gd name="T86" fmla="*/ 50 w 391"/>
                <a:gd name="T87" fmla="*/ 30 h 468"/>
                <a:gd name="T88" fmla="*/ 102 w 391"/>
                <a:gd name="T89" fmla="*/ 47 h 468"/>
                <a:gd name="T90" fmla="*/ 140 w 391"/>
                <a:gd name="T91" fmla="*/ 76 h 468"/>
                <a:gd name="T92" fmla="*/ 205 w 391"/>
                <a:gd name="T93" fmla="*/ 78 h 468"/>
                <a:gd name="T94" fmla="*/ 256 w 391"/>
                <a:gd name="T95" fmla="*/ 85 h 468"/>
                <a:gd name="T96" fmla="*/ 297 w 391"/>
                <a:gd name="T97" fmla="*/ 78 h 468"/>
                <a:gd name="T98" fmla="*/ 326 w 391"/>
                <a:gd name="T99" fmla="*/ 109 h 468"/>
                <a:gd name="T100" fmla="*/ 353 w 391"/>
                <a:gd name="T101" fmla="*/ 148 h 468"/>
                <a:gd name="T102" fmla="*/ 357 w 391"/>
                <a:gd name="T103" fmla="*/ 165 h 468"/>
                <a:gd name="T104" fmla="*/ 379 w 391"/>
                <a:gd name="T105" fmla="*/ 170 h 468"/>
                <a:gd name="T106" fmla="*/ 391 w 391"/>
                <a:gd name="T107" fmla="*/ 189 h 468"/>
                <a:gd name="T108" fmla="*/ 14 w 391"/>
                <a:gd name="T109" fmla="*/ 37 h 468"/>
                <a:gd name="T110" fmla="*/ 15 w 391"/>
                <a:gd name="T111" fmla="*/ 29 h 468"/>
                <a:gd name="T112" fmla="*/ 0 w 391"/>
                <a:gd name="T113" fmla="*/ 22 h 468"/>
                <a:gd name="T114" fmla="*/ 38 w 391"/>
                <a:gd name="T115" fmla="*/ 3 h 468"/>
                <a:gd name="T116" fmla="*/ 24 w 391"/>
                <a:gd name="T117" fmla="*/ 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1" h="468">
                  <a:moveTo>
                    <a:pt x="253" y="454"/>
                  </a:moveTo>
                  <a:lnTo>
                    <a:pt x="256" y="459"/>
                  </a:lnTo>
                  <a:lnTo>
                    <a:pt x="251" y="462"/>
                  </a:lnTo>
                  <a:lnTo>
                    <a:pt x="253" y="466"/>
                  </a:lnTo>
                  <a:lnTo>
                    <a:pt x="251" y="468"/>
                  </a:lnTo>
                  <a:lnTo>
                    <a:pt x="246" y="459"/>
                  </a:lnTo>
                  <a:lnTo>
                    <a:pt x="249" y="457"/>
                  </a:lnTo>
                  <a:lnTo>
                    <a:pt x="249" y="454"/>
                  </a:lnTo>
                  <a:lnTo>
                    <a:pt x="253" y="454"/>
                  </a:lnTo>
                  <a:close/>
                  <a:moveTo>
                    <a:pt x="196" y="452"/>
                  </a:moveTo>
                  <a:lnTo>
                    <a:pt x="200" y="457"/>
                  </a:lnTo>
                  <a:lnTo>
                    <a:pt x="195" y="461"/>
                  </a:lnTo>
                  <a:lnTo>
                    <a:pt x="191" y="459"/>
                  </a:lnTo>
                  <a:lnTo>
                    <a:pt x="191" y="456"/>
                  </a:lnTo>
                  <a:lnTo>
                    <a:pt x="193" y="454"/>
                  </a:lnTo>
                  <a:lnTo>
                    <a:pt x="196" y="452"/>
                  </a:lnTo>
                  <a:close/>
                  <a:moveTo>
                    <a:pt x="193" y="445"/>
                  </a:moveTo>
                  <a:lnTo>
                    <a:pt x="196" y="447"/>
                  </a:lnTo>
                  <a:lnTo>
                    <a:pt x="195" y="451"/>
                  </a:lnTo>
                  <a:lnTo>
                    <a:pt x="191" y="447"/>
                  </a:lnTo>
                  <a:lnTo>
                    <a:pt x="193" y="445"/>
                  </a:lnTo>
                  <a:close/>
                  <a:moveTo>
                    <a:pt x="290" y="449"/>
                  </a:moveTo>
                  <a:lnTo>
                    <a:pt x="289" y="447"/>
                  </a:lnTo>
                  <a:lnTo>
                    <a:pt x="290" y="445"/>
                  </a:lnTo>
                  <a:lnTo>
                    <a:pt x="290" y="449"/>
                  </a:lnTo>
                  <a:close/>
                  <a:moveTo>
                    <a:pt x="266" y="440"/>
                  </a:moveTo>
                  <a:lnTo>
                    <a:pt x="273" y="440"/>
                  </a:lnTo>
                  <a:lnTo>
                    <a:pt x="273" y="444"/>
                  </a:lnTo>
                  <a:lnTo>
                    <a:pt x="275" y="445"/>
                  </a:lnTo>
                  <a:lnTo>
                    <a:pt x="273" y="445"/>
                  </a:lnTo>
                  <a:lnTo>
                    <a:pt x="277" y="447"/>
                  </a:lnTo>
                  <a:lnTo>
                    <a:pt x="277" y="449"/>
                  </a:lnTo>
                  <a:lnTo>
                    <a:pt x="278" y="449"/>
                  </a:lnTo>
                  <a:lnTo>
                    <a:pt x="278" y="452"/>
                  </a:lnTo>
                  <a:lnTo>
                    <a:pt x="277" y="454"/>
                  </a:lnTo>
                  <a:lnTo>
                    <a:pt x="280" y="457"/>
                  </a:lnTo>
                  <a:lnTo>
                    <a:pt x="278" y="457"/>
                  </a:lnTo>
                  <a:lnTo>
                    <a:pt x="278" y="464"/>
                  </a:lnTo>
                  <a:lnTo>
                    <a:pt x="277" y="462"/>
                  </a:lnTo>
                  <a:lnTo>
                    <a:pt x="278" y="461"/>
                  </a:lnTo>
                  <a:lnTo>
                    <a:pt x="275" y="461"/>
                  </a:lnTo>
                  <a:lnTo>
                    <a:pt x="271" y="456"/>
                  </a:lnTo>
                  <a:lnTo>
                    <a:pt x="270" y="456"/>
                  </a:lnTo>
                  <a:lnTo>
                    <a:pt x="268" y="452"/>
                  </a:lnTo>
                  <a:lnTo>
                    <a:pt x="265" y="451"/>
                  </a:lnTo>
                  <a:lnTo>
                    <a:pt x="265" y="447"/>
                  </a:lnTo>
                  <a:lnTo>
                    <a:pt x="263" y="449"/>
                  </a:lnTo>
                  <a:lnTo>
                    <a:pt x="263" y="445"/>
                  </a:lnTo>
                  <a:lnTo>
                    <a:pt x="258" y="447"/>
                  </a:lnTo>
                  <a:lnTo>
                    <a:pt x="251" y="442"/>
                  </a:lnTo>
                  <a:lnTo>
                    <a:pt x="251" y="440"/>
                  </a:lnTo>
                  <a:lnTo>
                    <a:pt x="256" y="440"/>
                  </a:lnTo>
                  <a:lnTo>
                    <a:pt x="258" y="440"/>
                  </a:lnTo>
                  <a:lnTo>
                    <a:pt x="258" y="442"/>
                  </a:lnTo>
                  <a:lnTo>
                    <a:pt x="259" y="440"/>
                  </a:lnTo>
                  <a:lnTo>
                    <a:pt x="261" y="444"/>
                  </a:lnTo>
                  <a:lnTo>
                    <a:pt x="263" y="444"/>
                  </a:lnTo>
                  <a:lnTo>
                    <a:pt x="266" y="440"/>
                  </a:lnTo>
                  <a:close/>
                  <a:moveTo>
                    <a:pt x="285" y="433"/>
                  </a:moveTo>
                  <a:lnTo>
                    <a:pt x="287" y="433"/>
                  </a:lnTo>
                  <a:lnTo>
                    <a:pt x="287" y="437"/>
                  </a:lnTo>
                  <a:lnTo>
                    <a:pt x="285" y="437"/>
                  </a:lnTo>
                  <a:lnTo>
                    <a:pt x="285" y="433"/>
                  </a:lnTo>
                  <a:close/>
                  <a:moveTo>
                    <a:pt x="268" y="433"/>
                  </a:moveTo>
                  <a:lnTo>
                    <a:pt x="271" y="435"/>
                  </a:lnTo>
                  <a:lnTo>
                    <a:pt x="266" y="433"/>
                  </a:lnTo>
                  <a:lnTo>
                    <a:pt x="268" y="433"/>
                  </a:lnTo>
                  <a:close/>
                  <a:moveTo>
                    <a:pt x="273" y="430"/>
                  </a:moveTo>
                  <a:lnTo>
                    <a:pt x="275" y="430"/>
                  </a:lnTo>
                  <a:lnTo>
                    <a:pt x="275" y="433"/>
                  </a:lnTo>
                  <a:lnTo>
                    <a:pt x="273" y="433"/>
                  </a:lnTo>
                  <a:lnTo>
                    <a:pt x="273" y="430"/>
                  </a:lnTo>
                  <a:close/>
                  <a:moveTo>
                    <a:pt x="285" y="430"/>
                  </a:moveTo>
                  <a:lnTo>
                    <a:pt x="287" y="430"/>
                  </a:lnTo>
                  <a:lnTo>
                    <a:pt x="287" y="432"/>
                  </a:lnTo>
                  <a:lnTo>
                    <a:pt x="285" y="432"/>
                  </a:lnTo>
                  <a:lnTo>
                    <a:pt x="285" y="430"/>
                  </a:lnTo>
                  <a:close/>
                  <a:moveTo>
                    <a:pt x="287" y="427"/>
                  </a:moveTo>
                  <a:lnTo>
                    <a:pt x="287" y="432"/>
                  </a:lnTo>
                  <a:lnTo>
                    <a:pt x="283" y="427"/>
                  </a:lnTo>
                  <a:lnTo>
                    <a:pt x="283" y="425"/>
                  </a:lnTo>
                  <a:lnTo>
                    <a:pt x="287" y="427"/>
                  </a:lnTo>
                  <a:close/>
                  <a:moveTo>
                    <a:pt x="149" y="425"/>
                  </a:moveTo>
                  <a:lnTo>
                    <a:pt x="145" y="427"/>
                  </a:lnTo>
                  <a:lnTo>
                    <a:pt x="143" y="425"/>
                  </a:lnTo>
                  <a:lnTo>
                    <a:pt x="149" y="423"/>
                  </a:lnTo>
                  <a:lnTo>
                    <a:pt x="149" y="425"/>
                  </a:lnTo>
                  <a:close/>
                  <a:moveTo>
                    <a:pt x="176" y="415"/>
                  </a:moveTo>
                  <a:lnTo>
                    <a:pt x="179" y="416"/>
                  </a:lnTo>
                  <a:lnTo>
                    <a:pt x="178" y="418"/>
                  </a:lnTo>
                  <a:lnTo>
                    <a:pt x="176" y="416"/>
                  </a:lnTo>
                  <a:lnTo>
                    <a:pt x="176" y="415"/>
                  </a:lnTo>
                  <a:close/>
                  <a:moveTo>
                    <a:pt x="109" y="403"/>
                  </a:moveTo>
                  <a:lnTo>
                    <a:pt x="113" y="404"/>
                  </a:lnTo>
                  <a:lnTo>
                    <a:pt x="108" y="404"/>
                  </a:lnTo>
                  <a:lnTo>
                    <a:pt x="109" y="403"/>
                  </a:lnTo>
                  <a:close/>
                  <a:moveTo>
                    <a:pt x="162" y="389"/>
                  </a:moveTo>
                  <a:lnTo>
                    <a:pt x="166" y="391"/>
                  </a:lnTo>
                  <a:lnTo>
                    <a:pt x="164" y="391"/>
                  </a:lnTo>
                  <a:lnTo>
                    <a:pt x="160" y="389"/>
                  </a:lnTo>
                  <a:lnTo>
                    <a:pt x="162" y="389"/>
                  </a:lnTo>
                  <a:close/>
                  <a:moveTo>
                    <a:pt x="84" y="382"/>
                  </a:moveTo>
                  <a:lnTo>
                    <a:pt x="87" y="382"/>
                  </a:lnTo>
                  <a:lnTo>
                    <a:pt x="87" y="384"/>
                  </a:lnTo>
                  <a:lnTo>
                    <a:pt x="84" y="384"/>
                  </a:lnTo>
                  <a:lnTo>
                    <a:pt x="84" y="382"/>
                  </a:lnTo>
                  <a:close/>
                  <a:moveTo>
                    <a:pt x="94" y="357"/>
                  </a:moveTo>
                  <a:lnTo>
                    <a:pt x="94" y="358"/>
                  </a:lnTo>
                  <a:lnTo>
                    <a:pt x="97" y="358"/>
                  </a:lnTo>
                  <a:lnTo>
                    <a:pt x="99" y="362"/>
                  </a:lnTo>
                  <a:lnTo>
                    <a:pt x="97" y="358"/>
                  </a:lnTo>
                  <a:lnTo>
                    <a:pt x="106" y="360"/>
                  </a:lnTo>
                  <a:lnTo>
                    <a:pt x="108" y="363"/>
                  </a:lnTo>
                  <a:lnTo>
                    <a:pt x="108" y="367"/>
                  </a:lnTo>
                  <a:lnTo>
                    <a:pt x="104" y="363"/>
                  </a:lnTo>
                  <a:lnTo>
                    <a:pt x="102" y="363"/>
                  </a:lnTo>
                  <a:lnTo>
                    <a:pt x="104" y="365"/>
                  </a:lnTo>
                  <a:lnTo>
                    <a:pt x="101" y="365"/>
                  </a:lnTo>
                  <a:lnTo>
                    <a:pt x="104" y="367"/>
                  </a:lnTo>
                  <a:lnTo>
                    <a:pt x="104" y="369"/>
                  </a:lnTo>
                  <a:lnTo>
                    <a:pt x="108" y="369"/>
                  </a:lnTo>
                  <a:lnTo>
                    <a:pt x="108" y="367"/>
                  </a:lnTo>
                  <a:lnTo>
                    <a:pt x="109" y="369"/>
                  </a:lnTo>
                  <a:lnTo>
                    <a:pt x="114" y="370"/>
                  </a:lnTo>
                  <a:lnTo>
                    <a:pt x="114" y="374"/>
                  </a:lnTo>
                  <a:lnTo>
                    <a:pt x="121" y="377"/>
                  </a:lnTo>
                  <a:lnTo>
                    <a:pt x="130" y="377"/>
                  </a:lnTo>
                  <a:lnTo>
                    <a:pt x="128" y="377"/>
                  </a:lnTo>
                  <a:lnTo>
                    <a:pt x="128" y="380"/>
                  </a:lnTo>
                  <a:lnTo>
                    <a:pt x="128" y="379"/>
                  </a:lnTo>
                  <a:lnTo>
                    <a:pt x="133" y="380"/>
                  </a:lnTo>
                  <a:lnTo>
                    <a:pt x="133" y="382"/>
                  </a:lnTo>
                  <a:lnTo>
                    <a:pt x="131" y="380"/>
                  </a:lnTo>
                  <a:lnTo>
                    <a:pt x="131" y="382"/>
                  </a:lnTo>
                  <a:lnTo>
                    <a:pt x="133" y="384"/>
                  </a:lnTo>
                  <a:lnTo>
                    <a:pt x="135" y="382"/>
                  </a:lnTo>
                  <a:lnTo>
                    <a:pt x="135" y="386"/>
                  </a:lnTo>
                  <a:lnTo>
                    <a:pt x="131" y="386"/>
                  </a:lnTo>
                  <a:lnTo>
                    <a:pt x="128" y="387"/>
                  </a:lnTo>
                  <a:lnTo>
                    <a:pt x="130" y="391"/>
                  </a:lnTo>
                  <a:lnTo>
                    <a:pt x="131" y="392"/>
                  </a:lnTo>
                  <a:lnTo>
                    <a:pt x="131" y="391"/>
                  </a:lnTo>
                  <a:lnTo>
                    <a:pt x="133" y="391"/>
                  </a:lnTo>
                  <a:lnTo>
                    <a:pt x="135" y="389"/>
                  </a:lnTo>
                  <a:lnTo>
                    <a:pt x="135" y="391"/>
                  </a:lnTo>
                  <a:lnTo>
                    <a:pt x="137" y="391"/>
                  </a:lnTo>
                  <a:lnTo>
                    <a:pt x="138" y="394"/>
                  </a:lnTo>
                  <a:lnTo>
                    <a:pt x="140" y="394"/>
                  </a:lnTo>
                  <a:lnTo>
                    <a:pt x="138" y="389"/>
                  </a:lnTo>
                  <a:lnTo>
                    <a:pt x="137" y="387"/>
                  </a:lnTo>
                  <a:lnTo>
                    <a:pt x="138" y="387"/>
                  </a:lnTo>
                  <a:lnTo>
                    <a:pt x="143" y="394"/>
                  </a:lnTo>
                  <a:lnTo>
                    <a:pt x="147" y="394"/>
                  </a:lnTo>
                  <a:lnTo>
                    <a:pt x="149" y="398"/>
                  </a:lnTo>
                  <a:lnTo>
                    <a:pt x="152" y="401"/>
                  </a:lnTo>
                  <a:lnTo>
                    <a:pt x="159" y="403"/>
                  </a:lnTo>
                  <a:lnTo>
                    <a:pt x="159" y="404"/>
                  </a:lnTo>
                  <a:lnTo>
                    <a:pt x="162" y="406"/>
                  </a:lnTo>
                  <a:lnTo>
                    <a:pt x="160" y="408"/>
                  </a:lnTo>
                  <a:lnTo>
                    <a:pt x="162" y="410"/>
                  </a:lnTo>
                  <a:lnTo>
                    <a:pt x="164" y="411"/>
                  </a:lnTo>
                  <a:lnTo>
                    <a:pt x="164" y="413"/>
                  </a:lnTo>
                  <a:lnTo>
                    <a:pt x="166" y="413"/>
                  </a:lnTo>
                  <a:lnTo>
                    <a:pt x="166" y="406"/>
                  </a:lnTo>
                  <a:lnTo>
                    <a:pt x="169" y="411"/>
                  </a:lnTo>
                  <a:lnTo>
                    <a:pt x="169" y="410"/>
                  </a:lnTo>
                  <a:lnTo>
                    <a:pt x="172" y="411"/>
                  </a:lnTo>
                  <a:lnTo>
                    <a:pt x="174" y="413"/>
                  </a:lnTo>
                  <a:lnTo>
                    <a:pt x="174" y="416"/>
                  </a:lnTo>
                  <a:lnTo>
                    <a:pt x="176" y="420"/>
                  </a:lnTo>
                  <a:lnTo>
                    <a:pt x="174" y="420"/>
                  </a:lnTo>
                  <a:lnTo>
                    <a:pt x="178" y="425"/>
                  </a:lnTo>
                  <a:lnTo>
                    <a:pt x="171" y="428"/>
                  </a:lnTo>
                  <a:lnTo>
                    <a:pt x="164" y="427"/>
                  </a:lnTo>
                  <a:lnTo>
                    <a:pt x="159" y="427"/>
                  </a:lnTo>
                  <a:lnTo>
                    <a:pt x="155" y="425"/>
                  </a:lnTo>
                  <a:lnTo>
                    <a:pt x="157" y="421"/>
                  </a:lnTo>
                  <a:lnTo>
                    <a:pt x="155" y="421"/>
                  </a:lnTo>
                  <a:lnTo>
                    <a:pt x="155" y="418"/>
                  </a:lnTo>
                  <a:lnTo>
                    <a:pt x="145" y="415"/>
                  </a:lnTo>
                  <a:lnTo>
                    <a:pt x="143" y="413"/>
                  </a:lnTo>
                  <a:lnTo>
                    <a:pt x="138" y="410"/>
                  </a:lnTo>
                  <a:lnTo>
                    <a:pt x="137" y="406"/>
                  </a:lnTo>
                  <a:lnTo>
                    <a:pt x="133" y="406"/>
                  </a:lnTo>
                  <a:lnTo>
                    <a:pt x="131" y="403"/>
                  </a:lnTo>
                  <a:lnTo>
                    <a:pt x="126" y="399"/>
                  </a:lnTo>
                  <a:lnTo>
                    <a:pt x="125" y="401"/>
                  </a:lnTo>
                  <a:lnTo>
                    <a:pt x="120" y="398"/>
                  </a:lnTo>
                  <a:lnTo>
                    <a:pt x="118" y="399"/>
                  </a:lnTo>
                  <a:lnTo>
                    <a:pt x="114" y="398"/>
                  </a:lnTo>
                  <a:lnTo>
                    <a:pt x="111" y="399"/>
                  </a:lnTo>
                  <a:lnTo>
                    <a:pt x="108" y="396"/>
                  </a:lnTo>
                  <a:lnTo>
                    <a:pt x="104" y="396"/>
                  </a:lnTo>
                  <a:lnTo>
                    <a:pt x="104" y="394"/>
                  </a:lnTo>
                  <a:lnTo>
                    <a:pt x="101" y="391"/>
                  </a:lnTo>
                  <a:lnTo>
                    <a:pt x="99" y="392"/>
                  </a:lnTo>
                  <a:lnTo>
                    <a:pt x="99" y="394"/>
                  </a:lnTo>
                  <a:lnTo>
                    <a:pt x="96" y="391"/>
                  </a:lnTo>
                  <a:lnTo>
                    <a:pt x="94" y="392"/>
                  </a:lnTo>
                  <a:lnTo>
                    <a:pt x="92" y="386"/>
                  </a:lnTo>
                  <a:lnTo>
                    <a:pt x="89" y="384"/>
                  </a:lnTo>
                  <a:lnTo>
                    <a:pt x="89" y="382"/>
                  </a:lnTo>
                  <a:lnTo>
                    <a:pt x="84" y="379"/>
                  </a:lnTo>
                  <a:lnTo>
                    <a:pt x="85" y="377"/>
                  </a:lnTo>
                  <a:lnTo>
                    <a:pt x="82" y="379"/>
                  </a:lnTo>
                  <a:lnTo>
                    <a:pt x="80" y="375"/>
                  </a:lnTo>
                  <a:lnTo>
                    <a:pt x="84" y="369"/>
                  </a:lnTo>
                  <a:lnTo>
                    <a:pt x="85" y="369"/>
                  </a:lnTo>
                  <a:lnTo>
                    <a:pt x="89" y="369"/>
                  </a:lnTo>
                  <a:lnTo>
                    <a:pt x="92" y="369"/>
                  </a:lnTo>
                  <a:lnTo>
                    <a:pt x="92" y="367"/>
                  </a:lnTo>
                  <a:lnTo>
                    <a:pt x="89" y="367"/>
                  </a:lnTo>
                  <a:lnTo>
                    <a:pt x="89" y="362"/>
                  </a:lnTo>
                  <a:lnTo>
                    <a:pt x="92" y="357"/>
                  </a:lnTo>
                  <a:lnTo>
                    <a:pt x="94" y="357"/>
                  </a:lnTo>
                  <a:close/>
                  <a:moveTo>
                    <a:pt x="44" y="350"/>
                  </a:moveTo>
                  <a:lnTo>
                    <a:pt x="46" y="350"/>
                  </a:lnTo>
                  <a:lnTo>
                    <a:pt x="46" y="353"/>
                  </a:lnTo>
                  <a:lnTo>
                    <a:pt x="44" y="353"/>
                  </a:lnTo>
                  <a:lnTo>
                    <a:pt x="44" y="350"/>
                  </a:lnTo>
                  <a:close/>
                  <a:moveTo>
                    <a:pt x="43" y="123"/>
                  </a:moveTo>
                  <a:lnTo>
                    <a:pt x="44" y="123"/>
                  </a:lnTo>
                  <a:lnTo>
                    <a:pt x="44" y="126"/>
                  </a:lnTo>
                  <a:lnTo>
                    <a:pt x="43" y="126"/>
                  </a:lnTo>
                  <a:lnTo>
                    <a:pt x="43" y="123"/>
                  </a:lnTo>
                  <a:close/>
                  <a:moveTo>
                    <a:pt x="15" y="41"/>
                  </a:moveTo>
                  <a:lnTo>
                    <a:pt x="19" y="41"/>
                  </a:lnTo>
                  <a:lnTo>
                    <a:pt x="19" y="42"/>
                  </a:lnTo>
                  <a:lnTo>
                    <a:pt x="15" y="42"/>
                  </a:lnTo>
                  <a:lnTo>
                    <a:pt x="15" y="41"/>
                  </a:lnTo>
                  <a:close/>
                  <a:moveTo>
                    <a:pt x="22" y="39"/>
                  </a:moveTo>
                  <a:lnTo>
                    <a:pt x="24" y="39"/>
                  </a:lnTo>
                  <a:lnTo>
                    <a:pt x="21" y="39"/>
                  </a:lnTo>
                  <a:lnTo>
                    <a:pt x="22" y="39"/>
                  </a:lnTo>
                  <a:close/>
                  <a:moveTo>
                    <a:pt x="9" y="30"/>
                  </a:moveTo>
                  <a:lnTo>
                    <a:pt x="9" y="32"/>
                  </a:lnTo>
                  <a:lnTo>
                    <a:pt x="3" y="34"/>
                  </a:lnTo>
                  <a:lnTo>
                    <a:pt x="9" y="30"/>
                  </a:lnTo>
                  <a:close/>
                  <a:moveTo>
                    <a:pt x="386" y="193"/>
                  </a:moveTo>
                  <a:lnTo>
                    <a:pt x="386" y="194"/>
                  </a:lnTo>
                  <a:lnTo>
                    <a:pt x="382" y="194"/>
                  </a:lnTo>
                  <a:lnTo>
                    <a:pt x="381" y="193"/>
                  </a:lnTo>
                  <a:lnTo>
                    <a:pt x="379" y="194"/>
                  </a:lnTo>
                  <a:lnTo>
                    <a:pt x="376" y="194"/>
                  </a:lnTo>
                  <a:lnTo>
                    <a:pt x="374" y="198"/>
                  </a:lnTo>
                  <a:lnTo>
                    <a:pt x="367" y="198"/>
                  </a:lnTo>
                  <a:lnTo>
                    <a:pt x="365" y="199"/>
                  </a:lnTo>
                  <a:lnTo>
                    <a:pt x="369" y="203"/>
                  </a:lnTo>
                  <a:lnTo>
                    <a:pt x="364" y="206"/>
                  </a:lnTo>
                  <a:lnTo>
                    <a:pt x="365" y="211"/>
                  </a:lnTo>
                  <a:lnTo>
                    <a:pt x="364" y="213"/>
                  </a:lnTo>
                  <a:lnTo>
                    <a:pt x="362" y="222"/>
                  </a:lnTo>
                  <a:lnTo>
                    <a:pt x="362" y="225"/>
                  </a:lnTo>
                  <a:lnTo>
                    <a:pt x="360" y="227"/>
                  </a:lnTo>
                  <a:lnTo>
                    <a:pt x="360" y="232"/>
                  </a:lnTo>
                  <a:lnTo>
                    <a:pt x="352" y="237"/>
                  </a:lnTo>
                  <a:lnTo>
                    <a:pt x="352" y="242"/>
                  </a:lnTo>
                  <a:lnTo>
                    <a:pt x="347" y="242"/>
                  </a:lnTo>
                  <a:lnTo>
                    <a:pt x="348" y="247"/>
                  </a:lnTo>
                  <a:lnTo>
                    <a:pt x="347" y="249"/>
                  </a:lnTo>
                  <a:lnTo>
                    <a:pt x="338" y="256"/>
                  </a:lnTo>
                  <a:lnTo>
                    <a:pt x="333" y="261"/>
                  </a:lnTo>
                  <a:lnTo>
                    <a:pt x="338" y="269"/>
                  </a:lnTo>
                  <a:lnTo>
                    <a:pt x="340" y="273"/>
                  </a:lnTo>
                  <a:lnTo>
                    <a:pt x="341" y="275"/>
                  </a:lnTo>
                  <a:lnTo>
                    <a:pt x="341" y="280"/>
                  </a:lnTo>
                  <a:lnTo>
                    <a:pt x="347" y="281"/>
                  </a:lnTo>
                  <a:lnTo>
                    <a:pt x="348" y="288"/>
                  </a:lnTo>
                  <a:lnTo>
                    <a:pt x="352" y="290"/>
                  </a:lnTo>
                  <a:lnTo>
                    <a:pt x="348" y="297"/>
                  </a:lnTo>
                  <a:lnTo>
                    <a:pt x="345" y="299"/>
                  </a:lnTo>
                  <a:lnTo>
                    <a:pt x="347" y="302"/>
                  </a:lnTo>
                  <a:lnTo>
                    <a:pt x="350" y="300"/>
                  </a:lnTo>
                  <a:lnTo>
                    <a:pt x="357" y="304"/>
                  </a:lnTo>
                  <a:lnTo>
                    <a:pt x="360" y="309"/>
                  </a:lnTo>
                  <a:lnTo>
                    <a:pt x="360" y="312"/>
                  </a:lnTo>
                  <a:lnTo>
                    <a:pt x="357" y="314"/>
                  </a:lnTo>
                  <a:lnTo>
                    <a:pt x="352" y="314"/>
                  </a:lnTo>
                  <a:lnTo>
                    <a:pt x="350" y="316"/>
                  </a:lnTo>
                  <a:lnTo>
                    <a:pt x="341" y="317"/>
                  </a:lnTo>
                  <a:lnTo>
                    <a:pt x="348" y="321"/>
                  </a:lnTo>
                  <a:lnTo>
                    <a:pt x="350" y="328"/>
                  </a:lnTo>
                  <a:lnTo>
                    <a:pt x="355" y="334"/>
                  </a:lnTo>
                  <a:lnTo>
                    <a:pt x="353" y="340"/>
                  </a:lnTo>
                  <a:lnTo>
                    <a:pt x="350" y="340"/>
                  </a:lnTo>
                  <a:lnTo>
                    <a:pt x="348" y="341"/>
                  </a:lnTo>
                  <a:lnTo>
                    <a:pt x="350" y="346"/>
                  </a:lnTo>
                  <a:lnTo>
                    <a:pt x="350" y="350"/>
                  </a:lnTo>
                  <a:lnTo>
                    <a:pt x="352" y="350"/>
                  </a:lnTo>
                  <a:lnTo>
                    <a:pt x="350" y="360"/>
                  </a:lnTo>
                  <a:lnTo>
                    <a:pt x="359" y="363"/>
                  </a:lnTo>
                  <a:lnTo>
                    <a:pt x="364" y="370"/>
                  </a:lnTo>
                  <a:lnTo>
                    <a:pt x="369" y="369"/>
                  </a:lnTo>
                  <a:lnTo>
                    <a:pt x="370" y="374"/>
                  </a:lnTo>
                  <a:lnTo>
                    <a:pt x="365" y="377"/>
                  </a:lnTo>
                  <a:lnTo>
                    <a:pt x="365" y="380"/>
                  </a:lnTo>
                  <a:lnTo>
                    <a:pt x="369" y="386"/>
                  </a:lnTo>
                  <a:lnTo>
                    <a:pt x="370" y="394"/>
                  </a:lnTo>
                  <a:lnTo>
                    <a:pt x="367" y="396"/>
                  </a:lnTo>
                  <a:lnTo>
                    <a:pt x="367" y="406"/>
                  </a:lnTo>
                  <a:lnTo>
                    <a:pt x="369" y="410"/>
                  </a:lnTo>
                  <a:lnTo>
                    <a:pt x="374" y="416"/>
                  </a:lnTo>
                  <a:lnTo>
                    <a:pt x="377" y="421"/>
                  </a:lnTo>
                  <a:lnTo>
                    <a:pt x="379" y="428"/>
                  </a:lnTo>
                  <a:lnTo>
                    <a:pt x="381" y="430"/>
                  </a:lnTo>
                  <a:lnTo>
                    <a:pt x="379" y="439"/>
                  </a:lnTo>
                  <a:lnTo>
                    <a:pt x="372" y="449"/>
                  </a:lnTo>
                  <a:lnTo>
                    <a:pt x="369" y="444"/>
                  </a:lnTo>
                  <a:lnTo>
                    <a:pt x="360" y="440"/>
                  </a:lnTo>
                  <a:lnTo>
                    <a:pt x="359" y="439"/>
                  </a:lnTo>
                  <a:lnTo>
                    <a:pt x="355" y="437"/>
                  </a:lnTo>
                  <a:lnTo>
                    <a:pt x="352" y="435"/>
                  </a:lnTo>
                  <a:lnTo>
                    <a:pt x="347" y="435"/>
                  </a:lnTo>
                  <a:lnTo>
                    <a:pt x="343" y="439"/>
                  </a:lnTo>
                  <a:lnTo>
                    <a:pt x="333" y="435"/>
                  </a:lnTo>
                  <a:lnTo>
                    <a:pt x="331" y="440"/>
                  </a:lnTo>
                  <a:lnTo>
                    <a:pt x="331" y="439"/>
                  </a:lnTo>
                  <a:lnTo>
                    <a:pt x="326" y="430"/>
                  </a:lnTo>
                  <a:lnTo>
                    <a:pt x="321" y="423"/>
                  </a:lnTo>
                  <a:lnTo>
                    <a:pt x="318" y="420"/>
                  </a:lnTo>
                  <a:lnTo>
                    <a:pt x="316" y="420"/>
                  </a:lnTo>
                  <a:lnTo>
                    <a:pt x="316" y="413"/>
                  </a:lnTo>
                  <a:lnTo>
                    <a:pt x="316" y="403"/>
                  </a:lnTo>
                  <a:lnTo>
                    <a:pt x="316" y="398"/>
                  </a:lnTo>
                  <a:lnTo>
                    <a:pt x="316" y="389"/>
                  </a:lnTo>
                  <a:lnTo>
                    <a:pt x="314" y="382"/>
                  </a:lnTo>
                  <a:lnTo>
                    <a:pt x="312" y="377"/>
                  </a:lnTo>
                  <a:lnTo>
                    <a:pt x="311" y="370"/>
                  </a:lnTo>
                  <a:lnTo>
                    <a:pt x="311" y="367"/>
                  </a:lnTo>
                  <a:lnTo>
                    <a:pt x="309" y="363"/>
                  </a:lnTo>
                  <a:lnTo>
                    <a:pt x="307" y="362"/>
                  </a:lnTo>
                  <a:lnTo>
                    <a:pt x="302" y="362"/>
                  </a:lnTo>
                  <a:lnTo>
                    <a:pt x="295" y="358"/>
                  </a:lnTo>
                  <a:lnTo>
                    <a:pt x="290" y="357"/>
                  </a:lnTo>
                  <a:lnTo>
                    <a:pt x="283" y="351"/>
                  </a:lnTo>
                  <a:lnTo>
                    <a:pt x="282" y="348"/>
                  </a:lnTo>
                  <a:lnTo>
                    <a:pt x="275" y="341"/>
                  </a:lnTo>
                  <a:lnTo>
                    <a:pt x="273" y="336"/>
                  </a:lnTo>
                  <a:lnTo>
                    <a:pt x="271" y="331"/>
                  </a:lnTo>
                  <a:lnTo>
                    <a:pt x="271" y="326"/>
                  </a:lnTo>
                  <a:lnTo>
                    <a:pt x="268" y="322"/>
                  </a:lnTo>
                  <a:lnTo>
                    <a:pt x="261" y="317"/>
                  </a:lnTo>
                  <a:lnTo>
                    <a:pt x="258" y="317"/>
                  </a:lnTo>
                  <a:lnTo>
                    <a:pt x="253" y="310"/>
                  </a:lnTo>
                  <a:lnTo>
                    <a:pt x="253" y="305"/>
                  </a:lnTo>
                  <a:lnTo>
                    <a:pt x="246" y="299"/>
                  </a:lnTo>
                  <a:lnTo>
                    <a:pt x="244" y="293"/>
                  </a:lnTo>
                  <a:lnTo>
                    <a:pt x="242" y="293"/>
                  </a:lnTo>
                  <a:lnTo>
                    <a:pt x="242" y="292"/>
                  </a:lnTo>
                  <a:lnTo>
                    <a:pt x="239" y="288"/>
                  </a:lnTo>
                  <a:lnTo>
                    <a:pt x="237" y="283"/>
                  </a:lnTo>
                  <a:lnTo>
                    <a:pt x="230" y="280"/>
                  </a:lnTo>
                  <a:lnTo>
                    <a:pt x="225" y="276"/>
                  </a:lnTo>
                  <a:lnTo>
                    <a:pt x="224" y="269"/>
                  </a:lnTo>
                  <a:lnTo>
                    <a:pt x="222" y="266"/>
                  </a:lnTo>
                  <a:lnTo>
                    <a:pt x="220" y="264"/>
                  </a:lnTo>
                  <a:lnTo>
                    <a:pt x="212" y="261"/>
                  </a:lnTo>
                  <a:lnTo>
                    <a:pt x="210" y="259"/>
                  </a:lnTo>
                  <a:lnTo>
                    <a:pt x="205" y="259"/>
                  </a:lnTo>
                  <a:lnTo>
                    <a:pt x="198" y="259"/>
                  </a:lnTo>
                  <a:lnTo>
                    <a:pt x="191" y="259"/>
                  </a:lnTo>
                  <a:lnTo>
                    <a:pt x="183" y="261"/>
                  </a:lnTo>
                  <a:lnTo>
                    <a:pt x="178" y="259"/>
                  </a:lnTo>
                  <a:lnTo>
                    <a:pt x="171" y="252"/>
                  </a:lnTo>
                  <a:lnTo>
                    <a:pt x="164" y="246"/>
                  </a:lnTo>
                  <a:lnTo>
                    <a:pt x="162" y="244"/>
                  </a:lnTo>
                  <a:lnTo>
                    <a:pt x="160" y="242"/>
                  </a:lnTo>
                  <a:lnTo>
                    <a:pt x="157" y="237"/>
                  </a:lnTo>
                  <a:lnTo>
                    <a:pt x="154" y="232"/>
                  </a:lnTo>
                  <a:lnTo>
                    <a:pt x="152" y="228"/>
                  </a:lnTo>
                  <a:lnTo>
                    <a:pt x="147" y="223"/>
                  </a:lnTo>
                  <a:lnTo>
                    <a:pt x="143" y="218"/>
                  </a:lnTo>
                  <a:lnTo>
                    <a:pt x="140" y="215"/>
                  </a:lnTo>
                  <a:lnTo>
                    <a:pt x="135" y="211"/>
                  </a:lnTo>
                  <a:lnTo>
                    <a:pt x="133" y="211"/>
                  </a:lnTo>
                  <a:lnTo>
                    <a:pt x="133" y="213"/>
                  </a:lnTo>
                  <a:lnTo>
                    <a:pt x="133" y="211"/>
                  </a:lnTo>
                  <a:lnTo>
                    <a:pt x="126" y="205"/>
                  </a:lnTo>
                  <a:lnTo>
                    <a:pt x="125" y="203"/>
                  </a:lnTo>
                  <a:lnTo>
                    <a:pt x="121" y="205"/>
                  </a:lnTo>
                  <a:lnTo>
                    <a:pt x="120" y="203"/>
                  </a:lnTo>
                  <a:lnTo>
                    <a:pt x="113" y="196"/>
                  </a:lnTo>
                  <a:lnTo>
                    <a:pt x="108" y="189"/>
                  </a:lnTo>
                  <a:lnTo>
                    <a:pt x="106" y="187"/>
                  </a:lnTo>
                  <a:lnTo>
                    <a:pt x="102" y="184"/>
                  </a:lnTo>
                  <a:lnTo>
                    <a:pt x="97" y="179"/>
                  </a:lnTo>
                  <a:lnTo>
                    <a:pt x="94" y="176"/>
                  </a:lnTo>
                  <a:lnTo>
                    <a:pt x="89" y="170"/>
                  </a:lnTo>
                  <a:lnTo>
                    <a:pt x="85" y="167"/>
                  </a:lnTo>
                  <a:lnTo>
                    <a:pt x="79" y="160"/>
                  </a:lnTo>
                  <a:lnTo>
                    <a:pt x="75" y="158"/>
                  </a:lnTo>
                  <a:lnTo>
                    <a:pt x="70" y="153"/>
                  </a:lnTo>
                  <a:lnTo>
                    <a:pt x="67" y="153"/>
                  </a:lnTo>
                  <a:lnTo>
                    <a:pt x="68" y="150"/>
                  </a:lnTo>
                  <a:lnTo>
                    <a:pt x="65" y="148"/>
                  </a:lnTo>
                  <a:lnTo>
                    <a:pt x="63" y="150"/>
                  </a:lnTo>
                  <a:lnTo>
                    <a:pt x="63" y="148"/>
                  </a:lnTo>
                  <a:lnTo>
                    <a:pt x="58" y="143"/>
                  </a:lnTo>
                  <a:lnTo>
                    <a:pt x="60" y="141"/>
                  </a:lnTo>
                  <a:lnTo>
                    <a:pt x="56" y="138"/>
                  </a:lnTo>
                  <a:lnTo>
                    <a:pt x="53" y="135"/>
                  </a:lnTo>
                  <a:lnTo>
                    <a:pt x="51" y="131"/>
                  </a:lnTo>
                  <a:lnTo>
                    <a:pt x="48" y="129"/>
                  </a:lnTo>
                  <a:lnTo>
                    <a:pt x="50" y="128"/>
                  </a:lnTo>
                  <a:lnTo>
                    <a:pt x="46" y="124"/>
                  </a:lnTo>
                  <a:lnTo>
                    <a:pt x="46" y="121"/>
                  </a:lnTo>
                  <a:lnTo>
                    <a:pt x="43" y="114"/>
                  </a:lnTo>
                  <a:lnTo>
                    <a:pt x="44" y="112"/>
                  </a:lnTo>
                  <a:lnTo>
                    <a:pt x="41" y="107"/>
                  </a:lnTo>
                  <a:lnTo>
                    <a:pt x="43" y="104"/>
                  </a:lnTo>
                  <a:lnTo>
                    <a:pt x="34" y="99"/>
                  </a:lnTo>
                  <a:lnTo>
                    <a:pt x="36" y="97"/>
                  </a:lnTo>
                  <a:lnTo>
                    <a:pt x="34" y="95"/>
                  </a:lnTo>
                  <a:lnTo>
                    <a:pt x="36" y="88"/>
                  </a:lnTo>
                  <a:lnTo>
                    <a:pt x="32" y="85"/>
                  </a:lnTo>
                  <a:lnTo>
                    <a:pt x="27" y="82"/>
                  </a:lnTo>
                  <a:lnTo>
                    <a:pt x="29" y="80"/>
                  </a:lnTo>
                  <a:lnTo>
                    <a:pt x="26" y="78"/>
                  </a:lnTo>
                  <a:lnTo>
                    <a:pt x="27" y="76"/>
                  </a:lnTo>
                  <a:lnTo>
                    <a:pt x="27" y="75"/>
                  </a:lnTo>
                  <a:lnTo>
                    <a:pt x="24" y="75"/>
                  </a:lnTo>
                  <a:lnTo>
                    <a:pt x="24" y="70"/>
                  </a:lnTo>
                  <a:lnTo>
                    <a:pt x="26" y="71"/>
                  </a:lnTo>
                  <a:lnTo>
                    <a:pt x="27" y="70"/>
                  </a:lnTo>
                  <a:lnTo>
                    <a:pt x="24" y="66"/>
                  </a:lnTo>
                  <a:lnTo>
                    <a:pt x="26" y="65"/>
                  </a:lnTo>
                  <a:lnTo>
                    <a:pt x="27" y="68"/>
                  </a:lnTo>
                  <a:lnTo>
                    <a:pt x="29" y="61"/>
                  </a:lnTo>
                  <a:lnTo>
                    <a:pt x="26" y="56"/>
                  </a:lnTo>
                  <a:lnTo>
                    <a:pt x="27" y="54"/>
                  </a:lnTo>
                  <a:lnTo>
                    <a:pt x="26" y="49"/>
                  </a:lnTo>
                  <a:lnTo>
                    <a:pt x="21" y="46"/>
                  </a:lnTo>
                  <a:lnTo>
                    <a:pt x="26" y="39"/>
                  </a:lnTo>
                  <a:lnTo>
                    <a:pt x="27" y="41"/>
                  </a:lnTo>
                  <a:lnTo>
                    <a:pt x="27" y="42"/>
                  </a:lnTo>
                  <a:lnTo>
                    <a:pt x="32" y="42"/>
                  </a:lnTo>
                  <a:lnTo>
                    <a:pt x="32" y="41"/>
                  </a:lnTo>
                  <a:lnTo>
                    <a:pt x="36" y="39"/>
                  </a:lnTo>
                  <a:lnTo>
                    <a:pt x="43" y="35"/>
                  </a:lnTo>
                  <a:lnTo>
                    <a:pt x="50" y="30"/>
                  </a:lnTo>
                  <a:lnTo>
                    <a:pt x="53" y="30"/>
                  </a:lnTo>
                  <a:lnTo>
                    <a:pt x="60" y="37"/>
                  </a:lnTo>
                  <a:lnTo>
                    <a:pt x="61" y="35"/>
                  </a:lnTo>
                  <a:lnTo>
                    <a:pt x="72" y="34"/>
                  </a:lnTo>
                  <a:lnTo>
                    <a:pt x="79" y="37"/>
                  </a:lnTo>
                  <a:lnTo>
                    <a:pt x="87" y="39"/>
                  </a:lnTo>
                  <a:lnTo>
                    <a:pt x="92" y="44"/>
                  </a:lnTo>
                  <a:lnTo>
                    <a:pt x="97" y="44"/>
                  </a:lnTo>
                  <a:lnTo>
                    <a:pt x="99" y="46"/>
                  </a:lnTo>
                  <a:lnTo>
                    <a:pt x="102" y="47"/>
                  </a:lnTo>
                  <a:lnTo>
                    <a:pt x="104" y="47"/>
                  </a:lnTo>
                  <a:lnTo>
                    <a:pt x="104" y="53"/>
                  </a:lnTo>
                  <a:lnTo>
                    <a:pt x="109" y="59"/>
                  </a:lnTo>
                  <a:lnTo>
                    <a:pt x="111" y="59"/>
                  </a:lnTo>
                  <a:lnTo>
                    <a:pt x="114" y="63"/>
                  </a:lnTo>
                  <a:lnTo>
                    <a:pt x="118" y="66"/>
                  </a:lnTo>
                  <a:lnTo>
                    <a:pt x="123" y="70"/>
                  </a:lnTo>
                  <a:lnTo>
                    <a:pt x="126" y="73"/>
                  </a:lnTo>
                  <a:lnTo>
                    <a:pt x="135" y="75"/>
                  </a:lnTo>
                  <a:lnTo>
                    <a:pt x="140" y="76"/>
                  </a:lnTo>
                  <a:lnTo>
                    <a:pt x="149" y="76"/>
                  </a:lnTo>
                  <a:lnTo>
                    <a:pt x="155" y="80"/>
                  </a:lnTo>
                  <a:lnTo>
                    <a:pt x="166" y="83"/>
                  </a:lnTo>
                  <a:lnTo>
                    <a:pt x="174" y="80"/>
                  </a:lnTo>
                  <a:lnTo>
                    <a:pt x="176" y="83"/>
                  </a:lnTo>
                  <a:lnTo>
                    <a:pt x="179" y="85"/>
                  </a:lnTo>
                  <a:lnTo>
                    <a:pt x="188" y="83"/>
                  </a:lnTo>
                  <a:lnTo>
                    <a:pt x="193" y="83"/>
                  </a:lnTo>
                  <a:lnTo>
                    <a:pt x="196" y="82"/>
                  </a:lnTo>
                  <a:lnTo>
                    <a:pt x="205" y="78"/>
                  </a:lnTo>
                  <a:lnTo>
                    <a:pt x="215" y="75"/>
                  </a:lnTo>
                  <a:lnTo>
                    <a:pt x="220" y="75"/>
                  </a:lnTo>
                  <a:lnTo>
                    <a:pt x="224" y="78"/>
                  </a:lnTo>
                  <a:lnTo>
                    <a:pt x="232" y="76"/>
                  </a:lnTo>
                  <a:lnTo>
                    <a:pt x="236" y="76"/>
                  </a:lnTo>
                  <a:lnTo>
                    <a:pt x="241" y="78"/>
                  </a:lnTo>
                  <a:lnTo>
                    <a:pt x="242" y="80"/>
                  </a:lnTo>
                  <a:lnTo>
                    <a:pt x="249" y="82"/>
                  </a:lnTo>
                  <a:lnTo>
                    <a:pt x="249" y="83"/>
                  </a:lnTo>
                  <a:lnTo>
                    <a:pt x="256" y="85"/>
                  </a:lnTo>
                  <a:lnTo>
                    <a:pt x="254" y="88"/>
                  </a:lnTo>
                  <a:lnTo>
                    <a:pt x="253" y="87"/>
                  </a:lnTo>
                  <a:lnTo>
                    <a:pt x="254" y="90"/>
                  </a:lnTo>
                  <a:lnTo>
                    <a:pt x="261" y="92"/>
                  </a:lnTo>
                  <a:lnTo>
                    <a:pt x="271" y="88"/>
                  </a:lnTo>
                  <a:lnTo>
                    <a:pt x="275" y="85"/>
                  </a:lnTo>
                  <a:lnTo>
                    <a:pt x="280" y="85"/>
                  </a:lnTo>
                  <a:lnTo>
                    <a:pt x="285" y="83"/>
                  </a:lnTo>
                  <a:lnTo>
                    <a:pt x="295" y="80"/>
                  </a:lnTo>
                  <a:lnTo>
                    <a:pt x="297" y="78"/>
                  </a:lnTo>
                  <a:lnTo>
                    <a:pt x="304" y="83"/>
                  </a:lnTo>
                  <a:lnTo>
                    <a:pt x="302" y="83"/>
                  </a:lnTo>
                  <a:lnTo>
                    <a:pt x="309" y="92"/>
                  </a:lnTo>
                  <a:lnTo>
                    <a:pt x="316" y="94"/>
                  </a:lnTo>
                  <a:lnTo>
                    <a:pt x="316" y="99"/>
                  </a:lnTo>
                  <a:lnTo>
                    <a:pt x="314" y="97"/>
                  </a:lnTo>
                  <a:lnTo>
                    <a:pt x="314" y="99"/>
                  </a:lnTo>
                  <a:lnTo>
                    <a:pt x="318" y="102"/>
                  </a:lnTo>
                  <a:lnTo>
                    <a:pt x="321" y="106"/>
                  </a:lnTo>
                  <a:lnTo>
                    <a:pt x="326" y="109"/>
                  </a:lnTo>
                  <a:lnTo>
                    <a:pt x="331" y="112"/>
                  </a:lnTo>
                  <a:lnTo>
                    <a:pt x="333" y="114"/>
                  </a:lnTo>
                  <a:lnTo>
                    <a:pt x="338" y="119"/>
                  </a:lnTo>
                  <a:lnTo>
                    <a:pt x="345" y="123"/>
                  </a:lnTo>
                  <a:lnTo>
                    <a:pt x="347" y="128"/>
                  </a:lnTo>
                  <a:lnTo>
                    <a:pt x="350" y="135"/>
                  </a:lnTo>
                  <a:lnTo>
                    <a:pt x="352" y="138"/>
                  </a:lnTo>
                  <a:lnTo>
                    <a:pt x="355" y="148"/>
                  </a:lnTo>
                  <a:lnTo>
                    <a:pt x="353" y="147"/>
                  </a:lnTo>
                  <a:lnTo>
                    <a:pt x="353" y="148"/>
                  </a:lnTo>
                  <a:lnTo>
                    <a:pt x="357" y="152"/>
                  </a:lnTo>
                  <a:lnTo>
                    <a:pt x="357" y="155"/>
                  </a:lnTo>
                  <a:lnTo>
                    <a:pt x="355" y="157"/>
                  </a:lnTo>
                  <a:lnTo>
                    <a:pt x="357" y="155"/>
                  </a:lnTo>
                  <a:lnTo>
                    <a:pt x="357" y="153"/>
                  </a:lnTo>
                  <a:lnTo>
                    <a:pt x="359" y="155"/>
                  </a:lnTo>
                  <a:lnTo>
                    <a:pt x="353" y="160"/>
                  </a:lnTo>
                  <a:lnTo>
                    <a:pt x="355" y="165"/>
                  </a:lnTo>
                  <a:lnTo>
                    <a:pt x="357" y="164"/>
                  </a:lnTo>
                  <a:lnTo>
                    <a:pt x="357" y="165"/>
                  </a:lnTo>
                  <a:lnTo>
                    <a:pt x="362" y="162"/>
                  </a:lnTo>
                  <a:lnTo>
                    <a:pt x="359" y="165"/>
                  </a:lnTo>
                  <a:lnTo>
                    <a:pt x="364" y="164"/>
                  </a:lnTo>
                  <a:lnTo>
                    <a:pt x="365" y="162"/>
                  </a:lnTo>
                  <a:lnTo>
                    <a:pt x="367" y="164"/>
                  </a:lnTo>
                  <a:lnTo>
                    <a:pt x="365" y="167"/>
                  </a:lnTo>
                  <a:lnTo>
                    <a:pt x="367" y="169"/>
                  </a:lnTo>
                  <a:lnTo>
                    <a:pt x="367" y="165"/>
                  </a:lnTo>
                  <a:lnTo>
                    <a:pt x="376" y="167"/>
                  </a:lnTo>
                  <a:lnTo>
                    <a:pt x="379" y="170"/>
                  </a:lnTo>
                  <a:lnTo>
                    <a:pt x="386" y="174"/>
                  </a:lnTo>
                  <a:lnTo>
                    <a:pt x="386" y="176"/>
                  </a:lnTo>
                  <a:lnTo>
                    <a:pt x="388" y="177"/>
                  </a:lnTo>
                  <a:lnTo>
                    <a:pt x="388" y="174"/>
                  </a:lnTo>
                  <a:lnTo>
                    <a:pt x="391" y="177"/>
                  </a:lnTo>
                  <a:lnTo>
                    <a:pt x="389" y="179"/>
                  </a:lnTo>
                  <a:lnTo>
                    <a:pt x="391" y="177"/>
                  </a:lnTo>
                  <a:lnTo>
                    <a:pt x="389" y="182"/>
                  </a:lnTo>
                  <a:lnTo>
                    <a:pt x="391" y="182"/>
                  </a:lnTo>
                  <a:lnTo>
                    <a:pt x="391" y="189"/>
                  </a:lnTo>
                  <a:lnTo>
                    <a:pt x="389" y="191"/>
                  </a:lnTo>
                  <a:lnTo>
                    <a:pt x="388" y="189"/>
                  </a:lnTo>
                  <a:lnTo>
                    <a:pt x="389" y="191"/>
                  </a:lnTo>
                  <a:lnTo>
                    <a:pt x="388" y="193"/>
                  </a:lnTo>
                  <a:lnTo>
                    <a:pt x="386" y="193"/>
                  </a:lnTo>
                  <a:close/>
                  <a:moveTo>
                    <a:pt x="17" y="29"/>
                  </a:moveTo>
                  <a:lnTo>
                    <a:pt x="21" y="35"/>
                  </a:lnTo>
                  <a:lnTo>
                    <a:pt x="15" y="37"/>
                  </a:lnTo>
                  <a:lnTo>
                    <a:pt x="15" y="35"/>
                  </a:lnTo>
                  <a:lnTo>
                    <a:pt x="14" y="37"/>
                  </a:lnTo>
                  <a:lnTo>
                    <a:pt x="12" y="34"/>
                  </a:lnTo>
                  <a:lnTo>
                    <a:pt x="15" y="32"/>
                  </a:lnTo>
                  <a:lnTo>
                    <a:pt x="15" y="30"/>
                  </a:lnTo>
                  <a:lnTo>
                    <a:pt x="17" y="29"/>
                  </a:lnTo>
                  <a:close/>
                  <a:moveTo>
                    <a:pt x="5" y="18"/>
                  </a:moveTo>
                  <a:lnTo>
                    <a:pt x="7" y="22"/>
                  </a:lnTo>
                  <a:lnTo>
                    <a:pt x="9" y="22"/>
                  </a:lnTo>
                  <a:lnTo>
                    <a:pt x="10" y="25"/>
                  </a:lnTo>
                  <a:lnTo>
                    <a:pt x="14" y="25"/>
                  </a:lnTo>
                  <a:lnTo>
                    <a:pt x="15" y="29"/>
                  </a:lnTo>
                  <a:lnTo>
                    <a:pt x="7" y="29"/>
                  </a:lnTo>
                  <a:lnTo>
                    <a:pt x="7" y="30"/>
                  </a:lnTo>
                  <a:lnTo>
                    <a:pt x="5" y="30"/>
                  </a:lnTo>
                  <a:lnTo>
                    <a:pt x="7" y="29"/>
                  </a:lnTo>
                  <a:lnTo>
                    <a:pt x="3" y="29"/>
                  </a:lnTo>
                  <a:lnTo>
                    <a:pt x="5" y="27"/>
                  </a:lnTo>
                  <a:lnTo>
                    <a:pt x="3" y="24"/>
                  </a:lnTo>
                  <a:lnTo>
                    <a:pt x="5" y="22"/>
                  </a:lnTo>
                  <a:lnTo>
                    <a:pt x="3" y="20"/>
                  </a:lnTo>
                  <a:lnTo>
                    <a:pt x="0" y="22"/>
                  </a:lnTo>
                  <a:lnTo>
                    <a:pt x="2" y="18"/>
                  </a:lnTo>
                  <a:lnTo>
                    <a:pt x="5" y="18"/>
                  </a:lnTo>
                  <a:close/>
                  <a:moveTo>
                    <a:pt x="26" y="0"/>
                  </a:moveTo>
                  <a:lnTo>
                    <a:pt x="27" y="3"/>
                  </a:lnTo>
                  <a:lnTo>
                    <a:pt x="31" y="5"/>
                  </a:lnTo>
                  <a:lnTo>
                    <a:pt x="32" y="8"/>
                  </a:lnTo>
                  <a:lnTo>
                    <a:pt x="34" y="8"/>
                  </a:lnTo>
                  <a:lnTo>
                    <a:pt x="34" y="3"/>
                  </a:lnTo>
                  <a:lnTo>
                    <a:pt x="36" y="5"/>
                  </a:lnTo>
                  <a:lnTo>
                    <a:pt x="38" y="3"/>
                  </a:lnTo>
                  <a:lnTo>
                    <a:pt x="36" y="1"/>
                  </a:lnTo>
                  <a:lnTo>
                    <a:pt x="39" y="1"/>
                  </a:lnTo>
                  <a:lnTo>
                    <a:pt x="43" y="6"/>
                  </a:lnTo>
                  <a:lnTo>
                    <a:pt x="43" y="12"/>
                  </a:lnTo>
                  <a:lnTo>
                    <a:pt x="39" y="10"/>
                  </a:lnTo>
                  <a:lnTo>
                    <a:pt x="39" y="13"/>
                  </a:lnTo>
                  <a:lnTo>
                    <a:pt x="38" y="15"/>
                  </a:lnTo>
                  <a:lnTo>
                    <a:pt x="32" y="15"/>
                  </a:lnTo>
                  <a:lnTo>
                    <a:pt x="29" y="6"/>
                  </a:lnTo>
                  <a:lnTo>
                    <a:pt x="24" y="3"/>
                  </a:lnTo>
                  <a:lnTo>
                    <a:pt x="26"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77" name="Freeform 50"/>
            <p:cNvSpPr>
              <a:spLocks noEditPoints="1"/>
            </p:cNvSpPr>
            <p:nvPr/>
          </p:nvSpPr>
          <p:spPr bwMode="gray">
            <a:xfrm>
              <a:off x="1327585" y="2217078"/>
              <a:ext cx="735145" cy="1078093"/>
            </a:xfrm>
            <a:custGeom>
              <a:avLst/>
              <a:gdLst>
                <a:gd name="T0" fmla="*/ 159 w 403"/>
                <a:gd name="T1" fmla="*/ 546 h 591"/>
                <a:gd name="T2" fmla="*/ 174 w 403"/>
                <a:gd name="T3" fmla="*/ 565 h 591"/>
                <a:gd name="T4" fmla="*/ 164 w 403"/>
                <a:gd name="T5" fmla="*/ 585 h 591"/>
                <a:gd name="T6" fmla="*/ 157 w 403"/>
                <a:gd name="T7" fmla="*/ 560 h 591"/>
                <a:gd name="T8" fmla="*/ 169 w 403"/>
                <a:gd name="T9" fmla="*/ 526 h 591"/>
                <a:gd name="T10" fmla="*/ 154 w 403"/>
                <a:gd name="T11" fmla="*/ 533 h 591"/>
                <a:gd name="T12" fmla="*/ 152 w 403"/>
                <a:gd name="T13" fmla="*/ 522 h 591"/>
                <a:gd name="T14" fmla="*/ 178 w 403"/>
                <a:gd name="T15" fmla="*/ 522 h 591"/>
                <a:gd name="T16" fmla="*/ 169 w 403"/>
                <a:gd name="T17" fmla="*/ 527 h 591"/>
                <a:gd name="T18" fmla="*/ 173 w 403"/>
                <a:gd name="T19" fmla="*/ 551 h 591"/>
                <a:gd name="T20" fmla="*/ 149 w 403"/>
                <a:gd name="T21" fmla="*/ 517 h 591"/>
                <a:gd name="T22" fmla="*/ 145 w 403"/>
                <a:gd name="T23" fmla="*/ 515 h 591"/>
                <a:gd name="T24" fmla="*/ 208 w 403"/>
                <a:gd name="T25" fmla="*/ 493 h 591"/>
                <a:gd name="T26" fmla="*/ 176 w 403"/>
                <a:gd name="T27" fmla="*/ 497 h 591"/>
                <a:gd name="T28" fmla="*/ 33 w 403"/>
                <a:gd name="T29" fmla="*/ 415 h 591"/>
                <a:gd name="T30" fmla="*/ 33 w 403"/>
                <a:gd name="T31" fmla="*/ 411 h 591"/>
                <a:gd name="T32" fmla="*/ 21 w 403"/>
                <a:gd name="T33" fmla="*/ 340 h 591"/>
                <a:gd name="T34" fmla="*/ 51 w 403"/>
                <a:gd name="T35" fmla="*/ 338 h 591"/>
                <a:gd name="T36" fmla="*/ 85 w 403"/>
                <a:gd name="T37" fmla="*/ 377 h 591"/>
                <a:gd name="T38" fmla="*/ 103 w 403"/>
                <a:gd name="T39" fmla="*/ 418 h 591"/>
                <a:gd name="T40" fmla="*/ 87 w 403"/>
                <a:gd name="T41" fmla="*/ 445 h 591"/>
                <a:gd name="T42" fmla="*/ 68 w 403"/>
                <a:gd name="T43" fmla="*/ 418 h 591"/>
                <a:gd name="T44" fmla="*/ 41 w 403"/>
                <a:gd name="T45" fmla="*/ 398 h 591"/>
                <a:gd name="T46" fmla="*/ 22 w 403"/>
                <a:gd name="T47" fmla="*/ 365 h 591"/>
                <a:gd name="T48" fmla="*/ 14 w 403"/>
                <a:gd name="T49" fmla="*/ 348 h 591"/>
                <a:gd name="T50" fmla="*/ 184 w 403"/>
                <a:gd name="T51" fmla="*/ 326 h 591"/>
                <a:gd name="T52" fmla="*/ 181 w 403"/>
                <a:gd name="T53" fmla="*/ 324 h 591"/>
                <a:gd name="T54" fmla="*/ 183 w 403"/>
                <a:gd name="T55" fmla="*/ 316 h 591"/>
                <a:gd name="T56" fmla="*/ 367 w 403"/>
                <a:gd name="T57" fmla="*/ 210 h 591"/>
                <a:gd name="T58" fmla="*/ 145 w 403"/>
                <a:gd name="T59" fmla="*/ 18 h 591"/>
                <a:gd name="T60" fmla="*/ 135 w 403"/>
                <a:gd name="T61" fmla="*/ 15 h 591"/>
                <a:gd name="T62" fmla="*/ 144 w 403"/>
                <a:gd name="T63" fmla="*/ 20 h 591"/>
                <a:gd name="T64" fmla="*/ 173 w 403"/>
                <a:gd name="T65" fmla="*/ 32 h 591"/>
                <a:gd name="T66" fmla="*/ 193 w 403"/>
                <a:gd name="T67" fmla="*/ 47 h 591"/>
                <a:gd name="T68" fmla="*/ 203 w 403"/>
                <a:gd name="T69" fmla="*/ 63 h 591"/>
                <a:gd name="T70" fmla="*/ 258 w 403"/>
                <a:gd name="T71" fmla="*/ 92 h 591"/>
                <a:gd name="T72" fmla="*/ 290 w 403"/>
                <a:gd name="T73" fmla="*/ 117 h 591"/>
                <a:gd name="T74" fmla="*/ 336 w 403"/>
                <a:gd name="T75" fmla="*/ 150 h 591"/>
                <a:gd name="T76" fmla="*/ 352 w 403"/>
                <a:gd name="T77" fmla="*/ 177 h 591"/>
                <a:gd name="T78" fmla="*/ 369 w 403"/>
                <a:gd name="T79" fmla="*/ 210 h 591"/>
                <a:gd name="T80" fmla="*/ 388 w 403"/>
                <a:gd name="T81" fmla="*/ 223 h 591"/>
                <a:gd name="T82" fmla="*/ 386 w 403"/>
                <a:gd name="T83" fmla="*/ 297 h 591"/>
                <a:gd name="T84" fmla="*/ 403 w 403"/>
                <a:gd name="T85" fmla="*/ 336 h 591"/>
                <a:gd name="T86" fmla="*/ 377 w 403"/>
                <a:gd name="T87" fmla="*/ 346 h 591"/>
                <a:gd name="T88" fmla="*/ 374 w 403"/>
                <a:gd name="T89" fmla="*/ 380 h 591"/>
                <a:gd name="T90" fmla="*/ 367 w 403"/>
                <a:gd name="T91" fmla="*/ 415 h 591"/>
                <a:gd name="T92" fmla="*/ 333 w 403"/>
                <a:gd name="T93" fmla="*/ 416 h 591"/>
                <a:gd name="T94" fmla="*/ 324 w 403"/>
                <a:gd name="T95" fmla="*/ 457 h 591"/>
                <a:gd name="T96" fmla="*/ 280 w 403"/>
                <a:gd name="T97" fmla="*/ 459 h 591"/>
                <a:gd name="T98" fmla="*/ 251 w 403"/>
                <a:gd name="T99" fmla="*/ 476 h 591"/>
                <a:gd name="T100" fmla="*/ 241 w 403"/>
                <a:gd name="T101" fmla="*/ 439 h 591"/>
                <a:gd name="T102" fmla="*/ 229 w 403"/>
                <a:gd name="T103" fmla="*/ 413 h 591"/>
                <a:gd name="T104" fmla="*/ 212 w 403"/>
                <a:gd name="T105" fmla="*/ 350 h 591"/>
                <a:gd name="T106" fmla="*/ 212 w 403"/>
                <a:gd name="T107" fmla="*/ 322 h 591"/>
                <a:gd name="T108" fmla="*/ 196 w 403"/>
                <a:gd name="T109" fmla="*/ 302 h 591"/>
                <a:gd name="T110" fmla="*/ 167 w 403"/>
                <a:gd name="T111" fmla="*/ 276 h 591"/>
                <a:gd name="T112" fmla="*/ 135 w 403"/>
                <a:gd name="T113" fmla="*/ 261 h 591"/>
                <a:gd name="T114" fmla="*/ 126 w 403"/>
                <a:gd name="T115" fmla="*/ 201 h 591"/>
                <a:gd name="T116" fmla="*/ 106 w 403"/>
                <a:gd name="T117" fmla="*/ 157 h 591"/>
                <a:gd name="T118" fmla="*/ 108 w 403"/>
                <a:gd name="T119" fmla="*/ 121 h 591"/>
                <a:gd name="T120" fmla="*/ 104 w 403"/>
                <a:gd name="T121" fmla="*/ 95 h 591"/>
                <a:gd name="T122" fmla="*/ 103 w 403"/>
                <a:gd name="T123" fmla="*/ 49 h 591"/>
                <a:gd name="T124" fmla="*/ 125 w 403"/>
                <a:gd name="T125" fmla="*/ 1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91">
                  <a:moveTo>
                    <a:pt x="176" y="591"/>
                  </a:moveTo>
                  <a:lnTo>
                    <a:pt x="173" y="589"/>
                  </a:lnTo>
                  <a:lnTo>
                    <a:pt x="173" y="585"/>
                  </a:lnTo>
                  <a:lnTo>
                    <a:pt x="176" y="591"/>
                  </a:lnTo>
                  <a:close/>
                  <a:moveTo>
                    <a:pt x="174" y="555"/>
                  </a:moveTo>
                  <a:lnTo>
                    <a:pt x="173" y="551"/>
                  </a:lnTo>
                  <a:lnTo>
                    <a:pt x="174" y="555"/>
                  </a:lnTo>
                  <a:close/>
                  <a:moveTo>
                    <a:pt x="159" y="546"/>
                  </a:moveTo>
                  <a:lnTo>
                    <a:pt x="159" y="548"/>
                  </a:lnTo>
                  <a:lnTo>
                    <a:pt x="159" y="546"/>
                  </a:lnTo>
                  <a:close/>
                  <a:moveTo>
                    <a:pt x="164" y="544"/>
                  </a:moveTo>
                  <a:lnTo>
                    <a:pt x="166" y="544"/>
                  </a:lnTo>
                  <a:lnTo>
                    <a:pt x="166" y="546"/>
                  </a:lnTo>
                  <a:lnTo>
                    <a:pt x="171" y="551"/>
                  </a:lnTo>
                  <a:lnTo>
                    <a:pt x="173" y="555"/>
                  </a:lnTo>
                  <a:lnTo>
                    <a:pt x="176" y="558"/>
                  </a:lnTo>
                  <a:lnTo>
                    <a:pt x="174" y="560"/>
                  </a:lnTo>
                  <a:lnTo>
                    <a:pt x="176" y="560"/>
                  </a:lnTo>
                  <a:lnTo>
                    <a:pt x="173" y="562"/>
                  </a:lnTo>
                  <a:lnTo>
                    <a:pt x="174" y="565"/>
                  </a:lnTo>
                  <a:lnTo>
                    <a:pt x="174" y="573"/>
                  </a:lnTo>
                  <a:lnTo>
                    <a:pt x="171" y="577"/>
                  </a:lnTo>
                  <a:lnTo>
                    <a:pt x="174" y="580"/>
                  </a:lnTo>
                  <a:lnTo>
                    <a:pt x="173" y="584"/>
                  </a:lnTo>
                  <a:lnTo>
                    <a:pt x="171" y="580"/>
                  </a:lnTo>
                  <a:lnTo>
                    <a:pt x="169" y="584"/>
                  </a:lnTo>
                  <a:lnTo>
                    <a:pt x="169" y="579"/>
                  </a:lnTo>
                  <a:lnTo>
                    <a:pt x="164" y="579"/>
                  </a:lnTo>
                  <a:lnTo>
                    <a:pt x="162" y="582"/>
                  </a:lnTo>
                  <a:lnTo>
                    <a:pt x="164" y="585"/>
                  </a:lnTo>
                  <a:lnTo>
                    <a:pt x="162" y="585"/>
                  </a:lnTo>
                  <a:lnTo>
                    <a:pt x="161" y="582"/>
                  </a:lnTo>
                  <a:lnTo>
                    <a:pt x="152" y="579"/>
                  </a:lnTo>
                  <a:lnTo>
                    <a:pt x="147" y="577"/>
                  </a:lnTo>
                  <a:lnTo>
                    <a:pt x="152" y="575"/>
                  </a:lnTo>
                  <a:lnTo>
                    <a:pt x="152" y="577"/>
                  </a:lnTo>
                  <a:lnTo>
                    <a:pt x="154" y="577"/>
                  </a:lnTo>
                  <a:lnTo>
                    <a:pt x="155" y="570"/>
                  </a:lnTo>
                  <a:lnTo>
                    <a:pt x="157" y="568"/>
                  </a:lnTo>
                  <a:lnTo>
                    <a:pt x="157" y="560"/>
                  </a:lnTo>
                  <a:lnTo>
                    <a:pt x="159" y="556"/>
                  </a:lnTo>
                  <a:lnTo>
                    <a:pt x="166" y="550"/>
                  </a:lnTo>
                  <a:lnTo>
                    <a:pt x="162" y="544"/>
                  </a:lnTo>
                  <a:lnTo>
                    <a:pt x="164" y="544"/>
                  </a:lnTo>
                  <a:close/>
                  <a:moveTo>
                    <a:pt x="135" y="533"/>
                  </a:moveTo>
                  <a:lnTo>
                    <a:pt x="135" y="529"/>
                  </a:lnTo>
                  <a:lnTo>
                    <a:pt x="137" y="527"/>
                  </a:lnTo>
                  <a:lnTo>
                    <a:pt x="138" y="529"/>
                  </a:lnTo>
                  <a:lnTo>
                    <a:pt x="135" y="533"/>
                  </a:lnTo>
                  <a:close/>
                  <a:moveTo>
                    <a:pt x="169" y="526"/>
                  </a:moveTo>
                  <a:lnTo>
                    <a:pt x="171" y="526"/>
                  </a:lnTo>
                  <a:lnTo>
                    <a:pt x="171" y="529"/>
                  </a:lnTo>
                  <a:lnTo>
                    <a:pt x="169" y="529"/>
                  </a:lnTo>
                  <a:lnTo>
                    <a:pt x="169" y="526"/>
                  </a:lnTo>
                  <a:close/>
                  <a:moveTo>
                    <a:pt x="149" y="526"/>
                  </a:moveTo>
                  <a:lnTo>
                    <a:pt x="152" y="526"/>
                  </a:lnTo>
                  <a:lnTo>
                    <a:pt x="152" y="529"/>
                  </a:lnTo>
                  <a:lnTo>
                    <a:pt x="149" y="529"/>
                  </a:lnTo>
                  <a:lnTo>
                    <a:pt x="149" y="526"/>
                  </a:lnTo>
                  <a:close/>
                  <a:moveTo>
                    <a:pt x="154" y="533"/>
                  </a:moveTo>
                  <a:lnTo>
                    <a:pt x="152" y="529"/>
                  </a:lnTo>
                  <a:lnTo>
                    <a:pt x="152" y="526"/>
                  </a:lnTo>
                  <a:lnTo>
                    <a:pt x="154" y="526"/>
                  </a:lnTo>
                  <a:lnTo>
                    <a:pt x="154" y="533"/>
                  </a:lnTo>
                  <a:close/>
                  <a:moveTo>
                    <a:pt x="150" y="521"/>
                  </a:moveTo>
                  <a:lnTo>
                    <a:pt x="155" y="526"/>
                  </a:lnTo>
                  <a:lnTo>
                    <a:pt x="154" y="526"/>
                  </a:lnTo>
                  <a:lnTo>
                    <a:pt x="149" y="524"/>
                  </a:lnTo>
                  <a:lnTo>
                    <a:pt x="149" y="522"/>
                  </a:lnTo>
                  <a:lnTo>
                    <a:pt x="152" y="522"/>
                  </a:lnTo>
                  <a:lnTo>
                    <a:pt x="150" y="521"/>
                  </a:lnTo>
                  <a:close/>
                  <a:moveTo>
                    <a:pt x="147" y="526"/>
                  </a:moveTo>
                  <a:lnTo>
                    <a:pt x="145" y="522"/>
                  </a:lnTo>
                  <a:lnTo>
                    <a:pt x="145" y="519"/>
                  </a:lnTo>
                  <a:lnTo>
                    <a:pt x="147" y="524"/>
                  </a:lnTo>
                  <a:lnTo>
                    <a:pt x="147" y="526"/>
                  </a:lnTo>
                  <a:close/>
                  <a:moveTo>
                    <a:pt x="178" y="522"/>
                  </a:moveTo>
                  <a:lnTo>
                    <a:pt x="176" y="521"/>
                  </a:lnTo>
                  <a:lnTo>
                    <a:pt x="176" y="519"/>
                  </a:lnTo>
                  <a:lnTo>
                    <a:pt x="178" y="522"/>
                  </a:lnTo>
                  <a:close/>
                  <a:moveTo>
                    <a:pt x="174" y="521"/>
                  </a:moveTo>
                  <a:lnTo>
                    <a:pt x="173" y="522"/>
                  </a:lnTo>
                  <a:lnTo>
                    <a:pt x="173" y="517"/>
                  </a:lnTo>
                  <a:lnTo>
                    <a:pt x="174" y="521"/>
                  </a:lnTo>
                  <a:close/>
                  <a:moveTo>
                    <a:pt x="159" y="514"/>
                  </a:moveTo>
                  <a:lnTo>
                    <a:pt x="161" y="515"/>
                  </a:lnTo>
                  <a:lnTo>
                    <a:pt x="162" y="514"/>
                  </a:lnTo>
                  <a:lnTo>
                    <a:pt x="162" y="519"/>
                  </a:lnTo>
                  <a:lnTo>
                    <a:pt x="169" y="526"/>
                  </a:lnTo>
                  <a:lnTo>
                    <a:pt x="169" y="527"/>
                  </a:lnTo>
                  <a:lnTo>
                    <a:pt x="171" y="531"/>
                  </a:lnTo>
                  <a:lnTo>
                    <a:pt x="171" y="533"/>
                  </a:lnTo>
                  <a:lnTo>
                    <a:pt x="173" y="539"/>
                  </a:lnTo>
                  <a:lnTo>
                    <a:pt x="179" y="544"/>
                  </a:lnTo>
                  <a:lnTo>
                    <a:pt x="181" y="548"/>
                  </a:lnTo>
                  <a:lnTo>
                    <a:pt x="181" y="555"/>
                  </a:lnTo>
                  <a:lnTo>
                    <a:pt x="178" y="555"/>
                  </a:lnTo>
                  <a:lnTo>
                    <a:pt x="179" y="562"/>
                  </a:lnTo>
                  <a:lnTo>
                    <a:pt x="176" y="553"/>
                  </a:lnTo>
                  <a:lnTo>
                    <a:pt x="173" y="551"/>
                  </a:lnTo>
                  <a:lnTo>
                    <a:pt x="174" y="550"/>
                  </a:lnTo>
                  <a:lnTo>
                    <a:pt x="171" y="546"/>
                  </a:lnTo>
                  <a:lnTo>
                    <a:pt x="164" y="539"/>
                  </a:lnTo>
                  <a:lnTo>
                    <a:pt x="164" y="538"/>
                  </a:lnTo>
                  <a:lnTo>
                    <a:pt x="164" y="536"/>
                  </a:lnTo>
                  <a:lnTo>
                    <a:pt x="164" y="534"/>
                  </a:lnTo>
                  <a:lnTo>
                    <a:pt x="157" y="527"/>
                  </a:lnTo>
                  <a:lnTo>
                    <a:pt x="159" y="527"/>
                  </a:lnTo>
                  <a:lnTo>
                    <a:pt x="155" y="519"/>
                  </a:lnTo>
                  <a:lnTo>
                    <a:pt x="149" y="517"/>
                  </a:lnTo>
                  <a:lnTo>
                    <a:pt x="154" y="514"/>
                  </a:lnTo>
                  <a:lnTo>
                    <a:pt x="159" y="514"/>
                  </a:lnTo>
                  <a:close/>
                  <a:moveTo>
                    <a:pt x="138" y="514"/>
                  </a:moveTo>
                  <a:lnTo>
                    <a:pt x="142" y="514"/>
                  </a:lnTo>
                  <a:lnTo>
                    <a:pt x="142" y="515"/>
                  </a:lnTo>
                  <a:lnTo>
                    <a:pt x="138" y="515"/>
                  </a:lnTo>
                  <a:lnTo>
                    <a:pt x="138" y="514"/>
                  </a:lnTo>
                  <a:close/>
                  <a:moveTo>
                    <a:pt x="142" y="514"/>
                  </a:moveTo>
                  <a:lnTo>
                    <a:pt x="145" y="514"/>
                  </a:lnTo>
                  <a:lnTo>
                    <a:pt x="145" y="515"/>
                  </a:lnTo>
                  <a:lnTo>
                    <a:pt x="142" y="515"/>
                  </a:lnTo>
                  <a:lnTo>
                    <a:pt x="142" y="514"/>
                  </a:lnTo>
                  <a:close/>
                  <a:moveTo>
                    <a:pt x="186" y="493"/>
                  </a:moveTo>
                  <a:lnTo>
                    <a:pt x="195" y="495"/>
                  </a:lnTo>
                  <a:lnTo>
                    <a:pt x="198" y="493"/>
                  </a:lnTo>
                  <a:lnTo>
                    <a:pt x="200" y="495"/>
                  </a:lnTo>
                  <a:lnTo>
                    <a:pt x="203" y="495"/>
                  </a:lnTo>
                  <a:lnTo>
                    <a:pt x="205" y="493"/>
                  </a:lnTo>
                  <a:lnTo>
                    <a:pt x="207" y="495"/>
                  </a:lnTo>
                  <a:lnTo>
                    <a:pt x="208" y="493"/>
                  </a:lnTo>
                  <a:lnTo>
                    <a:pt x="215" y="500"/>
                  </a:lnTo>
                  <a:lnTo>
                    <a:pt x="215" y="505"/>
                  </a:lnTo>
                  <a:lnTo>
                    <a:pt x="207" y="503"/>
                  </a:lnTo>
                  <a:lnTo>
                    <a:pt x="203" y="505"/>
                  </a:lnTo>
                  <a:lnTo>
                    <a:pt x="193" y="505"/>
                  </a:lnTo>
                  <a:lnTo>
                    <a:pt x="191" y="505"/>
                  </a:lnTo>
                  <a:lnTo>
                    <a:pt x="184" y="503"/>
                  </a:lnTo>
                  <a:lnTo>
                    <a:pt x="179" y="503"/>
                  </a:lnTo>
                  <a:lnTo>
                    <a:pt x="176" y="502"/>
                  </a:lnTo>
                  <a:lnTo>
                    <a:pt x="176" y="497"/>
                  </a:lnTo>
                  <a:lnTo>
                    <a:pt x="181" y="493"/>
                  </a:lnTo>
                  <a:lnTo>
                    <a:pt x="186" y="493"/>
                  </a:lnTo>
                  <a:close/>
                  <a:moveTo>
                    <a:pt x="244" y="469"/>
                  </a:moveTo>
                  <a:lnTo>
                    <a:pt x="246" y="469"/>
                  </a:lnTo>
                  <a:lnTo>
                    <a:pt x="246" y="471"/>
                  </a:lnTo>
                  <a:lnTo>
                    <a:pt x="244" y="471"/>
                  </a:lnTo>
                  <a:lnTo>
                    <a:pt x="244" y="469"/>
                  </a:lnTo>
                  <a:close/>
                  <a:moveTo>
                    <a:pt x="34" y="413"/>
                  </a:moveTo>
                  <a:lnTo>
                    <a:pt x="36" y="418"/>
                  </a:lnTo>
                  <a:lnTo>
                    <a:pt x="33" y="415"/>
                  </a:lnTo>
                  <a:lnTo>
                    <a:pt x="34" y="413"/>
                  </a:lnTo>
                  <a:close/>
                  <a:moveTo>
                    <a:pt x="36" y="411"/>
                  </a:moveTo>
                  <a:lnTo>
                    <a:pt x="39" y="411"/>
                  </a:lnTo>
                  <a:lnTo>
                    <a:pt x="39" y="413"/>
                  </a:lnTo>
                  <a:lnTo>
                    <a:pt x="36" y="413"/>
                  </a:lnTo>
                  <a:lnTo>
                    <a:pt x="36" y="411"/>
                  </a:lnTo>
                  <a:close/>
                  <a:moveTo>
                    <a:pt x="33" y="410"/>
                  </a:moveTo>
                  <a:lnTo>
                    <a:pt x="36" y="410"/>
                  </a:lnTo>
                  <a:lnTo>
                    <a:pt x="36" y="411"/>
                  </a:lnTo>
                  <a:lnTo>
                    <a:pt x="33" y="411"/>
                  </a:lnTo>
                  <a:lnTo>
                    <a:pt x="33" y="410"/>
                  </a:lnTo>
                  <a:close/>
                  <a:moveTo>
                    <a:pt x="26" y="404"/>
                  </a:moveTo>
                  <a:lnTo>
                    <a:pt x="27" y="404"/>
                  </a:lnTo>
                  <a:lnTo>
                    <a:pt x="27" y="408"/>
                  </a:lnTo>
                  <a:lnTo>
                    <a:pt x="26" y="408"/>
                  </a:lnTo>
                  <a:lnTo>
                    <a:pt x="26" y="404"/>
                  </a:lnTo>
                  <a:close/>
                  <a:moveTo>
                    <a:pt x="4" y="367"/>
                  </a:moveTo>
                  <a:lnTo>
                    <a:pt x="4" y="369"/>
                  </a:lnTo>
                  <a:lnTo>
                    <a:pt x="4" y="367"/>
                  </a:lnTo>
                  <a:close/>
                  <a:moveTo>
                    <a:pt x="21" y="340"/>
                  </a:moveTo>
                  <a:lnTo>
                    <a:pt x="24" y="340"/>
                  </a:lnTo>
                  <a:lnTo>
                    <a:pt x="24" y="341"/>
                  </a:lnTo>
                  <a:lnTo>
                    <a:pt x="21" y="341"/>
                  </a:lnTo>
                  <a:lnTo>
                    <a:pt x="21" y="340"/>
                  </a:lnTo>
                  <a:close/>
                  <a:moveTo>
                    <a:pt x="38" y="333"/>
                  </a:moveTo>
                  <a:lnTo>
                    <a:pt x="41" y="334"/>
                  </a:lnTo>
                  <a:lnTo>
                    <a:pt x="43" y="333"/>
                  </a:lnTo>
                  <a:lnTo>
                    <a:pt x="45" y="333"/>
                  </a:lnTo>
                  <a:lnTo>
                    <a:pt x="46" y="338"/>
                  </a:lnTo>
                  <a:lnTo>
                    <a:pt x="51" y="338"/>
                  </a:lnTo>
                  <a:lnTo>
                    <a:pt x="55" y="343"/>
                  </a:lnTo>
                  <a:lnTo>
                    <a:pt x="58" y="345"/>
                  </a:lnTo>
                  <a:lnTo>
                    <a:pt x="58" y="348"/>
                  </a:lnTo>
                  <a:lnTo>
                    <a:pt x="65" y="355"/>
                  </a:lnTo>
                  <a:lnTo>
                    <a:pt x="67" y="360"/>
                  </a:lnTo>
                  <a:lnTo>
                    <a:pt x="72" y="367"/>
                  </a:lnTo>
                  <a:lnTo>
                    <a:pt x="74" y="369"/>
                  </a:lnTo>
                  <a:lnTo>
                    <a:pt x="75" y="374"/>
                  </a:lnTo>
                  <a:lnTo>
                    <a:pt x="84" y="374"/>
                  </a:lnTo>
                  <a:lnTo>
                    <a:pt x="85" y="377"/>
                  </a:lnTo>
                  <a:lnTo>
                    <a:pt x="89" y="377"/>
                  </a:lnTo>
                  <a:lnTo>
                    <a:pt x="94" y="384"/>
                  </a:lnTo>
                  <a:lnTo>
                    <a:pt x="94" y="386"/>
                  </a:lnTo>
                  <a:lnTo>
                    <a:pt x="97" y="389"/>
                  </a:lnTo>
                  <a:lnTo>
                    <a:pt x="101" y="389"/>
                  </a:lnTo>
                  <a:lnTo>
                    <a:pt x="104" y="392"/>
                  </a:lnTo>
                  <a:lnTo>
                    <a:pt x="106" y="399"/>
                  </a:lnTo>
                  <a:lnTo>
                    <a:pt x="101" y="408"/>
                  </a:lnTo>
                  <a:lnTo>
                    <a:pt x="101" y="411"/>
                  </a:lnTo>
                  <a:lnTo>
                    <a:pt x="103" y="418"/>
                  </a:lnTo>
                  <a:lnTo>
                    <a:pt x="99" y="425"/>
                  </a:lnTo>
                  <a:lnTo>
                    <a:pt x="101" y="428"/>
                  </a:lnTo>
                  <a:lnTo>
                    <a:pt x="101" y="440"/>
                  </a:lnTo>
                  <a:lnTo>
                    <a:pt x="96" y="444"/>
                  </a:lnTo>
                  <a:lnTo>
                    <a:pt x="94" y="447"/>
                  </a:lnTo>
                  <a:lnTo>
                    <a:pt x="91" y="447"/>
                  </a:lnTo>
                  <a:lnTo>
                    <a:pt x="92" y="449"/>
                  </a:lnTo>
                  <a:lnTo>
                    <a:pt x="89" y="447"/>
                  </a:lnTo>
                  <a:lnTo>
                    <a:pt x="87" y="449"/>
                  </a:lnTo>
                  <a:lnTo>
                    <a:pt x="87" y="445"/>
                  </a:lnTo>
                  <a:lnTo>
                    <a:pt x="85" y="447"/>
                  </a:lnTo>
                  <a:lnTo>
                    <a:pt x="82" y="449"/>
                  </a:lnTo>
                  <a:lnTo>
                    <a:pt x="82" y="445"/>
                  </a:lnTo>
                  <a:lnTo>
                    <a:pt x="79" y="447"/>
                  </a:lnTo>
                  <a:lnTo>
                    <a:pt x="75" y="445"/>
                  </a:lnTo>
                  <a:lnTo>
                    <a:pt x="77" y="440"/>
                  </a:lnTo>
                  <a:lnTo>
                    <a:pt x="72" y="433"/>
                  </a:lnTo>
                  <a:lnTo>
                    <a:pt x="72" y="425"/>
                  </a:lnTo>
                  <a:lnTo>
                    <a:pt x="70" y="423"/>
                  </a:lnTo>
                  <a:lnTo>
                    <a:pt x="68" y="418"/>
                  </a:lnTo>
                  <a:lnTo>
                    <a:pt x="65" y="416"/>
                  </a:lnTo>
                  <a:lnTo>
                    <a:pt x="65" y="413"/>
                  </a:lnTo>
                  <a:lnTo>
                    <a:pt x="60" y="411"/>
                  </a:lnTo>
                  <a:lnTo>
                    <a:pt x="60" y="408"/>
                  </a:lnTo>
                  <a:lnTo>
                    <a:pt x="55" y="406"/>
                  </a:lnTo>
                  <a:lnTo>
                    <a:pt x="55" y="404"/>
                  </a:lnTo>
                  <a:lnTo>
                    <a:pt x="51" y="403"/>
                  </a:lnTo>
                  <a:lnTo>
                    <a:pt x="43" y="401"/>
                  </a:lnTo>
                  <a:lnTo>
                    <a:pt x="41" y="403"/>
                  </a:lnTo>
                  <a:lnTo>
                    <a:pt x="41" y="398"/>
                  </a:lnTo>
                  <a:lnTo>
                    <a:pt x="39" y="391"/>
                  </a:lnTo>
                  <a:lnTo>
                    <a:pt x="38" y="386"/>
                  </a:lnTo>
                  <a:lnTo>
                    <a:pt x="34" y="380"/>
                  </a:lnTo>
                  <a:lnTo>
                    <a:pt x="31" y="375"/>
                  </a:lnTo>
                  <a:lnTo>
                    <a:pt x="29" y="374"/>
                  </a:lnTo>
                  <a:lnTo>
                    <a:pt x="27" y="370"/>
                  </a:lnTo>
                  <a:lnTo>
                    <a:pt x="24" y="369"/>
                  </a:lnTo>
                  <a:lnTo>
                    <a:pt x="24" y="365"/>
                  </a:lnTo>
                  <a:lnTo>
                    <a:pt x="22" y="363"/>
                  </a:lnTo>
                  <a:lnTo>
                    <a:pt x="22" y="365"/>
                  </a:lnTo>
                  <a:lnTo>
                    <a:pt x="19" y="362"/>
                  </a:lnTo>
                  <a:lnTo>
                    <a:pt x="17" y="363"/>
                  </a:lnTo>
                  <a:lnTo>
                    <a:pt x="15" y="357"/>
                  </a:lnTo>
                  <a:lnTo>
                    <a:pt x="10" y="350"/>
                  </a:lnTo>
                  <a:lnTo>
                    <a:pt x="5" y="346"/>
                  </a:lnTo>
                  <a:lnTo>
                    <a:pt x="2" y="348"/>
                  </a:lnTo>
                  <a:lnTo>
                    <a:pt x="0" y="346"/>
                  </a:lnTo>
                  <a:lnTo>
                    <a:pt x="9" y="343"/>
                  </a:lnTo>
                  <a:lnTo>
                    <a:pt x="14" y="346"/>
                  </a:lnTo>
                  <a:lnTo>
                    <a:pt x="14" y="348"/>
                  </a:lnTo>
                  <a:lnTo>
                    <a:pt x="15" y="345"/>
                  </a:lnTo>
                  <a:lnTo>
                    <a:pt x="17" y="346"/>
                  </a:lnTo>
                  <a:lnTo>
                    <a:pt x="26" y="345"/>
                  </a:lnTo>
                  <a:lnTo>
                    <a:pt x="27" y="341"/>
                  </a:lnTo>
                  <a:lnTo>
                    <a:pt x="34" y="336"/>
                  </a:lnTo>
                  <a:lnTo>
                    <a:pt x="34" y="331"/>
                  </a:lnTo>
                  <a:lnTo>
                    <a:pt x="36" y="329"/>
                  </a:lnTo>
                  <a:lnTo>
                    <a:pt x="38" y="333"/>
                  </a:lnTo>
                  <a:close/>
                  <a:moveTo>
                    <a:pt x="183" y="326"/>
                  </a:moveTo>
                  <a:lnTo>
                    <a:pt x="184" y="326"/>
                  </a:lnTo>
                  <a:lnTo>
                    <a:pt x="184" y="328"/>
                  </a:lnTo>
                  <a:lnTo>
                    <a:pt x="183" y="328"/>
                  </a:lnTo>
                  <a:lnTo>
                    <a:pt x="183" y="326"/>
                  </a:lnTo>
                  <a:close/>
                  <a:moveTo>
                    <a:pt x="176" y="326"/>
                  </a:moveTo>
                  <a:lnTo>
                    <a:pt x="178" y="326"/>
                  </a:lnTo>
                  <a:lnTo>
                    <a:pt x="176" y="326"/>
                  </a:lnTo>
                  <a:close/>
                  <a:moveTo>
                    <a:pt x="181" y="321"/>
                  </a:moveTo>
                  <a:lnTo>
                    <a:pt x="183" y="321"/>
                  </a:lnTo>
                  <a:lnTo>
                    <a:pt x="183" y="324"/>
                  </a:lnTo>
                  <a:lnTo>
                    <a:pt x="181" y="324"/>
                  </a:lnTo>
                  <a:lnTo>
                    <a:pt x="181" y="321"/>
                  </a:lnTo>
                  <a:close/>
                  <a:moveTo>
                    <a:pt x="169" y="310"/>
                  </a:moveTo>
                  <a:lnTo>
                    <a:pt x="174" y="314"/>
                  </a:lnTo>
                  <a:lnTo>
                    <a:pt x="173" y="316"/>
                  </a:lnTo>
                  <a:lnTo>
                    <a:pt x="174" y="317"/>
                  </a:lnTo>
                  <a:lnTo>
                    <a:pt x="178" y="317"/>
                  </a:lnTo>
                  <a:lnTo>
                    <a:pt x="179" y="314"/>
                  </a:lnTo>
                  <a:lnTo>
                    <a:pt x="181" y="314"/>
                  </a:lnTo>
                  <a:lnTo>
                    <a:pt x="181" y="317"/>
                  </a:lnTo>
                  <a:lnTo>
                    <a:pt x="183" y="316"/>
                  </a:lnTo>
                  <a:lnTo>
                    <a:pt x="186" y="321"/>
                  </a:lnTo>
                  <a:lnTo>
                    <a:pt x="184" y="321"/>
                  </a:lnTo>
                  <a:lnTo>
                    <a:pt x="179" y="321"/>
                  </a:lnTo>
                  <a:lnTo>
                    <a:pt x="178" y="319"/>
                  </a:lnTo>
                  <a:lnTo>
                    <a:pt x="173" y="321"/>
                  </a:lnTo>
                  <a:lnTo>
                    <a:pt x="167" y="317"/>
                  </a:lnTo>
                  <a:lnTo>
                    <a:pt x="166" y="314"/>
                  </a:lnTo>
                  <a:lnTo>
                    <a:pt x="167" y="310"/>
                  </a:lnTo>
                  <a:lnTo>
                    <a:pt x="169" y="310"/>
                  </a:lnTo>
                  <a:close/>
                  <a:moveTo>
                    <a:pt x="367" y="210"/>
                  </a:moveTo>
                  <a:lnTo>
                    <a:pt x="365" y="208"/>
                  </a:lnTo>
                  <a:lnTo>
                    <a:pt x="365" y="199"/>
                  </a:lnTo>
                  <a:lnTo>
                    <a:pt x="367" y="210"/>
                  </a:lnTo>
                  <a:close/>
                  <a:moveTo>
                    <a:pt x="135" y="18"/>
                  </a:moveTo>
                  <a:lnTo>
                    <a:pt x="137" y="18"/>
                  </a:lnTo>
                  <a:lnTo>
                    <a:pt x="137" y="22"/>
                  </a:lnTo>
                  <a:lnTo>
                    <a:pt x="135" y="22"/>
                  </a:lnTo>
                  <a:lnTo>
                    <a:pt x="135" y="18"/>
                  </a:lnTo>
                  <a:close/>
                  <a:moveTo>
                    <a:pt x="145" y="15"/>
                  </a:moveTo>
                  <a:lnTo>
                    <a:pt x="145" y="18"/>
                  </a:lnTo>
                  <a:lnTo>
                    <a:pt x="144" y="18"/>
                  </a:lnTo>
                  <a:lnTo>
                    <a:pt x="142" y="18"/>
                  </a:lnTo>
                  <a:lnTo>
                    <a:pt x="142" y="13"/>
                  </a:lnTo>
                  <a:lnTo>
                    <a:pt x="145" y="15"/>
                  </a:lnTo>
                  <a:close/>
                  <a:moveTo>
                    <a:pt x="142" y="0"/>
                  </a:moveTo>
                  <a:lnTo>
                    <a:pt x="144" y="1"/>
                  </a:lnTo>
                  <a:lnTo>
                    <a:pt x="140" y="3"/>
                  </a:lnTo>
                  <a:lnTo>
                    <a:pt x="144" y="5"/>
                  </a:lnTo>
                  <a:lnTo>
                    <a:pt x="142" y="13"/>
                  </a:lnTo>
                  <a:lnTo>
                    <a:pt x="135" y="15"/>
                  </a:lnTo>
                  <a:lnTo>
                    <a:pt x="132" y="17"/>
                  </a:lnTo>
                  <a:lnTo>
                    <a:pt x="130" y="12"/>
                  </a:lnTo>
                  <a:lnTo>
                    <a:pt x="132" y="17"/>
                  </a:lnTo>
                  <a:lnTo>
                    <a:pt x="135" y="18"/>
                  </a:lnTo>
                  <a:lnTo>
                    <a:pt x="132" y="25"/>
                  </a:lnTo>
                  <a:lnTo>
                    <a:pt x="133" y="25"/>
                  </a:lnTo>
                  <a:lnTo>
                    <a:pt x="135" y="22"/>
                  </a:lnTo>
                  <a:lnTo>
                    <a:pt x="137" y="22"/>
                  </a:lnTo>
                  <a:lnTo>
                    <a:pt x="138" y="20"/>
                  </a:lnTo>
                  <a:lnTo>
                    <a:pt x="144" y="20"/>
                  </a:lnTo>
                  <a:lnTo>
                    <a:pt x="149" y="22"/>
                  </a:lnTo>
                  <a:lnTo>
                    <a:pt x="150" y="30"/>
                  </a:lnTo>
                  <a:lnTo>
                    <a:pt x="150" y="27"/>
                  </a:lnTo>
                  <a:lnTo>
                    <a:pt x="159" y="25"/>
                  </a:lnTo>
                  <a:lnTo>
                    <a:pt x="164" y="30"/>
                  </a:lnTo>
                  <a:lnTo>
                    <a:pt x="164" y="32"/>
                  </a:lnTo>
                  <a:lnTo>
                    <a:pt x="166" y="30"/>
                  </a:lnTo>
                  <a:lnTo>
                    <a:pt x="167" y="32"/>
                  </a:lnTo>
                  <a:lnTo>
                    <a:pt x="167" y="30"/>
                  </a:lnTo>
                  <a:lnTo>
                    <a:pt x="173" y="32"/>
                  </a:lnTo>
                  <a:lnTo>
                    <a:pt x="171" y="34"/>
                  </a:lnTo>
                  <a:lnTo>
                    <a:pt x="174" y="32"/>
                  </a:lnTo>
                  <a:lnTo>
                    <a:pt x="178" y="34"/>
                  </a:lnTo>
                  <a:lnTo>
                    <a:pt x="178" y="39"/>
                  </a:lnTo>
                  <a:lnTo>
                    <a:pt x="179" y="37"/>
                  </a:lnTo>
                  <a:lnTo>
                    <a:pt x="179" y="39"/>
                  </a:lnTo>
                  <a:lnTo>
                    <a:pt x="178" y="42"/>
                  </a:lnTo>
                  <a:lnTo>
                    <a:pt x="181" y="41"/>
                  </a:lnTo>
                  <a:lnTo>
                    <a:pt x="183" y="44"/>
                  </a:lnTo>
                  <a:lnTo>
                    <a:pt x="193" y="47"/>
                  </a:lnTo>
                  <a:lnTo>
                    <a:pt x="193" y="46"/>
                  </a:lnTo>
                  <a:lnTo>
                    <a:pt x="196" y="49"/>
                  </a:lnTo>
                  <a:lnTo>
                    <a:pt x="198" y="59"/>
                  </a:lnTo>
                  <a:lnTo>
                    <a:pt x="195" y="61"/>
                  </a:lnTo>
                  <a:lnTo>
                    <a:pt x="193" y="63"/>
                  </a:lnTo>
                  <a:lnTo>
                    <a:pt x="195" y="61"/>
                  </a:lnTo>
                  <a:lnTo>
                    <a:pt x="196" y="61"/>
                  </a:lnTo>
                  <a:lnTo>
                    <a:pt x="200" y="59"/>
                  </a:lnTo>
                  <a:lnTo>
                    <a:pt x="198" y="63"/>
                  </a:lnTo>
                  <a:lnTo>
                    <a:pt x="203" y="63"/>
                  </a:lnTo>
                  <a:lnTo>
                    <a:pt x="207" y="68"/>
                  </a:lnTo>
                  <a:lnTo>
                    <a:pt x="208" y="68"/>
                  </a:lnTo>
                  <a:lnTo>
                    <a:pt x="219" y="73"/>
                  </a:lnTo>
                  <a:lnTo>
                    <a:pt x="227" y="75"/>
                  </a:lnTo>
                  <a:lnTo>
                    <a:pt x="229" y="76"/>
                  </a:lnTo>
                  <a:lnTo>
                    <a:pt x="236" y="80"/>
                  </a:lnTo>
                  <a:lnTo>
                    <a:pt x="241" y="82"/>
                  </a:lnTo>
                  <a:lnTo>
                    <a:pt x="248" y="87"/>
                  </a:lnTo>
                  <a:lnTo>
                    <a:pt x="253" y="88"/>
                  </a:lnTo>
                  <a:lnTo>
                    <a:pt x="258" y="92"/>
                  </a:lnTo>
                  <a:lnTo>
                    <a:pt x="266" y="97"/>
                  </a:lnTo>
                  <a:lnTo>
                    <a:pt x="265" y="99"/>
                  </a:lnTo>
                  <a:lnTo>
                    <a:pt x="268" y="97"/>
                  </a:lnTo>
                  <a:lnTo>
                    <a:pt x="272" y="104"/>
                  </a:lnTo>
                  <a:lnTo>
                    <a:pt x="272" y="106"/>
                  </a:lnTo>
                  <a:lnTo>
                    <a:pt x="273" y="104"/>
                  </a:lnTo>
                  <a:lnTo>
                    <a:pt x="277" y="107"/>
                  </a:lnTo>
                  <a:lnTo>
                    <a:pt x="284" y="109"/>
                  </a:lnTo>
                  <a:lnTo>
                    <a:pt x="290" y="114"/>
                  </a:lnTo>
                  <a:lnTo>
                    <a:pt x="290" y="117"/>
                  </a:lnTo>
                  <a:lnTo>
                    <a:pt x="292" y="117"/>
                  </a:lnTo>
                  <a:lnTo>
                    <a:pt x="299" y="126"/>
                  </a:lnTo>
                  <a:lnTo>
                    <a:pt x="302" y="128"/>
                  </a:lnTo>
                  <a:lnTo>
                    <a:pt x="304" y="128"/>
                  </a:lnTo>
                  <a:lnTo>
                    <a:pt x="307" y="128"/>
                  </a:lnTo>
                  <a:lnTo>
                    <a:pt x="314" y="129"/>
                  </a:lnTo>
                  <a:lnTo>
                    <a:pt x="323" y="135"/>
                  </a:lnTo>
                  <a:lnTo>
                    <a:pt x="324" y="138"/>
                  </a:lnTo>
                  <a:lnTo>
                    <a:pt x="331" y="147"/>
                  </a:lnTo>
                  <a:lnTo>
                    <a:pt x="336" y="150"/>
                  </a:lnTo>
                  <a:lnTo>
                    <a:pt x="336" y="157"/>
                  </a:lnTo>
                  <a:lnTo>
                    <a:pt x="336" y="152"/>
                  </a:lnTo>
                  <a:lnTo>
                    <a:pt x="340" y="150"/>
                  </a:lnTo>
                  <a:lnTo>
                    <a:pt x="345" y="158"/>
                  </a:lnTo>
                  <a:lnTo>
                    <a:pt x="350" y="162"/>
                  </a:lnTo>
                  <a:lnTo>
                    <a:pt x="350" y="160"/>
                  </a:lnTo>
                  <a:lnTo>
                    <a:pt x="352" y="160"/>
                  </a:lnTo>
                  <a:lnTo>
                    <a:pt x="352" y="162"/>
                  </a:lnTo>
                  <a:lnTo>
                    <a:pt x="350" y="172"/>
                  </a:lnTo>
                  <a:lnTo>
                    <a:pt x="352" y="177"/>
                  </a:lnTo>
                  <a:lnTo>
                    <a:pt x="350" y="184"/>
                  </a:lnTo>
                  <a:lnTo>
                    <a:pt x="347" y="189"/>
                  </a:lnTo>
                  <a:lnTo>
                    <a:pt x="348" y="191"/>
                  </a:lnTo>
                  <a:lnTo>
                    <a:pt x="357" y="186"/>
                  </a:lnTo>
                  <a:lnTo>
                    <a:pt x="362" y="189"/>
                  </a:lnTo>
                  <a:lnTo>
                    <a:pt x="364" y="194"/>
                  </a:lnTo>
                  <a:lnTo>
                    <a:pt x="364" y="201"/>
                  </a:lnTo>
                  <a:lnTo>
                    <a:pt x="365" y="208"/>
                  </a:lnTo>
                  <a:lnTo>
                    <a:pt x="369" y="211"/>
                  </a:lnTo>
                  <a:lnTo>
                    <a:pt x="369" y="210"/>
                  </a:lnTo>
                  <a:lnTo>
                    <a:pt x="367" y="201"/>
                  </a:lnTo>
                  <a:lnTo>
                    <a:pt x="367" y="196"/>
                  </a:lnTo>
                  <a:lnTo>
                    <a:pt x="372" y="191"/>
                  </a:lnTo>
                  <a:lnTo>
                    <a:pt x="379" y="191"/>
                  </a:lnTo>
                  <a:lnTo>
                    <a:pt x="381" y="198"/>
                  </a:lnTo>
                  <a:lnTo>
                    <a:pt x="384" y="201"/>
                  </a:lnTo>
                  <a:lnTo>
                    <a:pt x="386" y="205"/>
                  </a:lnTo>
                  <a:lnTo>
                    <a:pt x="391" y="211"/>
                  </a:lnTo>
                  <a:lnTo>
                    <a:pt x="388" y="220"/>
                  </a:lnTo>
                  <a:lnTo>
                    <a:pt x="388" y="223"/>
                  </a:lnTo>
                  <a:lnTo>
                    <a:pt x="388" y="232"/>
                  </a:lnTo>
                  <a:lnTo>
                    <a:pt x="391" y="240"/>
                  </a:lnTo>
                  <a:lnTo>
                    <a:pt x="396" y="249"/>
                  </a:lnTo>
                  <a:lnTo>
                    <a:pt x="396" y="254"/>
                  </a:lnTo>
                  <a:lnTo>
                    <a:pt x="393" y="261"/>
                  </a:lnTo>
                  <a:lnTo>
                    <a:pt x="391" y="268"/>
                  </a:lnTo>
                  <a:lnTo>
                    <a:pt x="389" y="278"/>
                  </a:lnTo>
                  <a:lnTo>
                    <a:pt x="391" y="287"/>
                  </a:lnTo>
                  <a:lnTo>
                    <a:pt x="388" y="290"/>
                  </a:lnTo>
                  <a:lnTo>
                    <a:pt x="386" y="297"/>
                  </a:lnTo>
                  <a:lnTo>
                    <a:pt x="388" y="300"/>
                  </a:lnTo>
                  <a:lnTo>
                    <a:pt x="394" y="300"/>
                  </a:lnTo>
                  <a:lnTo>
                    <a:pt x="394" y="307"/>
                  </a:lnTo>
                  <a:lnTo>
                    <a:pt x="391" y="314"/>
                  </a:lnTo>
                  <a:lnTo>
                    <a:pt x="396" y="316"/>
                  </a:lnTo>
                  <a:lnTo>
                    <a:pt x="401" y="314"/>
                  </a:lnTo>
                  <a:lnTo>
                    <a:pt x="401" y="316"/>
                  </a:lnTo>
                  <a:lnTo>
                    <a:pt x="401" y="324"/>
                  </a:lnTo>
                  <a:lnTo>
                    <a:pt x="403" y="328"/>
                  </a:lnTo>
                  <a:lnTo>
                    <a:pt x="403" y="336"/>
                  </a:lnTo>
                  <a:lnTo>
                    <a:pt x="401" y="340"/>
                  </a:lnTo>
                  <a:lnTo>
                    <a:pt x="400" y="340"/>
                  </a:lnTo>
                  <a:lnTo>
                    <a:pt x="391" y="340"/>
                  </a:lnTo>
                  <a:lnTo>
                    <a:pt x="391" y="338"/>
                  </a:lnTo>
                  <a:lnTo>
                    <a:pt x="386" y="338"/>
                  </a:lnTo>
                  <a:lnTo>
                    <a:pt x="388" y="340"/>
                  </a:lnTo>
                  <a:lnTo>
                    <a:pt x="394" y="343"/>
                  </a:lnTo>
                  <a:lnTo>
                    <a:pt x="389" y="345"/>
                  </a:lnTo>
                  <a:lnTo>
                    <a:pt x="386" y="343"/>
                  </a:lnTo>
                  <a:lnTo>
                    <a:pt x="377" y="346"/>
                  </a:lnTo>
                  <a:lnTo>
                    <a:pt x="369" y="346"/>
                  </a:lnTo>
                  <a:lnTo>
                    <a:pt x="359" y="348"/>
                  </a:lnTo>
                  <a:lnTo>
                    <a:pt x="357" y="350"/>
                  </a:lnTo>
                  <a:lnTo>
                    <a:pt x="355" y="351"/>
                  </a:lnTo>
                  <a:lnTo>
                    <a:pt x="357" y="355"/>
                  </a:lnTo>
                  <a:lnTo>
                    <a:pt x="362" y="362"/>
                  </a:lnTo>
                  <a:lnTo>
                    <a:pt x="367" y="365"/>
                  </a:lnTo>
                  <a:lnTo>
                    <a:pt x="367" y="369"/>
                  </a:lnTo>
                  <a:lnTo>
                    <a:pt x="369" y="374"/>
                  </a:lnTo>
                  <a:lnTo>
                    <a:pt x="374" y="380"/>
                  </a:lnTo>
                  <a:lnTo>
                    <a:pt x="369" y="380"/>
                  </a:lnTo>
                  <a:lnTo>
                    <a:pt x="367" y="386"/>
                  </a:lnTo>
                  <a:lnTo>
                    <a:pt x="372" y="394"/>
                  </a:lnTo>
                  <a:lnTo>
                    <a:pt x="369" y="396"/>
                  </a:lnTo>
                  <a:lnTo>
                    <a:pt x="371" y="399"/>
                  </a:lnTo>
                  <a:lnTo>
                    <a:pt x="367" y="403"/>
                  </a:lnTo>
                  <a:lnTo>
                    <a:pt x="369" y="408"/>
                  </a:lnTo>
                  <a:lnTo>
                    <a:pt x="369" y="413"/>
                  </a:lnTo>
                  <a:lnTo>
                    <a:pt x="367" y="413"/>
                  </a:lnTo>
                  <a:lnTo>
                    <a:pt x="367" y="415"/>
                  </a:lnTo>
                  <a:lnTo>
                    <a:pt x="374" y="423"/>
                  </a:lnTo>
                  <a:lnTo>
                    <a:pt x="372" y="423"/>
                  </a:lnTo>
                  <a:lnTo>
                    <a:pt x="362" y="418"/>
                  </a:lnTo>
                  <a:lnTo>
                    <a:pt x="360" y="418"/>
                  </a:lnTo>
                  <a:lnTo>
                    <a:pt x="352" y="413"/>
                  </a:lnTo>
                  <a:lnTo>
                    <a:pt x="348" y="413"/>
                  </a:lnTo>
                  <a:lnTo>
                    <a:pt x="347" y="410"/>
                  </a:lnTo>
                  <a:lnTo>
                    <a:pt x="336" y="406"/>
                  </a:lnTo>
                  <a:lnTo>
                    <a:pt x="333" y="408"/>
                  </a:lnTo>
                  <a:lnTo>
                    <a:pt x="333" y="416"/>
                  </a:lnTo>
                  <a:lnTo>
                    <a:pt x="335" y="418"/>
                  </a:lnTo>
                  <a:lnTo>
                    <a:pt x="331" y="427"/>
                  </a:lnTo>
                  <a:lnTo>
                    <a:pt x="333" y="430"/>
                  </a:lnTo>
                  <a:lnTo>
                    <a:pt x="342" y="433"/>
                  </a:lnTo>
                  <a:lnTo>
                    <a:pt x="342" y="439"/>
                  </a:lnTo>
                  <a:lnTo>
                    <a:pt x="348" y="449"/>
                  </a:lnTo>
                  <a:lnTo>
                    <a:pt x="347" y="454"/>
                  </a:lnTo>
                  <a:lnTo>
                    <a:pt x="342" y="459"/>
                  </a:lnTo>
                  <a:lnTo>
                    <a:pt x="331" y="459"/>
                  </a:lnTo>
                  <a:lnTo>
                    <a:pt x="324" y="457"/>
                  </a:lnTo>
                  <a:lnTo>
                    <a:pt x="319" y="461"/>
                  </a:lnTo>
                  <a:lnTo>
                    <a:pt x="314" y="457"/>
                  </a:lnTo>
                  <a:lnTo>
                    <a:pt x="311" y="449"/>
                  </a:lnTo>
                  <a:lnTo>
                    <a:pt x="302" y="454"/>
                  </a:lnTo>
                  <a:lnTo>
                    <a:pt x="297" y="452"/>
                  </a:lnTo>
                  <a:lnTo>
                    <a:pt x="294" y="449"/>
                  </a:lnTo>
                  <a:lnTo>
                    <a:pt x="290" y="451"/>
                  </a:lnTo>
                  <a:lnTo>
                    <a:pt x="284" y="456"/>
                  </a:lnTo>
                  <a:lnTo>
                    <a:pt x="282" y="456"/>
                  </a:lnTo>
                  <a:lnTo>
                    <a:pt x="280" y="459"/>
                  </a:lnTo>
                  <a:lnTo>
                    <a:pt x="278" y="461"/>
                  </a:lnTo>
                  <a:lnTo>
                    <a:pt x="275" y="468"/>
                  </a:lnTo>
                  <a:lnTo>
                    <a:pt x="272" y="473"/>
                  </a:lnTo>
                  <a:lnTo>
                    <a:pt x="263" y="474"/>
                  </a:lnTo>
                  <a:lnTo>
                    <a:pt x="256" y="480"/>
                  </a:lnTo>
                  <a:lnTo>
                    <a:pt x="256" y="481"/>
                  </a:lnTo>
                  <a:lnTo>
                    <a:pt x="253" y="486"/>
                  </a:lnTo>
                  <a:lnTo>
                    <a:pt x="249" y="485"/>
                  </a:lnTo>
                  <a:lnTo>
                    <a:pt x="251" y="481"/>
                  </a:lnTo>
                  <a:lnTo>
                    <a:pt x="251" y="476"/>
                  </a:lnTo>
                  <a:lnTo>
                    <a:pt x="246" y="473"/>
                  </a:lnTo>
                  <a:lnTo>
                    <a:pt x="249" y="468"/>
                  </a:lnTo>
                  <a:lnTo>
                    <a:pt x="248" y="457"/>
                  </a:lnTo>
                  <a:lnTo>
                    <a:pt x="246" y="454"/>
                  </a:lnTo>
                  <a:lnTo>
                    <a:pt x="244" y="454"/>
                  </a:lnTo>
                  <a:lnTo>
                    <a:pt x="243" y="451"/>
                  </a:lnTo>
                  <a:lnTo>
                    <a:pt x="246" y="451"/>
                  </a:lnTo>
                  <a:lnTo>
                    <a:pt x="246" y="445"/>
                  </a:lnTo>
                  <a:lnTo>
                    <a:pt x="243" y="440"/>
                  </a:lnTo>
                  <a:lnTo>
                    <a:pt x="241" y="439"/>
                  </a:lnTo>
                  <a:lnTo>
                    <a:pt x="239" y="440"/>
                  </a:lnTo>
                  <a:lnTo>
                    <a:pt x="237" y="439"/>
                  </a:lnTo>
                  <a:lnTo>
                    <a:pt x="241" y="435"/>
                  </a:lnTo>
                  <a:lnTo>
                    <a:pt x="237" y="433"/>
                  </a:lnTo>
                  <a:lnTo>
                    <a:pt x="241" y="432"/>
                  </a:lnTo>
                  <a:lnTo>
                    <a:pt x="239" y="425"/>
                  </a:lnTo>
                  <a:lnTo>
                    <a:pt x="237" y="423"/>
                  </a:lnTo>
                  <a:lnTo>
                    <a:pt x="234" y="416"/>
                  </a:lnTo>
                  <a:lnTo>
                    <a:pt x="232" y="416"/>
                  </a:lnTo>
                  <a:lnTo>
                    <a:pt x="229" y="413"/>
                  </a:lnTo>
                  <a:lnTo>
                    <a:pt x="231" y="413"/>
                  </a:lnTo>
                  <a:lnTo>
                    <a:pt x="229" y="404"/>
                  </a:lnTo>
                  <a:lnTo>
                    <a:pt x="227" y="396"/>
                  </a:lnTo>
                  <a:lnTo>
                    <a:pt x="224" y="389"/>
                  </a:lnTo>
                  <a:lnTo>
                    <a:pt x="222" y="379"/>
                  </a:lnTo>
                  <a:lnTo>
                    <a:pt x="220" y="375"/>
                  </a:lnTo>
                  <a:lnTo>
                    <a:pt x="217" y="370"/>
                  </a:lnTo>
                  <a:lnTo>
                    <a:pt x="214" y="362"/>
                  </a:lnTo>
                  <a:lnTo>
                    <a:pt x="215" y="357"/>
                  </a:lnTo>
                  <a:lnTo>
                    <a:pt x="212" y="350"/>
                  </a:lnTo>
                  <a:lnTo>
                    <a:pt x="207" y="343"/>
                  </a:lnTo>
                  <a:lnTo>
                    <a:pt x="208" y="343"/>
                  </a:lnTo>
                  <a:lnTo>
                    <a:pt x="205" y="336"/>
                  </a:lnTo>
                  <a:lnTo>
                    <a:pt x="198" y="328"/>
                  </a:lnTo>
                  <a:lnTo>
                    <a:pt x="200" y="326"/>
                  </a:lnTo>
                  <a:lnTo>
                    <a:pt x="205" y="331"/>
                  </a:lnTo>
                  <a:lnTo>
                    <a:pt x="207" y="326"/>
                  </a:lnTo>
                  <a:lnTo>
                    <a:pt x="210" y="328"/>
                  </a:lnTo>
                  <a:lnTo>
                    <a:pt x="208" y="322"/>
                  </a:lnTo>
                  <a:lnTo>
                    <a:pt x="212" y="322"/>
                  </a:lnTo>
                  <a:lnTo>
                    <a:pt x="214" y="319"/>
                  </a:lnTo>
                  <a:lnTo>
                    <a:pt x="214" y="317"/>
                  </a:lnTo>
                  <a:lnTo>
                    <a:pt x="212" y="316"/>
                  </a:lnTo>
                  <a:lnTo>
                    <a:pt x="212" y="314"/>
                  </a:lnTo>
                  <a:lnTo>
                    <a:pt x="207" y="312"/>
                  </a:lnTo>
                  <a:lnTo>
                    <a:pt x="207" y="309"/>
                  </a:lnTo>
                  <a:lnTo>
                    <a:pt x="208" y="307"/>
                  </a:lnTo>
                  <a:lnTo>
                    <a:pt x="202" y="300"/>
                  </a:lnTo>
                  <a:lnTo>
                    <a:pt x="193" y="302"/>
                  </a:lnTo>
                  <a:lnTo>
                    <a:pt x="196" y="302"/>
                  </a:lnTo>
                  <a:lnTo>
                    <a:pt x="198" y="304"/>
                  </a:lnTo>
                  <a:lnTo>
                    <a:pt x="200" y="302"/>
                  </a:lnTo>
                  <a:lnTo>
                    <a:pt x="202" y="309"/>
                  </a:lnTo>
                  <a:lnTo>
                    <a:pt x="195" y="307"/>
                  </a:lnTo>
                  <a:lnTo>
                    <a:pt x="190" y="300"/>
                  </a:lnTo>
                  <a:lnTo>
                    <a:pt x="186" y="295"/>
                  </a:lnTo>
                  <a:lnTo>
                    <a:pt x="181" y="290"/>
                  </a:lnTo>
                  <a:lnTo>
                    <a:pt x="178" y="287"/>
                  </a:lnTo>
                  <a:lnTo>
                    <a:pt x="173" y="281"/>
                  </a:lnTo>
                  <a:lnTo>
                    <a:pt x="167" y="276"/>
                  </a:lnTo>
                  <a:lnTo>
                    <a:pt x="159" y="273"/>
                  </a:lnTo>
                  <a:lnTo>
                    <a:pt x="155" y="275"/>
                  </a:lnTo>
                  <a:lnTo>
                    <a:pt x="157" y="273"/>
                  </a:lnTo>
                  <a:lnTo>
                    <a:pt x="154" y="269"/>
                  </a:lnTo>
                  <a:lnTo>
                    <a:pt x="150" y="271"/>
                  </a:lnTo>
                  <a:lnTo>
                    <a:pt x="147" y="269"/>
                  </a:lnTo>
                  <a:lnTo>
                    <a:pt x="145" y="271"/>
                  </a:lnTo>
                  <a:lnTo>
                    <a:pt x="145" y="269"/>
                  </a:lnTo>
                  <a:lnTo>
                    <a:pt x="144" y="268"/>
                  </a:lnTo>
                  <a:lnTo>
                    <a:pt x="135" y="261"/>
                  </a:lnTo>
                  <a:lnTo>
                    <a:pt x="128" y="256"/>
                  </a:lnTo>
                  <a:lnTo>
                    <a:pt x="135" y="246"/>
                  </a:lnTo>
                  <a:lnTo>
                    <a:pt x="137" y="237"/>
                  </a:lnTo>
                  <a:lnTo>
                    <a:pt x="135" y="235"/>
                  </a:lnTo>
                  <a:lnTo>
                    <a:pt x="133" y="228"/>
                  </a:lnTo>
                  <a:lnTo>
                    <a:pt x="130" y="223"/>
                  </a:lnTo>
                  <a:lnTo>
                    <a:pt x="125" y="217"/>
                  </a:lnTo>
                  <a:lnTo>
                    <a:pt x="123" y="213"/>
                  </a:lnTo>
                  <a:lnTo>
                    <a:pt x="123" y="203"/>
                  </a:lnTo>
                  <a:lnTo>
                    <a:pt x="126" y="201"/>
                  </a:lnTo>
                  <a:lnTo>
                    <a:pt x="125" y="193"/>
                  </a:lnTo>
                  <a:lnTo>
                    <a:pt x="121" y="187"/>
                  </a:lnTo>
                  <a:lnTo>
                    <a:pt x="121" y="184"/>
                  </a:lnTo>
                  <a:lnTo>
                    <a:pt x="126" y="181"/>
                  </a:lnTo>
                  <a:lnTo>
                    <a:pt x="125" y="176"/>
                  </a:lnTo>
                  <a:lnTo>
                    <a:pt x="120" y="177"/>
                  </a:lnTo>
                  <a:lnTo>
                    <a:pt x="115" y="170"/>
                  </a:lnTo>
                  <a:lnTo>
                    <a:pt x="106" y="167"/>
                  </a:lnTo>
                  <a:lnTo>
                    <a:pt x="108" y="157"/>
                  </a:lnTo>
                  <a:lnTo>
                    <a:pt x="106" y="157"/>
                  </a:lnTo>
                  <a:lnTo>
                    <a:pt x="106" y="153"/>
                  </a:lnTo>
                  <a:lnTo>
                    <a:pt x="104" y="148"/>
                  </a:lnTo>
                  <a:lnTo>
                    <a:pt x="106" y="147"/>
                  </a:lnTo>
                  <a:lnTo>
                    <a:pt x="109" y="147"/>
                  </a:lnTo>
                  <a:lnTo>
                    <a:pt x="111" y="141"/>
                  </a:lnTo>
                  <a:lnTo>
                    <a:pt x="106" y="135"/>
                  </a:lnTo>
                  <a:lnTo>
                    <a:pt x="104" y="128"/>
                  </a:lnTo>
                  <a:lnTo>
                    <a:pt x="97" y="124"/>
                  </a:lnTo>
                  <a:lnTo>
                    <a:pt x="106" y="123"/>
                  </a:lnTo>
                  <a:lnTo>
                    <a:pt x="108" y="121"/>
                  </a:lnTo>
                  <a:lnTo>
                    <a:pt x="113" y="121"/>
                  </a:lnTo>
                  <a:lnTo>
                    <a:pt x="116" y="119"/>
                  </a:lnTo>
                  <a:lnTo>
                    <a:pt x="116" y="116"/>
                  </a:lnTo>
                  <a:lnTo>
                    <a:pt x="113" y="111"/>
                  </a:lnTo>
                  <a:lnTo>
                    <a:pt x="106" y="107"/>
                  </a:lnTo>
                  <a:lnTo>
                    <a:pt x="103" y="109"/>
                  </a:lnTo>
                  <a:lnTo>
                    <a:pt x="101" y="106"/>
                  </a:lnTo>
                  <a:lnTo>
                    <a:pt x="104" y="104"/>
                  </a:lnTo>
                  <a:lnTo>
                    <a:pt x="108" y="97"/>
                  </a:lnTo>
                  <a:lnTo>
                    <a:pt x="104" y="95"/>
                  </a:lnTo>
                  <a:lnTo>
                    <a:pt x="103" y="88"/>
                  </a:lnTo>
                  <a:lnTo>
                    <a:pt x="97" y="87"/>
                  </a:lnTo>
                  <a:lnTo>
                    <a:pt x="97" y="82"/>
                  </a:lnTo>
                  <a:lnTo>
                    <a:pt x="96" y="80"/>
                  </a:lnTo>
                  <a:lnTo>
                    <a:pt x="94" y="76"/>
                  </a:lnTo>
                  <a:lnTo>
                    <a:pt x="89" y="68"/>
                  </a:lnTo>
                  <a:lnTo>
                    <a:pt x="94" y="63"/>
                  </a:lnTo>
                  <a:lnTo>
                    <a:pt x="103" y="56"/>
                  </a:lnTo>
                  <a:lnTo>
                    <a:pt x="104" y="54"/>
                  </a:lnTo>
                  <a:lnTo>
                    <a:pt x="103" y="49"/>
                  </a:lnTo>
                  <a:lnTo>
                    <a:pt x="108" y="49"/>
                  </a:lnTo>
                  <a:lnTo>
                    <a:pt x="108" y="44"/>
                  </a:lnTo>
                  <a:lnTo>
                    <a:pt x="116" y="39"/>
                  </a:lnTo>
                  <a:lnTo>
                    <a:pt x="116" y="34"/>
                  </a:lnTo>
                  <a:lnTo>
                    <a:pt x="118" y="32"/>
                  </a:lnTo>
                  <a:lnTo>
                    <a:pt x="118" y="29"/>
                  </a:lnTo>
                  <a:lnTo>
                    <a:pt x="120" y="20"/>
                  </a:lnTo>
                  <a:lnTo>
                    <a:pt x="121" y="18"/>
                  </a:lnTo>
                  <a:lnTo>
                    <a:pt x="120" y="13"/>
                  </a:lnTo>
                  <a:lnTo>
                    <a:pt x="125" y="10"/>
                  </a:lnTo>
                  <a:lnTo>
                    <a:pt x="121" y="6"/>
                  </a:lnTo>
                  <a:lnTo>
                    <a:pt x="123" y="5"/>
                  </a:lnTo>
                  <a:lnTo>
                    <a:pt x="130" y="5"/>
                  </a:lnTo>
                  <a:lnTo>
                    <a:pt x="132" y="1"/>
                  </a:lnTo>
                  <a:lnTo>
                    <a:pt x="135" y="1"/>
                  </a:lnTo>
                  <a:lnTo>
                    <a:pt x="137" y="0"/>
                  </a:lnTo>
                  <a:lnTo>
                    <a:pt x="138" y="1"/>
                  </a:lnTo>
                  <a:lnTo>
                    <a:pt x="142" y="1"/>
                  </a:lnTo>
                  <a:lnTo>
                    <a:pt x="142"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78" name="Freeform 51"/>
            <p:cNvSpPr>
              <a:spLocks noEditPoints="1"/>
            </p:cNvSpPr>
            <p:nvPr/>
          </p:nvSpPr>
          <p:spPr bwMode="gray">
            <a:xfrm>
              <a:off x="1975170" y="2601980"/>
              <a:ext cx="828179" cy="800817"/>
            </a:xfrm>
            <a:custGeom>
              <a:avLst/>
              <a:gdLst>
                <a:gd name="T0" fmla="*/ 422 w 454"/>
                <a:gd name="T1" fmla="*/ 351 h 439"/>
                <a:gd name="T2" fmla="*/ 413 w 454"/>
                <a:gd name="T3" fmla="*/ 337 h 439"/>
                <a:gd name="T4" fmla="*/ 412 w 454"/>
                <a:gd name="T5" fmla="*/ 328 h 439"/>
                <a:gd name="T6" fmla="*/ 343 w 454"/>
                <a:gd name="T7" fmla="*/ 267 h 439"/>
                <a:gd name="T8" fmla="*/ 377 w 454"/>
                <a:gd name="T9" fmla="*/ 251 h 439"/>
                <a:gd name="T10" fmla="*/ 367 w 454"/>
                <a:gd name="T11" fmla="*/ 233 h 439"/>
                <a:gd name="T12" fmla="*/ 391 w 454"/>
                <a:gd name="T13" fmla="*/ 240 h 439"/>
                <a:gd name="T14" fmla="*/ 345 w 454"/>
                <a:gd name="T15" fmla="*/ 212 h 439"/>
                <a:gd name="T16" fmla="*/ 367 w 454"/>
                <a:gd name="T17" fmla="*/ 209 h 439"/>
                <a:gd name="T18" fmla="*/ 319 w 454"/>
                <a:gd name="T19" fmla="*/ 183 h 439"/>
                <a:gd name="T20" fmla="*/ 364 w 454"/>
                <a:gd name="T21" fmla="*/ 210 h 439"/>
                <a:gd name="T22" fmla="*/ 306 w 454"/>
                <a:gd name="T23" fmla="*/ 212 h 439"/>
                <a:gd name="T24" fmla="*/ 294 w 454"/>
                <a:gd name="T25" fmla="*/ 168 h 439"/>
                <a:gd name="T26" fmla="*/ 376 w 454"/>
                <a:gd name="T27" fmla="*/ 197 h 439"/>
                <a:gd name="T28" fmla="*/ 326 w 454"/>
                <a:gd name="T29" fmla="*/ 180 h 439"/>
                <a:gd name="T30" fmla="*/ 273 w 454"/>
                <a:gd name="T31" fmla="*/ 135 h 439"/>
                <a:gd name="T32" fmla="*/ 292 w 454"/>
                <a:gd name="T33" fmla="*/ 168 h 439"/>
                <a:gd name="T34" fmla="*/ 265 w 454"/>
                <a:gd name="T35" fmla="*/ 171 h 439"/>
                <a:gd name="T36" fmla="*/ 260 w 454"/>
                <a:gd name="T37" fmla="*/ 115 h 439"/>
                <a:gd name="T38" fmla="*/ 297 w 454"/>
                <a:gd name="T39" fmla="*/ 149 h 439"/>
                <a:gd name="T40" fmla="*/ 253 w 454"/>
                <a:gd name="T41" fmla="*/ 129 h 439"/>
                <a:gd name="T42" fmla="*/ 162 w 454"/>
                <a:gd name="T43" fmla="*/ 89 h 439"/>
                <a:gd name="T44" fmla="*/ 99 w 454"/>
                <a:gd name="T45" fmla="*/ 57 h 439"/>
                <a:gd name="T46" fmla="*/ 212 w 454"/>
                <a:gd name="T47" fmla="*/ 72 h 439"/>
                <a:gd name="T48" fmla="*/ 171 w 454"/>
                <a:gd name="T49" fmla="*/ 96 h 439"/>
                <a:gd name="T50" fmla="*/ 186 w 454"/>
                <a:gd name="T51" fmla="*/ 60 h 439"/>
                <a:gd name="T52" fmla="*/ 120 w 454"/>
                <a:gd name="T53" fmla="*/ 28 h 439"/>
                <a:gd name="T54" fmla="*/ 384 w 454"/>
                <a:gd name="T55" fmla="*/ 395 h 439"/>
                <a:gd name="T56" fmla="*/ 331 w 454"/>
                <a:gd name="T57" fmla="*/ 424 h 439"/>
                <a:gd name="T58" fmla="*/ 282 w 454"/>
                <a:gd name="T59" fmla="*/ 427 h 439"/>
                <a:gd name="T60" fmla="*/ 253 w 454"/>
                <a:gd name="T61" fmla="*/ 412 h 439"/>
                <a:gd name="T62" fmla="*/ 217 w 454"/>
                <a:gd name="T63" fmla="*/ 421 h 439"/>
                <a:gd name="T64" fmla="*/ 176 w 454"/>
                <a:gd name="T65" fmla="*/ 397 h 439"/>
                <a:gd name="T66" fmla="*/ 137 w 454"/>
                <a:gd name="T67" fmla="*/ 368 h 439"/>
                <a:gd name="T68" fmla="*/ 98 w 454"/>
                <a:gd name="T69" fmla="*/ 339 h 439"/>
                <a:gd name="T70" fmla="*/ 99 w 454"/>
                <a:gd name="T71" fmla="*/ 298 h 439"/>
                <a:gd name="T72" fmla="*/ 72 w 454"/>
                <a:gd name="T73" fmla="*/ 277 h 439"/>
                <a:gd name="T74" fmla="*/ 36 w 454"/>
                <a:gd name="T75" fmla="*/ 255 h 439"/>
                <a:gd name="T76" fmla="*/ 26 w 454"/>
                <a:gd name="T77" fmla="*/ 216 h 439"/>
                <a:gd name="T78" fmla="*/ 12 w 454"/>
                <a:gd name="T79" fmla="*/ 175 h 439"/>
                <a:gd name="T80" fmla="*/ 14 w 454"/>
                <a:gd name="T81" fmla="*/ 135 h 439"/>
                <a:gd name="T82" fmla="*/ 48 w 454"/>
                <a:gd name="T83" fmla="*/ 125 h 439"/>
                <a:gd name="T84" fmla="*/ 33 w 454"/>
                <a:gd name="T85" fmla="*/ 79 h 439"/>
                <a:gd name="T86" fmla="*/ 36 w 454"/>
                <a:gd name="T87" fmla="*/ 0 h 439"/>
                <a:gd name="T88" fmla="*/ 75 w 454"/>
                <a:gd name="T89" fmla="*/ 48 h 439"/>
                <a:gd name="T90" fmla="*/ 98 w 454"/>
                <a:gd name="T91" fmla="*/ 53 h 439"/>
                <a:gd name="T92" fmla="*/ 115 w 454"/>
                <a:gd name="T93" fmla="*/ 29 h 439"/>
                <a:gd name="T94" fmla="*/ 161 w 454"/>
                <a:gd name="T95" fmla="*/ 84 h 439"/>
                <a:gd name="T96" fmla="*/ 217 w 454"/>
                <a:gd name="T97" fmla="*/ 113 h 439"/>
                <a:gd name="T98" fmla="*/ 258 w 454"/>
                <a:gd name="T99" fmla="*/ 156 h 439"/>
                <a:gd name="T100" fmla="*/ 278 w 454"/>
                <a:gd name="T101" fmla="*/ 199 h 439"/>
                <a:gd name="T102" fmla="*/ 342 w 454"/>
                <a:gd name="T103" fmla="*/ 216 h 439"/>
                <a:gd name="T104" fmla="*/ 345 w 454"/>
                <a:gd name="T105" fmla="*/ 263 h 439"/>
                <a:gd name="T106" fmla="*/ 377 w 454"/>
                <a:gd name="T107" fmla="*/ 253 h 439"/>
                <a:gd name="T108" fmla="*/ 429 w 454"/>
                <a:gd name="T109" fmla="*/ 262 h 439"/>
                <a:gd name="T110" fmla="*/ 449 w 454"/>
                <a:gd name="T111" fmla="*/ 291 h 439"/>
                <a:gd name="T112" fmla="*/ 425 w 454"/>
                <a:gd name="T113" fmla="*/ 308 h 439"/>
                <a:gd name="T114" fmla="*/ 412 w 454"/>
                <a:gd name="T115" fmla="*/ 318 h 439"/>
                <a:gd name="T116" fmla="*/ 395 w 454"/>
                <a:gd name="T117" fmla="*/ 345 h 439"/>
                <a:gd name="T118" fmla="*/ 420 w 454"/>
                <a:gd name="T119" fmla="*/ 364 h 439"/>
                <a:gd name="T120" fmla="*/ 405 w 454"/>
                <a:gd name="T121" fmla="*/ 38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4" h="439">
                  <a:moveTo>
                    <a:pt x="422" y="330"/>
                  </a:moveTo>
                  <a:lnTo>
                    <a:pt x="434" y="330"/>
                  </a:lnTo>
                  <a:lnTo>
                    <a:pt x="437" y="333"/>
                  </a:lnTo>
                  <a:lnTo>
                    <a:pt x="442" y="333"/>
                  </a:lnTo>
                  <a:lnTo>
                    <a:pt x="447" y="340"/>
                  </a:lnTo>
                  <a:lnTo>
                    <a:pt x="451" y="345"/>
                  </a:lnTo>
                  <a:lnTo>
                    <a:pt x="446" y="345"/>
                  </a:lnTo>
                  <a:lnTo>
                    <a:pt x="441" y="345"/>
                  </a:lnTo>
                  <a:lnTo>
                    <a:pt x="437" y="347"/>
                  </a:lnTo>
                  <a:lnTo>
                    <a:pt x="429" y="351"/>
                  </a:lnTo>
                  <a:lnTo>
                    <a:pt x="422" y="351"/>
                  </a:lnTo>
                  <a:lnTo>
                    <a:pt x="418" y="345"/>
                  </a:lnTo>
                  <a:lnTo>
                    <a:pt x="418" y="347"/>
                  </a:lnTo>
                  <a:lnTo>
                    <a:pt x="412" y="349"/>
                  </a:lnTo>
                  <a:lnTo>
                    <a:pt x="412" y="347"/>
                  </a:lnTo>
                  <a:lnTo>
                    <a:pt x="413" y="340"/>
                  </a:lnTo>
                  <a:lnTo>
                    <a:pt x="413" y="339"/>
                  </a:lnTo>
                  <a:lnTo>
                    <a:pt x="420" y="332"/>
                  </a:lnTo>
                  <a:lnTo>
                    <a:pt x="422" y="330"/>
                  </a:lnTo>
                  <a:close/>
                  <a:moveTo>
                    <a:pt x="418" y="328"/>
                  </a:moveTo>
                  <a:lnTo>
                    <a:pt x="418" y="330"/>
                  </a:lnTo>
                  <a:lnTo>
                    <a:pt x="413" y="337"/>
                  </a:lnTo>
                  <a:lnTo>
                    <a:pt x="412" y="340"/>
                  </a:lnTo>
                  <a:lnTo>
                    <a:pt x="412" y="344"/>
                  </a:lnTo>
                  <a:lnTo>
                    <a:pt x="408" y="347"/>
                  </a:lnTo>
                  <a:lnTo>
                    <a:pt x="400" y="345"/>
                  </a:lnTo>
                  <a:lnTo>
                    <a:pt x="391" y="342"/>
                  </a:lnTo>
                  <a:lnTo>
                    <a:pt x="389" y="339"/>
                  </a:lnTo>
                  <a:lnTo>
                    <a:pt x="384" y="337"/>
                  </a:lnTo>
                  <a:lnTo>
                    <a:pt x="389" y="333"/>
                  </a:lnTo>
                  <a:lnTo>
                    <a:pt x="396" y="333"/>
                  </a:lnTo>
                  <a:lnTo>
                    <a:pt x="403" y="333"/>
                  </a:lnTo>
                  <a:lnTo>
                    <a:pt x="412" y="328"/>
                  </a:lnTo>
                  <a:lnTo>
                    <a:pt x="418" y="328"/>
                  </a:lnTo>
                  <a:close/>
                  <a:moveTo>
                    <a:pt x="424" y="325"/>
                  </a:moveTo>
                  <a:lnTo>
                    <a:pt x="425" y="327"/>
                  </a:lnTo>
                  <a:lnTo>
                    <a:pt x="424" y="327"/>
                  </a:lnTo>
                  <a:lnTo>
                    <a:pt x="413" y="328"/>
                  </a:lnTo>
                  <a:lnTo>
                    <a:pt x="424" y="325"/>
                  </a:lnTo>
                  <a:close/>
                  <a:moveTo>
                    <a:pt x="345" y="269"/>
                  </a:moveTo>
                  <a:lnTo>
                    <a:pt x="338" y="272"/>
                  </a:lnTo>
                  <a:lnTo>
                    <a:pt x="335" y="272"/>
                  </a:lnTo>
                  <a:lnTo>
                    <a:pt x="336" y="269"/>
                  </a:lnTo>
                  <a:lnTo>
                    <a:pt x="343" y="267"/>
                  </a:lnTo>
                  <a:lnTo>
                    <a:pt x="348" y="265"/>
                  </a:lnTo>
                  <a:lnTo>
                    <a:pt x="348" y="267"/>
                  </a:lnTo>
                  <a:lnTo>
                    <a:pt x="345" y="269"/>
                  </a:lnTo>
                  <a:close/>
                  <a:moveTo>
                    <a:pt x="354" y="262"/>
                  </a:moveTo>
                  <a:lnTo>
                    <a:pt x="355" y="262"/>
                  </a:lnTo>
                  <a:lnTo>
                    <a:pt x="355" y="263"/>
                  </a:lnTo>
                  <a:lnTo>
                    <a:pt x="350" y="267"/>
                  </a:lnTo>
                  <a:lnTo>
                    <a:pt x="348" y="263"/>
                  </a:lnTo>
                  <a:lnTo>
                    <a:pt x="354" y="262"/>
                  </a:lnTo>
                  <a:close/>
                  <a:moveTo>
                    <a:pt x="374" y="255"/>
                  </a:moveTo>
                  <a:lnTo>
                    <a:pt x="377" y="251"/>
                  </a:lnTo>
                  <a:lnTo>
                    <a:pt x="376" y="255"/>
                  </a:lnTo>
                  <a:lnTo>
                    <a:pt x="374" y="255"/>
                  </a:lnTo>
                  <a:close/>
                  <a:moveTo>
                    <a:pt x="427" y="255"/>
                  </a:moveTo>
                  <a:lnTo>
                    <a:pt x="422" y="250"/>
                  </a:lnTo>
                  <a:lnTo>
                    <a:pt x="425" y="251"/>
                  </a:lnTo>
                  <a:lnTo>
                    <a:pt x="427" y="255"/>
                  </a:lnTo>
                  <a:close/>
                  <a:moveTo>
                    <a:pt x="366" y="236"/>
                  </a:moveTo>
                  <a:lnTo>
                    <a:pt x="360" y="228"/>
                  </a:lnTo>
                  <a:lnTo>
                    <a:pt x="360" y="224"/>
                  </a:lnTo>
                  <a:lnTo>
                    <a:pt x="364" y="226"/>
                  </a:lnTo>
                  <a:lnTo>
                    <a:pt x="367" y="233"/>
                  </a:lnTo>
                  <a:lnTo>
                    <a:pt x="366" y="236"/>
                  </a:lnTo>
                  <a:close/>
                  <a:moveTo>
                    <a:pt x="369" y="228"/>
                  </a:moveTo>
                  <a:lnTo>
                    <a:pt x="367" y="226"/>
                  </a:lnTo>
                  <a:lnTo>
                    <a:pt x="371" y="224"/>
                  </a:lnTo>
                  <a:lnTo>
                    <a:pt x="371" y="226"/>
                  </a:lnTo>
                  <a:lnTo>
                    <a:pt x="369" y="228"/>
                  </a:lnTo>
                  <a:close/>
                  <a:moveTo>
                    <a:pt x="383" y="219"/>
                  </a:moveTo>
                  <a:lnTo>
                    <a:pt x="391" y="226"/>
                  </a:lnTo>
                  <a:lnTo>
                    <a:pt x="393" y="229"/>
                  </a:lnTo>
                  <a:lnTo>
                    <a:pt x="393" y="238"/>
                  </a:lnTo>
                  <a:lnTo>
                    <a:pt x="391" y="240"/>
                  </a:lnTo>
                  <a:lnTo>
                    <a:pt x="381" y="241"/>
                  </a:lnTo>
                  <a:lnTo>
                    <a:pt x="377" y="245"/>
                  </a:lnTo>
                  <a:lnTo>
                    <a:pt x="374" y="238"/>
                  </a:lnTo>
                  <a:lnTo>
                    <a:pt x="374" y="234"/>
                  </a:lnTo>
                  <a:lnTo>
                    <a:pt x="374" y="229"/>
                  </a:lnTo>
                  <a:lnTo>
                    <a:pt x="374" y="224"/>
                  </a:lnTo>
                  <a:lnTo>
                    <a:pt x="377" y="221"/>
                  </a:lnTo>
                  <a:lnTo>
                    <a:pt x="383" y="219"/>
                  </a:lnTo>
                  <a:close/>
                  <a:moveTo>
                    <a:pt x="343" y="210"/>
                  </a:moveTo>
                  <a:lnTo>
                    <a:pt x="345" y="210"/>
                  </a:lnTo>
                  <a:lnTo>
                    <a:pt x="345" y="212"/>
                  </a:lnTo>
                  <a:lnTo>
                    <a:pt x="343" y="212"/>
                  </a:lnTo>
                  <a:lnTo>
                    <a:pt x="343" y="210"/>
                  </a:lnTo>
                  <a:close/>
                  <a:moveTo>
                    <a:pt x="369" y="207"/>
                  </a:moveTo>
                  <a:lnTo>
                    <a:pt x="371" y="216"/>
                  </a:lnTo>
                  <a:lnTo>
                    <a:pt x="367" y="217"/>
                  </a:lnTo>
                  <a:lnTo>
                    <a:pt x="366" y="216"/>
                  </a:lnTo>
                  <a:lnTo>
                    <a:pt x="367" y="210"/>
                  </a:lnTo>
                  <a:lnTo>
                    <a:pt x="369" y="207"/>
                  </a:lnTo>
                  <a:close/>
                  <a:moveTo>
                    <a:pt x="367" y="205"/>
                  </a:moveTo>
                  <a:lnTo>
                    <a:pt x="371" y="207"/>
                  </a:lnTo>
                  <a:lnTo>
                    <a:pt x="367" y="209"/>
                  </a:lnTo>
                  <a:lnTo>
                    <a:pt x="366" y="205"/>
                  </a:lnTo>
                  <a:lnTo>
                    <a:pt x="367" y="205"/>
                  </a:lnTo>
                  <a:close/>
                  <a:moveTo>
                    <a:pt x="297" y="168"/>
                  </a:moveTo>
                  <a:lnTo>
                    <a:pt x="302" y="169"/>
                  </a:lnTo>
                  <a:lnTo>
                    <a:pt x="306" y="173"/>
                  </a:lnTo>
                  <a:lnTo>
                    <a:pt x="311" y="178"/>
                  </a:lnTo>
                  <a:lnTo>
                    <a:pt x="309" y="181"/>
                  </a:lnTo>
                  <a:lnTo>
                    <a:pt x="313" y="187"/>
                  </a:lnTo>
                  <a:lnTo>
                    <a:pt x="313" y="185"/>
                  </a:lnTo>
                  <a:lnTo>
                    <a:pt x="314" y="185"/>
                  </a:lnTo>
                  <a:lnTo>
                    <a:pt x="319" y="183"/>
                  </a:lnTo>
                  <a:lnTo>
                    <a:pt x="325" y="181"/>
                  </a:lnTo>
                  <a:lnTo>
                    <a:pt x="326" y="183"/>
                  </a:lnTo>
                  <a:lnTo>
                    <a:pt x="325" y="187"/>
                  </a:lnTo>
                  <a:lnTo>
                    <a:pt x="328" y="183"/>
                  </a:lnTo>
                  <a:lnTo>
                    <a:pt x="330" y="183"/>
                  </a:lnTo>
                  <a:lnTo>
                    <a:pt x="333" y="187"/>
                  </a:lnTo>
                  <a:lnTo>
                    <a:pt x="342" y="190"/>
                  </a:lnTo>
                  <a:lnTo>
                    <a:pt x="350" y="197"/>
                  </a:lnTo>
                  <a:lnTo>
                    <a:pt x="357" y="202"/>
                  </a:lnTo>
                  <a:lnTo>
                    <a:pt x="362" y="204"/>
                  </a:lnTo>
                  <a:lnTo>
                    <a:pt x="364" y="210"/>
                  </a:lnTo>
                  <a:lnTo>
                    <a:pt x="362" y="217"/>
                  </a:lnTo>
                  <a:lnTo>
                    <a:pt x="360" y="221"/>
                  </a:lnTo>
                  <a:lnTo>
                    <a:pt x="355" y="221"/>
                  </a:lnTo>
                  <a:lnTo>
                    <a:pt x="354" y="217"/>
                  </a:lnTo>
                  <a:lnTo>
                    <a:pt x="348" y="212"/>
                  </a:lnTo>
                  <a:lnTo>
                    <a:pt x="340" y="209"/>
                  </a:lnTo>
                  <a:lnTo>
                    <a:pt x="338" y="209"/>
                  </a:lnTo>
                  <a:lnTo>
                    <a:pt x="330" y="209"/>
                  </a:lnTo>
                  <a:lnTo>
                    <a:pt x="321" y="209"/>
                  </a:lnTo>
                  <a:lnTo>
                    <a:pt x="316" y="209"/>
                  </a:lnTo>
                  <a:lnTo>
                    <a:pt x="306" y="212"/>
                  </a:lnTo>
                  <a:lnTo>
                    <a:pt x="299" y="209"/>
                  </a:lnTo>
                  <a:lnTo>
                    <a:pt x="290" y="205"/>
                  </a:lnTo>
                  <a:lnTo>
                    <a:pt x="289" y="204"/>
                  </a:lnTo>
                  <a:lnTo>
                    <a:pt x="287" y="200"/>
                  </a:lnTo>
                  <a:lnTo>
                    <a:pt x="287" y="197"/>
                  </a:lnTo>
                  <a:lnTo>
                    <a:pt x="290" y="192"/>
                  </a:lnTo>
                  <a:lnTo>
                    <a:pt x="294" y="192"/>
                  </a:lnTo>
                  <a:lnTo>
                    <a:pt x="297" y="190"/>
                  </a:lnTo>
                  <a:lnTo>
                    <a:pt x="296" y="181"/>
                  </a:lnTo>
                  <a:lnTo>
                    <a:pt x="292" y="175"/>
                  </a:lnTo>
                  <a:lnTo>
                    <a:pt x="294" y="168"/>
                  </a:lnTo>
                  <a:lnTo>
                    <a:pt x="297" y="168"/>
                  </a:lnTo>
                  <a:close/>
                  <a:moveTo>
                    <a:pt x="328" y="164"/>
                  </a:moveTo>
                  <a:lnTo>
                    <a:pt x="331" y="164"/>
                  </a:lnTo>
                  <a:lnTo>
                    <a:pt x="342" y="168"/>
                  </a:lnTo>
                  <a:lnTo>
                    <a:pt x="350" y="171"/>
                  </a:lnTo>
                  <a:lnTo>
                    <a:pt x="354" y="171"/>
                  </a:lnTo>
                  <a:lnTo>
                    <a:pt x="357" y="175"/>
                  </a:lnTo>
                  <a:lnTo>
                    <a:pt x="362" y="181"/>
                  </a:lnTo>
                  <a:lnTo>
                    <a:pt x="366" y="183"/>
                  </a:lnTo>
                  <a:lnTo>
                    <a:pt x="369" y="188"/>
                  </a:lnTo>
                  <a:lnTo>
                    <a:pt x="376" y="197"/>
                  </a:lnTo>
                  <a:lnTo>
                    <a:pt x="376" y="202"/>
                  </a:lnTo>
                  <a:lnTo>
                    <a:pt x="371" y="204"/>
                  </a:lnTo>
                  <a:lnTo>
                    <a:pt x="366" y="204"/>
                  </a:lnTo>
                  <a:lnTo>
                    <a:pt x="362" y="200"/>
                  </a:lnTo>
                  <a:lnTo>
                    <a:pt x="355" y="197"/>
                  </a:lnTo>
                  <a:lnTo>
                    <a:pt x="350" y="195"/>
                  </a:lnTo>
                  <a:lnTo>
                    <a:pt x="345" y="188"/>
                  </a:lnTo>
                  <a:lnTo>
                    <a:pt x="342" y="187"/>
                  </a:lnTo>
                  <a:lnTo>
                    <a:pt x="335" y="185"/>
                  </a:lnTo>
                  <a:lnTo>
                    <a:pt x="331" y="181"/>
                  </a:lnTo>
                  <a:lnTo>
                    <a:pt x="326" y="180"/>
                  </a:lnTo>
                  <a:lnTo>
                    <a:pt x="325" y="180"/>
                  </a:lnTo>
                  <a:lnTo>
                    <a:pt x="318" y="181"/>
                  </a:lnTo>
                  <a:lnTo>
                    <a:pt x="314" y="183"/>
                  </a:lnTo>
                  <a:lnTo>
                    <a:pt x="313" y="183"/>
                  </a:lnTo>
                  <a:lnTo>
                    <a:pt x="311" y="181"/>
                  </a:lnTo>
                  <a:lnTo>
                    <a:pt x="316" y="180"/>
                  </a:lnTo>
                  <a:lnTo>
                    <a:pt x="319" y="169"/>
                  </a:lnTo>
                  <a:lnTo>
                    <a:pt x="325" y="166"/>
                  </a:lnTo>
                  <a:lnTo>
                    <a:pt x="328" y="164"/>
                  </a:lnTo>
                  <a:close/>
                  <a:moveTo>
                    <a:pt x="270" y="134"/>
                  </a:moveTo>
                  <a:lnTo>
                    <a:pt x="273" y="135"/>
                  </a:lnTo>
                  <a:lnTo>
                    <a:pt x="280" y="142"/>
                  </a:lnTo>
                  <a:lnTo>
                    <a:pt x="282" y="144"/>
                  </a:lnTo>
                  <a:lnTo>
                    <a:pt x="287" y="149"/>
                  </a:lnTo>
                  <a:lnTo>
                    <a:pt x="296" y="156"/>
                  </a:lnTo>
                  <a:lnTo>
                    <a:pt x="296" y="159"/>
                  </a:lnTo>
                  <a:lnTo>
                    <a:pt x="294" y="158"/>
                  </a:lnTo>
                  <a:lnTo>
                    <a:pt x="292" y="158"/>
                  </a:lnTo>
                  <a:lnTo>
                    <a:pt x="294" y="158"/>
                  </a:lnTo>
                  <a:lnTo>
                    <a:pt x="296" y="161"/>
                  </a:lnTo>
                  <a:lnTo>
                    <a:pt x="292" y="164"/>
                  </a:lnTo>
                  <a:lnTo>
                    <a:pt x="292" y="168"/>
                  </a:lnTo>
                  <a:lnTo>
                    <a:pt x="290" y="175"/>
                  </a:lnTo>
                  <a:lnTo>
                    <a:pt x="294" y="183"/>
                  </a:lnTo>
                  <a:lnTo>
                    <a:pt x="294" y="190"/>
                  </a:lnTo>
                  <a:lnTo>
                    <a:pt x="290" y="190"/>
                  </a:lnTo>
                  <a:lnTo>
                    <a:pt x="287" y="193"/>
                  </a:lnTo>
                  <a:lnTo>
                    <a:pt x="284" y="193"/>
                  </a:lnTo>
                  <a:lnTo>
                    <a:pt x="277" y="188"/>
                  </a:lnTo>
                  <a:lnTo>
                    <a:pt x="272" y="185"/>
                  </a:lnTo>
                  <a:lnTo>
                    <a:pt x="270" y="181"/>
                  </a:lnTo>
                  <a:lnTo>
                    <a:pt x="268" y="180"/>
                  </a:lnTo>
                  <a:lnTo>
                    <a:pt x="265" y="171"/>
                  </a:lnTo>
                  <a:lnTo>
                    <a:pt x="267" y="166"/>
                  </a:lnTo>
                  <a:lnTo>
                    <a:pt x="267" y="161"/>
                  </a:lnTo>
                  <a:lnTo>
                    <a:pt x="265" y="156"/>
                  </a:lnTo>
                  <a:lnTo>
                    <a:pt x="261" y="151"/>
                  </a:lnTo>
                  <a:lnTo>
                    <a:pt x="265" y="142"/>
                  </a:lnTo>
                  <a:lnTo>
                    <a:pt x="261" y="135"/>
                  </a:lnTo>
                  <a:lnTo>
                    <a:pt x="270" y="134"/>
                  </a:lnTo>
                  <a:close/>
                  <a:moveTo>
                    <a:pt x="241" y="111"/>
                  </a:moveTo>
                  <a:lnTo>
                    <a:pt x="248" y="111"/>
                  </a:lnTo>
                  <a:lnTo>
                    <a:pt x="255" y="115"/>
                  </a:lnTo>
                  <a:lnTo>
                    <a:pt x="260" y="115"/>
                  </a:lnTo>
                  <a:lnTo>
                    <a:pt x="268" y="117"/>
                  </a:lnTo>
                  <a:lnTo>
                    <a:pt x="270" y="117"/>
                  </a:lnTo>
                  <a:lnTo>
                    <a:pt x="277" y="118"/>
                  </a:lnTo>
                  <a:lnTo>
                    <a:pt x="285" y="120"/>
                  </a:lnTo>
                  <a:lnTo>
                    <a:pt x="292" y="122"/>
                  </a:lnTo>
                  <a:lnTo>
                    <a:pt x="297" y="127"/>
                  </a:lnTo>
                  <a:lnTo>
                    <a:pt x="296" y="130"/>
                  </a:lnTo>
                  <a:lnTo>
                    <a:pt x="294" y="130"/>
                  </a:lnTo>
                  <a:lnTo>
                    <a:pt x="296" y="132"/>
                  </a:lnTo>
                  <a:lnTo>
                    <a:pt x="296" y="139"/>
                  </a:lnTo>
                  <a:lnTo>
                    <a:pt x="297" y="149"/>
                  </a:lnTo>
                  <a:lnTo>
                    <a:pt x="297" y="152"/>
                  </a:lnTo>
                  <a:lnTo>
                    <a:pt x="296" y="154"/>
                  </a:lnTo>
                  <a:lnTo>
                    <a:pt x="294" y="151"/>
                  </a:lnTo>
                  <a:lnTo>
                    <a:pt x="287" y="147"/>
                  </a:lnTo>
                  <a:lnTo>
                    <a:pt x="285" y="146"/>
                  </a:lnTo>
                  <a:lnTo>
                    <a:pt x="278" y="137"/>
                  </a:lnTo>
                  <a:lnTo>
                    <a:pt x="272" y="132"/>
                  </a:lnTo>
                  <a:lnTo>
                    <a:pt x="270" y="132"/>
                  </a:lnTo>
                  <a:lnTo>
                    <a:pt x="265" y="132"/>
                  </a:lnTo>
                  <a:lnTo>
                    <a:pt x="258" y="132"/>
                  </a:lnTo>
                  <a:lnTo>
                    <a:pt x="253" y="129"/>
                  </a:lnTo>
                  <a:lnTo>
                    <a:pt x="248" y="125"/>
                  </a:lnTo>
                  <a:lnTo>
                    <a:pt x="241" y="120"/>
                  </a:lnTo>
                  <a:lnTo>
                    <a:pt x="237" y="113"/>
                  </a:lnTo>
                  <a:lnTo>
                    <a:pt x="237" y="111"/>
                  </a:lnTo>
                  <a:lnTo>
                    <a:pt x="241" y="111"/>
                  </a:lnTo>
                  <a:close/>
                  <a:moveTo>
                    <a:pt x="167" y="93"/>
                  </a:moveTo>
                  <a:lnTo>
                    <a:pt x="167" y="94"/>
                  </a:lnTo>
                  <a:lnTo>
                    <a:pt x="167" y="93"/>
                  </a:lnTo>
                  <a:close/>
                  <a:moveTo>
                    <a:pt x="162" y="89"/>
                  </a:moveTo>
                  <a:lnTo>
                    <a:pt x="162" y="93"/>
                  </a:lnTo>
                  <a:lnTo>
                    <a:pt x="162" y="89"/>
                  </a:lnTo>
                  <a:close/>
                  <a:moveTo>
                    <a:pt x="166" y="84"/>
                  </a:moveTo>
                  <a:lnTo>
                    <a:pt x="166" y="93"/>
                  </a:lnTo>
                  <a:lnTo>
                    <a:pt x="164" y="89"/>
                  </a:lnTo>
                  <a:lnTo>
                    <a:pt x="166" y="84"/>
                  </a:lnTo>
                  <a:close/>
                  <a:moveTo>
                    <a:pt x="159" y="77"/>
                  </a:moveTo>
                  <a:lnTo>
                    <a:pt x="161" y="77"/>
                  </a:lnTo>
                  <a:lnTo>
                    <a:pt x="161" y="79"/>
                  </a:lnTo>
                  <a:lnTo>
                    <a:pt x="159" y="79"/>
                  </a:lnTo>
                  <a:lnTo>
                    <a:pt x="159" y="77"/>
                  </a:lnTo>
                  <a:close/>
                  <a:moveTo>
                    <a:pt x="94" y="52"/>
                  </a:moveTo>
                  <a:lnTo>
                    <a:pt x="99" y="57"/>
                  </a:lnTo>
                  <a:lnTo>
                    <a:pt x="103" y="60"/>
                  </a:lnTo>
                  <a:lnTo>
                    <a:pt x="103" y="64"/>
                  </a:lnTo>
                  <a:lnTo>
                    <a:pt x="96" y="58"/>
                  </a:lnTo>
                  <a:lnTo>
                    <a:pt x="92" y="53"/>
                  </a:lnTo>
                  <a:lnTo>
                    <a:pt x="94" y="52"/>
                  </a:lnTo>
                  <a:close/>
                  <a:moveTo>
                    <a:pt x="198" y="50"/>
                  </a:moveTo>
                  <a:lnTo>
                    <a:pt x="202" y="53"/>
                  </a:lnTo>
                  <a:lnTo>
                    <a:pt x="203" y="58"/>
                  </a:lnTo>
                  <a:lnTo>
                    <a:pt x="207" y="58"/>
                  </a:lnTo>
                  <a:lnTo>
                    <a:pt x="210" y="67"/>
                  </a:lnTo>
                  <a:lnTo>
                    <a:pt x="212" y="72"/>
                  </a:lnTo>
                  <a:lnTo>
                    <a:pt x="208" y="72"/>
                  </a:lnTo>
                  <a:lnTo>
                    <a:pt x="210" y="72"/>
                  </a:lnTo>
                  <a:lnTo>
                    <a:pt x="207" y="77"/>
                  </a:lnTo>
                  <a:lnTo>
                    <a:pt x="207" y="79"/>
                  </a:lnTo>
                  <a:lnTo>
                    <a:pt x="205" y="89"/>
                  </a:lnTo>
                  <a:lnTo>
                    <a:pt x="205" y="93"/>
                  </a:lnTo>
                  <a:lnTo>
                    <a:pt x="202" y="94"/>
                  </a:lnTo>
                  <a:lnTo>
                    <a:pt x="198" y="96"/>
                  </a:lnTo>
                  <a:lnTo>
                    <a:pt x="191" y="101"/>
                  </a:lnTo>
                  <a:lnTo>
                    <a:pt x="181" y="99"/>
                  </a:lnTo>
                  <a:lnTo>
                    <a:pt x="171" y="96"/>
                  </a:lnTo>
                  <a:lnTo>
                    <a:pt x="169" y="91"/>
                  </a:lnTo>
                  <a:lnTo>
                    <a:pt x="166" y="81"/>
                  </a:lnTo>
                  <a:lnTo>
                    <a:pt x="162" y="74"/>
                  </a:lnTo>
                  <a:lnTo>
                    <a:pt x="164" y="72"/>
                  </a:lnTo>
                  <a:lnTo>
                    <a:pt x="164" y="64"/>
                  </a:lnTo>
                  <a:lnTo>
                    <a:pt x="166" y="62"/>
                  </a:lnTo>
                  <a:lnTo>
                    <a:pt x="174" y="57"/>
                  </a:lnTo>
                  <a:lnTo>
                    <a:pt x="179" y="58"/>
                  </a:lnTo>
                  <a:lnTo>
                    <a:pt x="178" y="60"/>
                  </a:lnTo>
                  <a:lnTo>
                    <a:pt x="183" y="58"/>
                  </a:lnTo>
                  <a:lnTo>
                    <a:pt x="186" y="60"/>
                  </a:lnTo>
                  <a:lnTo>
                    <a:pt x="185" y="58"/>
                  </a:lnTo>
                  <a:lnTo>
                    <a:pt x="188" y="53"/>
                  </a:lnTo>
                  <a:lnTo>
                    <a:pt x="193" y="52"/>
                  </a:lnTo>
                  <a:lnTo>
                    <a:pt x="195" y="48"/>
                  </a:lnTo>
                  <a:lnTo>
                    <a:pt x="198" y="50"/>
                  </a:lnTo>
                  <a:close/>
                  <a:moveTo>
                    <a:pt x="74" y="38"/>
                  </a:moveTo>
                  <a:lnTo>
                    <a:pt x="77" y="40"/>
                  </a:lnTo>
                  <a:lnTo>
                    <a:pt x="79" y="45"/>
                  </a:lnTo>
                  <a:lnTo>
                    <a:pt x="74" y="40"/>
                  </a:lnTo>
                  <a:lnTo>
                    <a:pt x="74" y="38"/>
                  </a:lnTo>
                  <a:close/>
                  <a:moveTo>
                    <a:pt x="120" y="28"/>
                  </a:moveTo>
                  <a:lnTo>
                    <a:pt x="121" y="28"/>
                  </a:lnTo>
                  <a:lnTo>
                    <a:pt x="120" y="28"/>
                  </a:lnTo>
                  <a:lnTo>
                    <a:pt x="116" y="28"/>
                  </a:lnTo>
                  <a:lnTo>
                    <a:pt x="120" y="28"/>
                  </a:lnTo>
                  <a:close/>
                  <a:moveTo>
                    <a:pt x="410" y="395"/>
                  </a:moveTo>
                  <a:lnTo>
                    <a:pt x="406" y="397"/>
                  </a:lnTo>
                  <a:lnTo>
                    <a:pt x="400" y="400"/>
                  </a:lnTo>
                  <a:lnTo>
                    <a:pt x="398" y="398"/>
                  </a:lnTo>
                  <a:lnTo>
                    <a:pt x="393" y="397"/>
                  </a:lnTo>
                  <a:lnTo>
                    <a:pt x="388" y="397"/>
                  </a:lnTo>
                  <a:lnTo>
                    <a:pt x="384" y="395"/>
                  </a:lnTo>
                  <a:lnTo>
                    <a:pt x="376" y="393"/>
                  </a:lnTo>
                  <a:lnTo>
                    <a:pt x="374" y="393"/>
                  </a:lnTo>
                  <a:lnTo>
                    <a:pt x="372" y="393"/>
                  </a:lnTo>
                  <a:lnTo>
                    <a:pt x="371" y="393"/>
                  </a:lnTo>
                  <a:lnTo>
                    <a:pt x="360" y="393"/>
                  </a:lnTo>
                  <a:lnTo>
                    <a:pt x="357" y="397"/>
                  </a:lnTo>
                  <a:lnTo>
                    <a:pt x="354" y="402"/>
                  </a:lnTo>
                  <a:lnTo>
                    <a:pt x="343" y="412"/>
                  </a:lnTo>
                  <a:lnTo>
                    <a:pt x="335" y="417"/>
                  </a:lnTo>
                  <a:lnTo>
                    <a:pt x="333" y="421"/>
                  </a:lnTo>
                  <a:lnTo>
                    <a:pt x="331" y="424"/>
                  </a:lnTo>
                  <a:lnTo>
                    <a:pt x="331" y="427"/>
                  </a:lnTo>
                  <a:lnTo>
                    <a:pt x="328" y="426"/>
                  </a:lnTo>
                  <a:lnTo>
                    <a:pt x="325" y="433"/>
                  </a:lnTo>
                  <a:lnTo>
                    <a:pt x="321" y="433"/>
                  </a:lnTo>
                  <a:lnTo>
                    <a:pt x="314" y="439"/>
                  </a:lnTo>
                  <a:lnTo>
                    <a:pt x="309" y="434"/>
                  </a:lnTo>
                  <a:lnTo>
                    <a:pt x="304" y="434"/>
                  </a:lnTo>
                  <a:lnTo>
                    <a:pt x="302" y="433"/>
                  </a:lnTo>
                  <a:lnTo>
                    <a:pt x="294" y="433"/>
                  </a:lnTo>
                  <a:lnTo>
                    <a:pt x="290" y="426"/>
                  </a:lnTo>
                  <a:lnTo>
                    <a:pt x="282" y="427"/>
                  </a:lnTo>
                  <a:lnTo>
                    <a:pt x="282" y="426"/>
                  </a:lnTo>
                  <a:lnTo>
                    <a:pt x="284" y="422"/>
                  </a:lnTo>
                  <a:lnTo>
                    <a:pt x="277" y="419"/>
                  </a:lnTo>
                  <a:lnTo>
                    <a:pt x="275" y="414"/>
                  </a:lnTo>
                  <a:lnTo>
                    <a:pt x="272" y="414"/>
                  </a:lnTo>
                  <a:lnTo>
                    <a:pt x="268" y="414"/>
                  </a:lnTo>
                  <a:lnTo>
                    <a:pt x="261" y="417"/>
                  </a:lnTo>
                  <a:lnTo>
                    <a:pt x="260" y="417"/>
                  </a:lnTo>
                  <a:lnTo>
                    <a:pt x="260" y="414"/>
                  </a:lnTo>
                  <a:lnTo>
                    <a:pt x="256" y="412"/>
                  </a:lnTo>
                  <a:lnTo>
                    <a:pt x="253" y="412"/>
                  </a:lnTo>
                  <a:lnTo>
                    <a:pt x="251" y="414"/>
                  </a:lnTo>
                  <a:lnTo>
                    <a:pt x="243" y="410"/>
                  </a:lnTo>
                  <a:lnTo>
                    <a:pt x="239" y="409"/>
                  </a:lnTo>
                  <a:lnTo>
                    <a:pt x="234" y="410"/>
                  </a:lnTo>
                  <a:lnTo>
                    <a:pt x="231" y="414"/>
                  </a:lnTo>
                  <a:lnTo>
                    <a:pt x="227" y="414"/>
                  </a:lnTo>
                  <a:lnTo>
                    <a:pt x="227" y="417"/>
                  </a:lnTo>
                  <a:lnTo>
                    <a:pt x="224" y="419"/>
                  </a:lnTo>
                  <a:lnTo>
                    <a:pt x="220" y="419"/>
                  </a:lnTo>
                  <a:lnTo>
                    <a:pt x="220" y="421"/>
                  </a:lnTo>
                  <a:lnTo>
                    <a:pt x="217" y="421"/>
                  </a:lnTo>
                  <a:lnTo>
                    <a:pt x="207" y="419"/>
                  </a:lnTo>
                  <a:lnTo>
                    <a:pt x="205" y="417"/>
                  </a:lnTo>
                  <a:lnTo>
                    <a:pt x="200" y="417"/>
                  </a:lnTo>
                  <a:lnTo>
                    <a:pt x="203" y="412"/>
                  </a:lnTo>
                  <a:lnTo>
                    <a:pt x="203" y="407"/>
                  </a:lnTo>
                  <a:lnTo>
                    <a:pt x="200" y="407"/>
                  </a:lnTo>
                  <a:lnTo>
                    <a:pt x="195" y="403"/>
                  </a:lnTo>
                  <a:lnTo>
                    <a:pt x="191" y="402"/>
                  </a:lnTo>
                  <a:lnTo>
                    <a:pt x="185" y="403"/>
                  </a:lnTo>
                  <a:lnTo>
                    <a:pt x="178" y="400"/>
                  </a:lnTo>
                  <a:lnTo>
                    <a:pt x="176" y="397"/>
                  </a:lnTo>
                  <a:lnTo>
                    <a:pt x="167" y="392"/>
                  </a:lnTo>
                  <a:lnTo>
                    <a:pt x="164" y="392"/>
                  </a:lnTo>
                  <a:lnTo>
                    <a:pt x="166" y="390"/>
                  </a:lnTo>
                  <a:lnTo>
                    <a:pt x="164" y="386"/>
                  </a:lnTo>
                  <a:lnTo>
                    <a:pt x="161" y="386"/>
                  </a:lnTo>
                  <a:lnTo>
                    <a:pt x="161" y="383"/>
                  </a:lnTo>
                  <a:lnTo>
                    <a:pt x="157" y="381"/>
                  </a:lnTo>
                  <a:lnTo>
                    <a:pt x="154" y="378"/>
                  </a:lnTo>
                  <a:lnTo>
                    <a:pt x="149" y="378"/>
                  </a:lnTo>
                  <a:lnTo>
                    <a:pt x="140" y="373"/>
                  </a:lnTo>
                  <a:lnTo>
                    <a:pt x="137" y="368"/>
                  </a:lnTo>
                  <a:lnTo>
                    <a:pt x="130" y="364"/>
                  </a:lnTo>
                  <a:lnTo>
                    <a:pt x="127" y="364"/>
                  </a:lnTo>
                  <a:lnTo>
                    <a:pt x="123" y="359"/>
                  </a:lnTo>
                  <a:lnTo>
                    <a:pt x="120" y="351"/>
                  </a:lnTo>
                  <a:lnTo>
                    <a:pt x="123" y="349"/>
                  </a:lnTo>
                  <a:lnTo>
                    <a:pt x="123" y="347"/>
                  </a:lnTo>
                  <a:lnTo>
                    <a:pt x="118" y="342"/>
                  </a:lnTo>
                  <a:lnTo>
                    <a:pt x="111" y="340"/>
                  </a:lnTo>
                  <a:lnTo>
                    <a:pt x="106" y="344"/>
                  </a:lnTo>
                  <a:lnTo>
                    <a:pt x="99" y="344"/>
                  </a:lnTo>
                  <a:lnTo>
                    <a:pt x="98" y="339"/>
                  </a:lnTo>
                  <a:lnTo>
                    <a:pt x="94" y="337"/>
                  </a:lnTo>
                  <a:lnTo>
                    <a:pt x="94" y="333"/>
                  </a:lnTo>
                  <a:lnTo>
                    <a:pt x="89" y="328"/>
                  </a:lnTo>
                  <a:lnTo>
                    <a:pt x="89" y="322"/>
                  </a:lnTo>
                  <a:lnTo>
                    <a:pt x="87" y="320"/>
                  </a:lnTo>
                  <a:lnTo>
                    <a:pt x="87" y="310"/>
                  </a:lnTo>
                  <a:lnTo>
                    <a:pt x="86" y="310"/>
                  </a:lnTo>
                  <a:lnTo>
                    <a:pt x="91" y="304"/>
                  </a:lnTo>
                  <a:lnTo>
                    <a:pt x="94" y="308"/>
                  </a:lnTo>
                  <a:lnTo>
                    <a:pt x="99" y="303"/>
                  </a:lnTo>
                  <a:lnTo>
                    <a:pt x="99" y="298"/>
                  </a:lnTo>
                  <a:lnTo>
                    <a:pt x="98" y="296"/>
                  </a:lnTo>
                  <a:lnTo>
                    <a:pt x="94" y="298"/>
                  </a:lnTo>
                  <a:lnTo>
                    <a:pt x="91" y="291"/>
                  </a:lnTo>
                  <a:lnTo>
                    <a:pt x="92" y="289"/>
                  </a:lnTo>
                  <a:lnTo>
                    <a:pt x="98" y="286"/>
                  </a:lnTo>
                  <a:lnTo>
                    <a:pt x="98" y="277"/>
                  </a:lnTo>
                  <a:lnTo>
                    <a:pt x="94" y="272"/>
                  </a:lnTo>
                  <a:lnTo>
                    <a:pt x="89" y="275"/>
                  </a:lnTo>
                  <a:lnTo>
                    <a:pt x="82" y="274"/>
                  </a:lnTo>
                  <a:lnTo>
                    <a:pt x="79" y="281"/>
                  </a:lnTo>
                  <a:lnTo>
                    <a:pt x="72" y="277"/>
                  </a:lnTo>
                  <a:lnTo>
                    <a:pt x="70" y="272"/>
                  </a:lnTo>
                  <a:lnTo>
                    <a:pt x="65" y="269"/>
                  </a:lnTo>
                  <a:lnTo>
                    <a:pt x="62" y="267"/>
                  </a:lnTo>
                  <a:lnTo>
                    <a:pt x="62" y="263"/>
                  </a:lnTo>
                  <a:lnTo>
                    <a:pt x="57" y="260"/>
                  </a:lnTo>
                  <a:lnTo>
                    <a:pt x="55" y="255"/>
                  </a:lnTo>
                  <a:lnTo>
                    <a:pt x="53" y="257"/>
                  </a:lnTo>
                  <a:lnTo>
                    <a:pt x="48" y="253"/>
                  </a:lnTo>
                  <a:lnTo>
                    <a:pt x="43" y="257"/>
                  </a:lnTo>
                  <a:lnTo>
                    <a:pt x="39" y="258"/>
                  </a:lnTo>
                  <a:lnTo>
                    <a:pt x="36" y="255"/>
                  </a:lnTo>
                  <a:lnTo>
                    <a:pt x="33" y="255"/>
                  </a:lnTo>
                  <a:lnTo>
                    <a:pt x="29" y="253"/>
                  </a:lnTo>
                  <a:lnTo>
                    <a:pt x="26" y="246"/>
                  </a:lnTo>
                  <a:lnTo>
                    <a:pt x="26" y="245"/>
                  </a:lnTo>
                  <a:lnTo>
                    <a:pt x="24" y="241"/>
                  </a:lnTo>
                  <a:lnTo>
                    <a:pt x="26" y="240"/>
                  </a:lnTo>
                  <a:lnTo>
                    <a:pt x="21" y="236"/>
                  </a:lnTo>
                  <a:lnTo>
                    <a:pt x="17" y="233"/>
                  </a:lnTo>
                  <a:lnTo>
                    <a:pt x="22" y="226"/>
                  </a:lnTo>
                  <a:lnTo>
                    <a:pt x="26" y="221"/>
                  </a:lnTo>
                  <a:lnTo>
                    <a:pt x="26" y="216"/>
                  </a:lnTo>
                  <a:lnTo>
                    <a:pt x="22" y="214"/>
                  </a:lnTo>
                  <a:lnTo>
                    <a:pt x="19" y="212"/>
                  </a:lnTo>
                  <a:lnTo>
                    <a:pt x="12" y="204"/>
                  </a:lnTo>
                  <a:lnTo>
                    <a:pt x="12" y="202"/>
                  </a:lnTo>
                  <a:lnTo>
                    <a:pt x="14" y="202"/>
                  </a:lnTo>
                  <a:lnTo>
                    <a:pt x="14" y="197"/>
                  </a:lnTo>
                  <a:lnTo>
                    <a:pt x="12" y="192"/>
                  </a:lnTo>
                  <a:lnTo>
                    <a:pt x="16" y="188"/>
                  </a:lnTo>
                  <a:lnTo>
                    <a:pt x="14" y="185"/>
                  </a:lnTo>
                  <a:lnTo>
                    <a:pt x="17" y="183"/>
                  </a:lnTo>
                  <a:lnTo>
                    <a:pt x="12" y="175"/>
                  </a:lnTo>
                  <a:lnTo>
                    <a:pt x="14" y="169"/>
                  </a:lnTo>
                  <a:lnTo>
                    <a:pt x="19" y="169"/>
                  </a:lnTo>
                  <a:lnTo>
                    <a:pt x="14" y="163"/>
                  </a:lnTo>
                  <a:lnTo>
                    <a:pt x="12" y="158"/>
                  </a:lnTo>
                  <a:lnTo>
                    <a:pt x="12" y="154"/>
                  </a:lnTo>
                  <a:lnTo>
                    <a:pt x="7" y="151"/>
                  </a:lnTo>
                  <a:lnTo>
                    <a:pt x="2" y="144"/>
                  </a:lnTo>
                  <a:lnTo>
                    <a:pt x="0" y="140"/>
                  </a:lnTo>
                  <a:lnTo>
                    <a:pt x="2" y="139"/>
                  </a:lnTo>
                  <a:lnTo>
                    <a:pt x="4" y="137"/>
                  </a:lnTo>
                  <a:lnTo>
                    <a:pt x="14" y="135"/>
                  </a:lnTo>
                  <a:lnTo>
                    <a:pt x="22" y="135"/>
                  </a:lnTo>
                  <a:lnTo>
                    <a:pt x="31" y="132"/>
                  </a:lnTo>
                  <a:lnTo>
                    <a:pt x="34" y="134"/>
                  </a:lnTo>
                  <a:lnTo>
                    <a:pt x="39" y="132"/>
                  </a:lnTo>
                  <a:lnTo>
                    <a:pt x="33" y="129"/>
                  </a:lnTo>
                  <a:lnTo>
                    <a:pt x="31" y="127"/>
                  </a:lnTo>
                  <a:lnTo>
                    <a:pt x="36" y="127"/>
                  </a:lnTo>
                  <a:lnTo>
                    <a:pt x="36" y="129"/>
                  </a:lnTo>
                  <a:lnTo>
                    <a:pt x="45" y="129"/>
                  </a:lnTo>
                  <a:lnTo>
                    <a:pt x="46" y="129"/>
                  </a:lnTo>
                  <a:lnTo>
                    <a:pt x="48" y="125"/>
                  </a:lnTo>
                  <a:lnTo>
                    <a:pt x="48" y="117"/>
                  </a:lnTo>
                  <a:lnTo>
                    <a:pt x="46" y="113"/>
                  </a:lnTo>
                  <a:lnTo>
                    <a:pt x="46" y="105"/>
                  </a:lnTo>
                  <a:lnTo>
                    <a:pt x="46" y="103"/>
                  </a:lnTo>
                  <a:lnTo>
                    <a:pt x="41" y="105"/>
                  </a:lnTo>
                  <a:lnTo>
                    <a:pt x="36" y="103"/>
                  </a:lnTo>
                  <a:lnTo>
                    <a:pt x="39" y="96"/>
                  </a:lnTo>
                  <a:lnTo>
                    <a:pt x="39" y="89"/>
                  </a:lnTo>
                  <a:lnTo>
                    <a:pt x="33" y="89"/>
                  </a:lnTo>
                  <a:lnTo>
                    <a:pt x="31" y="86"/>
                  </a:lnTo>
                  <a:lnTo>
                    <a:pt x="33" y="79"/>
                  </a:lnTo>
                  <a:lnTo>
                    <a:pt x="36" y="76"/>
                  </a:lnTo>
                  <a:lnTo>
                    <a:pt x="34" y="67"/>
                  </a:lnTo>
                  <a:lnTo>
                    <a:pt x="36" y="57"/>
                  </a:lnTo>
                  <a:lnTo>
                    <a:pt x="38" y="50"/>
                  </a:lnTo>
                  <a:lnTo>
                    <a:pt x="41" y="43"/>
                  </a:lnTo>
                  <a:lnTo>
                    <a:pt x="41" y="38"/>
                  </a:lnTo>
                  <a:lnTo>
                    <a:pt x="36" y="29"/>
                  </a:lnTo>
                  <a:lnTo>
                    <a:pt x="33" y="21"/>
                  </a:lnTo>
                  <a:lnTo>
                    <a:pt x="33" y="12"/>
                  </a:lnTo>
                  <a:lnTo>
                    <a:pt x="33" y="9"/>
                  </a:lnTo>
                  <a:lnTo>
                    <a:pt x="36" y="0"/>
                  </a:lnTo>
                  <a:lnTo>
                    <a:pt x="38" y="0"/>
                  </a:lnTo>
                  <a:lnTo>
                    <a:pt x="38" y="4"/>
                  </a:lnTo>
                  <a:lnTo>
                    <a:pt x="39" y="12"/>
                  </a:lnTo>
                  <a:lnTo>
                    <a:pt x="43" y="19"/>
                  </a:lnTo>
                  <a:lnTo>
                    <a:pt x="45" y="26"/>
                  </a:lnTo>
                  <a:lnTo>
                    <a:pt x="50" y="33"/>
                  </a:lnTo>
                  <a:lnTo>
                    <a:pt x="57" y="38"/>
                  </a:lnTo>
                  <a:lnTo>
                    <a:pt x="60" y="40"/>
                  </a:lnTo>
                  <a:lnTo>
                    <a:pt x="65" y="45"/>
                  </a:lnTo>
                  <a:lnTo>
                    <a:pt x="67" y="45"/>
                  </a:lnTo>
                  <a:lnTo>
                    <a:pt x="75" y="48"/>
                  </a:lnTo>
                  <a:lnTo>
                    <a:pt x="75" y="50"/>
                  </a:lnTo>
                  <a:lnTo>
                    <a:pt x="75" y="48"/>
                  </a:lnTo>
                  <a:lnTo>
                    <a:pt x="79" y="48"/>
                  </a:lnTo>
                  <a:lnTo>
                    <a:pt x="84" y="53"/>
                  </a:lnTo>
                  <a:lnTo>
                    <a:pt x="91" y="55"/>
                  </a:lnTo>
                  <a:lnTo>
                    <a:pt x="92" y="55"/>
                  </a:lnTo>
                  <a:lnTo>
                    <a:pt x="99" y="64"/>
                  </a:lnTo>
                  <a:lnTo>
                    <a:pt x="103" y="67"/>
                  </a:lnTo>
                  <a:lnTo>
                    <a:pt x="104" y="64"/>
                  </a:lnTo>
                  <a:lnTo>
                    <a:pt x="103" y="58"/>
                  </a:lnTo>
                  <a:lnTo>
                    <a:pt x="98" y="53"/>
                  </a:lnTo>
                  <a:lnTo>
                    <a:pt x="91" y="48"/>
                  </a:lnTo>
                  <a:lnTo>
                    <a:pt x="86" y="47"/>
                  </a:lnTo>
                  <a:lnTo>
                    <a:pt x="82" y="40"/>
                  </a:lnTo>
                  <a:lnTo>
                    <a:pt x="84" y="36"/>
                  </a:lnTo>
                  <a:lnTo>
                    <a:pt x="86" y="33"/>
                  </a:lnTo>
                  <a:lnTo>
                    <a:pt x="89" y="33"/>
                  </a:lnTo>
                  <a:lnTo>
                    <a:pt x="91" y="31"/>
                  </a:lnTo>
                  <a:lnTo>
                    <a:pt x="94" y="29"/>
                  </a:lnTo>
                  <a:lnTo>
                    <a:pt x="101" y="28"/>
                  </a:lnTo>
                  <a:lnTo>
                    <a:pt x="108" y="28"/>
                  </a:lnTo>
                  <a:lnTo>
                    <a:pt x="115" y="29"/>
                  </a:lnTo>
                  <a:lnTo>
                    <a:pt x="123" y="29"/>
                  </a:lnTo>
                  <a:lnTo>
                    <a:pt x="127" y="38"/>
                  </a:lnTo>
                  <a:lnTo>
                    <a:pt x="130" y="41"/>
                  </a:lnTo>
                  <a:lnTo>
                    <a:pt x="133" y="45"/>
                  </a:lnTo>
                  <a:lnTo>
                    <a:pt x="138" y="48"/>
                  </a:lnTo>
                  <a:lnTo>
                    <a:pt x="144" y="52"/>
                  </a:lnTo>
                  <a:lnTo>
                    <a:pt x="149" y="53"/>
                  </a:lnTo>
                  <a:lnTo>
                    <a:pt x="154" y="58"/>
                  </a:lnTo>
                  <a:lnTo>
                    <a:pt x="156" y="64"/>
                  </a:lnTo>
                  <a:lnTo>
                    <a:pt x="157" y="74"/>
                  </a:lnTo>
                  <a:lnTo>
                    <a:pt x="161" y="84"/>
                  </a:lnTo>
                  <a:lnTo>
                    <a:pt x="161" y="91"/>
                  </a:lnTo>
                  <a:lnTo>
                    <a:pt x="164" y="98"/>
                  </a:lnTo>
                  <a:lnTo>
                    <a:pt x="166" y="99"/>
                  </a:lnTo>
                  <a:lnTo>
                    <a:pt x="174" y="101"/>
                  </a:lnTo>
                  <a:lnTo>
                    <a:pt x="181" y="106"/>
                  </a:lnTo>
                  <a:lnTo>
                    <a:pt x="185" y="108"/>
                  </a:lnTo>
                  <a:lnTo>
                    <a:pt x="190" y="106"/>
                  </a:lnTo>
                  <a:lnTo>
                    <a:pt x="197" y="105"/>
                  </a:lnTo>
                  <a:lnTo>
                    <a:pt x="207" y="105"/>
                  </a:lnTo>
                  <a:lnTo>
                    <a:pt x="212" y="108"/>
                  </a:lnTo>
                  <a:lnTo>
                    <a:pt x="217" y="113"/>
                  </a:lnTo>
                  <a:lnTo>
                    <a:pt x="220" y="115"/>
                  </a:lnTo>
                  <a:lnTo>
                    <a:pt x="227" y="120"/>
                  </a:lnTo>
                  <a:lnTo>
                    <a:pt x="231" y="123"/>
                  </a:lnTo>
                  <a:lnTo>
                    <a:pt x="237" y="129"/>
                  </a:lnTo>
                  <a:lnTo>
                    <a:pt x="241" y="130"/>
                  </a:lnTo>
                  <a:lnTo>
                    <a:pt x="248" y="135"/>
                  </a:lnTo>
                  <a:lnTo>
                    <a:pt x="255" y="139"/>
                  </a:lnTo>
                  <a:lnTo>
                    <a:pt x="256" y="140"/>
                  </a:lnTo>
                  <a:lnTo>
                    <a:pt x="255" y="151"/>
                  </a:lnTo>
                  <a:lnTo>
                    <a:pt x="256" y="158"/>
                  </a:lnTo>
                  <a:lnTo>
                    <a:pt x="258" y="156"/>
                  </a:lnTo>
                  <a:lnTo>
                    <a:pt x="261" y="161"/>
                  </a:lnTo>
                  <a:lnTo>
                    <a:pt x="261" y="163"/>
                  </a:lnTo>
                  <a:lnTo>
                    <a:pt x="260" y="173"/>
                  </a:lnTo>
                  <a:lnTo>
                    <a:pt x="260" y="175"/>
                  </a:lnTo>
                  <a:lnTo>
                    <a:pt x="265" y="185"/>
                  </a:lnTo>
                  <a:lnTo>
                    <a:pt x="268" y="188"/>
                  </a:lnTo>
                  <a:lnTo>
                    <a:pt x="273" y="192"/>
                  </a:lnTo>
                  <a:lnTo>
                    <a:pt x="278" y="195"/>
                  </a:lnTo>
                  <a:lnTo>
                    <a:pt x="277" y="195"/>
                  </a:lnTo>
                  <a:lnTo>
                    <a:pt x="278" y="197"/>
                  </a:lnTo>
                  <a:lnTo>
                    <a:pt x="278" y="199"/>
                  </a:lnTo>
                  <a:lnTo>
                    <a:pt x="285" y="205"/>
                  </a:lnTo>
                  <a:lnTo>
                    <a:pt x="287" y="207"/>
                  </a:lnTo>
                  <a:lnTo>
                    <a:pt x="294" y="210"/>
                  </a:lnTo>
                  <a:lnTo>
                    <a:pt x="297" y="214"/>
                  </a:lnTo>
                  <a:lnTo>
                    <a:pt x="299" y="214"/>
                  </a:lnTo>
                  <a:lnTo>
                    <a:pt x="307" y="216"/>
                  </a:lnTo>
                  <a:lnTo>
                    <a:pt x="314" y="214"/>
                  </a:lnTo>
                  <a:lnTo>
                    <a:pt x="319" y="212"/>
                  </a:lnTo>
                  <a:lnTo>
                    <a:pt x="330" y="216"/>
                  </a:lnTo>
                  <a:lnTo>
                    <a:pt x="338" y="216"/>
                  </a:lnTo>
                  <a:lnTo>
                    <a:pt x="342" y="216"/>
                  </a:lnTo>
                  <a:lnTo>
                    <a:pt x="347" y="217"/>
                  </a:lnTo>
                  <a:lnTo>
                    <a:pt x="354" y="226"/>
                  </a:lnTo>
                  <a:lnTo>
                    <a:pt x="359" y="233"/>
                  </a:lnTo>
                  <a:lnTo>
                    <a:pt x="360" y="236"/>
                  </a:lnTo>
                  <a:lnTo>
                    <a:pt x="366" y="241"/>
                  </a:lnTo>
                  <a:lnTo>
                    <a:pt x="369" y="245"/>
                  </a:lnTo>
                  <a:lnTo>
                    <a:pt x="369" y="248"/>
                  </a:lnTo>
                  <a:lnTo>
                    <a:pt x="362" y="253"/>
                  </a:lnTo>
                  <a:lnTo>
                    <a:pt x="357" y="255"/>
                  </a:lnTo>
                  <a:lnTo>
                    <a:pt x="350" y="258"/>
                  </a:lnTo>
                  <a:lnTo>
                    <a:pt x="345" y="263"/>
                  </a:lnTo>
                  <a:lnTo>
                    <a:pt x="336" y="265"/>
                  </a:lnTo>
                  <a:lnTo>
                    <a:pt x="328" y="270"/>
                  </a:lnTo>
                  <a:lnTo>
                    <a:pt x="328" y="272"/>
                  </a:lnTo>
                  <a:lnTo>
                    <a:pt x="336" y="274"/>
                  </a:lnTo>
                  <a:lnTo>
                    <a:pt x="340" y="274"/>
                  </a:lnTo>
                  <a:lnTo>
                    <a:pt x="347" y="269"/>
                  </a:lnTo>
                  <a:lnTo>
                    <a:pt x="355" y="265"/>
                  </a:lnTo>
                  <a:lnTo>
                    <a:pt x="360" y="262"/>
                  </a:lnTo>
                  <a:lnTo>
                    <a:pt x="364" y="260"/>
                  </a:lnTo>
                  <a:lnTo>
                    <a:pt x="374" y="257"/>
                  </a:lnTo>
                  <a:lnTo>
                    <a:pt x="377" y="253"/>
                  </a:lnTo>
                  <a:lnTo>
                    <a:pt x="381" y="246"/>
                  </a:lnTo>
                  <a:lnTo>
                    <a:pt x="386" y="243"/>
                  </a:lnTo>
                  <a:lnTo>
                    <a:pt x="393" y="243"/>
                  </a:lnTo>
                  <a:lnTo>
                    <a:pt x="396" y="238"/>
                  </a:lnTo>
                  <a:lnTo>
                    <a:pt x="403" y="240"/>
                  </a:lnTo>
                  <a:lnTo>
                    <a:pt x="406" y="241"/>
                  </a:lnTo>
                  <a:lnTo>
                    <a:pt x="412" y="245"/>
                  </a:lnTo>
                  <a:lnTo>
                    <a:pt x="417" y="250"/>
                  </a:lnTo>
                  <a:lnTo>
                    <a:pt x="420" y="251"/>
                  </a:lnTo>
                  <a:lnTo>
                    <a:pt x="427" y="257"/>
                  </a:lnTo>
                  <a:lnTo>
                    <a:pt x="429" y="262"/>
                  </a:lnTo>
                  <a:lnTo>
                    <a:pt x="429" y="269"/>
                  </a:lnTo>
                  <a:lnTo>
                    <a:pt x="430" y="272"/>
                  </a:lnTo>
                  <a:lnTo>
                    <a:pt x="432" y="272"/>
                  </a:lnTo>
                  <a:lnTo>
                    <a:pt x="429" y="269"/>
                  </a:lnTo>
                  <a:lnTo>
                    <a:pt x="430" y="262"/>
                  </a:lnTo>
                  <a:lnTo>
                    <a:pt x="436" y="263"/>
                  </a:lnTo>
                  <a:lnTo>
                    <a:pt x="442" y="267"/>
                  </a:lnTo>
                  <a:lnTo>
                    <a:pt x="444" y="272"/>
                  </a:lnTo>
                  <a:lnTo>
                    <a:pt x="447" y="277"/>
                  </a:lnTo>
                  <a:lnTo>
                    <a:pt x="449" y="281"/>
                  </a:lnTo>
                  <a:lnTo>
                    <a:pt x="449" y="291"/>
                  </a:lnTo>
                  <a:lnTo>
                    <a:pt x="451" y="298"/>
                  </a:lnTo>
                  <a:lnTo>
                    <a:pt x="454" y="303"/>
                  </a:lnTo>
                  <a:lnTo>
                    <a:pt x="454" y="304"/>
                  </a:lnTo>
                  <a:lnTo>
                    <a:pt x="447" y="304"/>
                  </a:lnTo>
                  <a:lnTo>
                    <a:pt x="439" y="306"/>
                  </a:lnTo>
                  <a:lnTo>
                    <a:pt x="436" y="306"/>
                  </a:lnTo>
                  <a:lnTo>
                    <a:pt x="439" y="308"/>
                  </a:lnTo>
                  <a:lnTo>
                    <a:pt x="437" y="310"/>
                  </a:lnTo>
                  <a:lnTo>
                    <a:pt x="432" y="310"/>
                  </a:lnTo>
                  <a:lnTo>
                    <a:pt x="425" y="304"/>
                  </a:lnTo>
                  <a:lnTo>
                    <a:pt x="425" y="308"/>
                  </a:lnTo>
                  <a:lnTo>
                    <a:pt x="424" y="306"/>
                  </a:lnTo>
                  <a:lnTo>
                    <a:pt x="425" y="308"/>
                  </a:lnTo>
                  <a:lnTo>
                    <a:pt x="427" y="308"/>
                  </a:lnTo>
                  <a:lnTo>
                    <a:pt x="429" y="310"/>
                  </a:lnTo>
                  <a:lnTo>
                    <a:pt x="425" y="311"/>
                  </a:lnTo>
                  <a:lnTo>
                    <a:pt x="424" y="310"/>
                  </a:lnTo>
                  <a:lnTo>
                    <a:pt x="429" y="315"/>
                  </a:lnTo>
                  <a:lnTo>
                    <a:pt x="427" y="316"/>
                  </a:lnTo>
                  <a:lnTo>
                    <a:pt x="420" y="318"/>
                  </a:lnTo>
                  <a:lnTo>
                    <a:pt x="413" y="316"/>
                  </a:lnTo>
                  <a:lnTo>
                    <a:pt x="412" y="318"/>
                  </a:lnTo>
                  <a:lnTo>
                    <a:pt x="417" y="320"/>
                  </a:lnTo>
                  <a:lnTo>
                    <a:pt x="417" y="322"/>
                  </a:lnTo>
                  <a:lnTo>
                    <a:pt x="412" y="323"/>
                  </a:lnTo>
                  <a:lnTo>
                    <a:pt x="405" y="330"/>
                  </a:lnTo>
                  <a:lnTo>
                    <a:pt x="396" y="333"/>
                  </a:lnTo>
                  <a:lnTo>
                    <a:pt x="389" y="332"/>
                  </a:lnTo>
                  <a:lnTo>
                    <a:pt x="386" y="335"/>
                  </a:lnTo>
                  <a:lnTo>
                    <a:pt x="381" y="337"/>
                  </a:lnTo>
                  <a:lnTo>
                    <a:pt x="386" y="339"/>
                  </a:lnTo>
                  <a:lnTo>
                    <a:pt x="389" y="342"/>
                  </a:lnTo>
                  <a:lnTo>
                    <a:pt x="395" y="345"/>
                  </a:lnTo>
                  <a:lnTo>
                    <a:pt x="396" y="347"/>
                  </a:lnTo>
                  <a:lnTo>
                    <a:pt x="405" y="349"/>
                  </a:lnTo>
                  <a:lnTo>
                    <a:pt x="410" y="349"/>
                  </a:lnTo>
                  <a:lnTo>
                    <a:pt x="413" y="349"/>
                  </a:lnTo>
                  <a:lnTo>
                    <a:pt x="418" y="347"/>
                  </a:lnTo>
                  <a:lnTo>
                    <a:pt x="422" y="351"/>
                  </a:lnTo>
                  <a:lnTo>
                    <a:pt x="425" y="351"/>
                  </a:lnTo>
                  <a:lnTo>
                    <a:pt x="429" y="354"/>
                  </a:lnTo>
                  <a:lnTo>
                    <a:pt x="429" y="356"/>
                  </a:lnTo>
                  <a:lnTo>
                    <a:pt x="424" y="362"/>
                  </a:lnTo>
                  <a:lnTo>
                    <a:pt x="420" y="364"/>
                  </a:lnTo>
                  <a:lnTo>
                    <a:pt x="412" y="364"/>
                  </a:lnTo>
                  <a:lnTo>
                    <a:pt x="406" y="366"/>
                  </a:lnTo>
                  <a:lnTo>
                    <a:pt x="410" y="369"/>
                  </a:lnTo>
                  <a:lnTo>
                    <a:pt x="408" y="374"/>
                  </a:lnTo>
                  <a:lnTo>
                    <a:pt x="405" y="376"/>
                  </a:lnTo>
                  <a:lnTo>
                    <a:pt x="408" y="376"/>
                  </a:lnTo>
                  <a:lnTo>
                    <a:pt x="408" y="378"/>
                  </a:lnTo>
                  <a:lnTo>
                    <a:pt x="401" y="381"/>
                  </a:lnTo>
                  <a:lnTo>
                    <a:pt x="405" y="381"/>
                  </a:lnTo>
                  <a:lnTo>
                    <a:pt x="406" y="383"/>
                  </a:lnTo>
                  <a:lnTo>
                    <a:pt x="405" y="386"/>
                  </a:lnTo>
                  <a:lnTo>
                    <a:pt x="400" y="386"/>
                  </a:lnTo>
                  <a:lnTo>
                    <a:pt x="408" y="388"/>
                  </a:lnTo>
                  <a:lnTo>
                    <a:pt x="406" y="392"/>
                  </a:lnTo>
                  <a:lnTo>
                    <a:pt x="400" y="390"/>
                  </a:lnTo>
                  <a:lnTo>
                    <a:pt x="410" y="392"/>
                  </a:lnTo>
                  <a:lnTo>
                    <a:pt x="412" y="392"/>
                  </a:lnTo>
                  <a:lnTo>
                    <a:pt x="410" y="39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79" name="Freeform 52"/>
            <p:cNvSpPr>
              <a:spLocks noEditPoints="1"/>
            </p:cNvSpPr>
            <p:nvPr/>
          </p:nvSpPr>
          <p:spPr bwMode="gray">
            <a:xfrm>
              <a:off x="5151073" y="2191539"/>
              <a:ext cx="747915" cy="735146"/>
            </a:xfrm>
            <a:custGeom>
              <a:avLst/>
              <a:gdLst>
                <a:gd name="T0" fmla="*/ 369 w 410"/>
                <a:gd name="T1" fmla="*/ 191 h 403"/>
                <a:gd name="T2" fmla="*/ 359 w 410"/>
                <a:gd name="T3" fmla="*/ 157 h 403"/>
                <a:gd name="T4" fmla="*/ 328 w 410"/>
                <a:gd name="T5" fmla="*/ 142 h 403"/>
                <a:gd name="T6" fmla="*/ 369 w 410"/>
                <a:gd name="T7" fmla="*/ 140 h 403"/>
                <a:gd name="T8" fmla="*/ 342 w 410"/>
                <a:gd name="T9" fmla="*/ 116 h 403"/>
                <a:gd name="T10" fmla="*/ 369 w 410"/>
                <a:gd name="T11" fmla="*/ 106 h 403"/>
                <a:gd name="T12" fmla="*/ 345 w 410"/>
                <a:gd name="T13" fmla="*/ 106 h 403"/>
                <a:gd name="T14" fmla="*/ 332 w 410"/>
                <a:gd name="T15" fmla="*/ 101 h 403"/>
                <a:gd name="T16" fmla="*/ 354 w 410"/>
                <a:gd name="T17" fmla="*/ 111 h 403"/>
                <a:gd name="T18" fmla="*/ 361 w 410"/>
                <a:gd name="T19" fmla="*/ 99 h 403"/>
                <a:gd name="T20" fmla="*/ 396 w 410"/>
                <a:gd name="T21" fmla="*/ 113 h 403"/>
                <a:gd name="T22" fmla="*/ 347 w 410"/>
                <a:gd name="T23" fmla="*/ 101 h 403"/>
                <a:gd name="T24" fmla="*/ 335 w 410"/>
                <a:gd name="T25" fmla="*/ 96 h 403"/>
                <a:gd name="T26" fmla="*/ 337 w 410"/>
                <a:gd name="T27" fmla="*/ 94 h 403"/>
                <a:gd name="T28" fmla="*/ 362 w 410"/>
                <a:gd name="T29" fmla="*/ 75 h 403"/>
                <a:gd name="T30" fmla="*/ 381 w 410"/>
                <a:gd name="T31" fmla="*/ 84 h 403"/>
                <a:gd name="T32" fmla="*/ 355 w 410"/>
                <a:gd name="T33" fmla="*/ 77 h 403"/>
                <a:gd name="T34" fmla="*/ 376 w 410"/>
                <a:gd name="T35" fmla="*/ 67 h 403"/>
                <a:gd name="T36" fmla="*/ 378 w 410"/>
                <a:gd name="T37" fmla="*/ 38 h 403"/>
                <a:gd name="T38" fmla="*/ 403 w 410"/>
                <a:gd name="T39" fmla="*/ 41 h 403"/>
                <a:gd name="T40" fmla="*/ 398 w 410"/>
                <a:gd name="T41" fmla="*/ 27 h 403"/>
                <a:gd name="T42" fmla="*/ 378 w 410"/>
                <a:gd name="T43" fmla="*/ 241 h 403"/>
                <a:gd name="T44" fmla="*/ 328 w 410"/>
                <a:gd name="T45" fmla="*/ 217 h 403"/>
                <a:gd name="T46" fmla="*/ 268 w 410"/>
                <a:gd name="T47" fmla="*/ 242 h 403"/>
                <a:gd name="T48" fmla="*/ 236 w 410"/>
                <a:gd name="T49" fmla="*/ 236 h 403"/>
                <a:gd name="T50" fmla="*/ 207 w 410"/>
                <a:gd name="T51" fmla="*/ 260 h 403"/>
                <a:gd name="T52" fmla="*/ 195 w 410"/>
                <a:gd name="T53" fmla="*/ 290 h 403"/>
                <a:gd name="T54" fmla="*/ 173 w 410"/>
                <a:gd name="T55" fmla="*/ 347 h 403"/>
                <a:gd name="T56" fmla="*/ 118 w 410"/>
                <a:gd name="T57" fmla="*/ 377 h 403"/>
                <a:gd name="T58" fmla="*/ 76 w 410"/>
                <a:gd name="T59" fmla="*/ 401 h 403"/>
                <a:gd name="T60" fmla="*/ 36 w 410"/>
                <a:gd name="T61" fmla="*/ 391 h 403"/>
                <a:gd name="T62" fmla="*/ 7 w 410"/>
                <a:gd name="T63" fmla="*/ 347 h 403"/>
                <a:gd name="T64" fmla="*/ 23 w 410"/>
                <a:gd name="T65" fmla="*/ 304 h 403"/>
                <a:gd name="T66" fmla="*/ 29 w 410"/>
                <a:gd name="T67" fmla="*/ 282 h 403"/>
                <a:gd name="T68" fmla="*/ 45 w 410"/>
                <a:gd name="T69" fmla="*/ 254 h 403"/>
                <a:gd name="T70" fmla="*/ 77 w 410"/>
                <a:gd name="T71" fmla="*/ 232 h 403"/>
                <a:gd name="T72" fmla="*/ 70 w 410"/>
                <a:gd name="T73" fmla="*/ 200 h 403"/>
                <a:gd name="T74" fmla="*/ 82 w 410"/>
                <a:gd name="T75" fmla="*/ 169 h 403"/>
                <a:gd name="T76" fmla="*/ 117 w 410"/>
                <a:gd name="T77" fmla="*/ 152 h 403"/>
                <a:gd name="T78" fmla="*/ 122 w 410"/>
                <a:gd name="T79" fmla="*/ 120 h 403"/>
                <a:gd name="T80" fmla="*/ 125 w 410"/>
                <a:gd name="T81" fmla="*/ 70 h 403"/>
                <a:gd name="T82" fmla="*/ 151 w 410"/>
                <a:gd name="T83" fmla="*/ 17 h 403"/>
                <a:gd name="T84" fmla="*/ 186 w 410"/>
                <a:gd name="T85" fmla="*/ 8 h 403"/>
                <a:gd name="T86" fmla="*/ 231 w 410"/>
                <a:gd name="T87" fmla="*/ 8 h 403"/>
                <a:gd name="T88" fmla="*/ 260 w 410"/>
                <a:gd name="T89" fmla="*/ 7 h 403"/>
                <a:gd name="T90" fmla="*/ 304 w 410"/>
                <a:gd name="T91" fmla="*/ 10 h 403"/>
                <a:gd name="T92" fmla="*/ 354 w 410"/>
                <a:gd name="T93" fmla="*/ 29 h 403"/>
                <a:gd name="T94" fmla="*/ 340 w 410"/>
                <a:gd name="T95" fmla="*/ 34 h 403"/>
                <a:gd name="T96" fmla="*/ 354 w 410"/>
                <a:gd name="T97" fmla="*/ 44 h 403"/>
                <a:gd name="T98" fmla="*/ 366 w 410"/>
                <a:gd name="T99" fmla="*/ 65 h 403"/>
                <a:gd name="T100" fmla="*/ 371 w 410"/>
                <a:gd name="T101" fmla="*/ 75 h 403"/>
                <a:gd name="T102" fmla="*/ 345 w 410"/>
                <a:gd name="T103" fmla="*/ 89 h 403"/>
                <a:gd name="T104" fmla="*/ 323 w 410"/>
                <a:gd name="T105" fmla="*/ 96 h 403"/>
                <a:gd name="T106" fmla="*/ 337 w 410"/>
                <a:gd name="T107" fmla="*/ 116 h 403"/>
                <a:gd name="T108" fmla="*/ 345 w 410"/>
                <a:gd name="T109" fmla="*/ 128 h 403"/>
                <a:gd name="T110" fmla="*/ 337 w 410"/>
                <a:gd name="T111" fmla="*/ 142 h 403"/>
                <a:gd name="T112" fmla="*/ 313 w 410"/>
                <a:gd name="T113" fmla="*/ 140 h 403"/>
                <a:gd name="T114" fmla="*/ 347 w 410"/>
                <a:gd name="T115" fmla="*/ 154 h 403"/>
                <a:gd name="T116" fmla="*/ 364 w 410"/>
                <a:gd name="T117" fmla="*/ 157 h 403"/>
                <a:gd name="T118" fmla="*/ 366 w 410"/>
                <a:gd name="T119" fmla="*/ 171 h 403"/>
                <a:gd name="T120" fmla="*/ 378 w 410"/>
                <a:gd name="T121" fmla="*/ 183 h 403"/>
                <a:gd name="T122" fmla="*/ 386 w 410"/>
                <a:gd name="T123" fmla="*/ 19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0" h="403">
                  <a:moveTo>
                    <a:pt x="366" y="191"/>
                  </a:moveTo>
                  <a:lnTo>
                    <a:pt x="367" y="191"/>
                  </a:lnTo>
                  <a:lnTo>
                    <a:pt x="367" y="193"/>
                  </a:lnTo>
                  <a:lnTo>
                    <a:pt x="366" y="193"/>
                  </a:lnTo>
                  <a:lnTo>
                    <a:pt x="366" y="191"/>
                  </a:lnTo>
                  <a:close/>
                  <a:moveTo>
                    <a:pt x="374" y="186"/>
                  </a:moveTo>
                  <a:lnTo>
                    <a:pt x="379" y="190"/>
                  </a:lnTo>
                  <a:lnTo>
                    <a:pt x="379" y="191"/>
                  </a:lnTo>
                  <a:lnTo>
                    <a:pt x="371" y="193"/>
                  </a:lnTo>
                  <a:lnTo>
                    <a:pt x="369" y="191"/>
                  </a:lnTo>
                  <a:lnTo>
                    <a:pt x="374" y="186"/>
                  </a:lnTo>
                  <a:close/>
                  <a:moveTo>
                    <a:pt x="366" y="159"/>
                  </a:moveTo>
                  <a:lnTo>
                    <a:pt x="367" y="159"/>
                  </a:lnTo>
                  <a:lnTo>
                    <a:pt x="367" y="161"/>
                  </a:lnTo>
                  <a:lnTo>
                    <a:pt x="366" y="161"/>
                  </a:lnTo>
                  <a:lnTo>
                    <a:pt x="366" y="159"/>
                  </a:lnTo>
                  <a:close/>
                  <a:moveTo>
                    <a:pt x="359" y="155"/>
                  </a:moveTo>
                  <a:lnTo>
                    <a:pt x="362" y="155"/>
                  </a:lnTo>
                  <a:lnTo>
                    <a:pt x="362" y="157"/>
                  </a:lnTo>
                  <a:lnTo>
                    <a:pt x="359" y="157"/>
                  </a:lnTo>
                  <a:lnTo>
                    <a:pt x="359" y="155"/>
                  </a:lnTo>
                  <a:close/>
                  <a:moveTo>
                    <a:pt x="364" y="155"/>
                  </a:moveTo>
                  <a:lnTo>
                    <a:pt x="362" y="154"/>
                  </a:lnTo>
                  <a:lnTo>
                    <a:pt x="366" y="154"/>
                  </a:lnTo>
                  <a:lnTo>
                    <a:pt x="366" y="155"/>
                  </a:lnTo>
                  <a:lnTo>
                    <a:pt x="364" y="155"/>
                  </a:lnTo>
                  <a:close/>
                  <a:moveTo>
                    <a:pt x="328" y="142"/>
                  </a:moveTo>
                  <a:lnTo>
                    <a:pt x="325" y="143"/>
                  </a:lnTo>
                  <a:lnTo>
                    <a:pt x="325" y="142"/>
                  </a:lnTo>
                  <a:lnTo>
                    <a:pt x="328" y="142"/>
                  </a:lnTo>
                  <a:close/>
                  <a:moveTo>
                    <a:pt x="350" y="120"/>
                  </a:moveTo>
                  <a:lnTo>
                    <a:pt x="352" y="128"/>
                  </a:lnTo>
                  <a:lnTo>
                    <a:pt x="347" y="128"/>
                  </a:lnTo>
                  <a:lnTo>
                    <a:pt x="345" y="121"/>
                  </a:lnTo>
                  <a:lnTo>
                    <a:pt x="350" y="120"/>
                  </a:lnTo>
                  <a:close/>
                  <a:moveTo>
                    <a:pt x="366" y="116"/>
                  </a:moveTo>
                  <a:lnTo>
                    <a:pt x="373" y="121"/>
                  </a:lnTo>
                  <a:lnTo>
                    <a:pt x="371" y="130"/>
                  </a:lnTo>
                  <a:lnTo>
                    <a:pt x="371" y="138"/>
                  </a:lnTo>
                  <a:lnTo>
                    <a:pt x="369" y="140"/>
                  </a:lnTo>
                  <a:lnTo>
                    <a:pt x="366" y="138"/>
                  </a:lnTo>
                  <a:lnTo>
                    <a:pt x="366" y="135"/>
                  </a:lnTo>
                  <a:lnTo>
                    <a:pt x="357" y="130"/>
                  </a:lnTo>
                  <a:lnTo>
                    <a:pt x="354" y="123"/>
                  </a:lnTo>
                  <a:lnTo>
                    <a:pt x="354" y="120"/>
                  </a:lnTo>
                  <a:lnTo>
                    <a:pt x="357" y="116"/>
                  </a:lnTo>
                  <a:lnTo>
                    <a:pt x="366" y="116"/>
                  </a:lnTo>
                  <a:close/>
                  <a:moveTo>
                    <a:pt x="338" y="114"/>
                  </a:moveTo>
                  <a:lnTo>
                    <a:pt x="342" y="114"/>
                  </a:lnTo>
                  <a:lnTo>
                    <a:pt x="342" y="116"/>
                  </a:lnTo>
                  <a:lnTo>
                    <a:pt x="338" y="116"/>
                  </a:lnTo>
                  <a:lnTo>
                    <a:pt x="338" y="114"/>
                  </a:lnTo>
                  <a:close/>
                  <a:moveTo>
                    <a:pt x="344" y="114"/>
                  </a:moveTo>
                  <a:lnTo>
                    <a:pt x="345" y="114"/>
                  </a:lnTo>
                  <a:lnTo>
                    <a:pt x="345" y="116"/>
                  </a:lnTo>
                  <a:lnTo>
                    <a:pt x="344" y="116"/>
                  </a:lnTo>
                  <a:lnTo>
                    <a:pt x="344" y="114"/>
                  </a:lnTo>
                  <a:close/>
                  <a:moveTo>
                    <a:pt x="369" y="106"/>
                  </a:moveTo>
                  <a:lnTo>
                    <a:pt x="371" y="106"/>
                  </a:lnTo>
                  <a:lnTo>
                    <a:pt x="369" y="106"/>
                  </a:lnTo>
                  <a:close/>
                  <a:moveTo>
                    <a:pt x="342" y="102"/>
                  </a:moveTo>
                  <a:lnTo>
                    <a:pt x="352" y="104"/>
                  </a:lnTo>
                  <a:lnTo>
                    <a:pt x="359" y="106"/>
                  </a:lnTo>
                  <a:lnTo>
                    <a:pt x="366" y="111"/>
                  </a:lnTo>
                  <a:lnTo>
                    <a:pt x="357" y="113"/>
                  </a:lnTo>
                  <a:lnTo>
                    <a:pt x="355" y="109"/>
                  </a:lnTo>
                  <a:lnTo>
                    <a:pt x="355" y="111"/>
                  </a:lnTo>
                  <a:lnTo>
                    <a:pt x="354" y="109"/>
                  </a:lnTo>
                  <a:lnTo>
                    <a:pt x="345" y="108"/>
                  </a:lnTo>
                  <a:lnTo>
                    <a:pt x="345" y="106"/>
                  </a:lnTo>
                  <a:lnTo>
                    <a:pt x="342" y="104"/>
                  </a:lnTo>
                  <a:lnTo>
                    <a:pt x="342" y="102"/>
                  </a:lnTo>
                  <a:close/>
                  <a:moveTo>
                    <a:pt x="338" y="99"/>
                  </a:moveTo>
                  <a:lnTo>
                    <a:pt x="342" y="99"/>
                  </a:lnTo>
                  <a:lnTo>
                    <a:pt x="342" y="101"/>
                  </a:lnTo>
                  <a:lnTo>
                    <a:pt x="337" y="99"/>
                  </a:lnTo>
                  <a:lnTo>
                    <a:pt x="338" y="99"/>
                  </a:lnTo>
                  <a:close/>
                  <a:moveTo>
                    <a:pt x="328" y="99"/>
                  </a:moveTo>
                  <a:lnTo>
                    <a:pt x="332" y="99"/>
                  </a:lnTo>
                  <a:lnTo>
                    <a:pt x="332" y="101"/>
                  </a:lnTo>
                  <a:lnTo>
                    <a:pt x="328" y="101"/>
                  </a:lnTo>
                  <a:lnTo>
                    <a:pt x="328" y="99"/>
                  </a:lnTo>
                  <a:close/>
                  <a:moveTo>
                    <a:pt x="325" y="99"/>
                  </a:moveTo>
                  <a:lnTo>
                    <a:pt x="328" y="102"/>
                  </a:lnTo>
                  <a:lnTo>
                    <a:pt x="335" y="101"/>
                  </a:lnTo>
                  <a:lnTo>
                    <a:pt x="338" y="102"/>
                  </a:lnTo>
                  <a:lnTo>
                    <a:pt x="344" y="106"/>
                  </a:lnTo>
                  <a:lnTo>
                    <a:pt x="345" y="109"/>
                  </a:lnTo>
                  <a:lnTo>
                    <a:pt x="352" y="109"/>
                  </a:lnTo>
                  <a:lnTo>
                    <a:pt x="354" y="111"/>
                  </a:lnTo>
                  <a:lnTo>
                    <a:pt x="350" y="118"/>
                  </a:lnTo>
                  <a:lnTo>
                    <a:pt x="345" y="114"/>
                  </a:lnTo>
                  <a:lnTo>
                    <a:pt x="337" y="113"/>
                  </a:lnTo>
                  <a:lnTo>
                    <a:pt x="330" y="109"/>
                  </a:lnTo>
                  <a:lnTo>
                    <a:pt x="326" y="111"/>
                  </a:lnTo>
                  <a:lnTo>
                    <a:pt x="320" y="109"/>
                  </a:lnTo>
                  <a:lnTo>
                    <a:pt x="316" y="104"/>
                  </a:lnTo>
                  <a:lnTo>
                    <a:pt x="320" y="99"/>
                  </a:lnTo>
                  <a:lnTo>
                    <a:pt x="325" y="99"/>
                  </a:lnTo>
                  <a:close/>
                  <a:moveTo>
                    <a:pt x="361" y="99"/>
                  </a:moveTo>
                  <a:lnTo>
                    <a:pt x="367" y="101"/>
                  </a:lnTo>
                  <a:lnTo>
                    <a:pt x="371" y="102"/>
                  </a:lnTo>
                  <a:lnTo>
                    <a:pt x="366" y="104"/>
                  </a:lnTo>
                  <a:lnTo>
                    <a:pt x="355" y="102"/>
                  </a:lnTo>
                  <a:lnTo>
                    <a:pt x="352" y="99"/>
                  </a:lnTo>
                  <a:lnTo>
                    <a:pt x="357" y="101"/>
                  </a:lnTo>
                  <a:lnTo>
                    <a:pt x="361" y="99"/>
                  </a:lnTo>
                  <a:close/>
                  <a:moveTo>
                    <a:pt x="388" y="99"/>
                  </a:moveTo>
                  <a:lnTo>
                    <a:pt x="393" y="104"/>
                  </a:lnTo>
                  <a:lnTo>
                    <a:pt x="396" y="113"/>
                  </a:lnTo>
                  <a:lnTo>
                    <a:pt x="395" y="114"/>
                  </a:lnTo>
                  <a:lnTo>
                    <a:pt x="393" y="114"/>
                  </a:lnTo>
                  <a:lnTo>
                    <a:pt x="391" y="113"/>
                  </a:lnTo>
                  <a:lnTo>
                    <a:pt x="383" y="108"/>
                  </a:lnTo>
                  <a:lnTo>
                    <a:pt x="383" y="102"/>
                  </a:lnTo>
                  <a:lnTo>
                    <a:pt x="388" y="99"/>
                  </a:lnTo>
                  <a:close/>
                  <a:moveTo>
                    <a:pt x="347" y="99"/>
                  </a:moveTo>
                  <a:lnTo>
                    <a:pt x="350" y="99"/>
                  </a:lnTo>
                  <a:lnTo>
                    <a:pt x="350" y="101"/>
                  </a:lnTo>
                  <a:lnTo>
                    <a:pt x="347" y="101"/>
                  </a:lnTo>
                  <a:lnTo>
                    <a:pt x="347" y="99"/>
                  </a:lnTo>
                  <a:close/>
                  <a:moveTo>
                    <a:pt x="338" y="96"/>
                  </a:moveTo>
                  <a:lnTo>
                    <a:pt x="347" y="99"/>
                  </a:lnTo>
                  <a:lnTo>
                    <a:pt x="347" y="101"/>
                  </a:lnTo>
                  <a:lnTo>
                    <a:pt x="345" y="102"/>
                  </a:lnTo>
                  <a:lnTo>
                    <a:pt x="340" y="99"/>
                  </a:lnTo>
                  <a:lnTo>
                    <a:pt x="332" y="99"/>
                  </a:lnTo>
                  <a:lnTo>
                    <a:pt x="328" y="99"/>
                  </a:lnTo>
                  <a:lnTo>
                    <a:pt x="326" y="97"/>
                  </a:lnTo>
                  <a:lnTo>
                    <a:pt x="335" y="96"/>
                  </a:lnTo>
                  <a:lnTo>
                    <a:pt x="338" y="96"/>
                  </a:lnTo>
                  <a:close/>
                  <a:moveTo>
                    <a:pt x="357" y="96"/>
                  </a:moveTo>
                  <a:lnTo>
                    <a:pt x="357" y="99"/>
                  </a:lnTo>
                  <a:lnTo>
                    <a:pt x="352" y="97"/>
                  </a:lnTo>
                  <a:lnTo>
                    <a:pt x="354" y="96"/>
                  </a:lnTo>
                  <a:lnTo>
                    <a:pt x="357" y="96"/>
                  </a:lnTo>
                  <a:close/>
                  <a:moveTo>
                    <a:pt x="337" y="94"/>
                  </a:moveTo>
                  <a:lnTo>
                    <a:pt x="335" y="96"/>
                  </a:lnTo>
                  <a:lnTo>
                    <a:pt x="330" y="96"/>
                  </a:lnTo>
                  <a:lnTo>
                    <a:pt x="337" y="94"/>
                  </a:lnTo>
                  <a:close/>
                  <a:moveTo>
                    <a:pt x="350" y="87"/>
                  </a:moveTo>
                  <a:lnTo>
                    <a:pt x="344" y="87"/>
                  </a:lnTo>
                  <a:lnTo>
                    <a:pt x="349" y="84"/>
                  </a:lnTo>
                  <a:lnTo>
                    <a:pt x="350" y="87"/>
                  </a:lnTo>
                  <a:close/>
                  <a:moveTo>
                    <a:pt x="385" y="79"/>
                  </a:moveTo>
                  <a:lnTo>
                    <a:pt x="388" y="79"/>
                  </a:lnTo>
                  <a:lnTo>
                    <a:pt x="390" y="80"/>
                  </a:lnTo>
                  <a:lnTo>
                    <a:pt x="381" y="79"/>
                  </a:lnTo>
                  <a:lnTo>
                    <a:pt x="385" y="79"/>
                  </a:lnTo>
                  <a:close/>
                  <a:moveTo>
                    <a:pt x="362" y="75"/>
                  </a:moveTo>
                  <a:lnTo>
                    <a:pt x="364" y="77"/>
                  </a:lnTo>
                  <a:lnTo>
                    <a:pt x="369" y="77"/>
                  </a:lnTo>
                  <a:lnTo>
                    <a:pt x="371" y="75"/>
                  </a:lnTo>
                  <a:lnTo>
                    <a:pt x="374" y="77"/>
                  </a:lnTo>
                  <a:lnTo>
                    <a:pt x="378" y="79"/>
                  </a:lnTo>
                  <a:lnTo>
                    <a:pt x="388" y="82"/>
                  </a:lnTo>
                  <a:lnTo>
                    <a:pt x="390" y="82"/>
                  </a:lnTo>
                  <a:lnTo>
                    <a:pt x="391" y="85"/>
                  </a:lnTo>
                  <a:lnTo>
                    <a:pt x="385" y="87"/>
                  </a:lnTo>
                  <a:lnTo>
                    <a:pt x="381" y="84"/>
                  </a:lnTo>
                  <a:lnTo>
                    <a:pt x="385" y="87"/>
                  </a:lnTo>
                  <a:lnTo>
                    <a:pt x="379" y="94"/>
                  </a:lnTo>
                  <a:lnTo>
                    <a:pt x="378" y="92"/>
                  </a:lnTo>
                  <a:lnTo>
                    <a:pt x="371" y="96"/>
                  </a:lnTo>
                  <a:lnTo>
                    <a:pt x="362" y="94"/>
                  </a:lnTo>
                  <a:lnTo>
                    <a:pt x="359" y="92"/>
                  </a:lnTo>
                  <a:lnTo>
                    <a:pt x="354" y="87"/>
                  </a:lnTo>
                  <a:lnTo>
                    <a:pt x="349" y="79"/>
                  </a:lnTo>
                  <a:lnTo>
                    <a:pt x="350" y="77"/>
                  </a:lnTo>
                  <a:lnTo>
                    <a:pt x="355" y="77"/>
                  </a:lnTo>
                  <a:lnTo>
                    <a:pt x="362" y="73"/>
                  </a:lnTo>
                  <a:lnTo>
                    <a:pt x="362" y="75"/>
                  </a:lnTo>
                  <a:close/>
                  <a:moveTo>
                    <a:pt x="381" y="65"/>
                  </a:moveTo>
                  <a:lnTo>
                    <a:pt x="383" y="65"/>
                  </a:lnTo>
                  <a:lnTo>
                    <a:pt x="390" y="72"/>
                  </a:lnTo>
                  <a:lnTo>
                    <a:pt x="391" y="75"/>
                  </a:lnTo>
                  <a:lnTo>
                    <a:pt x="386" y="75"/>
                  </a:lnTo>
                  <a:lnTo>
                    <a:pt x="381" y="72"/>
                  </a:lnTo>
                  <a:lnTo>
                    <a:pt x="381" y="68"/>
                  </a:lnTo>
                  <a:lnTo>
                    <a:pt x="376" y="67"/>
                  </a:lnTo>
                  <a:lnTo>
                    <a:pt x="378" y="65"/>
                  </a:lnTo>
                  <a:lnTo>
                    <a:pt x="381" y="65"/>
                  </a:lnTo>
                  <a:close/>
                  <a:moveTo>
                    <a:pt x="361" y="32"/>
                  </a:moveTo>
                  <a:lnTo>
                    <a:pt x="362" y="32"/>
                  </a:lnTo>
                  <a:lnTo>
                    <a:pt x="359" y="36"/>
                  </a:lnTo>
                  <a:lnTo>
                    <a:pt x="355" y="36"/>
                  </a:lnTo>
                  <a:lnTo>
                    <a:pt x="357" y="32"/>
                  </a:lnTo>
                  <a:lnTo>
                    <a:pt x="361" y="32"/>
                  </a:lnTo>
                  <a:close/>
                  <a:moveTo>
                    <a:pt x="371" y="32"/>
                  </a:moveTo>
                  <a:lnTo>
                    <a:pt x="378" y="38"/>
                  </a:lnTo>
                  <a:lnTo>
                    <a:pt x="381" y="43"/>
                  </a:lnTo>
                  <a:lnTo>
                    <a:pt x="378" y="51"/>
                  </a:lnTo>
                  <a:lnTo>
                    <a:pt x="373" y="53"/>
                  </a:lnTo>
                  <a:lnTo>
                    <a:pt x="364" y="48"/>
                  </a:lnTo>
                  <a:lnTo>
                    <a:pt x="362" y="39"/>
                  </a:lnTo>
                  <a:lnTo>
                    <a:pt x="367" y="32"/>
                  </a:lnTo>
                  <a:lnTo>
                    <a:pt x="371" y="32"/>
                  </a:lnTo>
                  <a:close/>
                  <a:moveTo>
                    <a:pt x="400" y="29"/>
                  </a:moveTo>
                  <a:lnTo>
                    <a:pt x="402" y="34"/>
                  </a:lnTo>
                  <a:lnTo>
                    <a:pt x="403" y="41"/>
                  </a:lnTo>
                  <a:lnTo>
                    <a:pt x="400" y="44"/>
                  </a:lnTo>
                  <a:lnTo>
                    <a:pt x="395" y="46"/>
                  </a:lnTo>
                  <a:lnTo>
                    <a:pt x="388" y="41"/>
                  </a:lnTo>
                  <a:lnTo>
                    <a:pt x="381" y="36"/>
                  </a:lnTo>
                  <a:lnTo>
                    <a:pt x="373" y="29"/>
                  </a:lnTo>
                  <a:lnTo>
                    <a:pt x="379" y="29"/>
                  </a:lnTo>
                  <a:lnTo>
                    <a:pt x="385" y="29"/>
                  </a:lnTo>
                  <a:lnTo>
                    <a:pt x="395" y="29"/>
                  </a:lnTo>
                  <a:lnTo>
                    <a:pt x="396" y="29"/>
                  </a:lnTo>
                  <a:lnTo>
                    <a:pt x="398" y="27"/>
                  </a:lnTo>
                  <a:lnTo>
                    <a:pt x="400" y="29"/>
                  </a:lnTo>
                  <a:close/>
                  <a:moveTo>
                    <a:pt x="410" y="237"/>
                  </a:moveTo>
                  <a:lnTo>
                    <a:pt x="407" y="237"/>
                  </a:lnTo>
                  <a:lnTo>
                    <a:pt x="403" y="242"/>
                  </a:lnTo>
                  <a:lnTo>
                    <a:pt x="402" y="241"/>
                  </a:lnTo>
                  <a:lnTo>
                    <a:pt x="396" y="242"/>
                  </a:lnTo>
                  <a:lnTo>
                    <a:pt x="390" y="249"/>
                  </a:lnTo>
                  <a:lnTo>
                    <a:pt x="381" y="249"/>
                  </a:lnTo>
                  <a:lnTo>
                    <a:pt x="379" y="248"/>
                  </a:lnTo>
                  <a:lnTo>
                    <a:pt x="378" y="241"/>
                  </a:lnTo>
                  <a:lnTo>
                    <a:pt x="374" y="241"/>
                  </a:lnTo>
                  <a:lnTo>
                    <a:pt x="373" y="236"/>
                  </a:lnTo>
                  <a:lnTo>
                    <a:pt x="369" y="232"/>
                  </a:lnTo>
                  <a:lnTo>
                    <a:pt x="366" y="227"/>
                  </a:lnTo>
                  <a:lnTo>
                    <a:pt x="361" y="229"/>
                  </a:lnTo>
                  <a:lnTo>
                    <a:pt x="352" y="225"/>
                  </a:lnTo>
                  <a:lnTo>
                    <a:pt x="347" y="224"/>
                  </a:lnTo>
                  <a:lnTo>
                    <a:pt x="340" y="217"/>
                  </a:lnTo>
                  <a:lnTo>
                    <a:pt x="338" y="217"/>
                  </a:lnTo>
                  <a:lnTo>
                    <a:pt x="328" y="217"/>
                  </a:lnTo>
                  <a:lnTo>
                    <a:pt x="321" y="220"/>
                  </a:lnTo>
                  <a:lnTo>
                    <a:pt x="313" y="219"/>
                  </a:lnTo>
                  <a:lnTo>
                    <a:pt x="306" y="217"/>
                  </a:lnTo>
                  <a:lnTo>
                    <a:pt x="301" y="217"/>
                  </a:lnTo>
                  <a:lnTo>
                    <a:pt x="296" y="225"/>
                  </a:lnTo>
                  <a:lnTo>
                    <a:pt x="287" y="227"/>
                  </a:lnTo>
                  <a:lnTo>
                    <a:pt x="282" y="231"/>
                  </a:lnTo>
                  <a:lnTo>
                    <a:pt x="274" y="234"/>
                  </a:lnTo>
                  <a:lnTo>
                    <a:pt x="270" y="241"/>
                  </a:lnTo>
                  <a:lnTo>
                    <a:pt x="268" y="242"/>
                  </a:lnTo>
                  <a:lnTo>
                    <a:pt x="267" y="242"/>
                  </a:lnTo>
                  <a:lnTo>
                    <a:pt x="265" y="236"/>
                  </a:lnTo>
                  <a:lnTo>
                    <a:pt x="262" y="227"/>
                  </a:lnTo>
                  <a:lnTo>
                    <a:pt x="260" y="225"/>
                  </a:lnTo>
                  <a:lnTo>
                    <a:pt x="255" y="229"/>
                  </a:lnTo>
                  <a:lnTo>
                    <a:pt x="248" y="236"/>
                  </a:lnTo>
                  <a:lnTo>
                    <a:pt x="246" y="239"/>
                  </a:lnTo>
                  <a:lnTo>
                    <a:pt x="241" y="237"/>
                  </a:lnTo>
                  <a:lnTo>
                    <a:pt x="239" y="234"/>
                  </a:lnTo>
                  <a:lnTo>
                    <a:pt x="236" y="236"/>
                  </a:lnTo>
                  <a:lnTo>
                    <a:pt x="233" y="234"/>
                  </a:lnTo>
                  <a:lnTo>
                    <a:pt x="231" y="241"/>
                  </a:lnTo>
                  <a:lnTo>
                    <a:pt x="233" y="248"/>
                  </a:lnTo>
                  <a:lnTo>
                    <a:pt x="229" y="251"/>
                  </a:lnTo>
                  <a:lnTo>
                    <a:pt x="229" y="254"/>
                  </a:lnTo>
                  <a:lnTo>
                    <a:pt x="227" y="254"/>
                  </a:lnTo>
                  <a:lnTo>
                    <a:pt x="222" y="253"/>
                  </a:lnTo>
                  <a:lnTo>
                    <a:pt x="212" y="254"/>
                  </a:lnTo>
                  <a:lnTo>
                    <a:pt x="210" y="254"/>
                  </a:lnTo>
                  <a:lnTo>
                    <a:pt x="207" y="260"/>
                  </a:lnTo>
                  <a:lnTo>
                    <a:pt x="209" y="261"/>
                  </a:lnTo>
                  <a:lnTo>
                    <a:pt x="216" y="268"/>
                  </a:lnTo>
                  <a:lnTo>
                    <a:pt x="210" y="273"/>
                  </a:lnTo>
                  <a:lnTo>
                    <a:pt x="207" y="273"/>
                  </a:lnTo>
                  <a:lnTo>
                    <a:pt x="207" y="275"/>
                  </a:lnTo>
                  <a:lnTo>
                    <a:pt x="198" y="278"/>
                  </a:lnTo>
                  <a:lnTo>
                    <a:pt x="198" y="282"/>
                  </a:lnTo>
                  <a:lnTo>
                    <a:pt x="200" y="282"/>
                  </a:lnTo>
                  <a:lnTo>
                    <a:pt x="200" y="287"/>
                  </a:lnTo>
                  <a:lnTo>
                    <a:pt x="195" y="290"/>
                  </a:lnTo>
                  <a:lnTo>
                    <a:pt x="197" y="295"/>
                  </a:lnTo>
                  <a:lnTo>
                    <a:pt x="193" y="301"/>
                  </a:lnTo>
                  <a:lnTo>
                    <a:pt x="195" y="309"/>
                  </a:lnTo>
                  <a:lnTo>
                    <a:pt x="192" y="319"/>
                  </a:lnTo>
                  <a:lnTo>
                    <a:pt x="188" y="330"/>
                  </a:lnTo>
                  <a:lnTo>
                    <a:pt x="183" y="330"/>
                  </a:lnTo>
                  <a:lnTo>
                    <a:pt x="176" y="338"/>
                  </a:lnTo>
                  <a:lnTo>
                    <a:pt x="178" y="340"/>
                  </a:lnTo>
                  <a:lnTo>
                    <a:pt x="176" y="343"/>
                  </a:lnTo>
                  <a:lnTo>
                    <a:pt x="173" y="347"/>
                  </a:lnTo>
                  <a:lnTo>
                    <a:pt x="169" y="345"/>
                  </a:lnTo>
                  <a:lnTo>
                    <a:pt x="166" y="352"/>
                  </a:lnTo>
                  <a:lnTo>
                    <a:pt x="156" y="357"/>
                  </a:lnTo>
                  <a:lnTo>
                    <a:pt x="154" y="364"/>
                  </a:lnTo>
                  <a:lnTo>
                    <a:pt x="146" y="367"/>
                  </a:lnTo>
                  <a:lnTo>
                    <a:pt x="140" y="376"/>
                  </a:lnTo>
                  <a:lnTo>
                    <a:pt x="139" y="377"/>
                  </a:lnTo>
                  <a:lnTo>
                    <a:pt x="130" y="374"/>
                  </a:lnTo>
                  <a:lnTo>
                    <a:pt x="127" y="374"/>
                  </a:lnTo>
                  <a:lnTo>
                    <a:pt x="118" y="377"/>
                  </a:lnTo>
                  <a:lnTo>
                    <a:pt x="111" y="377"/>
                  </a:lnTo>
                  <a:lnTo>
                    <a:pt x="105" y="381"/>
                  </a:lnTo>
                  <a:lnTo>
                    <a:pt x="101" y="386"/>
                  </a:lnTo>
                  <a:lnTo>
                    <a:pt x="103" y="393"/>
                  </a:lnTo>
                  <a:lnTo>
                    <a:pt x="98" y="400"/>
                  </a:lnTo>
                  <a:lnTo>
                    <a:pt x="94" y="401"/>
                  </a:lnTo>
                  <a:lnTo>
                    <a:pt x="89" y="401"/>
                  </a:lnTo>
                  <a:lnTo>
                    <a:pt x="87" y="403"/>
                  </a:lnTo>
                  <a:lnTo>
                    <a:pt x="84" y="403"/>
                  </a:lnTo>
                  <a:lnTo>
                    <a:pt x="76" y="401"/>
                  </a:lnTo>
                  <a:lnTo>
                    <a:pt x="76" y="396"/>
                  </a:lnTo>
                  <a:lnTo>
                    <a:pt x="74" y="394"/>
                  </a:lnTo>
                  <a:lnTo>
                    <a:pt x="67" y="393"/>
                  </a:lnTo>
                  <a:lnTo>
                    <a:pt x="62" y="394"/>
                  </a:lnTo>
                  <a:lnTo>
                    <a:pt x="53" y="394"/>
                  </a:lnTo>
                  <a:lnTo>
                    <a:pt x="52" y="388"/>
                  </a:lnTo>
                  <a:lnTo>
                    <a:pt x="47" y="389"/>
                  </a:lnTo>
                  <a:lnTo>
                    <a:pt x="41" y="384"/>
                  </a:lnTo>
                  <a:lnTo>
                    <a:pt x="36" y="388"/>
                  </a:lnTo>
                  <a:lnTo>
                    <a:pt x="36" y="391"/>
                  </a:lnTo>
                  <a:lnTo>
                    <a:pt x="31" y="388"/>
                  </a:lnTo>
                  <a:lnTo>
                    <a:pt x="24" y="379"/>
                  </a:lnTo>
                  <a:lnTo>
                    <a:pt x="19" y="377"/>
                  </a:lnTo>
                  <a:lnTo>
                    <a:pt x="21" y="374"/>
                  </a:lnTo>
                  <a:lnTo>
                    <a:pt x="17" y="369"/>
                  </a:lnTo>
                  <a:lnTo>
                    <a:pt x="11" y="367"/>
                  </a:lnTo>
                  <a:lnTo>
                    <a:pt x="6" y="364"/>
                  </a:lnTo>
                  <a:lnTo>
                    <a:pt x="0" y="357"/>
                  </a:lnTo>
                  <a:lnTo>
                    <a:pt x="4" y="355"/>
                  </a:lnTo>
                  <a:lnTo>
                    <a:pt x="7" y="347"/>
                  </a:lnTo>
                  <a:lnTo>
                    <a:pt x="6" y="345"/>
                  </a:lnTo>
                  <a:lnTo>
                    <a:pt x="6" y="340"/>
                  </a:lnTo>
                  <a:lnTo>
                    <a:pt x="14" y="336"/>
                  </a:lnTo>
                  <a:lnTo>
                    <a:pt x="17" y="333"/>
                  </a:lnTo>
                  <a:lnTo>
                    <a:pt x="17" y="324"/>
                  </a:lnTo>
                  <a:lnTo>
                    <a:pt x="19" y="321"/>
                  </a:lnTo>
                  <a:lnTo>
                    <a:pt x="17" y="311"/>
                  </a:lnTo>
                  <a:lnTo>
                    <a:pt x="19" y="309"/>
                  </a:lnTo>
                  <a:lnTo>
                    <a:pt x="19" y="306"/>
                  </a:lnTo>
                  <a:lnTo>
                    <a:pt x="23" y="304"/>
                  </a:lnTo>
                  <a:lnTo>
                    <a:pt x="28" y="307"/>
                  </a:lnTo>
                  <a:lnTo>
                    <a:pt x="31" y="302"/>
                  </a:lnTo>
                  <a:lnTo>
                    <a:pt x="36" y="301"/>
                  </a:lnTo>
                  <a:lnTo>
                    <a:pt x="38" y="299"/>
                  </a:lnTo>
                  <a:lnTo>
                    <a:pt x="35" y="294"/>
                  </a:lnTo>
                  <a:lnTo>
                    <a:pt x="40" y="285"/>
                  </a:lnTo>
                  <a:lnTo>
                    <a:pt x="36" y="283"/>
                  </a:lnTo>
                  <a:lnTo>
                    <a:pt x="31" y="285"/>
                  </a:lnTo>
                  <a:lnTo>
                    <a:pt x="29" y="283"/>
                  </a:lnTo>
                  <a:lnTo>
                    <a:pt x="29" y="282"/>
                  </a:lnTo>
                  <a:lnTo>
                    <a:pt x="29" y="278"/>
                  </a:lnTo>
                  <a:lnTo>
                    <a:pt x="31" y="275"/>
                  </a:lnTo>
                  <a:lnTo>
                    <a:pt x="28" y="270"/>
                  </a:lnTo>
                  <a:lnTo>
                    <a:pt x="28" y="263"/>
                  </a:lnTo>
                  <a:lnTo>
                    <a:pt x="29" y="260"/>
                  </a:lnTo>
                  <a:lnTo>
                    <a:pt x="31" y="258"/>
                  </a:lnTo>
                  <a:lnTo>
                    <a:pt x="33" y="260"/>
                  </a:lnTo>
                  <a:lnTo>
                    <a:pt x="38" y="258"/>
                  </a:lnTo>
                  <a:lnTo>
                    <a:pt x="43" y="258"/>
                  </a:lnTo>
                  <a:lnTo>
                    <a:pt x="45" y="254"/>
                  </a:lnTo>
                  <a:lnTo>
                    <a:pt x="48" y="254"/>
                  </a:lnTo>
                  <a:lnTo>
                    <a:pt x="47" y="251"/>
                  </a:lnTo>
                  <a:lnTo>
                    <a:pt x="48" y="246"/>
                  </a:lnTo>
                  <a:lnTo>
                    <a:pt x="52" y="248"/>
                  </a:lnTo>
                  <a:lnTo>
                    <a:pt x="58" y="242"/>
                  </a:lnTo>
                  <a:lnTo>
                    <a:pt x="58" y="241"/>
                  </a:lnTo>
                  <a:lnTo>
                    <a:pt x="65" y="241"/>
                  </a:lnTo>
                  <a:lnTo>
                    <a:pt x="65" y="237"/>
                  </a:lnTo>
                  <a:lnTo>
                    <a:pt x="69" y="232"/>
                  </a:lnTo>
                  <a:lnTo>
                    <a:pt x="77" y="232"/>
                  </a:lnTo>
                  <a:lnTo>
                    <a:pt x="82" y="227"/>
                  </a:lnTo>
                  <a:lnTo>
                    <a:pt x="82" y="224"/>
                  </a:lnTo>
                  <a:lnTo>
                    <a:pt x="79" y="224"/>
                  </a:lnTo>
                  <a:lnTo>
                    <a:pt x="74" y="215"/>
                  </a:lnTo>
                  <a:lnTo>
                    <a:pt x="67" y="219"/>
                  </a:lnTo>
                  <a:lnTo>
                    <a:pt x="64" y="217"/>
                  </a:lnTo>
                  <a:lnTo>
                    <a:pt x="67" y="210"/>
                  </a:lnTo>
                  <a:lnTo>
                    <a:pt x="67" y="207"/>
                  </a:lnTo>
                  <a:lnTo>
                    <a:pt x="64" y="205"/>
                  </a:lnTo>
                  <a:lnTo>
                    <a:pt x="70" y="200"/>
                  </a:lnTo>
                  <a:lnTo>
                    <a:pt x="69" y="196"/>
                  </a:lnTo>
                  <a:lnTo>
                    <a:pt x="70" y="195"/>
                  </a:lnTo>
                  <a:lnTo>
                    <a:pt x="64" y="190"/>
                  </a:lnTo>
                  <a:lnTo>
                    <a:pt x="70" y="184"/>
                  </a:lnTo>
                  <a:lnTo>
                    <a:pt x="70" y="181"/>
                  </a:lnTo>
                  <a:lnTo>
                    <a:pt x="72" y="178"/>
                  </a:lnTo>
                  <a:lnTo>
                    <a:pt x="76" y="178"/>
                  </a:lnTo>
                  <a:lnTo>
                    <a:pt x="77" y="174"/>
                  </a:lnTo>
                  <a:lnTo>
                    <a:pt x="82" y="172"/>
                  </a:lnTo>
                  <a:lnTo>
                    <a:pt x="82" y="169"/>
                  </a:lnTo>
                  <a:lnTo>
                    <a:pt x="86" y="164"/>
                  </a:lnTo>
                  <a:lnTo>
                    <a:pt x="91" y="167"/>
                  </a:lnTo>
                  <a:lnTo>
                    <a:pt x="93" y="172"/>
                  </a:lnTo>
                  <a:lnTo>
                    <a:pt x="99" y="171"/>
                  </a:lnTo>
                  <a:lnTo>
                    <a:pt x="105" y="166"/>
                  </a:lnTo>
                  <a:lnTo>
                    <a:pt x="110" y="167"/>
                  </a:lnTo>
                  <a:lnTo>
                    <a:pt x="111" y="166"/>
                  </a:lnTo>
                  <a:lnTo>
                    <a:pt x="115" y="162"/>
                  </a:lnTo>
                  <a:lnTo>
                    <a:pt x="115" y="155"/>
                  </a:lnTo>
                  <a:lnTo>
                    <a:pt x="117" y="152"/>
                  </a:lnTo>
                  <a:lnTo>
                    <a:pt x="120" y="150"/>
                  </a:lnTo>
                  <a:lnTo>
                    <a:pt x="120" y="149"/>
                  </a:lnTo>
                  <a:lnTo>
                    <a:pt x="115" y="145"/>
                  </a:lnTo>
                  <a:lnTo>
                    <a:pt x="115" y="142"/>
                  </a:lnTo>
                  <a:lnTo>
                    <a:pt x="117" y="142"/>
                  </a:lnTo>
                  <a:lnTo>
                    <a:pt x="115" y="138"/>
                  </a:lnTo>
                  <a:lnTo>
                    <a:pt x="117" y="131"/>
                  </a:lnTo>
                  <a:lnTo>
                    <a:pt x="118" y="130"/>
                  </a:lnTo>
                  <a:lnTo>
                    <a:pt x="118" y="126"/>
                  </a:lnTo>
                  <a:lnTo>
                    <a:pt x="122" y="120"/>
                  </a:lnTo>
                  <a:lnTo>
                    <a:pt x="123" y="114"/>
                  </a:lnTo>
                  <a:lnTo>
                    <a:pt x="125" y="116"/>
                  </a:lnTo>
                  <a:lnTo>
                    <a:pt x="127" y="120"/>
                  </a:lnTo>
                  <a:lnTo>
                    <a:pt x="132" y="116"/>
                  </a:lnTo>
                  <a:lnTo>
                    <a:pt x="125" y="108"/>
                  </a:lnTo>
                  <a:lnTo>
                    <a:pt x="125" y="101"/>
                  </a:lnTo>
                  <a:lnTo>
                    <a:pt x="122" y="96"/>
                  </a:lnTo>
                  <a:lnTo>
                    <a:pt x="122" y="85"/>
                  </a:lnTo>
                  <a:lnTo>
                    <a:pt x="122" y="80"/>
                  </a:lnTo>
                  <a:lnTo>
                    <a:pt x="125" y="70"/>
                  </a:lnTo>
                  <a:lnTo>
                    <a:pt x="127" y="65"/>
                  </a:lnTo>
                  <a:lnTo>
                    <a:pt x="120" y="58"/>
                  </a:lnTo>
                  <a:lnTo>
                    <a:pt x="128" y="53"/>
                  </a:lnTo>
                  <a:lnTo>
                    <a:pt x="130" y="44"/>
                  </a:lnTo>
                  <a:lnTo>
                    <a:pt x="134" y="39"/>
                  </a:lnTo>
                  <a:lnTo>
                    <a:pt x="135" y="27"/>
                  </a:lnTo>
                  <a:lnTo>
                    <a:pt x="142" y="24"/>
                  </a:lnTo>
                  <a:lnTo>
                    <a:pt x="144" y="20"/>
                  </a:lnTo>
                  <a:lnTo>
                    <a:pt x="151" y="22"/>
                  </a:lnTo>
                  <a:lnTo>
                    <a:pt x="151" y="17"/>
                  </a:lnTo>
                  <a:lnTo>
                    <a:pt x="156" y="14"/>
                  </a:lnTo>
                  <a:lnTo>
                    <a:pt x="156" y="8"/>
                  </a:lnTo>
                  <a:lnTo>
                    <a:pt x="157" y="2"/>
                  </a:lnTo>
                  <a:lnTo>
                    <a:pt x="161" y="2"/>
                  </a:lnTo>
                  <a:lnTo>
                    <a:pt x="164" y="7"/>
                  </a:lnTo>
                  <a:lnTo>
                    <a:pt x="169" y="7"/>
                  </a:lnTo>
                  <a:lnTo>
                    <a:pt x="175" y="10"/>
                  </a:lnTo>
                  <a:lnTo>
                    <a:pt x="178" y="14"/>
                  </a:lnTo>
                  <a:lnTo>
                    <a:pt x="181" y="15"/>
                  </a:lnTo>
                  <a:lnTo>
                    <a:pt x="186" y="8"/>
                  </a:lnTo>
                  <a:lnTo>
                    <a:pt x="190" y="8"/>
                  </a:lnTo>
                  <a:lnTo>
                    <a:pt x="192" y="3"/>
                  </a:lnTo>
                  <a:lnTo>
                    <a:pt x="202" y="3"/>
                  </a:lnTo>
                  <a:lnTo>
                    <a:pt x="204" y="5"/>
                  </a:lnTo>
                  <a:lnTo>
                    <a:pt x="214" y="3"/>
                  </a:lnTo>
                  <a:lnTo>
                    <a:pt x="219" y="7"/>
                  </a:lnTo>
                  <a:lnTo>
                    <a:pt x="224" y="10"/>
                  </a:lnTo>
                  <a:lnTo>
                    <a:pt x="226" y="14"/>
                  </a:lnTo>
                  <a:lnTo>
                    <a:pt x="229" y="14"/>
                  </a:lnTo>
                  <a:lnTo>
                    <a:pt x="231" y="8"/>
                  </a:lnTo>
                  <a:lnTo>
                    <a:pt x="236" y="10"/>
                  </a:lnTo>
                  <a:lnTo>
                    <a:pt x="236" y="5"/>
                  </a:lnTo>
                  <a:lnTo>
                    <a:pt x="239" y="0"/>
                  </a:lnTo>
                  <a:lnTo>
                    <a:pt x="243" y="5"/>
                  </a:lnTo>
                  <a:lnTo>
                    <a:pt x="245" y="5"/>
                  </a:lnTo>
                  <a:lnTo>
                    <a:pt x="246" y="8"/>
                  </a:lnTo>
                  <a:lnTo>
                    <a:pt x="248" y="8"/>
                  </a:lnTo>
                  <a:lnTo>
                    <a:pt x="251" y="7"/>
                  </a:lnTo>
                  <a:lnTo>
                    <a:pt x="256" y="8"/>
                  </a:lnTo>
                  <a:lnTo>
                    <a:pt x="260" y="7"/>
                  </a:lnTo>
                  <a:lnTo>
                    <a:pt x="262" y="3"/>
                  </a:lnTo>
                  <a:lnTo>
                    <a:pt x="267" y="8"/>
                  </a:lnTo>
                  <a:lnTo>
                    <a:pt x="268" y="7"/>
                  </a:lnTo>
                  <a:lnTo>
                    <a:pt x="272" y="10"/>
                  </a:lnTo>
                  <a:lnTo>
                    <a:pt x="280" y="5"/>
                  </a:lnTo>
                  <a:lnTo>
                    <a:pt x="287" y="8"/>
                  </a:lnTo>
                  <a:lnTo>
                    <a:pt x="291" y="8"/>
                  </a:lnTo>
                  <a:lnTo>
                    <a:pt x="294" y="10"/>
                  </a:lnTo>
                  <a:lnTo>
                    <a:pt x="296" y="8"/>
                  </a:lnTo>
                  <a:lnTo>
                    <a:pt x="304" y="10"/>
                  </a:lnTo>
                  <a:lnTo>
                    <a:pt x="308" y="7"/>
                  </a:lnTo>
                  <a:lnTo>
                    <a:pt x="316" y="8"/>
                  </a:lnTo>
                  <a:lnTo>
                    <a:pt x="321" y="5"/>
                  </a:lnTo>
                  <a:lnTo>
                    <a:pt x="328" y="12"/>
                  </a:lnTo>
                  <a:lnTo>
                    <a:pt x="337" y="15"/>
                  </a:lnTo>
                  <a:lnTo>
                    <a:pt x="337" y="17"/>
                  </a:lnTo>
                  <a:lnTo>
                    <a:pt x="344" y="20"/>
                  </a:lnTo>
                  <a:lnTo>
                    <a:pt x="344" y="24"/>
                  </a:lnTo>
                  <a:lnTo>
                    <a:pt x="347" y="27"/>
                  </a:lnTo>
                  <a:lnTo>
                    <a:pt x="354" y="29"/>
                  </a:lnTo>
                  <a:lnTo>
                    <a:pt x="361" y="27"/>
                  </a:lnTo>
                  <a:lnTo>
                    <a:pt x="362" y="29"/>
                  </a:lnTo>
                  <a:lnTo>
                    <a:pt x="357" y="32"/>
                  </a:lnTo>
                  <a:lnTo>
                    <a:pt x="354" y="38"/>
                  </a:lnTo>
                  <a:lnTo>
                    <a:pt x="350" y="36"/>
                  </a:lnTo>
                  <a:lnTo>
                    <a:pt x="350" y="34"/>
                  </a:lnTo>
                  <a:lnTo>
                    <a:pt x="349" y="36"/>
                  </a:lnTo>
                  <a:lnTo>
                    <a:pt x="340" y="32"/>
                  </a:lnTo>
                  <a:lnTo>
                    <a:pt x="337" y="32"/>
                  </a:lnTo>
                  <a:lnTo>
                    <a:pt x="340" y="34"/>
                  </a:lnTo>
                  <a:lnTo>
                    <a:pt x="342" y="36"/>
                  </a:lnTo>
                  <a:lnTo>
                    <a:pt x="340" y="38"/>
                  </a:lnTo>
                  <a:lnTo>
                    <a:pt x="342" y="38"/>
                  </a:lnTo>
                  <a:lnTo>
                    <a:pt x="349" y="39"/>
                  </a:lnTo>
                  <a:lnTo>
                    <a:pt x="347" y="43"/>
                  </a:lnTo>
                  <a:lnTo>
                    <a:pt x="349" y="43"/>
                  </a:lnTo>
                  <a:lnTo>
                    <a:pt x="350" y="41"/>
                  </a:lnTo>
                  <a:lnTo>
                    <a:pt x="349" y="43"/>
                  </a:lnTo>
                  <a:lnTo>
                    <a:pt x="352" y="43"/>
                  </a:lnTo>
                  <a:lnTo>
                    <a:pt x="354" y="44"/>
                  </a:lnTo>
                  <a:lnTo>
                    <a:pt x="354" y="46"/>
                  </a:lnTo>
                  <a:lnTo>
                    <a:pt x="355" y="46"/>
                  </a:lnTo>
                  <a:lnTo>
                    <a:pt x="361" y="55"/>
                  </a:lnTo>
                  <a:lnTo>
                    <a:pt x="361" y="53"/>
                  </a:lnTo>
                  <a:lnTo>
                    <a:pt x="364" y="56"/>
                  </a:lnTo>
                  <a:lnTo>
                    <a:pt x="367" y="60"/>
                  </a:lnTo>
                  <a:lnTo>
                    <a:pt x="374" y="60"/>
                  </a:lnTo>
                  <a:lnTo>
                    <a:pt x="373" y="63"/>
                  </a:lnTo>
                  <a:lnTo>
                    <a:pt x="366" y="63"/>
                  </a:lnTo>
                  <a:lnTo>
                    <a:pt x="366" y="65"/>
                  </a:lnTo>
                  <a:lnTo>
                    <a:pt x="374" y="65"/>
                  </a:lnTo>
                  <a:lnTo>
                    <a:pt x="379" y="68"/>
                  </a:lnTo>
                  <a:lnTo>
                    <a:pt x="378" y="72"/>
                  </a:lnTo>
                  <a:lnTo>
                    <a:pt x="385" y="75"/>
                  </a:lnTo>
                  <a:lnTo>
                    <a:pt x="390" y="75"/>
                  </a:lnTo>
                  <a:lnTo>
                    <a:pt x="390" y="79"/>
                  </a:lnTo>
                  <a:lnTo>
                    <a:pt x="386" y="79"/>
                  </a:lnTo>
                  <a:lnTo>
                    <a:pt x="381" y="77"/>
                  </a:lnTo>
                  <a:lnTo>
                    <a:pt x="374" y="77"/>
                  </a:lnTo>
                  <a:lnTo>
                    <a:pt x="371" y="75"/>
                  </a:lnTo>
                  <a:lnTo>
                    <a:pt x="369" y="77"/>
                  </a:lnTo>
                  <a:lnTo>
                    <a:pt x="364" y="77"/>
                  </a:lnTo>
                  <a:lnTo>
                    <a:pt x="362" y="73"/>
                  </a:lnTo>
                  <a:lnTo>
                    <a:pt x="355" y="77"/>
                  </a:lnTo>
                  <a:lnTo>
                    <a:pt x="354" y="75"/>
                  </a:lnTo>
                  <a:lnTo>
                    <a:pt x="350" y="77"/>
                  </a:lnTo>
                  <a:lnTo>
                    <a:pt x="349" y="79"/>
                  </a:lnTo>
                  <a:lnTo>
                    <a:pt x="350" y="82"/>
                  </a:lnTo>
                  <a:lnTo>
                    <a:pt x="342" y="87"/>
                  </a:lnTo>
                  <a:lnTo>
                    <a:pt x="345" y="89"/>
                  </a:lnTo>
                  <a:lnTo>
                    <a:pt x="347" y="89"/>
                  </a:lnTo>
                  <a:lnTo>
                    <a:pt x="349" y="89"/>
                  </a:lnTo>
                  <a:lnTo>
                    <a:pt x="354" y="90"/>
                  </a:lnTo>
                  <a:lnTo>
                    <a:pt x="354" y="94"/>
                  </a:lnTo>
                  <a:lnTo>
                    <a:pt x="350" y="97"/>
                  </a:lnTo>
                  <a:lnTo>
                    <a:pt x="345" y="96"/>
                  </a:lnTo>
                  <a:lnTo>
                    <a:pt x="340" y="92"/>
                  </a:lnTo>
                  <a:lnTo>
                    <a:pt x="338" y="92"/>
                  </a:lnTo>
                  <a:lnTo>
                    <a:pt x="330" y="94"/>
                  </a:lnTo>
                  <a:lnTo>
                    <a:pt x="323" y="96"/>
                  </a:lnTo>
                  <a:lnTo>
                    <a:pt x="318" y="94"/>
                  </a:lnTo>
                  <a:lnTo>
                    <a:pt x="320" y="97"/>
                  </a:lnTo>
                  <a:lnTo>
                    <a:pt x="315" y="104"/>
                  </a:lnTo>
                  <a:lnTo>
                    <a:pt x="318" y="109"/>
                  </a:lnTo>
                  <a:lnTo>
                    <a:pt x="323" y="113"/>
                  </a:lnTo>
                  <a:lnTo>
                    <a:pt x="330" y="113"/>
                  </a:lnTo>
                  <a:lnTo>
                    <a:pt x="328" y="116"/>
                  </a:lnTo>
                  <a:lnTo>
                    <a:pt x="333" y="114"/>
                  </a:lnTo>
                  <a:lnTo>
                    <a:pt x="335" y="118"/>
                  </a:lnTo>
                  <a:lnTo>
                    <a:pt x="337" y="116"/>
                  </a:lnTo>
                  <a:lnTo>
                    <a:pt x="344" y="120"/>
                  </a:lnTo>
                  <a:lnTo>
                    <a:pt x="344" y="128"/>
                  </a:lnTo>
                  <a:lnTo>
                    <a:pt x="340" y="130"/>
                  </a:lnTo>
                  <a:lnTo>
                    <a:pt x="338" y="130"/>
                  </a:lnTo>
                  <a:lnTo>
                    <a:pt x="338" y="128"/>
                  </a:lnTo>
                  <a:lnTo>
                    <a:pt x="335" y="125"/>
                  </a:lnTo>
                  <a:lnTo>
                    <a:pt x="338" y="128"/>
                  </a:lnTo>
                  <a:lnTo>
                    <a:pt x="338" y="131"/>
                  </a:lnTo>
                  <a:lnTo>
                    <a:pt x="340" y="131"/>
                  </a:lnTo>
                  <a:lnTo>
                    <a:pt x="345" y="128"/>
                  </a:lnTo>
                  <a:lnTo>
                    <a:pt x="352" y="130"/>
                  </a:lnTo>
                  <a:lnTo>
                    <a:pt x="354" y="135"/>
                  </a:lnTo>
                  <a:lnTo>
                    <a:pt x="354" y="137"/>
                  </a:lnTo>
                  <a:lnTo>
                    <a:pt x="347" y="135"/>
                  </a:lnTo>
                  <a:lnTo>
                    <a:pt x="342" y="140"/>
                  </a:lnTo>
                  <a:lnTo>
                    <a:pt x="337" y="137"/>
                  </a:lnTo>
                  <a:lnTo>
                    <a:pt x="335" y="138"/>
                  </a:lnTo>
                  <a:lnTo>
                    <a:pt x="337" y="137"/>
                  </a:lnTo>
                  <a:lnTo>
                    <a:pt x="340" y="138"/>
                  </a:lnTo>
                  <a:lnTo>
                    <a:pt x="337" y="142"/>
                  </a:lnTo>
                  <a:lnTo>
                    <a:pt x="332" y="143"/>
                  </a:lnTo>
                  <a:lnTo>
                    <a:pt x="330" y="143"/>
                  </a:lnTo>
                  <a:lnTo>
                    <a:pt x="328" y="140"/>
                  </a:lnTo>
                  <a:lnTo>
                    <a:pt x="325" y="140"/>
                  </a:lnTo>
                  <a:lnTo>
                    <a:pt x="325" y="138"/>
                  </a:lnTo>
                  <a:lnTo>
                    <a:pt x="320" y="138"/>
                  </a:lnTo>
                  <a:lnTo>
                    <a:pt x="315" y="137"/>
                  </a:lnTo>
                  <a:lnTo>
                    <a:pt x="315" y="138"/>
                  </a:lnTo>
                  <a:lnTo>
                    <a:pt x="308" y="135"/>
                  </a:lnTo>
                  <a:lnTo>
                    <a:pt x="313" y="140"/>
                  </a:lnTo>
                  <a:lnTo>
                    <a:pt x="323" y="142"/>
                  </a:lnTo>
                  <a:lnTo>
                    <a:pt x="325" y="145"/>
                  </a:lnTo>
                  <a:lnTo>
                    <a:pt x="328" y="143"/>
                  </a:lnTo>
                  <a:lnTo>
                    <a:pt x="330" y="150"/>
                  </a:lnTo>
                  <a:lnTo>
                    <a:pt x="333" y="147"/>
                  </a:lnTo>
                  <a:lnTo>
                    <a:pt x="338" y="149"/>
                  </a:lnTo>
                  <a:lnTo>
                    <a:pt x="338" y="150"/>
                  </a:lnTo>
                  <a:lnTo>
                    <a:pt x="342" y="149"/>
                  </a:lnTo>
                  <a:lnTo>
                    <a:pt x="344" y="149"/>
                  </a:lnTo>
                  <a:lnTo>
                    <a:pt x="347" y="154"/>
                  </a:lnTo>
                  <a:lnTo>
                    <a:pt x="345" y="154"/>
                  </a:lnTo>
                  <a:lnTo>
                    <a:pt x="349" y="157"/>
                  </a:lnTo>
                  <a:lnTo>
                    <a:pt x="345" y="159"/>
                  </a:lnTo>
                  <a:lnTo>
                    <a:pt x="347" y="159"/>
                  </a:lnTo>
                  <a:lnTo>
                    <a:pt x="347" y="161"/>
                  </a:lnTo>
                  <a:lnTo>
                    <a:pt x="349" y="159"/>
                  </a:lnTo>
                  <a:lnTo>
                    <a:pt x="352" y="161"/>
                  </a:lnTo>
                  <a:lnTo>
                    <a:pt x="354" y="157"/>
                  </a:lnTo>
                  <a:lnTo>
                    <a:pt x="361" y="159"/>
                  </a:lnTo>
                  <a:lnTo>
                    <a:pt x="364" y="157"/>
                  </a:lnTo>
                  <a:lnTo>
                    <a:pt x="366" y="161"/>
                  </a:lnTo>
                  <a:lnTo>
                    <a:pt x="361" y="164"/>
                  </a:lnTo>
                  <a:lnTo>
                    <a:pt x="367" y="162"/>
                  </a:lnTo>
                  <a:lnTo>
                    <a:pt x="366" y="167"/>
                  </a:lnTo>
                  <a:lnTo>
                    <a:pt x="361" y="171"/>
                  </a:lnTo>
                  <a:lnTo>
                    <a:pt x="359" y="167"/>
                  </a:lnTo>
                  <a:lnTo>
                    <a:pt x="359" y="172"/>
                  </a:lnTo>
                  <a:lnTo>
                    <a:pt x="355" y="176"/>
                  </a:lnTo>
                  <a:lnTo>
                    <a:pt x="359" y="176"/>
                  </a:lnTo>
                  <a:lnTo>
                    <a:pt x="366" y="171"/>
                  </a:lnTo>
                  <a:lnTo>
                    <a:pt x="371" y="171"/>
                  </a:lnTo>
                  <a:lnTo>
                    <a:pt x="373" y="172"/>
                  </a:lnTo>
                  <a:lnTo>
                    <a:pt x="371" y="174"/>
                  </a:lnTo>
                  <a:lnTo>
                    <a:pt x="373" y="172"/>
                  </a:lnTo>
                  <a:lnTo>
                    <a:pt x="376" y="176"/>
                  </a:lnTo>
                  <a:lnTo>
                    <a:pt x="367" y="178"/>
                  </a:lnTo>
                  <a:lnTo>
                    <a:pt x="376" y="178"/>
                  </a:lnTo>
                  <a:lnTo>
                    <a:pt x="378" y="179"/>
                  </a:lnTo>
                  <a:lnTo>
                    <a:pt x="367" y="181"/>
                  </a:lnTo>
                  <a:lnTo>
                    <a:pt x="378" y="183"/>
                  </a:lnTo>
                  <a:lnTo>
                    <a:pt x="378" y="186"/>
                  </a:lnTo>
                  <a:lnTo>
                    <a:pt x="369" y="186"/>
                  </a:lnTo>
                  <a:lnTo>
                    <a:pt x="371" y="188"/>
                  </a:lnTo>
                  <a:lnTo>
                    <a:pt x="369" y="191"/>
                  </a:lnTo>
                  <a:lnTo>
                    <a:pt x="362" y="188"/>
                  </a:lnTo>
                  <a:lnTo>
                    <a:pt x="366" y="193"/>
                  </a:lnTo>
                  <a:lnTo>
                    <a:pt x="376" y="195"/>
                  </a:lnTo>
                  <a:lnTo>
                    <a:pt x="379" y="196"/>
                  </a:lnTo>
                  <a:lnTo>
                    <a:pt x="381" y="198"/>
                  </a:lnTo>
                  <a:lnTo>
                    <a:pt x="386" y="198"/>
                  </a:lnTo>
                  <a:lnTo>
                    <a:pt x="386" y="203"/>
                  </a:lnTo>
                  <a:lnTo>
                    <a:pt x="386" y="210"/>
                  </a:lnTo>
                  <a:lnTo>
                    <a:pt x="388" y="213"/>
                  </a:lnTo>
                  <a:lnTo>
                    <a:pt x="393" y="219"/>
                  </a:lnTo>
                  <a:lnTo>
                    <a:pt x="396" y="222"/>
                  </a:lnTo>
                  <a:lnTo>
                    <a:pt x="398" y="224"/>
                  </a:lnTo>
                  <a:lnTo>
                    <a:pt x="405" y="232"/>
                  </a:lnTo>
                  <a:lnTo>
                    <a:pt x="410" y="23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0" name="Freeform 53"/>
            <p:cNvSpPr>
              <a:spLocks noEditPoints="1"/>
            </p:cNvSpPr>
            <p:nvPr/>
          </p:nvSpPr>
          <p:spPr bwMode="gray">
            <a:xfrm>
              <a:off x="4992370" y="2587386"/>
              <a:ext cx="1127345" cy="1092686"/>
            </a:xfrm>
            <a:custGeom>
              <a:avLst/>
              <a:gdLst>
                <a:gd name="T0" fmla="*/ 436 w 618"/>
                <a:gd name="T1" fmla="*/ 411 h 599"/>
                <a:gd name="T2" fmla="*/ 413 w 618"/>
                <a:gd name="T3" fmla="*/ 410 h 599"/>
                <a:gd name="T4" fmla="*/ 415 w 618"/>
                <a:gd name="T5" fmla="*/ 403 h 599"/>
                <a:gd name="T6" fmla="*/ 431 w 618"/>
                <a:gd name="T7" fmla="*/ 398 h 599"/>
                <a:gd name="T8" fmla="*/ 419 w 618"/>
                <a:gd name="T9" fmla="*/ 403 h 599"/>
                <a:gd name="T10" fmla="*/ 437 w 618"/>
                <a:gd name="T11" fmla="*/ 391 h 599"/>
                <a:gd name="T12" fmla="*/ 424 w 618"/>
                <a:gd name="T13" fmla="*/ 398 h 599"/>
                <a:gd name="T14" fmla="*/ 425 w 618"/>
                <a:gd name="T15" fmla="*/ 410 h 599"/>
                <a:gd name="T16" fmla="*/ 441 w 618"/>
                <a:gd name="T17" fmla="*/ 384 h 599"/>
                <a:gd name="T18" fmla="*/ 436 w 618"/>
                <a:gd name="T19" fmla="*/ 396 h 599"/>
                <a:gd name="T20" fmla="*/ 446 w 618"/>
                <a:gd name="T21" fmla="*/ 406 h 599"/>
                <a:gd name="T22" fmla="*/ 439 w 618"/>
                <a:gd name="T23" fmla="*/ 372 h 599"/>
                <a:gd name="T24" fmla="*/ 439 w 618"/>
                <a:gd name="T25" fmla="*/ 372 h 599"/>
                <a:gd name="T26" fmla="*/ 431 w 618"/>
                <a:gd name="T27" fmla="*/ 376 h 599"/>
                <a:gd name="T28" fmla="*/ 436 w 618"/>
                <a:gd name="T29" fmla="*/ 362 h 599"/>
                <a:gd name="T30" fmla="*/ 434 w 618"/>
                <a:gd name="T31" fmla="*/ 353 h 599"/>
                <a:gd name="T32" fmla="*/ 490 w 618"/>
                <a:gd name="T33" fmla="*/ 179 h 599"/>
                <a:gd name="T34" fmla="*/ 489 w 618"/>
                <a:gd name="T35" fmla="*/ 66 h 599"/>
                <a:gd name="T36" fmla="*/ 465 w 618"/>
                <a:gd name="T37" fmla="*/ 63 h 599"/>
                <a:gd name="T38" fmla="*/ 564 w 618"/>
                <a:gd name="T39" fmla="*/ 56 h 599"/>
                <a:gd name="T40" fmla="*/ 473 w 618"/>
                <a:gd name="T41" fmla="*/ 49 h 599"/>
                <a:gd name="T42" fmla="*/ 485 w 618"/>
                <a:gd name="T43" fmla="*/ 53 h 599"/>
                <a:gd name="T44" fmla="*/ 485 w 618"/>
                <a:gd name="T45" fmla="*/ 53 h 599"/>
                <a:gd name="T46" fmla="*/ 567 w 618"/>
                <a:gd name="T47" fmla="*/ 34 h 599"/>
                <a:gd name="T48" fmla="*/ 511 w 618"/>
                <a:gd name="T49" fmla="*/ 37 h 599"/>
                <a:gd name="T50" fmla="*/ 463 w 618"/>
                <a:gd name="T51" fmla="*/ 66 h 599"/>
                <a:gd name="T52" fmla="*/ 480 w 618"/>
                <a:gd name="T53" fmla="*/ 84 h 599"/>
                <a:gd name="T54" fmla="*/ 502 w 618"/>
                <a:gd name="T55" fmla="*/ 102 h 599"/>
                <a:gd name="T56" fmla="*/ 548 w 618"/>
                <a:gd name="T57" fmla="*/ 140 h 599"/>
                <a:gd name="T58" fmla="*/ 562 w 618"/>
                <a:gd name="T59" fmla="*/ 148 h 599"/>
                <a:gd name="T60" fmla="*/ 601 w 618"/>
                <a:gd name="T61" fmla="*/ 186 h 599"/>
                <a:gd name="T62" fmla="*/ 576 w 618"/>
                <a:gd name="T63" fmla="*/ 210 h 599"/>
                <a:gd name="T64" fmla="*/ 507 w 618"/>
                <a:gd name="T65" fmla="*/ 203 h 599"/>
                <a:gd name="T66" fmla="*/ 497 w 618"/>
                <a:gd name="T67" fmla="*/ 189 h 599"/>
                <a:gd name="T68" fmla="*/ 463 w 618"/>
                <a:gd name="T69" fmla="*/ 236 h 599"/>
                <a:gd name="T70" fmla="*/ 444 w 618"/>
                <a:gd name="T71" fmla="*/ 277 h 599"/>
                <a:gd name="T72" fmla="*/ 442 w 618"/>
                <a:gd name="T73" fmla="*/ 297 h 599"/>
                <a:gd name="T74" fmla="*/ 432 w 618"/>
                <a:gd name="T75" fmla="*/ 333 h 599"/>
                <a:gd name="T76" fmla="*/ 429 w 618"/>
                <a:gd name="T77" fmla="*/ 376 h 599"/>
                <a:gd name="T78" fmla="*/ 400 w 618"/>
                <a:gd name="T79" fmla="*/ 427 h 599"/>
                <a:gd name="T80" fmla="*/ 354 w 618"/>
                <a:gd name="T81" fmla="*/ 452 h 599"/>
                <a:gd name="T82" fmla="*/ 350 w 618"/>
                <a:gd name="T83" fmla="*/ 451 h 599"/>
                <a:gd name="T84" fmla="*/ 318 w 618"/>
                <a:gd name="T85" fmla="*/ 509 h 599"/>
                <a:gd name="T86" fmla="*/ 313 w 618"/>
                <a:gd name="T87" fmla="*/ 524 h 599"/>
                <a:gd name="T88" fmla="*/ 326 w 618"/>
                <a:gd name="T89" fmla="*/ 572 h 599"/>
                <a:gd name="T90" fmla="*/ 258 w 618"/>
                <a:gd name="T91" fmla="*/ 589 h 599"/>
                <a:gd name="T92" fmla="*/ 229 w 618"/>
                <a:gd name="T93" fmla="*/ 550 h 599"/>
                <a:gd name="T94" fmla="*/ 217 w 618"/>
                <a:gd name="T95" fmla="*/ 499 h 599"/>
                <a:gd name="T96" fmla="*/ 219 w 618"/>
                <a:gd name="T97" fmla="*/ 430 h 599"/>
                <a:gd name="T98" fmla="*/ 168 w 618"/>
                <a:gd name="T99" fmla="*/ 347 h 599"/>
                <a:gd name="T100" fmla="*/ 130 w 618"/>
                <a:gd name="T101" fmla="*/ 328 h 599"/>
                <a:gd name="T102" fmla="*/ 149 w 618"/>
                <a:gd name="T103" fmla="*/ 271 h 599"/>
                <a:gd name="T104" fmla="*/ 115 w 618"/>
                <a:gd name="T105" fmla="*/ 224 h 599"/>
                <a:gd name="T106" fmla="*/ 64 w 618"/>
                <a:gd name="T107" fmla="*/ 248 h 599"/>
                <a:gd name="T108" fmla="*/ 7 w 618"/>
                <a:gd name="T109" fmla="*/ 234 h 599"/>
                <a:gd name="T110" fmla="*/ 31 w 618"/>
                <a:gd name="T111" fmla="*/ 171 h 599"/>
                <a:gd name="T112" fmla="*/ 81 w 618"/>
                <a:gd name="T113" fmla="*/ 137 h 599"/>
                <a:gd name="T114" fmla="*/ 154 w 618"/>
                <a:gd name="T115" fmla="*/ 176 h 599"/>
                <a:gd name="T116" fmla="*/ 226 w 618"/>
                <a:gd name="T117" fmla="*/ 160 h 599"/>
                <a:gd name="T118" fmla="*/ 284 w 618"/>
                <a:gd name="T119" fmla="*/ 78 h 599"/>
                <a:gd name="T120" fmla="*/ 316 w 618"/>
                <a:gd name="T121" fmla="*/ 37 h 599"/>
                <a:gd name="T122" fmla="*/ 357 w 618"/>
                <a:gd name="T123" fmla="*/ 24 h 599"/>
                <a:gd name="T124" fmla="*/ 456 w 618"/>
                <a:gd name="T125" fmla="*/ 1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599">
                  <a:moveTo>
                    <a:pt x="345" y="446"/>
                  </a:moveTo>
                  <a:lnTo>
                    <a:pt x="347" y="446"/>
                  </a:lnTo>
                  <a:lnTo>
                    <a:pt x="347" y="447"/>
                  </a:lnTo>
                  <a:lnTo>
                    <a:pt x="345" y="447"/>
                  </a:lnTo>
                  <a:lnTo>
                    <a:pt x="345" y="446"/>
                  </a:lnTo>
                  <a:close/>
                  <a:moveTo>
                    <a:pt x="412" y="418"/>
                  </a:moveTo>
                  <a:lnTo>
                    <a:pt x="410" y="417"/>
                  </a:lnTo>
                  <a:lnTo>
                    <a:pt x="410" y="413"/>
                  </a:lnTo>
                  <a:lnTo>
                    <a:pt x="412" y="418"/>
                  </a:lnTo>
                  <a:close/>
                  <a:moveTo>
                    <a:pt x="424" y="418"/>
                  </a:moveTo>
                  <a:lnTo>
                    <a:pt x="424" y="417"/>
                  </a:lnTo>
                  <a:lnTo>
                    <a:pt x="424" y="413"/>
                  </a:lnTo>
                  <a:lnTo>
                    <a:pt x="427" y="417"/>
                  </a:lnTo>
                  <a:lnTo>
                    <a:pt x="424" y="418"/>
                  </a:lnTo>
                  <a:close/>
                  <a:moveTo>
                    <a:pt x="437" y="411"/>
                  </a:moveTo>
                  <a:lnTo>
                    <a:pt x="436" y="411"/>
                  </a:lnTo>
                  <a:lnTo>
                    <a:pt x="436" y="408"/>
                  </a:lnTo>
                  <a:lnTo>
                    <a:pt x="437" y="411"/>
                  </a:lnTo>
                  <a:close/>
                  <a:moveTo>
                    <a:pt x="413" y="418"/>
                  </a:moveTo>
                  <a:lnTo>
                    <a:pt x="412" y="411"/>
                  </a:lnTo>
                  <a:lnTo>
                    <a:pt x="413" y="408"/>
                  </a:lnTo>
                  <a:lnTo>
                    <a:pt x="413" y="410"/>
                  </a:lnTo>
                  <a:lnTo>
                    <a:pt x="412" y="413"/>
                  </a:lnTo>
                  <a:lnTo>
                    <a:pt x="413" y="418"/>
                  </a:lnTo>
                  <a:close/>
                  <a:moveTo>
                    <a:pt x="436" y="408"/>
                  </a:moveTo>
                  <a:lnTo>
                    <a:pt x="437" y="408"/>
                  </a:lnTo>
                  <a:lnTo>
                    <a:pt x="437" y="410"/>
                  </a:lnTo>
                  <a:lnTo>
                    <a:pt x="436" y="410"/>
                  </a:lnTo>
                  <a:lnTo>
                    <a:pt x="436" y="408"/>
                  </a:lnTo>
                  <a:close/>
                  <a:moveTo>
                    <a:pt x="413" y="417"/>
                  </a:moveTo>
                  <a:lnTo>
                    <a:pt x="412" y="413"/>
                  </a:lnTo>
                  <a:lnTo>
                    <a:pt x="413" y="410"/>
                  </a:lnTo>
                  <a:lnTo>
                    <a:pt x="413" y="406"/>
                  </a:lnTo>
                  <a:lnTo>
                    <a:pt x="415" y="413"/>
                  </a:lnTo>
                  <a:lnTo>
                    <a:pt x="413" y="417"/>
                  </a:lnTo>
                  <a:close/>
                  <a:moveTo>
                    <a:pt x="422" y="417"/>
                  </a:moveTo>
                  <a:lnTo>
                    <a:pt x="420" y="417"/>
                  </a:lnTo>
                  <a:lnTo>
                    <a:pt x="422" y="417"/>
                  </a:lnTo>
                  <a:lnTo>
                    <a:pt x="420" y="420"/>
                  </a:lnTo>
                  <a:lnTo>
                    <a:pt x="417" y="417"/>
                  </a:lnTo>
                  <a:lnTo>
                    <a:pt x="417" y="413"/>
                  </a:lnTo>
                  <a:lnTo>
                    <a:pt x="420" y="411"/>
                  </a:lnTo>
                  <a:lnTo>
                    <a:pt x="419" y="406"/>
                  </a:lnTo>
                  <a:lnTo>
                    <a:pt x="420" y="405"/>
                  </a:lnTo>
                  <a:lnTo>
                    <a:pt x="424" y="411"/>
                  </a:lnTo>
                  <a:lnTo>
                    <a:pt x="422" y="417"/>
                  </a:lnTo>
                  <a:close/>
                  <a:moveTo>
                    <a:pt x="413" y="403"/>
                  </a:moveTo>
                  <a:lnTo>
                    <a:pt x="415" y="403"/>
                  </a:lnTo>
                  <a:lnTo>
                    <a:pt x="415" y="406"/>
                  </a:lnTo>
                  <a:lnTo>
                    <a:pt x="413" y="406"/>
                  </a:lnTo>
                  <a:lnTo>
                    <a:pt x="413" y="403"/>
                  </a:lnTo>
                  <a:close/>
                  <a:moveTo>
                    <a:pt x="432" y="400"/>
                  </a:moveTo>
                  <a:lnTo>
                    <a:pt x="436" y="401"/>
                  </a:lnTo>
                  <a:lnTo>
                    <a:pt x="439" y="408"/>
                  </a:lnTo>
                  <a:lnTo>
                    <a:pt x="432" y="400"/>
                  </a:lnTo>
                  <a:close/>
                  <a:moveTo>
                    <a:pt x="419" y="398"/>
                  </a:moveTo>
                  <a:lnTo>
                    <a:pt x="419" y="401"/>
                  </a:lnTo>
                  <a:lnTo>
                    <a:pt x="419" y="398"/>
                  </a:lnTo>
                  <a:close/>
                  <a:moveTo>
                    <a:pt x="439" y="394"/>
                  </a:moveTo>
                  <a:lnTo>
                    <a:pt x="442" y="394"/>
                  </a:lnTo>
                  <a:lnTo>
                    <a:pt x="442" y="396"/>
                  </a:lnTo>
                  <a:lnTo>
                    <a:pt x="439" y="396"/>
                  </a:lnTo>
                  <a:lnTo>
                    <a:pt x="439" y="394"/>
                  </a:lnTo>
                  <a:close/>
                  <a:moveTo>
                    <a:pt x="431" y="398"/>
                  </a:moveTo>
                  <a:lnTo>
                    <a:pt x="432" y="400"/>
                  </a:lnTo>
                  <a:lnTo>
                    <a:pt x="431" y="400"/>
                  </a:lnTo>
                  <a:lnTo>
                    <a:pt x="429" y="398"/>
                  </a:lnTo>
                  <a:lnTo>
                    <a:pt x="431" y="400"/>
                  </a:lnTo>
                  <a:lnTo>
                    <a:pt x="432" y="400"/>
                  </a:lnTo>
                  <a:lnTo>
                    <a:pt x="434" y="405"/>
                  </a:lnTo>
                  <a:lnTo>
                    <a:pt x="431" y="403"/>
                  </a:lnTo>
                  <a:lnTo>
                    <a:pt x="425" y="398"/>
                  </a:lnTo>
                  <a:lnTo>
                    <a:pt x="425" y="394"/>
                  </a:lnTo>
                  <a:lnTo>
                    <a:pt x="431" y="398"/>
                  </a:lnTo>
                  <a:close/>
                  <a:moveTo>
                    <a:pt x="419" y="400"/>
                  </a:moveTo>
                  <a:lnTo>
                    <a:pt x="420" y="405"/>
                  </a:lnTo>
                  <a:lnTo>
                    <a:pt x="419" y="408"/>
                  </a:lnTo>
                  <a:lnTo>
                    <a:pt x="419" y="406"/>
                  </a:lnTo>
                  <a:lnTo>
                    <a:pt x="417" y="400"/>
                  </a:lnTo>
                  <a:lnTo>
                    <a:pt x="419" y="403"/>
                  </a:lnTo>
                  <a:lnTo>
                    <a:pt x="417" y="405"/>
                  </a:lnTo>
                  <a:lnTo>
                    <a:pt x="419" y="406"/>
                  </a:lnTo>
                  <a:lnTo>
                    <a:pt x="417" y="408"/>
                  </a:lnTo>
                  <a:lnTo>
                    <a:pt x="417" y="406"/>
                  </a:lnTo>
                  <a:lnTo>
                    <a:pt x="420" y="411"/>
                  </a:lnTo>
                  <a:lnTo>
                    <a:pt x="417" y="411"/>
                  </a:lnTo>
                  <a:lnTo>
                    <a:pt x="415" y="406"/>
                  </a:lnTo>
                  <a:lnTo>
                    <a:pt x="415" y="403"/>
                  </a:lnTo>
                  <a:lnTo>
                    <a:pt x="415" y="398"/>
                  </a:lnTo>
                  <a:lnTo>
                    <a:pt x="417" y="393"/>
                  </a:lnTo>
                  <a:lnTo>
                    <a:pt x="419" y="400"/>
                  </a:lnTo>
                  <a:close/>
                  <a:moveTo>
                    <a:pt x="441" y="391"/>
                  </a:moveTo>
                  <a:lnTo>
                    <a:pt x="442" y="391"/>
                  </a:lnTo>
                  <a:lnTo>
                    <a:pt x="442" y="394"/>
                  </a:lnTo>
                  <a:lnTo>
                    <a:pt x="436" y="394"/>
                  </a:lnTo>
                  <a:lnTo>
                    <a:pt x="437" y="391"/>
                  </a:lnTo>
                  <a:lnTo>
                    <a:pt x="437" y="389"/>
                  </a:lnTo>
                  <a:lnTo>
                    <a:pt x="441" y="391"/>
                  </a:lnTo>
                  <a:close/>
                  <a:moveTo>
                    <a:pt x="437" y="386"/>
                  </a:moveTo>
                  <a:lnTo>
                    <a:pt x="441" y="389"/>
                  </a:lnTo>
                  <a:lnTo>
                    <a:pt x="441" y="391"/>
                  </a:lnTo>
                  <a:lnTo>
                    <a:pt x="437" y="389"/>
                  </a:lnTo>
                  <a:lnTo>
                    <a:pt x="437" y="391"/>
                  </a:lnTo>
                  <a:lnTo>
                    <a:pt x="436" y="391"/>
                  </a:lnTo>
                  <a:lnTo>
                    <a:pt x="434" y="388"/>
                  </a:lnTo>
                  <a:lnTo>
                    <a:pt x="437" y="386"/>
                  </a:lnTo>
                  <a:close/>
                  <a:moveTo>
                    <a:pt x="425" y="394"/>
                  </a:moveTo>
                  <a:lnTo>
                    <a:pt x="425" y="396"/>
                  </a:lnTo>
                  <a:lnTo>
                    <a:pt x="425" y="394"/>
                  </a:lnTo>
                  <a:lnTo>
                    <a:pt x="424" y="394"/>
                  </a:lnTo>
                  <a:lnTo>
                    <a:pt x="425" y="394"/>
                  </a:lnTo>
                  <a:lnTo>
                    <a:pt x="424" y="398"/>
                  </a:lnTo>
                  <a:lnTo>
                    <a:pt x="427" y="403"/>
                  </a:lnTo>
                  <a:lnTo>
                    <a:pt x="429" y="401"/>
                  </a:lnTo>
                  <a:lnTo>
                    <a:pt x="436" y="408"/>
                  </a:lnTo>
                  <a:lnTo>
                    <a:pt x="436" y="410"/>
                  </a:lnTo>
                  <a:lnTo>
                    <a:pt x="432" y="405"/>
                  </a:lnTo>
                  <a:lnTo>
                    <a:pt x="431" y="405"/>
                  </a:lnTo>
                  <a:lnTo>
                    <a:pt x="429" y="406"/>
                  </a:lnTo>
                  <a:lnTo>
                    <a:pt x="432" y="406"/>
                  </a:lnTo>
                  <a:lnTo>
                    <a:pt x="432" y="410"/>
                  </a:lnTo>
                  <a:lnTo>
                    <a:pt x="429" y="411"/>
                  </a:lnTo>
                  <a:lnTo>
                    <a:pt x="427" y="408"/>
                  </a:lnTo>
                  <a:lnTo>
                    <a:pt x="429" y="411"/>
                  </a:lnTo>
                  <a:lnTo>
                    <a:pt x="432" y="413"/>
                  </a:lnTo>
                  <a:lnTo>
                    <a:pt x="432" y="418"/>
                  </a:lnTo>
                  <a:lnTo>
                    <a:pt x="429" y="417"/>
                  </a:lnTo>
                  <a:lnTo>
                    <a:pt x="425" y="410"/>
                  </a:lnTo>
                  <a:lnTo>
                    <a:pt x="424" y="408"/>
                  </a:lnTo>
                  <a:lnTo>
                    <a:pt x="422" y="405"/>
                  </a:lnTo>
                  <a:lnTo>
                    <a:pt x="420" y="401"/>
                  </a:lnTo>
                  <a:lnTo>
                    <a:pt x="419" y="400"/>
                  </a:lnTo>
                  <a:lnTo>
                    <a:pt x="419" y="394"/>
                  </a:lnTo>
                  <a:lnTo>
                    <a:pt x="417" y="391"/>
                  </a:lnTo>
                  <a:lnTo>
                    <a:pt x="415" y="386"/>
                  </a:lnTo>
                  <a:lnTo>
                    <a:pt x="424" y="391"/>
                  </a:lnTo>
                  <a:lnTo>
                    <a:pt x="425" y="394"/>
                  </a:lnTo>
                  <a:close/>
                  <a:moveTo>
                    <a:pt x="437" y="377"/>
                  </a:moveTo>
                  <a:lnTo>
                    <a:pt x="437" y="379"/>
                  </a:lnTo>
                  <a:lnTo>
                    <a:pt x="441" y="381"/>
                  </a:lnTo>
                  <a:lnTo>
                    <a:pt x="439" y="382"/>
                  </a:lnTo>
                  <a:lnTo>
                    <a:pt x="436" y="382"/>
                  </a:lnTo>
                  <a:lnTo>
                    <a:pt x="439" y="382"/>
                  </a:lnTo>
                  <a:lnTo>
                    <a:pt x="441" y="384"/>
                  </a:lnTo>
                  <a:lnTo>
                    <a:pt x="448" y="386"/>
                  </a:lnTo>
                  <a:lnTo>
                    <a:pt x="446" y="389"/>
                  </a:lnTo>
                  <a:lnTo>
                    <a:pt x="442" y="389"/>
                  </a:lnTo>
                  <a:lnTo>
                    <a:pt x="439" y="386"/>
                  </a:lnTo>
                  <a:lnTo>
                    <a:pt x="434" y="388"/>
                  </a:lnTo>
                  <a:lnTo>
                    <a:pt x="432" y="384"/>
                  </a:lnTo>
                  <a:lnTo>
                    <a:pt x="432" y="388"/>
                  </a:lnTo>
                  <a:lnTo>
                    <a:pt x="429" y="386"/>
                  </a:lnTo>
                  <a:lnTo>
                    <a:pt x="434" y="388"/>
                  </a:lnTo>
                  <a:lnTo>
                    <a:pt x="437" y="391"/>
                  </a:lnTo>
                  <a:lnTo>
                    <a:pt x="436" y="393"/>
                  </a:lnTo>
                  <a:lnTo>
                    <a:pt x="434" y="391"/>
                  </a:lnTo>
                  <a:lnTo>
                    <a:pt x="431" y="391"/>
                  </a:lnTo>
                  <a:lnTo>
                    <a:pt x="431" y="393"/>
                  </a:lnTo>
                  <a:lnTo>
                    <a:pt x="432" y="391"/>
                  </a:lnTo>
                  <a:lnTo>
                    <a:pt x="436" y="396"/>
                  </a:lnTo>
                  <a:lnTo>
                    <a:pt x="432" y="396"/>
                  </a:lnTo>
                  <a:lnTo>
                    <a:pt x="437" y="396"/>
                  </a:lnTo>
                  <a:lnTo>
                    <a:pt x="441" y="400"/>
                  </a:lnTo>
                  <a:lnTo>
                    <a:pt x="446" y="398"/>
                  </a:lnTo>
                  <a:lnTo>
                    <a:pt x="451" y="400"/>
                  </a:lnTo>
                  <a:lnTo>
                    <a:pt x="453" y="398"/>
                  </a:lnTo>
                  <a:lnTo>
                    <a:pt x="453" y="401"/>
                  </a:lnTo>
                  <a:lnTo>
                    <a:pt x="451" y="406"/>
                  </a:lnTo>
                  <a:lnTo>
                    <a:pt x="446" y="406"/>
                  </a:lnTo>
                  <a:lnTo>
                    <a:pt x="442" y="405"/>
                  </a:lnTo>
                  <a:lnTo>
                    <a:pt x="442" y="403"/>
                  </a:lnTo>
                  <a:lnTo>
                    <a:pt x="439" y="400"/>
                  </a:lnTo>
                  <a:lnTo>
                    <a:pt x="437" y="400"/>
                  </a:lnTo>
                  <a:lnTo>
                    <a:pt x="439" y="401"/>
                  </a:lnTo>
                  <a:lnTo>
                    <a:pt x="441" y="405"/>
                  </a:lnTo>
                  <a:lnTo>
                    <a:pt x="446" y="406"/>
                  </a:lnTo>
                  <a:lnTo>
                    <a:pt x="444" y="410"/>
                  </a:lnTo>
                  <a:lnTo>
                    <a:pt x="439" y="408"/>
                  </a:lnTo>
                  <a:lnTo>
                    <a:pt x="436" y="401"/>
                  </a:lnTo>
                  <a:lnTo>
                    <a:pt x="431" y="396"/>
                  </a:lnTo>
                  <a:lnTo>
                    <a:pt x="425" y="394"/>
                  </a:lnTo>
                  <a:lnTo>
                    <a:pt x="422" y="388"/>
                  </a:lnTo>
                  <a:lnTo>
                    <a:pt x="419" y="386"/>
                  </a:lnTo>
                  <a:lnTo>
                    <a:pt x="413" y="381"/>
                  </a:lnTo>
                  <a:lnTo>
                    <a:pt x="422" y="382"/>
                  </a:lnTo>
                  <a:lnTo>
                    <a:pt x="429" y="379"/>
                  </a:lnTo>
                  <a:lnTo>
                    <a:pt x="437" y="377"/>
                  </a:lnTo>
                  <a:close/>
                  <a:moveTo>
                    <a:pt x="439" y="372"/>
                  </a:moveTo>
                  <a:lnTo>
                    <a:pt x="441" y="372"/>
                  </a:lnTo>
                  <a:lnTo>
                    <a:pt x="441" y="374"/>
                  </a:lnTo>
                  <a:lnTo>
                    <a:pt x="439" y="374"/>
                  </a:lnTo>
                  <a:lnTo>
                    <a:pt x="439" y="372"/>
                  </a:lnTo>
                  <a:close/>
                  <a:moveTo>
                    <a:pt x="446" y="370"/>
                  </a:moveTo>
                  <a:lnTo>
                    <a:pt x="448" y="370"/>
                  </a:lnTo>
                  <a:lnTo>
                    <a:pt x="448" y="372"/>
                  </a:lnTo>
                  <a:lnTo>
                    <a:pt x="446" y="372"/>
                  </a:lnTo>
                  <a:lnTo>
                    <a:pt x="446" y="370"/>
                  </a:lnTo>
                  <a:close/>
                  <a:moveTo>
                    <a:pt x="442" y="360"/>
                  </a:moveTo>
                  <a:lnTo>
                    <a:pt x="444" y="360"/>
                  </a:lnTo>
                  <a:lnTo>
                    <a:pt x="444" y="364"/>
                  </a:lnTo>
                  <a:lnTo>
                    <a:pt x="442" y="364"/>
                  </a:lnTo>
                  <a:lnTo>
                    <a:pt x="442" y="360"/>
                  </a:lnTo>
                  <a:close/>
                  <a:moveTo>
                    <a:pt x="454" y="364"/>
                  </a:moveTo>
                  <a:lnTo>
                    <a:pt x="453" y="369"/>
                  </a:lnTo>
                  <a:lnTo>
                    <a:pt x="449" y="367"/>
                  </a:lnTo>
                  <a:lnTo>
                    <a:pt x="451" y="369"/>
                  </a:lnTo>
                  <a:lnTo>
                    <a:pt x="449" y="370"/>
                  </a:lnTo>
                  <a:lnTo>
                    <a:pt x="439" y="372"/>
                  </a:lnTo>
                  <a:lnTo>
                    <a:pt x="439" y="374"/>
                  </a:lnTo>
                  <a:lnTo>
                    <a:pt x="434" y="376"/>
                  </a:lnTo>
                  <a:lnTo>
                    <a:pt x="441" y="374"/>
                  </a:lnTo>
                  <a:lnTo>
                    <a:pt x="444" y="372"/>
                  </a:lnTo>
                  <a:lnTo>
                    <a:pt x="442" y="376"/>
                  </a:lnTo>
                  <a:lnTo>
                    <a:pt x="444" y="372"/>
                  </a:lnTo>
                  <a:lnTo>
                    <a:pt x="449" y="372"/>
                  </a:lnTo>
                  <a:lnTo>
                    <a:pt x="449" y="381"/>
                  </a:lnTo>
                  <a:lnTo>
                    <a:pt x="446" y="382"/>
                  </a:lnTo>
                  <a:lnTo>
                    <a:pt x="441" y="384"/>
                  </a:lnTo>
                  <a:lnTo>
                    <a:pt x="441" y="379"/>
                  </a:lnTo>
                  <a:lnTo>
                    <a:pt x="437" y="379"/>
                  </a:lnTo>
                  <a:lnTo>
                    <a:pt x="437" y="377"/>
                  </a:lnTo>
                  <a:lnTo>
                    <a:pt x="436" y="377"/>
                  </a:lnTo>
                  <a:lnTo>
                    <a:pt x="431" y="379"/>
                  </a:lnTo>
                  <a:lnTo>
                    <a:pt x="431" y="376"/>
                  </a:lnTo>
                  <a:lnTo>
                    <a:pt x="437" y="370"/>
                  </a:lnTo>
                  <a:lnTo>
                    <a:pt x="439" y="367"/>
                  </a:lnTo>
                  <a:lnTo>
                    <a:pt x="442" y="367"/>
                  </a:lnTo>
                  <a:lnTo>
                    <a:pt x="451" y="360"/>
                  </a:lnTo>
                  <a:lnTo>
                    <a:pt x="454" y="362"/>
                  </a:lnTo>
                  <a:lnTo>
                    <a:pt x="454" y="364"/>
                  </a:lnTo>
                  <a:close/>
                  <a:moveTo>
                    <a:pt x="442" y="353"/>
                  </a:moveTo>
                  <a:lnTo>
                    <a:pt x="444" y="357"/>
                  </a:lnTo>
                  <a:lnTo>
                    <a:pt x="439" y="360"/>
                  </a:lnTo>
                  <a:lnTo>
                    <a:pt x="439" y="364"/>
                  </a:lnTo>
                  <a:lnTo>
                    <a:pt x="439" y="360"/>
                  </a:lnTo>
                  <a:lnTo>
                    <a:pt x="444" y="359"/>
                  </a:lnTo>
                  <a:lnTo>
                    <a:pt x="441" y="364"/>
                  </a:lnTo>
                  <a:lnTo>
                    <a:pt x="437" y="369"/>
                  </a:lnTo>
                  <a:lnTo>
                    <a:pt x="432" y="372"/>
                  </a:lnTo>
                  <a:lnTo>
                    <a:pt x="436" y="362"/>
                  </a:lnTo>
                  <a:lnTo>
                    <a:pt x="442" y="353"/>
                  </a:lnTo>
                  <a:close/>
                  <a:moveTo>
                    <a:pt x="437" y="359"/>
                  </a:moveTo>
                  <a:lnTo>
                    <a:pt x="439" y="353"/>
                  </a:lnTo>
                  <a:lnTo>
                    <a:pt x="441" y="353"/>
                  </a:lnTo>
                  <a:lnTo>
                    <a:pt x="437" y="359"/>
                  </a:lnTo>
                  <a:close/>
                  <a:moveTo>
                    <a:pt x="437" y="352"/>
                  </a:moveTo>
                  <a:lnTo>
                    <a:pt x="439" y="353"/>
                  </a:lnTo>
                  <a:lnTo>
                    <a:pt x="434" y="362"/>
                  </a:lnTo>
                  <a:lnTo>
                    <a:pt x="434" y="364"/>
                  </a:lnTo>
                  <a:lnTo>
                    <a:pt x="431" y="364"/>
                  </a:lnTo>
                  <a:lnTo>
                    <a:pt x="432" y="362"/>
                  </a:lnTo>
                  <a:lnTo>
                    <a:pt x="432" y="357"/>
                  </a:lnTo>
                  <a:lnTo>
                    <a:pt x="436" y="359"/>
                  </a:lnTo>
                  <a:lnTo>
                    <a:pt x="436" y="357"/>
                  </a:lnTo>
                  <a:lnTo>
                    <a:pt x="436" y="355"/>
                  </a:lnTo>
                  <a:lnTo>
                    <a:pt x="434" y="353"/>
                  </a:lnTo>
                  <a:lnTo>
                    <a:pt x="437" y="352"/>
                  </a:lnTo>
                  <a:close/>
                  <a:moveTo>
                    <a:pt x="501" y="222"/>
                  </a:moveTo>
                  <a:lnTo>
                    <a:pt x="501" y="225"/>
                  </a:lnTo>
                  <a:lnTo>
                    <a:pt x="499" y="224"/>
                  </a:lnTo>
                  <a:lnTo>
                    <a:pt x="501" y="222"/>
                  </a:lnTo>
                  <a:close/>
                  <a:moveTo>
                    <a:pt x="501" y="205"/>
                  </a:moveTo>
                  <a:lnTo>
                    <a:pt x="502" y="205"/>
                  </a:lnTo>
                  <a:lnTo>
                    <a:pt x="502" y="207"/>
                  </a:lnTo>
                  <a:lnTo>
                    <a:pt x="501" y="207"/>
                  </a:lnTo>
                  <a:lnTo>
                    <a:pt x="501" y="205"/>
                  </a:lnTo>
                  <a:close/>
                  <a:moveTo>
                    <a:pt x="501" y="200"/>
                  </a:moveTo>
                  <a:lnTo>
                    <a:pt x="501" y="203"/>
                  </a:lnTo>
                  <a:lnTo>
                    <a:pt x="499" y="200"/>
                  </a:lnTo>
                  <a:lnTo>
                    <a:pt x="501" y="200"/>
                  </a:lnTo>
                  <a:close/>
                  <a:moveTo>
                    <a:pt x="489" y="179"/>
                  </a:moveTo>
                  <a:lnTo>
                    <a:pt x="490" y="179"/>
                  </a:lnTo>
                  <a:lnTo>
                    <a:pt x="490" y="181"/>
                  </a:lnTo>
                  <a:lnTo>
                    <a:pt x="489" y="181"/>
                  </a:lnTo>
                  <a:lnTo>
                    <a:pt x="489" y="179"/>
                  </a:lnTo>
                  <a:close/>
                  <a:moveTo>
                    <a:pt x="555" y="137"/>
                  </a:moveTo>
                  <a:lnTo>
                    <a:pt x="559" y="138"/>
                  </a:lnTo>
                  <a:lnTo>
                    <a:pt x="559" y="142"/>
                  </a:lnTo>
                  <a:lnTo>
                    <a:pt x="562" y="145"/>
                  </a:lnTo>
                  <a:lnTo>
                    <a:pt x="560" y="147"/>
                  </a:lnTo>
                  <a:lnTo>
                    <a:pt x="557" y="145"/>
                  </a:lnTo>
                  <a:lnTo>
                    <a:pt x="555" y="142"/>
                  </a:lnTo>
                  <a:lnTo>
                    <a:pt x="557" y="140"/>
                  </a:lnTo>
                  <a:lnTo>
                    <a:pt x="553" y="137"/>
                  </a:lnTo>
                  <a:lnTo>
                    <a:pt x="555" y="137"/>
                  </a:lnTo>
                  <a:close/>
                  <a:moveTo>
                    <a:pt x="478" y="60"/>
                  </a:moveTo>
                  <a:lnTo>
                    <a:pt x="489" y="65"/>
                  </a:lnTo>
                  <a:lnTo>
                    <a:pt x="489" y="66"/>
                  </a:lnTo>
                  <a:lnTo>
                    <a:pt x="485" y="66"/>
                  </a:lnTo>
                  <a:lnTo>
                    <a:pt x="485" y="68"/>
                  </a:lnTo>
                  <a:lnTo>
                    <a:pt x="480" y="68"/>
                  </a:lnTo>
                  <a:lnTo>
                    <a:pt x="480" y="66"/>
                  </a:lnTo>
                  <a:lnTo>
                    <a:pt x="478" y="65"/>
                  </a:lnTo>
                  <a:lnTo>
                    <a:pt x="480" y="66"/>
                  </a:lnTo>
                  <a:lnTo>
                    <a:pt x="475" y="68"/>
                  </a:lnTo>
                  <a:lnTo>
                    <a:pt x="475" y="66"/>
                  </a:lnTo>
                  <a:lnTo>
                    <a:pt x="473" y="70"/>
                  </a:lnTo>
                  <a:lnTo>
                    <a:pt x="470" y="68"/>
                  </a:lnTo>
                  <a:lnTo>
                    <a:pt x="468" y="65"/>
                  </a:lnTo>
                  <a:lnTo>
                    <a:pt x="465" y="68"/>
                  </a:lnTo>
                  <a:lnTo>
                    <a:pt x="465" y="66"/>
                  </a:lnTo>
                  <a:lnTo>
                    <a:pt x="465" y="65"/>
                  </a:lnTo>
                  <a:lnTo>
                    <a:pt x="466" y="65"/>
                  </a:lnTo>
                  <a:lnTo>
                    <a:pt x="465" y="63"/>
                  </a:lnTo>
                  <a:lnTo>
                    <a:pt x="473" y="60"/>
                  </a:lnTo>
                  <a:lnTo>
                    <a:pt x="475" y="58"/>
                  </a:lnTo>
                  <a:lnTo>
                    <a:pt x="478" y="60"/>
                  </a:lnTo>
                  <a:close/>
                  <a:moveTo>
                    <a:pt x="487" y="63"/>
                  </a:moveTo>
                  <a:lnTo>
                    <a:pt x="483" y="61"/>
                  </a:lnTo>
                  <a:lnTo>
                    <a:pt x="478" y="58"/>
                  </a:lnTo>
                  <a:lnTo>
                    <a:pt x="482" y="56"/>
                  </a:lnTo>
                  <a:lnTo>
                    <a:pt x="482" y="55"/>
                  </a:lnTo>
                  <a:lnTo>
                    <a:pt x="485" y="55"/>
                  </a:lnTo>
                  <a:lnTo>
                    <a:pt x="487" y="56"/>
                  </a:lnTo>
                  <a:lnTo>
                    <a:pt x="487" y="60"/>
                  </a:lnTo>
                  <a:lnTo>
                    <a:pt x="489" y="61"/>
                  </a:lnTo>
                  <a:lnTo>
                    <a:pt x="487" y="63"/>
                  </a:lnTo>
                  <a:close/>
                  <a:moveTo>
                    <a:pt x="565" y="55"/>
                  </a:moveTo>
                  <a:lnTo>
                    <a:pt x="567" y="58"/>
                  </a:lnTo>
                  <a:lnTo>
                    <a:pt x="564" y="56"/>
                  </a:lnTo>
                  <a:lnTo>
                    <a:pt x="560" y="56"/>
                  </a:lnTo>
                  <a:lnTo>
                    <a:pt x="562" y="53"/>
                  </a:lnTo>
                  <a:lnTo>
                    <a:pt x="564" y="53"/>
                  </a:lnTo>
                  <a:lnTo>
                    <a:pt x="565" y="55"/>
                  </a:lnTo>
                  <a:close/>
                  <a:moveTo>
                    <a:pt x="475" y="51"/>
                  </a:moveTo>
                  <a:lnTo>
                    <a:pt x="475" y="58"/>
                  </a:lnTo>
                  <a:lnTo>
                    <a:pt x="472" y="58"/>
                  </a:lnTo>
                  <a:lnTo>
                    <a:pt x="470" y="58"/>
                  </a:lnTo>
                  <a:lnTo>
                    <a:pt x="473" y="58"/>
                  </a:lnTo>
                  <a:lnTo>
                    <a:pt x="473" y="60"/>
                  </a:lnTo>
                  <a:lnTo>
                    <a:pt x="472" y="60"/>
                  </a:lnTo>
                  <a:lnTo>
                    <a:pt x="466" y="61"/>
                  </a:lnTo>
                  <a:lnTo>
                    <a:pt x="466" y="55"/>
                  </a:lnTo>
                  <a:lnTo>
                    <a:pt x="465" y="53"/>
                  </a:lnTo>
                  <a:lnTo>
                    <a:pt x="472" y="53"/>
                  </a:lnTo>
                  <a:lnTo>
                    <a:pt x="473" y="49"/>
                  </a:lnTo>
                  <a:lnTo>
                    <a:pt x="475" y="51"/>
                  </a:lnTo>
                  <a:close/>
                  <a:moveTo>
                    <a:pt x="470" y="49"/>
                  </a:moveTo>
                  <a:lnTo>
                    <a:pt x="472" y="49"/>
                  </a:lnTo>
                  <a:lnTo>
                    <a:pt x="472" y="51"/>
                  </a:lnTo>
                  <a:lnTo>
                    <a:pt x="465" y="51"/>
                  </a:lnTo>
                  <a:lnTo>
                    <a:pt x="470" y="49"/>
                  </a:lnTo>
                  <a:close/>
                  <a:moveTo>
                    <a:pt x="483" y="49"/>
                  </a:moveTo>
                  <a:lnTo>
                    <a:pt x="487" y="49"/>
                  </a:lnTo>
                  <a:lnTo>
                    <a:pt x="487" y="51"/>
                  </a:lnTo>
                  <a:lnTo>
                    <a:pt x="483" y="51"/>
                  </a:lnTo>
                  <a:lnTo>
                    <a:pt x="483" y="49"/>
                  </a:lnTo>
                  <a:close/>
                  <a:moveTo>
                    <a:pt x="485" y="53"/>
                  </a:moveTo>
                  <a:lnTo>
                    <a:pt x="480" y="51"/>
                  </a:lnTo>
                  <a:lnTo>
                    <a:pt x="478" y="49"/>
                  </a:lnTo>
                  <a:lnTo>
                    <a:pt x="485" y="51"/>
                  </a:lnTo>
                  <a:lnTo>
                    <a:pt x="485" y="53"/>
                  </a:lnTo>
                  <a:close/>
                  <a:moveTo>
                    <a:pt x="485" y="53"/>
                  </a:moveTo>
                  <a:lnTo>
                    <a:pt x="492" y="56"/>
                  </a:lnTo>
                  <a:lnTo>
                    <a:pt x="494" y="58"/>
                  </a:lnTo>
                  <a:lnTo>
                    <a:pt x="489" y="60"/>
                  </a:lnTo>
                  <a:lnTo>
                    <a:pt x="487" y="56"/>
                  </a:lnTo>
                  <a:lnTo>
                    <a:pt x="485" y="55"/>
                  </a:lnTo>
                  <a:lnTo>
                    <a:pt x="483" y="55"/>
                  </a:lnTo>
                  <a:lnTo>
                    <a:pt x="482" y="55"/>
                  </a:lnTo>
                  <a:lnTo>
                    <a:pt x="482" y="56"/>
                  </a:lnTo>
                  <a:lnTo>
                    <a:pt x="478" y="58"/>
                  </a:lnTo>
                  <a:lnTo>
                    <a:pt x="477" y="58"/>
                  </a:lnTo>
                  <a:lnTo>
                    <a:pt x="475" y="49"/>
                  </a:lnTo>
                  <a:lnTo>
                    <a:pt x="477" y="49"/>
                  </a:lnTo>
                  <a:lnTo>
                    <a:pt x="478" y="49"/>
                  </a:lnTo>
                  <a:lnTo>
                    <a:pt x="480" y="51"/>
                  </a:lnTo>
                  <a:lnTo>
                    <a:pt x="485" y="53"/>
                  </a:lnTo>
                  <a:close/>
                  <a:moveTo>
                    <a:pt x="489" y="53"/>
                  </a:moveTo>
                  <a:lnTo>
                    <a:pt x="487" y="49"/>
                  </a:lnTo>
                  <a:lnTo>
                    <a:pt x="487" y="48"/>
                  </a:lnTo>
                  <a:lnTo>
                    <a:pt x="490" y="51"/>
                  </a:lnTo>
                  <a:lnTo>
                    <a:pt x="489" y="53"/>
                  </a:lnTo>
                  <a:close/>
                  <a:moveTo>
                    <a:pt x="569" y="36"/>
                  </a:moveTo>
                  <a:lnTo>
                    <a:pt x="576" y="43"/>
                  </a:lnTo>
                  <a:lnTo>
                    <a:pt x="571" y="39"/>
                  </a:lnTo>
                  <a:lnTo>
                    <a:pt x="567" y="36"/>
                  </a:lnTo>
                  <a:lnTo>
                    <a:pt x="567" y="43"/>
                  </a:lnTo>
                  <a:lnTo>
                    <a:pt x="571" y="46"/>
                  </a:lnTo>
                  <a:lnTo>
                    <a:pt x="577" y="53"/>
                  </a:lnTo>
                  <a:lnTo>
                    <a:pt x="571" y="48"/>
                  </a:lnTo>
                  <a:lnTo>
                    <a:pt x="567" y="44"/>
                  </a:lnTo>
                  <a:lnTo>
                    <a:pt x="567" y="36"/>
                  </a:lnTo>
                  <a:lnTo>
                    <a:pt x="567" y="34"/>
                  </a:lnTo>
                  <a:lnTo>
                    <a:pt x="569" y="36"/>
                  </a:lnTo>
                  <a:close/>
                  <a:moveTo>
                    <a:pt x="523" y="25"/>
                  </a:moveTo>
                  <a:lnTo>
                    <a:pt x="524" y="31"/>
                  </a:lnTo>
                  <a:lnTo>
                    <a:pt x="523" y="27"/>
                  </a:lnTo>
                  <a:lnTo>
                    <a:pt x="523" y="25"/>
                  </a:lnTo>
                  <a:close/>
                  <a:moveTo>
                    <a:pt x="497" y="20"/>
                  </a:moveTo>
                  <a:lnTo>
                    <a:pt x="502" y="25"/>
                  </a:lnTo>
                  <a:lnTo>
                    <a:pt x="499" y="27"/>
                  </a:lnTo>
                  <a:lnTo>
                    <a:pt x="502" y="29"/>
                  </a:lnTo>
                  <a:lnTo>
                    <a:pt x="504" y="27"/>
                  </a:lnTo>
                  <a:lnTo>
                    <a:pt x="509" y="32"/>
                  </a:lnTo>
                  <a:lnTo>
                    <a:pt x="507" y="34"/>
                  </a:lnTo>
                  <a:lnTo>
                    <a:pt x="509" y="32"/>
                  </a:lnTo>
                  <a:lnTo>
                    <a:pt x="511" y="34"/>
                  </a:lnTo>
                  <a:lnTo>
                    <a:pt x="509" y="37"/>
                  </a:lnTo>
                  <a:lnTo>
                    <a:pt x="511" y="37"/>
                  </a:lnTo>
                  <a:lnTo>
                    <a:pt x="507" y="41"/>
                  </a:lnTo>
                  <a:lnTo>
                    <a:pt x="509" y="43"/>
                  </a:lnTo>
                  <a:lnTo>
                    <a:pt x="502" y="48"/>
                  </a:lnTo>
                  <a:lnTo>
                    <a:pt x="492" y="49"/>
                  </a:lnTo>
                  <a:lnTo>
                    <a:pt x="489" y="46"/>
                  </a:lnTo>
                  <a:lnTo>
                    <a:pt x="487" y="48"/>
                  </a:lnTo>
                  <a:lnTo>
                    <a:pt x="477" y="48"/>
                  </a:lnTo>
                  <a:lnTo>
                    <a:pt x="473" y="49"/>
                  </a:lnTo>
                  <a:lnTo>
                    <a:pt x="463" y="49"/>
                  </a:lnTo>
                  <a:lnTo>
                    <a:pt x="463" y="51"/>
                  </a:lnTo>
                  <a:lnTo>
                    <a:pt x="466" y="55"/>
                  </a:lnTo>
                  <a:lnTo>
                    <a:pt x="466" y="61"/>
                  </a:lnTo>
                  <a:lnTo>
                    <a:pt x="465" y="61"/>
                  </a:lnTo>
                  <a:lnTo>
                    <a:pt x="465" y="63"/>
                  </a:lnTo>
                  <a:lnTo>
                    <a:pt x="465" y="65"/>
                  </a:lnTo>
                  <a:lnTo>
                    <a:pt x="463" y="66"/>
                  </a:lnTo>
                  <a:lnTo>
                    <a:pt x="463" y="68"/>
                  </a:lnTo>
                  <a:lnTo>
                    <a:pt x="466" y="68"/>
                  </a:lnTo>
                  <a:lnTo>
                    <a:pt x="468" y="66"/>
                  </a:lnTo>
                  <a:lnTo>
                    <a:pt x="470" y="68"/>
                  </a:lnTo>
                  <a:lnTo>
                    <a:pt x="473" y="70"/>
                  </a:lnTo>
                  <a:lnTo>
                    <a:pt x="472" y="73"/>
                  </a:lnTo>
                  <a:lnTo>
                    <a:pt x="473" y="70"/>
                  </a:lnTo>
                  <a:lnTo>
                    <a:pt x="478" y="70"/>
                  </a:lnTo>
                  <a:lnTo>
                    <a:pt x="478" y="73"/>
                  </a:lnTo>
                  <a:lnTo>
                    <a:pt x="480" y="70"/>
                  </a:lnTo>
                  <a:lnTo>
                    <a:pt x="483" y="75"/>
                  </a:lnTo>
                  <a:lnTo>
                    <a:pt x="480" y="78"/>
                  </a:lnTo>
                  <a:lnTo>
                    <a:pt x="485" y="75"/>
                  </a:lnTo>
                  <a:lnTo>
                    <a:pt x="483" y="84"/>
                  </a:lnTo>
                  <a:lnTo>
                    <a:pt x="482" y="85"/>
                  </a:lnTo>
                  <a:lnTo>
                    <a:pt x="480" y="84"/>
                  </a:lnTo>
                  <a:lnTo>
                    <a:pt x="482" y="87"/>
                  </a:lnTo>
                  <a:lnTo>
                    <a:pt x="480" y="89"/>
                  </a:lnTo>
                  <a:lnTo>
                    <a:pt x="480" y="92"/>
                  </a:lnTo>
                  <a:lnTo>
                    <a:pt x="482" y="92"/>
                  </a:lnTo>
                  <a:lnTo>
                    <a:pt x="480" y="89"/>
                  </a:lnTo>
                  <a:lnTo>
                    <a:pt x="483" y="85"/>
                  </a:lnTo>
                  <a:lnTo>
                    <a:pt x="487" y="87"/>
                  </a:lnTo>
                  <a:lnTo>
                    <a:pt x="487" y="92"/>
                  </a:lnTo>
                  <a:lnTo>
                    <a:pt x="490" y="96"/>
                  </a:lnTo>
                  <a:lnTo>
                    <a:pt x="495" y="97"/>
                  </a:lnTo>
                  <a:lnTo>
                    <a:pt x="502" y="97"/>
                  </a:lnTo>
                  <a:lnTo>
                    <a:pt x="502" y="99"/>
                  </a:lnTo>
                  <a:lnTo>
                    <a:pt x="504" y="97"/>
                  </a:lnTo>
                  <a:lnTo>
                    <a:pt x="507" y="102"/>
                  </a:lnTo>
                  <a:lnTo>
                    <a:pt x="504" y="101"/>
                  </a:lnTo>
                  <a:lnTo>
                    <a:pt x="502" y="102"/>
                  </a:lnTo>
                  <a:lnTo>
                    <a:pt x="504" y="102"/>
                  </a:lnTo>
                  <a:lnTo>
                    <a:pt x="504" y="104"/>
                  </a:lnTo>
                  <a:lnTo>
                    <a:pt x="506" y="102"/>
                  </a:lnTo>
                  <a:lnTo>
                    <a:pt x="507" y="106"/>
                  </a:lnTo>
                  <a:lnTo>
                    <a:pt x="507" y="107"/>
                  </a:lnTo>
                  <a:lnTo>
                    <a:pt x="514" y="114"/>
                  </a:lnTo>
                  <a:lnTo>
                    <a:pt x="519" y="116"/>
                  </a:lnTo>
                  <a:lnTo>
                    <a:pt x="521" y="119"/>
                  </a:lnTo>
                  <a:lnTo>
                    <a:pt x="530" y="125"/>
                  </a:lnTo>
                  <a:lnTo>
                    <a:pt x="535" y="128"/>
                  </a:lnTo>
                  <a:lnTo>
                    <a:pt x="545" y="131"/>
                  </a:lnTo>
                  <a:lnTo>
                    <a:pt x="545" y="133"/>
                  </a:lnTo>
                  <a:lnTo>
                    <a:pt x="548" y="133"/>
                  </a:lnTo>
                  <a:lnTo>
                    <a:pt x="550" y="138"/>
                  </a:lnTo>
                  <a:lnTo>
                    <a:pt x="545" y="140"/>
                  </a:lnTo>
                  <a:lnTo>
                    <a:pt x="548" y="140"/>
                  </a:lnTo>
                  <a:lnTo>
                    <a:pt x="550" y="140"/>
                  </a:lnTo>
                  <a:lnTo>
                    <a:pt x="548" y="140"/>
                  </a:lnTo>
                  <a:lnTo>
                    <a:pt x="550" y="142"/>
                  </a:lnTo>
                  <a:lnTo>
                    <a:pt x="548" y="143"/>
                  </a:lnTo>
                  <a:lnTo>
                    <a:pt x="552" y="143"/>
                  </a:lnTo>
                  <a:lnTo>
                    <a:pt x="552" y="145"/>
                  </a:lnTo>
                  <a:lnTo>
                    <a:pt x="552" y="147"/>
                  </a:lnTo>
                  <a:lnTo>
                    <a:pt x="555" y="143"/>
                  </a:lnTo>
                  <a:lnTo>
                    <a:pt x="555" y="145"/>
                  </a:lnTo>
                  <a:lnTo>
                    <a:pt x="553" y="147"/>
                  </a:lnTo>
                  <a:lnTo>
                    <a:pt x="555" y="148"/>
                  </a:lnTo>
                  <a:lnTo>
                    <a:pt x="557" y="145"/>
                  </a:lnTo>
                  <a:lnTo>
                    <a:pt x="557" y="148"/>
                  </a:lnTo>
                  <a:lnTo>
                    <a:pt x="560" y="147"/>
                  </a:lnTo>
                  <a:lnTo>
                    <a:pt x="560" y="148"/>
                  </a:lnTo>
                  <a:lnTo>
                    <a:pt x="562" y="148"/>
                  </a:lnTo>
                  <a:lnTo>
                    <a:pt x="565" y="148"/>
                  </a:lnTo>
                  <a:lnTo>
                    <a:pt x="565" y="147"/>
                  </a:lnTo>
                  <a:lnTo>
                    <a:pt x="569" y="150"/>
                  </a:lnTo>
                  <a:lnTo>
                    <a:pt x="572" y="152"/>
                  </a:lnTo>
                  <a:lnTo>
                    <a:pt x="579" y="159"/>
                  </a:lnTo>
                  <a:lnTo>
                    <a:pt x="582" y="160"/>
                  </a:lnTo>
                  <a:lnTo>
                    <a:pt x="584" y="162"/>
                  </a:lnTo>
                  <a:lnTo>
                    <a:pt x="591" y="167"/>
                  </a:lnTo>
                  <a:lnTo>
                    <a:pt x="591" y="172"/>
                  </a:lnTo>
                  <a:lnTo>
                    <a:pt x="586" y="172"/>
                  </a:lnTo>
                  <a:lnTo>
                    <a:pt x="593" y="172"/>
                  </a:lnTo>
                  <a:lnTo>
                    <a:pt x="594" y="176"/>
                  </a:lnTo>
                  <a:lnTo>
                    <a:pt x="593" y="176"/>
                  </a:lnTo>
                  <a:lnTo>
                    <a:pt x="600" y="179"/>
                  </a:lnTo>
                  <a:lnTo>
                    <a:pt x="600" y="186"/>
                  </a:lnTo>
                  <a:lnTo>
                    <a:pt x="601" y="186"/>
                  </a:lnTo>
                  <a:lnTo>
                    <a:pt x="603" y="184"/>
                  </a:lnTo>
                  <a:lnTo>
                    <a:pt x="613" y="184"/>
                  </a:lnTo>
                  <a:lnTo>
                    <a:pt x="618" y="188"/>
                  </a:lnTo>
                  <a:lnTo>
                    <a:pt x="618" y="193"/>
                  </a:lnTo>
                  <a:lnTo>
                    <a:pt x="615" y="198"/>
                  </a:lnTo>
                  <a:lnTo>
                    <a:pt x="608" y="203"/>
                  </a:lnTo>
                  <a:lnTo>
                    <a:pt x="606" y="207"/>
                  </a:lnTo>
                  <a:lnTo>
                    <a:pt x="601" y="207"/>
                  </a:lnTo>
                  <a:lnTo>
                    <a:pt x="598" y="210"/>
                  </a:lnTo>
                  <a:lnTo>
                    <a:pt x="598" y="212"/>
                  </a:lnTo>
                  <a:lnTo>
                    <a:pt x="594" y="215"/>
                  </a:lnTo>
                  <a:lnTo>
                    <a:pt x="586" y="213"/>
                  </a:lnTo>
                  <a:lnTo>
                    <a:pt x="584" y="213"/>
                  </a:lnTo>
                  <a:lnTo>
                    <a:pt x="584" y="212"/>
                  </a:lnTo>
                  <a:lnTo>
                    <a:pt x="579" y="208"/>
                  </a:lnTo>
                  <a:lnTo>
                    <a:pt x="576" y="210"/>
                  </a:lnTo>
                  <a:lnTo>
                    <a:pt x="571" y="215"/>
                  </a:lnTo>
                  <a:lnTo>
                    <a:pt x="565" y="215"/>
                  </a:lnTo>
                  <a:lnTo>
                    <a:pt x="557" y="212"/>
                  </a:lnTo>
                  <a:lnTo>
                    <a:pt x="557" y="210"/>
                  </a:lnTo>
                  <a:lnTo>
                    <a:pt x="555" y="212"/>
                  </a:lnTo>
                  <a:lnTo>
                    <a:pt x="552" y="210"/>
                  </a:lnTo>
                  <a:lnTo>
                    <a:pt x="543" y="215"/>
                  </a:lnTo>
                  <a:lnTo>
                    <a:pt x="540" y="213"/>
                  </a:lnTo>
                  <a:lnTo>
                    <a:pt x="540" y="212"/>
                  </a:lnTo>
                  <a:lnTo>
                    <a:pt x="538" y="210"/>
                  </a:lnTo>
                  <a:lnTo>
                    <a:pt x="535" y="210"/>
                  </a:lnTo>
                  <a:lnTo>
                    <a:pt x="524" y="208"/>
                  </a:lnTo>
                  <a:lnTo>
                    <a:pt x="523" y="207"/>
                  </a:lnTo>
                  <a:lnTo>
                    <a:pt x="514" y="205"/>
                  </a:lnTo>
                  <a:lnTo>
                    <a:pt x="512" y="205"/>
                  </a:lnTo>
                  <a:lnTo>
                    <a:pt x="507" y="203"/>
                  </a:lnTo>
                  <a:lnTo>
                    <a:pt x="506" y="201"/>
                  </a:lnTo>
                  <a:lnTo>
                    <a:pt x="506" y="200"/>
                  </a:lnTo>
                  <a:lnTo>
                    <a:pt x="499" y="196"/>
                  </a:lnTo>
                  <a:lnTo>
                    <a:pt x="499" y="189"/>
                  </a:lnTo>
                  <a:lnTo>
                    <a:pt x="497" y="184"/>
                  </a:lnTo>
                  <a:lnTo>
                    <a:pt x="494" y="183"/>
                  </a:lnTo>
                  <a:lnTo>
                    <a:pt x="490" y="179"/>
                  </a:lnTo>
                  <a:lnTo>
                    <a:pt x="489" y="179"/>
                  </a:lnTo>
                  <a:lnTo>
                    <a:pt x="490" y="176"/>
                  </a:lnTo>
                  <a:lnTo>
                    <a:pt x="489" y="177"/>
                  </a:lnTo>
                  <a:lnTo>
                    <a:pt x="487" y="177"/>
                  </a:lnTo>
                  <a:lnTo>
                    <a:pt x="487" y="179"/>
                  </a:lnTo>
                  <a:lnTo>
                    <a:pt x="490" y="183"/>
                  </a:lnTo>
                  <a:lnTo>
                    <a:pt x="487" y="184"/>
                  </a:lnTo>
                  <a:lnTo>
                    <a:pt x="492" y="184"/>
                  </a:lnTo>
                  <a:lnTo>
                    <a:pt x="497" y="189"/>
                  </a:lnTo>
                  <a:lnTo>
                    <a:pt x="497" y="195"/>
                  </a:lnTo>
                  <a:lnTo>
                    <a:pt x="495" y="196"/>
                  </a:lnTo>
                  <a:lnTo>
                    <a:pt x="499" y="205"/>
                  </a:lnTo>
                  <a:lnTo>
                    <a:pt x="502" y="208"/>
                  </a:lnTo>
                  <a:lnTo>
                    <a:pt x="502" y="218"/>
                  </a:lnTo>
                  <a:lnTo>
                    <a:pt x="495" y="218"/>
                  </a:lnTo>
                  <a:lnTo>
                    <a:pt x="494" y="217"/>
                  </a:lnTo>
                  <a:lnTo>
                    <a:pt x="490" y="215"/>
                  </a:lnTo>
                  <a:lnTo>
                    <a:pt x="489" y="212"/>
                  </a:lnTo>
                  <a:lnTo>
                    <a:pt x="485" y="213"/>
                  </a:lnTo>
                  <a:lnTo>
                    <a:pt x="483" y="215"/>
                  </a:lnTo>
                  <a:lnTo>
                    <a:pt x="477" y="215"/>
                  </a:lnTo>
                  <a:lnTo>
                    <a:pt x="472" y="220"/>
                  </a:lnTo>
                  <a:lnTo>
                    <a:pt x="465" y="229"/>
                  </a:lnTo>
                  <a:lnTo>
                    <a:pt x="465" y="236"/>
                  </a:lnTo>
                  <a:lnTo>
                    <a:pt x="463" y="236"/>
                  </a:lnTo>
                  <a:lnTo>
                    <a:pt x="463" y="237"/>
                  </a:lnTo>
                  <a:lnTo>
                    <a:pt x="460" y="239"/>
                  </a:lnTo>
                  <a:lnTo>
                    <a:pt x="456" y="248"/>
                  </a:lnTo>
                  <a:lnTo>
                    <a:pt x="460" y="248"/>
                  </a:lnTo>
                  <a:lnTo>
                    <a:pt x="456" y="248"/>
                  </a:lnTo>
                  <a:lnTo>
                    <a:pt x="453" y="253"/>
                  </a:lnTo>
                  <a:lnTo>
                    <a:pt x="453" y="261"/>
                  </a:lnTo>
                  <a:lnTo>
                    <a:pt x="449" y="263"/>
                  </a:lnTo>
                  <a:lnTo>
                    <a:pt x="448" y="261"/>
                  </a:lnTo>
                  <a:lnTo>
                    <a:pt x="446" y="261"/>
                  </a:lnTo>
                  <a:lnTo>
                    <a:pt x="448" y="261"/>
                  </a:lnTo>
                  <a:lnTo>
                    <a:pt x="448" y="265"/>
                  </a:lnTo>
                  <a:lnTo>
                    <a:pt x="446" y="271"/>
                  </a:lnTo>
                  <a:lnTo>
                    <a:pt x="444" y="273"/>
                  </a:lnTo>
                  <a:lnTo>
                    <a:pt x="442" y="273"/>
                  </a:lnTo>
                  <a:lnTo>
                    <a:pt x="444" y="277"/>
                  </a:lnTo>
                  <a:lnTo>
                    <a:pt x="441" y="278"/>
                  </a:lnTo>
                  <a:lnTo>
                    <a:pt x="442" y="280"/>
                  </a:lnTo>
                  <a:lnTo>
                    <a:pt x="441" y="282"/>
                  </a:lnTo>
                  <a:lnTo>
                    <a:pt x="442" y="285"/>
                  </a:lnTo>
                  <a:lnTo>
                    <a:pt x="439" y="287"/>
                  </a:lnTo>
                  <a:lnTo>
                    <a:pt x="441" y="287"/>
                  </a:lnTo>
                  <a:lnTo>
                    <a:pt x="441" y="289"/>
                  </a:lnTo>
                  <a:lnTo>
                    <a:pt x="437" y="289"/>
                  </a:lnTo>
                  <a:lnTo>
                    <a:pt x="441" y="290"/>
                  </a:lnTo>
                  <a:lnTo>
                    <a:pt x="436" y="292"/>
                  </a:lnTo>
                  <a:lnTo>
                    <a:pt x="437" y="292"/>
                  </a:lnTo>
                  <a:lnTo>
                    <a:pt x="437" y="294"/>
                  </a:lnTo>
                  <a:lnTo>
                    <a:pt x="439" y="292"/>
                  </a:lnTo>
                  <a:lnTo>
                    <a:pt x="439" y="294"/>
                  </a:lnTo>
                  <a:lnTo>
                    <a:pt x="441" y="292"/>
                  </a:lnTo>
                  <a:lnTo>
                    <a:pt x="442" y="297"/>
                  </a:lnTo>
                  <a:lnTo>
                    <a:pt x="441" y="299"/>
                  </a:lnTo>
                  <a:lnTo>
                    <a:pt x="437" y="297"/>
                  </a:lnTo>
                  <a:lnTo>
                    <a:pt x="437" y="302"/>
                  </a:lnTo>
                  <a:lnTo>
                    <a:pt x="434" y="299"/>
                  </a:lnTo>
                  <a:lnTo>
                    <a:pt x="437" y="302"/>
                  </a:lnTo>
                  <a:lnTo>
                    <a:pt x="436" y="306"/>
                  </a:lnTo>
                  <a:lnTo>
                    <a:pt x="441" y="304"/>
                  </a:lnTo>
                  <a:lnTo>
                    <a:pt x="441" y="306"/>
                  </a:lnTo>
                  <a:lnTo>
                    <a:pt x="439" y="306"/>
                  </a:lnTo>
                  <a:lnTo>
                    <a:pt x="439" y="307"/>
                  </a:lnTo>
                  <a:lnTo>
                    <a:pt x="444" y="307"/>
                  </a:lnTo>
                  <a:lnTo>
                    <a:pt x="441" y="311"/>
                  </a:lnTo>
                  <a:lnTo>
                    <a:pt x="442" y="316"/>
                  </a:lnTo>
                  <a:lnTo>
                    <a:pt x="437" y="321"/>
                  </a:lnTo>
                  <a:lnTo>
                    <a:pt x="436" y="324"/>
                  </a:lnTo>
                  <a:lnTo>
                    <a:pt x="432" y="333"/>
                  </a:lnTo>
                  <a:lnTo>
                    <a:pt x="432" y="336"/>
                  </a:lnTo>
                  <a:lnTo>
                    <a:pt x="429" y="338"/>
                  </a:lnTo>
                  <a:lnTo>
                    <a:pt x="431" y="345"/>
                  </a:lnTo>
                  <a:lnTo>
                    <a:pt x="434" y="348"/>
                  </a:lnTo>
                  <a:lnTo>
                    <a:pt x="434" y="353"/>
                  </a:lnTo>
                  <a:lnTo>
                    <a:pt x="436" y="355"/>
                  </a:lnTo>
                  <a:lnTo>
                    <a:pt x="434" y="359"/>
                  </a:lnTo>
                  <a:lnTo>
                    <a:pt x="432" y="357"/>
                  </a:lnTo>
                  <a:lnTo>
                    <a:pt x="432" y="362"/>
                  </a:lnTo>
                  <a:lnTo>
                    <a:pt x="431" y="364"/>
                  </a:lnTo>
                  <a:lnTo>
                    <a:pt x="434" y="367"/>
                  </a:lnTo>
                  <a:lnTo>
                    <a:pt x="431" y="372"/>
                  </a:lnTo>
                  <a:lnTo>
                    <a:pt x="427" y="374"/>
                  </a:lnTo>
                  <a:lnTo>
                    <a:pt x="431" y="372"/>
                  </a:lnTo>
                  <a:lnTo>
                    <a:pt x="431" y="374"/>
                  </a:lnTo>
                  <a:lnTo>
                    <a:pt x="429" y="376"/>
                  </a:lnTo>
                  <a:lnTo>
                    <a:pt x="429" y="377"/>
                  </a:lnTo>
                  <a:lnTo>
                    <a:pt x="424" y="381"/>
                  </a:lnTo>
                  <a:lnTo>
                    <a:pt x="417" y="379"/>
                  </a:lnTo>
                  <a:lnTo>
                    <a:pt x="413" y="381"/>
                  </a:lnTo>
                  <a:lnTo>
                    <a:pt x="412" y="382"/>
                  </a:lnTo>
                  <a:lnTo>
                    <a:pt x="415" y="384"/>
                  </a:lnTo>
                  <a:lnTo>
                    <a:pt x="415" y="393"/>
                  </a:lnTo>
                  <a:lnTo>
                    <a:pt x="413" y="398"/>
                  </a:lnTo>
                  <a:lnTo>
                    <a:pt x="413" y="406"/>
                  </a:lnTo>
                  <a:lnTo>
                    <a:pt x="412" y="408"/>
                  </a:lnTo>
                  <a:lnTo>
                    <a:pt x="402" y="405"/>
                  </a:lnTo>
                  <a:lnTo>
                    <a:pt x="410" y="408"/>
                  </a:lnTo>
                  <a:lnTo>
                    <a:pt x="410" y="411"/>
                  </a:lnTo>
                  <a:lnTo>
                    <a:pt x="410" y="420"/>
                  </a:lnTo>
                  <a:lnTo>
                    <a:pt x="403" y="423"/>
                  </a:lnTo>
                  <a:lnTo>
                    <a:pt x="400" y="427"/>
                  </a:lnTo>
                  <a:lnTo>
                    <a:pt x="395" y="434"/>
                  </a:lnTo>
                  <a:lnTo>
                    <a:pt x="391" y="439"/>
                  </a:lnTo>
                  <a:lnTo>
                    <a:pt x="388" y="444"/>
                  </a:lnTo>
                  <a:lnTo>
                    <a:pt x="383" y="447"/>
                  </a:lnTo>
                  <a:lnTo>
                    <a:pt x="379" y="456"/>
                  </a:lnTo>
                  <a:lnTo>
                    <a:pt x="373" y="461"/>
                  </a:lnTo>
                  <a:lnTo>
                    <a:pt x="366" y="464"/>
                  </a:lnTo>
                  <a:lnTo>
                    <a:pt x="355" y="464"/>
                  </a:lnTo>
                  <a:lnTo>
                    <a:pt x="357" y="459"/>
                  </a:lnTo>
                  <a:lnTo>
                    <a:pt x="357" y="458"/>
                  </a:lnTo>
                  <a:lnTo>
                    <a:pt x="359" y="458"/>
                  </a:lnTo>
                  <a:lnTo>
                    <a:pt x="357" y="456"/>
                  </a:lnTo>
                  <a:lnTo>
                    <a:pt x="359" y="454"/>
                  </a:lnTo>
                  <a:lnTo>
                    <a:pt x="355" y="458"/>
                  </a:lnTo>
                  <a:lnTo>
                    <a:pt x="354" y="456"/>
                  </a:lnTo>
                  <a:lnTo>
                    <a:pt x="354" y="452"/>
                  </a:lnTo>
                  <a:lnTo>
                    <a:pt x="352" y="446"/>
                  </a:lnTo>
                  <a:lnTo>
                    <a:pt x="349" y="446"/>
                  </a:lnTo>
                  <a:lnTo>
                    <a:pt x="350" y="444"/>
                  </a:lnTo>
                  <a:lnTo>
                    <a:pt x="347" y="444"/>
                  </a:lnTo>
                  <a:lnTo>
                    <a:pt x="350" y="435"/>
                  </a:lnTo>
                  <a:lnTo>
                    <a:pt x="349" y="435"/>
                  </a:lnTo>
                  <a:lnTo>
                    <a:pt x="345" y="442"/>
                  </a:lnTo>
                  <a:lnTo>
                    <a:pt x="343" y="442"/>
                  </a:lnTo>
                  <a:lnTo>
                    <a:pt x="345" y="444"/>
                  </a:lnTo>
                  <a:lnTo>
                    <a:pt x="343" y="446"/>
                  </a:lnTo>
                  <a:lnTo>
                    <a:pt x="345" y="447"/>
                  </a:lnTo>
                  <a:lnTo>
                    <a:pt x="342" y="447"/>
                  </a:lnTo>
                  <a:lnTo>
                    <a:pt x="343" y="447"/>
                  </a:lnTo>
                  <a:lnTo>
                    <a:pt x="345" y="447"/>
                  </a:lnTo>
                  <a:lnTo>
                    <a:pt x="347" y="447"/>
                  </a:lnTo>
                  <a:lnTo>
                    <a:pt x="350" y="451"/>
                  </a:lnTo>
                  <a:lnTo>
                    <a:pt x="349" y="451"/>
                  </a:lnTo>
                  <a:lnTo>
                    <a:pt x="352" y="454"/>
                  </a:lnTo>
                  <a:lnTo>
                    <a:pt x="349" y="456"/>
                  </a:lnTo>
                  <a:lnTo>
                    <a:pt x="354" y="461"/>
                  </a:lnTo>
                  <a:lnTo>
                    <a:pt x="350" y="466"/>
                  </a:lnTo>
                  <a:lnTo>
                    <a:pt x="350" y="475"/>
                  </a:lnTo>
                  <a:lnTo>
                    <a:pt x="350" y="476"/>
                  </a:lnTo>
                  <a:lnTo>
                    <a:pt x="345" y="476"/>
                  </a:lnTo>
                  <a:lnTo>
                    <a:pt x="338" y="480"/>
                  </a:lnTo>
                  <a:lnTo>
                    <a:pt x="333" y="482"/>
                  </a:lnTo>
                  <a:lnTo>
                    <a:pt x="325" y="487"/>
                  </a:lnTo>
                  <a:lnTo>
                    <a:pt x="323" y="492"/>
                  </a:lnTo>
                  <a:lnTo>
                    <a:pt x="325" y="495"/>
                  </a:lnTo>
                  <a:lnTo>
                    <a:pt x="326" y="504"/>
                  </a:lnTo>
                  <a:lnTo>
                    <a:pt x="323" y="505"/>
                  </a:lnTo>
                  <a:lnTo>
                    <a:pt x="318" y="509"/>
                  </a:lnTo>
                  <a:lnTo>
                    <a:pt x="313" y="509"/>
                  </a:lnTo>
                  <a:lnTo>
                    <a:pt x="306" y="514"/>
                  </a:lnTo>
                  <a:lnTo>
                    <a:pt x="301" y="516"/>
                  </a:lnTo>
                  <a:lnTo>
                    <a:pt x="299" y="516"/>
                  </a:lnTo>
                  <a:lnTo>
                    <a:pt x="297" y="512"/>
                  </a:lnTo>
                  <a:lnTo>
                    <a:pt x="296" y="519"/>
                  </a:lnTo>
                  <a:lnTo>
                    <a:pt x="287" y="517"/>
                  </a:lnTo>
                  <a:lnTo>
                    <a:pt x="294" y="519"/>
                  </a:lnTo>
                  <a:lnTo>
                    <a:pt x="291" y="524"/>
                  </a:lnTo>
                  <a:lnTo>
                    <a:pt x="284" y="522"/>
                  </a:lnTo>
                  <a:lnTo>
                    <a:pt x="284" y="524"/>
                  </a:lnTo>
                  <a:lnTo>
                    <a:pt x="291" y="528"/>
                  </a:lnTo>
                  <a:lnTo>
                    <a:pt x="301" y="524"/>
                  </a:lnTo>
                  <a:lnTo>
                    <a:pt x="304" y="526"/>
                  </a:lnTo>
                  <a:lnTo>
                    <a:pt x="304" y="522"/>
                  </a:lnTo>
                  <a:lnTo>
                    <a:pt x="313" y="524"/>
                  </a:lnTo>
                  <a:lnTo>
                    <a:pt x="314" y="529"/>
                  </a:lnTo>
                  <a:lnTo>
                    <a:pt x="309" y="536"/>
                  </a:lnTo>
                  <a:lnTo>
                    <a:pt x="311" y="536"/>
                  </a:lnTo>
                  <a:lnTo>
                    <a:pt x="314" y="541"/>
                  </a:lnTo>
                  <a:lnTo>
                    <a:pt x="314" y="548"/>
                  </a:lnTo>
                  <a:lnTo>
                    <a:pt x="314" y="557"/>
                  </a:lnTo>
                  <a:lnTo>
                    <a:pt x="314" y="558"/>
                  </a:lnTo>
                  <a:lnTo>
                    <a:pt x="306" y="562"/>
                  </a:lnTo>
                  <a:lnTo>
                    <a:pt x="301" y="567"/>
                  </a:lnTo>
                  <a:lnTo>
                    <a:pt x="306" y="565"/>
                  </a:lnTo>
                  <a:lnTo>
                    <a:pt x="306" y="567"/>
                  </a:lnTo>
                  <a:lnTo>
                    <a:pt x="313" y="567"/>
                  </a:lnTo>
                  <a:lnTo>
                    <a:pt x="320" y="563"/>
                  </a:lnTo>
                  <a:lnTo>
                    <a:pt x="323" y="570"/>
                  </a:lnTo>
                  <a:lnTo>
                    <a:pt x="321" y="570"/>
                  </a:lnTo>
                  <a:lnTo>
                    <a:pt x="326" y="572"/>
                  </a:lnTo>
                  <a:lnTo>
                    <a:pt x="325" y="575"/>
                  </a:lnTo>
                  <a:lnTo>
                    <a:pt x="330" y="572"/>
                  </a:lnTo>
                  <a:lnTo>
                    <a:pt x="332" y="575"/>
                  </a:lnTo>
                  <a:lnTo>
                    <a:pt x="330" y="575"/>
                  </a:lnTo>
                  <a:lnTo>
                    <a:pt x="330" y="582"/>
                  </a:lnTo>
                  <a:lnTo>
                    <a:pt x="328" y="591"/>
                  </a:lnTo>
                  <a:lnTo>
                    <a:pt x="326" y="599"/>
                  </a:lnTo>
                  <a:lnTo>
                    <a:pt x="318" y="596"/>
                  </a:lnTo>
                  <a:lnTo>
                    <a:pt x="308" y="594"/>
                  </a:lnTo>
                  <a:lnTo>
                    <a:pt x="304" y="594"/>
                  </a:lnTo>
                  <a:lnTo>
                    <a:pt x="297" y="593"/>
                  </a:lnTo>
                  <a:lnTo>
                    <a:pt x="289" y="589"/>
                  </a:lnTo>
                  <a:lnTo>
                    <a:pt x="282" y="589"/>
                  </a:lnTo>
                  <a:lnTo>
                    <a:pt x="262" y="589"/>
                  </a:lnTo>
                  <a:lnTo>
                    <a:pt x="260" y="589"/>
                  </a:lnTo>
                  <a:lnTo>
                    <a:pt x="258" y="589"/>
                  </a:lnTo>
                  <a:lnTo>
                    <a:pt x="253" y="591"/>
                  </a:lnTo>
                  <a:lnTo>
                    <a:pt x="246" y="591"/>
                  </a:lnTo>
                  <a:lnTo>
                    <a:pt x="246" y="596"/>
                  </a:lnTo>
                  <a:lnTo>
                    <a:pt x="241" y="598"/>
                  </a:lnTo>
                  <a:lnTo>
                    <a:pt x="239" y="589"/>
                  </a:lnTo>
                  <a:lnTo>
                    <a:pt x="243" y="586"/>
                  </a:lnTo>
                  <a:lnTo>
                    <a:pt x="238" y="582"/>
                  </a:lnTo>
                  <a:lnTo>
                    <a:pt x="239" y="579"/>
                  </a:lnTo>
                  <a:lnTo>
                    <a:pt x="236" y="574"/>
                  </a:lnTo>
                  <a:lnTo>
                    <a:pt x="236" y="572"/>
                  </a:lnTo>
                  <a:lnTo>
                    <a:pt x="238" y="563"/>
                  </a:lnTo>
                  <a:lnTo>
                    <a:pt x="239" y="558"/>
                  </a:lnTo>
                  <a:lnTo>
                    <a:pt x="236" y="557"/>
                  </a:lnTo>
                  <a:lnTo>
                    <a:pt x="231" y="557"/>
                  </a:lnTo>
                  <a:lnTo>
                    <a:pt x="227" y="555"/>
                  </a:lnTo>
                  <a:lnTo>
                    <a:pt x="229" y="550"/>
                  </a:lnTo>
                  <a:lnTo>
                    <a:pt x="226" y="548"/>
                  </a:lnTo>
                  <a:lnTo>
                    <a:pt x="226" y="550"/>
                  </a:lnTo>
                  <a:lnTo>
                    <a:pt x="224" y="548"/>
                  </a:lnTo>
                  <a:lnTo>
                    <a:pt x="227" y="541"/>
                  </a:lnTo>
                  <a:lnTo>
                    <a:pt x="226" y="541"/>
                  </a:lnTo>
                  <a:lnTo>
                    <a:pt x="227" y="534"/>
                  </a:lnTo>
                  <a:lnTo>
                    <a:pt x="227" y="528"/>
                  </a:lnTo>
                  <a:lnTo>
                    <a:pt x="224" y="526"/>
                  </a:lnTo>
                  <a:lnTo>
                    <a:pt x="222" y="528"/>
                  </a:lnTo>
                  <a:lnTo>
                    <a:pt x="222" y="526"/>
                  </a:lnTo>
                  <a:lnTo>
                    <a:pt x="224" y="519"/>
                  </a:lnTo>
                  <a:lnTo>
                    <a:pt x="221" y="516"/>
                  </a:lnTo>
                  <a:lnTo>
                    <a:pt x="221" y="507"/>
                  </a:lnTo>
                  <a:lnTo>
                    <a:pt x="217" y="504"/>
                  </a:lnTo>
                  <a:lnTo>
                    <a:pt x="215" y="500"/>
                  </a:lnTo>
                  <a:lnTo>
                    <a:pt x="217" y="499"/>
                  </a:lnTo>
                  <a:lnTo>
                    <a:pt x="215" y="495"/>
                  </a:lnTo>
                  <a:lnTo>
                    <a:pt x="219" y="493"/>
                  </a:lnTo>
                  <a:lnTo>
                    <a:pt x="219" y="488"/>
                  </a:lnTo>
                  <a:lnTo>
                    <a:pt x="221" y="487"/>
                  </a:lnTo>
                  <a:lnTo>
                    <a:pt x="224" y="482"/>
                  </a:lnTo>
                  <a:lnTo>
                    <a:pt x="229" y="475"/>
                  </a:lnTo>
                  <a:lnTo>
                    <a:pt x="231" y="468"/>
                  </a:lnTo>
                  <a:lnTo>
                    <a:pt x="234" y="458"/>
                  </a:lnTo>
                  <a:lnTo>
                    <a:pt x="238" y="454"/>
                  </a:lnTo>
                  <a:lnTo>
                    <a:pt x="241" y="451"/>
                  </a:lnTo>
                  <a:lnTo>
                    <a:pt x="236" y="446"/>
                  </a:lnTo>
                  <a:lnTo>
                    <a:pt x="231" y="447"/>
                  </a:lnTo>
                  <a:lnTo>
                    <a:pt x="229" y="442"/>
                  </a:lnTo>
                  <a:lnTo>
                    <a:pt x="224" y="437"/>
                  </a:lnTo>
                  <a:lnTo>
                    <a:pt x="221" y="439"/>
                  </a:lnTo>
                  <a:lnTo>
                    <a:pt x="219" y="430"/>
                  </a:lnTo>
                  <a:lnTo>
                    <a:pt x="210" y="425"/>
                  </a:lnTo>
                  <a:lnTo>
                    <a:pt x="205" y="417"/>
                  </a:lnTo>
                  <a:lnTo>
                    <a:pt x="204" y="417"/>
                  </a:lnTo>
                  <a:lnTo>
                    <a:pt x="197" y="411"/>
                  </a:lnTo>
                  <a:lnTo>
                    <a:pt x="190" y="411"/>
                  </a:lnTo>
                  <a:lnTo>
                    <a:pt x="186" y="408"/>
                  </a:lnTo>
                  <a:lnTo>
                    <a:pt x="185" y="401"/>
                  </a:lnTo>
                  <a:lnTo>
                    <a:pt x="183" y="394"/>
                  </a:lnTo>
                  <a:lnTo>
                    <a:pt x="181" y="389"/>
                  </a:lnTo>
                  <a:lnTo>
                    <a:pt x="181" y="381"/>
                  </a:lnTo>
                  <a:lnTo>
                    <a:pt x="176" y="372"/>
                  </a:lnTo>
                  <a:lnTo>
                    <a:pt x="169" y="365"/>
                  </a:lnTo>
                  <a:lnTo>
                    <a:pt x="171" y="362"/>
                  </a:lnTo>
                  <a:lnTo>
                    <a:pt x="169" y="357"/>
                  </a:lnTo>
                  <a:lnTo>
                    <a:pt x="169" y="353"/>
                  </a:lnTo>
                  <a:lnTo>
                    <a:pt x="168" y="347"/>
                  </a:lnTo>
                  <a:lnTo>
                    <a:pt x="171" y="347"/>
                  </a:lnTo>
                  <a:lnTo>
                    <a:pt x="169" y="340"/>
                  </a:lnTo>
                  <a:lnTo>
                    <a:pt x="173" y="335"/>
                  </a:lnTo>
                  <a:lnTo>
                    <a:pt x="173" y="330"/>
                  </a:lnTo>
                  <a:lnTo>
                    <a:pt x="178" y="323"/>
                  </a:lnTo>
                  <a:lnTo>
                    <a:pt x="176" y="316"/>
                  </a:lnTo>
                  <a:lnTo>
                    <a:pt x="169" y="318"/>
                  </a:lnTo>
                  <a:lnTo>
                    <a:pt x="166" y="321"/>
                  </a:lnTo>
                  <a:lnTo>
                    <a:pt x="164" y="321"/>
                  </a:lnTo>
                  <a:lnTo>
                    <a:pt x="159" y="324"/>
                  </a:lnTo>
                  <a:lnTo>
                    <a:pt x="157" y="328"/>
                  </a:lnTo>
                  <a:lnTo>
                    <a:pt x="151" y="330"/>
                  </a:lnTo>
                  <a:lnTo>
                    <a:pt x="145" y="335"/>
                  </a:lnTo>
                  <a:lnTo>
                    <a:pt x="139" y="333"/>
                  </a:lnTo>
                  <a:lnTo>
                    <a:pt x="132" y="335"/>
                  </a:lnTo>
                  <a:lnTo>
                    <a:pt x="130" y="328"/>
                  </a:lnTo>
                  <a:lnTo>
                    <a:pt x="132" y="323"/>
                  </a:lnTo>
                  <a:lnTo>
                    <a:pt x="127" y="314"/>
                  </a:lnTo>
                  <a:lnTo>
                    <a:pt x="128" y="307"/>
                  </a:lnTo>
                  <a:lnTo>
                    <a:pt x="120" y="302"/>
                  </a:lnTo>
                  <a:lnTo>
                    <a:pt x="118" y="304"/>
                  </a:lnTo>
                  <a:lnTo>
                    <a:pt x="115" y="300"/>
                  </a:lnTo>
                  <a:lnTo>
                    <a:pt x="116" y="290"/>
                  </a:lnTo>
                  <a:lnTo>
                    <a:pt x="120" y="289"/>
                  </a:lnTo>
                  <a:lnTo>
                    <a:pt x="120" y="285"/>
                  </a:lnTo>
                  <a:lnTo>
                    <a:pt x="125" y="283"/>
                  </a:lnTo>
                  <a:lnTo>
                    <a:pt x="128" y="275"/>
                  </a:lnTo>
                  <a:lnTo>
                    <a:pt x="132" y="271"/>
                  </a:lnTo>
                  <a:lnTo>
                    <a:pt x="135" y="275"/>
                  </a:lnTo>
                  <a:lnTo>
                    <a:pt x="142" y="271"/>
                  </a:lnTo>
                  <a:lnTo>
                    <a:pt x="145" y="275"/>
                  </a:lnTo>
                  <a:lnTo>
                    <a:pt x="149" y="271"/>
                  </a:lnTo>
                  <a:lnTo>
                    <a:pt x="152" y="271"/>
                  </a:lnTo>
                  <a:lnTo>
                    <a:pt x="156" y="265"/>
                  </a:lnTo>
                  <a:lnTo>
                    <a:pt x="156" y="259"/>
                  </a:lnTo>
                  <a:lnTo>
                    <a:pt x="152" y="258"/>
                  </a:lnTo>
                  <a:lnTo>
                    <a:pt x="149" y="251"/>
                  </a:lnTo>
                  <a:lnTo>
                    <a:pt x="145" y="246"/>
                  </a:lnTo>
                  <a:lnTo>
                    <a:pt x="142" y="239"/>
                  </a:lnTo>
                  <a:lnTo>
                    <a:pt x="142" y="237"/>
                  </a:lnTo>
                  <a:lnTo>
                    <a:pt x="140" y="236"/>
                  </a:lnTo>
                  <a:lnTo>
                    <a:pt x="139" y="227"/>
                  </a:lnTo>
                  <a:lnTo>
                    <a:pt x="137" y="222"/>
                  </a:lnTo>
                  <a:lnTo>
                    <a:pt x="130" y="217"/>
                  </a:lnTo>
                  <a:lnTo>
                    <a:pt x="125" y="224"/>
                  </a:lnTo>
                  <a:lnTo>
                    <a:pt x="125" y="227"/>
                  </a:lnTo>
                  <a:lnTo>
                    <a:pt x="118" y="222"/>
                  </a:lnTo>
                  <a:lnTo>
                    <a:pt x="115" y="224"/>
                  </a:lnTo>
                  <a:lnTo>
                    <a:pt x="111" y="222"/>
                  </a:lnTo>
                  <a:lnTo>
                    <a:pt x="106" y="227"/>
                  </a:lnTo>
                  <a:lnTo>
                    <a:pt x="104" y="227"/>
                  </a:lnTo>
                  <a:lnTo>
                    <a:pt x="104" y="225"/>
                  </a:lnTo>
                  <a:lnTo>
                    <a:pt x="99" y="227"/>
                  </a:lnTo>
                  <a:lnTo>
                    <a:pt x="98" y="230"/>
                  </a:lnTo>
                  <a:lnTo>
                    <a:pt x="91" y="237"/>
                  </a:lnTo>
                  <a:lnTo>
                    <a:pt x="86" y="236"/>
                  </a:lnTo>
                  <a:lnTo>
                    <a:pt x="86" y="241"/>
                  </a:lnTo>
                  <a:lnTo>
                    <a:pt x="82" y="244"/>
                  </a:lnTo>
                  <a:lnTo>
                    <a:pt x="75" y="244"/>
                  </a:lnTo>
                  <a:lnTo>
                    <a:pt x="72" y="246"/>
                  </a:lnTo>
                  <a:lnTo>
                    <a:pt x="72" y="251"/>
                  </a:lnTo>
                  <a:lnTo>
                    <a:pt x="70" y="253"/>
                  </a:lnTo>
                  <a:lnTo>
                    <a:pt x="67" y="251"/>
                  </a:lnTo>
                  <a:lnTo>
                    <a:pt x="64" y="248"/>
                  </a:lnTo>
                  <a:lnTo>
                    <a:pt x="58" y="246"/>
                  </a:lnTo>
                  <a:lnTo>
                    <a:pt x="53" y="248"/>
                  </a:lnTo>
                  <a:lnTo>
                    <a:pt x="48" y="248"/>
                  </a:lnTo>
                  <a:lnTo>
                    <a:pt x="45" y="248"/>
                  </a:lnTo>
                  <a:lnTo>
                    <a:pt x="41" y="242"/>
                  </a:lnTo>
                  <a:lnTo>
                    <a:pt x="38" y="241"/>
                  </a:lnTo>
                  <a:lnTo>
                    <a:pt x="38" y="239"/>
                  </a:lnTo>
                  <a:lnTo>
                    <a:pt x="41" y="237"/>
                  </a:lnTo>
                  <a:lnTo>
                    <a:pt x="41" y="236"/>
                  </a:lnTo>
                  <a:lnTo>
                    <a:pt x="38" y="230"/>
                  </a:lnTo>
                  <a:lnTo>
                    <a:pt x="33" y="229"/>
                  </a:lnTo>
                  <a:lnTo>
                    <a:pt x="28" y="229"/>
                  </a:lnTo>
                  <a:lnTo>
                    <a:pt x="21" y="232"/>
                  </a:lnTo>
                  <a:lnTo>
                    <a:pt x="19" y="232"/>
                  </a:lnTo>
                  <a:lnTo>
                    <a:pt x="9" y="232"/>
                  </a:lnTo>
                  <a:lnTo>
                    <a:pt x="7" y="234"/>
                  </a:lnTo>
                  <a:lnTo>
                    <a:pt x="5" y="232"/>
                  </a:lnTo>
                  <a:lnTo>
                    <a:pt x="2" y="232"/>
                  </a:lnTo>
                  <a:lnTo>
                    <a:pt x="0" y="229"/>
                  </a:lnTo>
                  <a:lnTo>
                    <a:pt x="7" y="225"/>
                  </a:lnTo>
                  <a:lnTo>
                    <a:pt x="7" y="217"/>
                  </a:lnTo>
                  <a:lnTo>
                    <a:pt x="11" y="210"/>
                  </a:lnTo>
                  <a:lnTo>
                    <a:pt x="5" y="205"/>
                  </a:lnTo>
                  <a:lnTo>
                    <a:pt x="5" y="200"/>
                  </a:lnTo>
                  <a:lnTo>
                    <a:pt x="11" y="193"/>
                  </a:lnTo>
                  <a:lnTo>
                    <a:pt x="7" y="188"/>
                  </a:lnTo>
                  <a:lnTo>
                    <a:pt x="7" y="186"/>
                  </a:lnTo>
                  <a:lnTo>
                    <a:pt x="14" y="183"/>
                  </a:lnTo>
                  <a:lnTo>
                    <a:pt x="16" y="177"/>
                  </a:lnTo>
                  <a:lnTo>
                    <a:pt x="19" y="174"/>
                  </a:lnTo>
                  <a:lnTo>
                    <a:pt x="26" y="176"/>
                  </a:lnTo>
                  <a:lnTo>
                    <a:pt x="31" y="171"/>
                  </a:lnTo>
                  <a:lnTo>
                    <a:pt x="33" y="174"/>
                  </a:lnTo>
                  <a:lnTo>
                    <a:pt x="35" y="174"/>
                  </a:lnTo>
                  <a:lnTo>
                    <a:pt x="38" y="169"/>
                  </a:lnTo>
                  <a:lnTo>
                    <a:pt x="36" y="162"/>
                  </a:lnTo>
                  <a:lnTo>
                    <a:pt x="40" y="160"/>
                  </a:lnTo>
                  <a:lnTo>
                    <a:pt x="38" y="157"/>
                  </a:lnTo>
                  <a:lnTo>
                    <a:pt x="38" y="148"/>
                  </a:lnTo>
                  <a:lnTo>
                    <a:pt x="45" y="142"/>
                  </a:lnTo>
                  <a:lnTo>
                    <a:pt x="48" y="138"/>
                  </a:lnTo>
                  <a:lnTo>
                    <a:pt x="57" y="137"/>
                  </a:lnTo>
                  <a:lnTo>
                    <a:pt x="60" y="133"/>
                  </a:lnTo>
                  <a:lnTo>
                    <a:pt x="65" y="133"/>
                  </a:lnTo>
                  <a:lnTo>
                    <a:pt x="67" y="130"/>
                  </a:lnTo>
                  <a:lnTo>
                    <a:pt x="69" y="130"/>
                  </a:lnTo>
                  <a:lnTo>
                    <a:pt x="77" y="135"/>
                  </a:lnTo>
                  <a:lnTo>
                    <a:pt x="81" y="137"/>
                  </a:lnTo>
                  <a:lnTo>
                    <a:pt x="87" y="140"/>
                  </a:lnTo>
                  <a:lnTo>
                    <a:pt x="93" y="147"/>
                  </a:lnTo>
                  <a:lnTo>
                    <a:pt x="98" y="150"/>
                  </a:lnTo>
                  <a:lnTo>
                    <a:pt x="104" y="152"/>
                  </a:lnTo>
                  <a:lnTo>
                    <a:pt x="108" y="157"/>
                  </a:lnTo>
                  <a:lnTo>
                    <a:pt x="106" y="160"/>
                  </a:lnTo>
                  <a:lnTo>
                    <a:pt x="111" y="162"/>
                  </a:lnTo>
                  <a:lnTo>
                    <a:pt x="118" y="171"/>
                  </a:lnTo>
                  <a:lnTo>
                    <a:pt x="123" y="174"/>
                  </a:lnTo>
                  <a:lnTo>
                    <a:pt x="123" y="171"/>
                  </a:lnTo>
                  <a:lnTo>
                    <a:pt x="128" y="167"/>
                  </a:lnTo>
                  <a:lnTo>
                    <a:pt x="134" y="172"/>
                  </a:lnTo>
                  <a:lnTo>
                    <a:pt x="139" y="171"/>
                  </a:lnTo>
                  <a:lnTo>
                    <a:pt x="140" y="177"/>
                  </a:lnTo>
                  <a:lnTo>
                    <a:pt x="149" y="177"/>
                  </a:lnTo>
                  <a:lnTo>
                    <a:pt x="154" y="176"/>
                  </a:lnTo>
                  <a:lnTo>
                    <a:pt x="161" y="177"/>
                  </a:lnTo>
                  <a:lnTo>
                    <a:pt x="163" y="179"/>
                  </a:lnTo>
                  <a:lnTo>
                    <a:pt x="163" y="184"/>
                  </a:lnTo>
                  <a:lnTo>
                    <a:pt x="171" y="186"/>
                  </a:lnTo>
                  <a:lnTo>
                    <a:pt x="174" y="186"/>
                  </a:lnTo>
                  <a:lnTo>
                    <a:pt x="176" y="184"/>
                  </a:lnTo>
                  <a:lnTo>
                    <a:pt x="181" y="184"/>
                  </a:lnTo>
                  <a:lnTo>
                    <a:pt x="185" y="183"/>
                  </a:lnTo>
                  <a:lnTo>
                    <a:pt x="190" y="176"/>
                  </a:lnTo>
                  <a:lnTo>
                    <a:pt x="188" y="169"/>
                  </a:lnTo>
                  <a:lnTo>
                    <a:pt x="192" y="164"/>
                  </a:lnTo>
                  <a:lnTo>
                    <a:pt x="198" y="160"/>
                  </a:lnTo>
                  <a:lnTo>
                    <a:pt x="205" y="160"/>
                  </a:lnTo>
                  <a:lnTo>
                    <a:pt x="214" y="157"/>
                  </a:lnTo>
                  <a:lnTo>
                    <a:pt x="217" y="157"/>
                  </a:lnTo>
                  <a:lnTo>
                    <a:pt x="226" y="160"/>
                  </a:lnTo>
                  <a:lnTo>
                    <a:pt x="227" y="159"/>
                  </a:lnTo>
                  <a:lnTo>
                    <a:pt x="233" y="150"/>
                  </a:lnTo>
                  <a:lnTo>
                    <a:pt x="241" y="147"/>
                  </a:lnTo>
                  <a:lnTo>
                    <a:pt x="243" y="140"/>
                  </a:lnTo>
                  <a:lnTo>
                    <a:pt x="253" y="135"/>
                  </a:lnTo>
                  <a:lnTo>
                    <a:pt x="256" y="128"/>
                  </a:lnTo>
                  <a:lnTo>
                    <a:pt x="260" y="130"/>
                  </a:lnTo>
                  <a:lnTo>
                    <a:pt x="263" y="126"/>
                  </a:lnTo>
                  <a:lnTo>
                    <a:pt x="265" y="123"/>
                  </a:lnTo>
                  <a:lnTo>
                    <a:pt x="263" y="121"/>
                  </a:lnTo>
                  <a:lnTo>
                    <a:pt x="270" y="113"/>
                  </a:lnTo>
                  <a:lnTo>
                    <a:pt x="275" y="113"/>
                  </a:lnTo>
                  <a:lnTo>
                    <a:pt x="279" y="102"/>
                  </a:lnTo>
                  <a:lnTo>
                    <a:pt x="282" y="92"/>
                  </a:lnTo>
                  <a:lnTo>
                    <a:pt x="280" y="84"/>
                  </a:lnTo>
                  <a:lnTo>
                    <a:pt x="284" y="78"/>
                  </a:lnTo>
                  <a:lnTo>
                    <a:pt x="282" y="73"/>
                  </a:lnTo>
                  <a:lnTo>
                    <a:pt x="287" y="70"/>
                  </a:lnTo>
                  <a:lnTo>
                    <a:pt x="287" y="65"/>
                  </a:lnTo>
                  <a:lnTo>
                    <a:pt x="285" y="65"/>
                  </a:lnTo>
                  <a:lnTo>
                    <a:pt x="285" y="61"/>
                  </a:lnTo>
                  <a:lnTo>
                    <a:pt x="294" y="58"/>
                  </a:lnTo>
                  <a:lnTo>
                    <a:pt x="294" y="56"/>
                  </a:lnTo>
                  <a:lnTo>
                    <a:pt x="297" y="56"/>
                  </a:lnTo>
                  <a:lnTo>
                    <a:pt x="303" y="51"/>
                  </a:lnTo>
                  <a:lnTo>
                    <a:pt x="296" y="44"/>
                  </a:lnTo>
                  <a:lnTo>
                    <a:pt x="294" y="43"/>
                  </a:lnTo>
                  <a:lnTo>
                    <a:pt x="297" y="37"/>
                  </a:lnTo>
                  <a:lnTo>
                    <a:pt x="299" y="37"/>
                  </a:lnTo>
                  <a:lnTo>
                    <a:pt x="309" y="36"/>
                  </a:lnTo>
                  <a:lnTo>
                    <a:pt x="314" y="37"/>
                  </a:lnTo>
                  <a:lnTo>
                    <a:pt x="316" y="37"/>
                  </a:lnTo>
                  <a:lnTo>
                    <a:pt x="316" y="34"/>
                  </a:lnTo>
                  <a:lnTo>
                    <a:pt x="320" y="31"/>
                  </a:lnTo>
                  <a:lnTo>
                    <a:pt x="318" y="24"/>
                  </a:lnTo>
                  <a:lnTo>
                    <a:pt x="320" y="17"/>
                  </a:lnTo>
                  <a:lnTo>
                    <a:pt x="323" y="19"/>
                  </a:lnTo>
                  <a:lnTo>
                    <a:pt x="326" y="17"/>
                  </a:lnTo>
                  <a:lnTo>
                    <a:pt x="328" y="20"/>
                  </a:lnTo>
                  <a:lnTo>
                    <a:pt x="333" y="22"/>
                  </a:lnTo>
                  <a:lnTo>
                    <a:pt x="335" y="19"/>
                  </a:lnTo>
                  <a:lnTo>
                    <a:pt x="342" y="12"/>
                  </a:lnTo>
                  <a:lnTo>
                    <a:pt x="347" y="8"/>
                  </a:lnTo>
                  <a:lnTo>
                    <a:pt x="349" y="10"/>
                  </a:lnTo>
                  <a:lnTo>
                    <a:pt x="352" y="19"/>
                  </a:lnTo>
                  <a:lnTo>
                    <a:pt x="354" y="25"/>
                  </a:lnTo>
                  <a:lnTo>
                    <a:pt x="355" y="25"/>
                  </a:lnTo>
                  <a:lnTo>
                    <a:pt x="357" y="24"/>
                  </a:lnTo>
                  <a:lnTo>
                    <a:pt x="361" y="17"/>
                  </a:lnTo>
                  <a:lnTo>
                    <a:pt x="369" y="14"/>
                  </a:lnTo>
                  <a:lnTo>
                    <a:pt x="374" y="10"/>
                  </a:lnTo>
                  <a:lnTo>
                    <a:pt x="383" y="8"/>
                  </a:lnTo>
                  <a:lnTo>
                    <a:pt x="388" y="0"/>
                  </a:lnTo>
                  <a:lnTo>
                    <a:pt x="393" y="0"/>
                  </a:lnTo>
                  <a:lnTo>
                    <a:pt x="400" y="2"/>
                  </a:lnTo>
                  <a:lnTo>
                    <a:pt x="408" y="3"/>
                  </a:lnTo>
                  <a:lnTo>
                    <a:pt x="415" y="0"/>
                  </a:lnTo>
                  <a:lnTo>
                    <a:pt x="425" y="0"/>
                  </a:lnTo>
                  <a:lnTo>
                    <a:pt x="427" y="0"/>
                  </a:lnTo>
                  <a:lnTo>
                    <a:pt x="434" y="7"/>
                  </a:lnTo>
                  <a:lnTo>
                    <a:pt x="439" y="8"/>
                  </a:lnTo>
                  <a:lnTo>
                    <a:pt x="448" y="12"/>
                  </a:lnTo>
                  <a:lnTo>
                    <a:pt x="453" y="10"/>
                  </a:lnTo>
                  <a:lnTo>
                    <a:pt x="456" y="15"/>
                  </a:lnTo>
                  <a:lnTo>
                    <a:pt x="460" y="19"/>
                  </a:lnTo>
                  <a:lnTo>
                    <a:pt x="461" y="24"/>
                  </a:lnTo>
                  <a:lnTo>
                    <a:pt x="465" y="24"/>
                  </a:lnTo>
                  <a:lnTo>
                    <a:pt x="466" y="31"/>
                  </a:lnTo>
                  <a:lnTo>
                    <a:pt x="468" y="32"/>
                  </a:lnTo>
                  <a:lnTo>
                    <a:pt x="477" y="32"/>
                  </a:lnTo>
                  <a:lnTo>
                    <a:pt x="483" y="25"/>
                  </a:lnTo>
                  <a:lnTo>
                    <a:pt x="489" y="24"/>
                  </a:lnTo>
                  <a:lnTo>
                    <a:pt x="490" y="25"/>
                  </a:lnTo>
                  <a:lnTo>
                    <a:pt x="494" y="20"/>
                  </a:lnTo>
                  <a:lnTo>
                    <a:pt x="497" y="20"/>
                  </a:lnTo>
                  <a:close/>
                </a:path>
              </a:pathLst>
            </a:custGeom>
            <a:grpFill/>
            <a:ln w="6350">
              <a:noFill/>
            </a:ln>
          </p:spPr>
          <p:txBody>
            <a:bodyPr vert="horz" wrap="square" lIns="91440" tIns="45720" rIns="91440" bIns="45720" numCol="1" anchor="t" anchorCtr="0" compatLnSpc="1"/>
            <a:lstStyle/>
            <a:p>
              <a:pPr fontAlgn="auto">
                <a:spcBef>
                  <a:spcPts val="0"/>
                </a:spcBef>
                <a:spcAft>
                  <a:spcPts val="0"/>
                </a:spcAft>
              </a:pPr>
              <a:endParaRPr lang="en-US" sz="1800" kern="0">
                <a:solidFill>
                  <a:srgbClr val="000000"/>
                </a:solidFill>
              </a:endParaRPr>
            </a:p>
          </p:txBody>
        </p:sp>
        <p:sp>
          <p:nvSpPr>
            <p:cNvPr id="81" name="Freeform 54"/>
            <p:cNvSpPr>
              <a:spLocks noEditPoints="1"/>
            </p:cNvSpPr>
            <p:nvPr/>
          </p:nvSpPr>
          <p:spPr bwMode="gray">
            <a:xfrm>
              <a:off x="6594003" y="2926684"/>
              <a:ext cx="523540" cy="162353"/>
            </a:xfrm>
            <a:custGeom>
              <a:avLst/>
              <a:gdLst>
                <a:gd name="T0" fmla="*/ 63 w 287"/>
                <a:gd name="T1" fmla="*/ 67 h 89"/>
                <a:gd name="T2" fmla="*/ 208 w 287"/>
                <a:gd name="T3" fmla="*/ 24 h 89"/>
                <a:gd name="T4" fmla="*/ 193 w 287"/>
                <a:gd name="T5" fmla="*/ 17 h 89"/>
                <a:gd name="T6" fmla="*/ 193 w 287"/>
                <a:gd name="T7" fmla="*/ 17 h 89"/>
                <a:gd name="T8" fmla="*/ 246 w 287"/>
                <a:gd name="T9" fmla="*/ 22 h 89"/>
                <a:gd name="T10" fmla="*/ 249 w 287"/>
                <a:gd name="T11" fmla="*/ 39 h 89"/>
                <a:gd name="T12" fmla="*/ 273 w 287"/>
                <a:gd name="T13" fmla="*/ 48 h 89"/>
                <a:gd name="T14" fmla="*/ 283 w 287"/>
                <a:gd name="T15" fmla="*/ 62 h 89"/>
                <a:gd name="T16" fmla="*/ 287 w 287"/>
                <a:gd name="T17" fmla="*/ 73 h 89"/>
                <a:gd name="T18" fmla="*/ 270 w 287"/>
                <a:gd name="T19" fmla="*/ 89 h 89"/>
                <a:gd name="T20" fmla="*/ 244 w 287"/>
                <a:gd name="T21" fmla="*/ 79 h 89"/>
                <a:gd name="T22" fmla="*/ 229 w 287"/>
                <a:gd name="T23" fmla="*/ 63 h 89"/>
                <a:gd name="T24" fmla="*/ 206 w 287"/>
                <a:gd name="T25" fmla="*/ 67 h 89"/>
                <a:gd name="T26" fmla="*/ 193 w 287"/>
                <a:gd name="T27" fmla="*/ 68 h 89"/>
                <a:gd name="T28" fmla="*/ 179 w 287"/>
                <a:gd name="T29" fmla="*/ 67 h 89"/>
                <a:gd name="T30" fmla="*/ 172 w 287"/>
                <a:gd name="T31" fmla="*/ 65 h 89"/>
                <a:gd name="T32" fmla="*/ 167 w 287"/>
                <a:gd name="T33" fmla="*/ 63 h 89"/>
                <a:gd name="T34" fmla="*/ 164 w 287"/>
                <a:gd name="T35" fmla="*/ 67 h 89"/>
                <a:gd name="T36" fmla="*/ 162 w 287"/>
                <a:gd name="T37" fmla="*/ 63 h 89"/>
                <a:gd name="T38" fmla="*/ 150 w 287"/>
                <a:gd name="T39" fmla="*/ 65 h 89"/>
                <a:gd name="T40" fmla="*/ 143 w 287"/>
                <a:gd name="T41" fmla="*/ 67 h 89"/>
                <a:gd name="T42" fmla="*/ 138 w 287"/>
                <a:gd name="T43" fmla="*/ 65 h 89"/>
                <a:gd name="T44" fmla="*/ 135 w 287"/>
                <a:gd name="T45" fmla="*/ 68 h 89"/>
                <a:gd name="T46" fmla="*/ 114 w 287"/>
                <a:gd name="T47" fmla="*/ 67 h 89"/>
                <a:gd name="T48" fmla="*/ 94 w 287"/>
                <a:gd name="T49" fmla="*/ 72 h 89"/>
                <a:gd name="T50" fmla="*/ 68 w 287"/>
                <a:gd name="T51" fmla="*/ 65 h 89"/>
                <a:gd name="T52" fmla="*/ 56 w 287"/>
                <a:gd name="T53" fmla="*/ 60 h 89"/>
                <a:gd name="T54" fmla="*/ 54 w 287"/>
                <a:gd name="T55" fmla="*/ 60 h 89"/>
                <a:gd name="T56" fmla="*/ 49 w 287"/>
                <a:gd name="T57" fmla="*/ 62 h 89"/>
                <a:gd name="T58" fmla="*/ 39 w 287"/>
                <a:gd name="T59" fmla="*/ 68 h 89"/>
                <a:gd name="T60" fmla="*/ 31 w 287"/>
                <a:gd name="T61" fmla="*/ 67 h 89"/>
                <a:gd name="T62" fmla="*/ 24 w 287"/>
                <a:gd name="T63" fmla="*/ 67 h 89"/>
                <a:gd name="T64" fmla="*/ 17 w 287"/>
                <a:gd name="T65" fmla="*/ 56 h 89"/>
                <a:gd name="T66" fmla="*/ 0 w 287"/>
                <a:gd name="T67" fmla="*/ 44 h 89"/>
                <a:gd name="T68" fmla="*/ 7 w 287"/>
                <a:gd name="T69" fmla="*/ 31 h 89"/>
                <a:gd name="T70" fmla="*/ 24 w 287"/>
                <a:gd name="T71" fmla="*/ 29 h 89"/>
                <a:gd name="T72" fmla="*/ 36 w 287"/>
                <a:gd name="T73" fmla="*/ 24 h 89"/>
                <a:gd name="T74" fmla="*/ 53 w 287"/>
                <a:gd name="T75" fmla="*/ 21 h 89"/>
                <a:gd name="T76" fmla="*/ 77 w 287"/>
                <a:gd name="T77" fmla="*/ 12 h 89"/>
                <a:gd name="T78" fmla="*/ 90 w 287"/>
                <a:gd name="T79" fmla="*/ 14 h 89"/>
                <a:gd name="T80" fmla="*/ 101 w 287"/>
                <a:gd name="T81" fmla="*/ 12 h 89"/>
                <a:gd name="T82" fmla="*/ 121 w 287"/>
                <a:gd name="T83" fmla="*/ 2 h 89"/>
                <a:gd name="T84" fmla="*/ 128 w 287"/>
                <a:gd name="T85" fmla="*/ 7 h 89"/>
                <a:gd name="T86" fmla="*/ 143 w 287"/>
                <a:gd name="T87" fmla="*/ 7 h 89"/>
                <a:gd name="T88" fmla="*/ 153 w 287"/>
                <a:gd name="T89" fmla="*/ 3 h 89"/>
                <a:gd name="T90" fmla="*/ 174 w 287"/>
                <a:gd name="T91" fmla="*/ 12 h 89"/>
                <a:gd name="T92" fmla="*/ 182 w 287"/>
                <a:gd name="T93" fmla="*/ 19 h 89"/>
                <a:gd name="T94" fmla="*/ 193 w 287"/>
                <a:gd name="T95" fmla="*/ 22 h 89"/>
                <a:gd name="T96" fmla="*/ 196 w 287"/>
                <a:gd name="T97" fmla="*/ 26 h 89"/>
                <a:gd name="T98" fmla="*/ 211 w 287"/>
                <a:gd name="T99" fmla="*/ 22 h 89"/>
                <a:gd name="T100" fmla="*/ 213 w 287"/>
                <a:gd name="T101" fmla="*/ 14 h 89"/>
                <a:gd name="T102" fmla="*/ 220 w 287"/>
                <a:gd name="T103" fmla="*/ 12 h 89"/>
                <a:gd name="T104" fmla="*/ 230 w 287"/>
                <a:gd name="T105"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7" h="89">
                  <a:moveTo>
                    <a:pt x="63" y="65"/>
                  </a:moveTo>
                  <a:lnTo>
                    <a:pt x="65" y="65"/>
                  </a:lnTo>
                  <a:lnTo>
                    <a:pt x="65" y="67"/>
                  </a:lnTo>
                  <a:lnTo>
                    <a:pt x="63" y="67"/>
                  </a:lnTo>
                  <a:lnTo>
                    <a:pt x="63" y="65"/>
                  </a:lnTo>
                  <a:close/>
                  <a:moveTo>
                    <a:pt x="203" y="17"/>
                  </a:moveTo>
                  <a:lnTo>
                    <a:pt x="208" y="19"/>
                  </a:lnTo>
                  <a:lnTo>
                    <a:pt x="208" y="24"/>
                  </a:lnTo>
                  <a:lnTo>
                    <a:pt x="206" y="22"/>
                  </a:lnTo>
                  <a:lnTo>
                    <a:pt x="206" y="19"/>
                  </a:lnTo>
                  <a:lnTo>
                    <a:pt x="203" y="17"/>
                  </a:lnTo>
                  <a:close/>
                  <a:moveTo>
                    <a:pt x="193" y="17"/>
                  </a:moveTo>
                  <a:lnTo>
                    <a:pt x="198" y="19"/>
                  </a:lnTo>
                  <a:lnTo>
                    <a:pt x="198" y="21"/>
                  </a:lnTo>
                  <a:lnTo>
                    <a:pt x="191" y="17"/>
                  </a:lnTo>
                  <a:lnTo>
                    <a:pt x="193" y="17"/>
                  </a:lnTo>
                  <a:close/>
                  <a:moveTo>
                    <a:pt x="234" y="15"/>
                  </a:moveTo>
                  <a:lnTo>
                    <a:pt x="235" y="19"/>
                  </a:lnTo>
                  <a:lnTo>
                    <a:pt x="239" y="21"/>
                  </a:lnTo>
                  <a:lnTo>
                    <a:pt x="246" y="22"/>
                  </a:lnTo>
                  <a:lnTo>
                    <a:pt x="252" y="29"/>
                  </a:lnTo>
                  <a:lnTo>
                    <a:pt x="252" y="31"/>
                  </a:lnTo>
                  <a:lnTo>
                    <a:pt x="251" y="34"/>
                  </a:lnTo>
                  <a:lnTo>
                    <a:pt x="249" y="39"/>
                  </a:lnTo>
                  <a:lnTo>
                    <a:pt x="252" y="41"/>
                  </a:lnTo>
                  <a:lnTo>
                    <a:pt x="259" y="41"/>
                  </a:lnTo>
                  <a:lnTo>
                    <a:pt x="266" y="50"/>
                  </a:lnTo>
                  <a:lnTo>
                    <a:pt x="273" y="48"/>
                  </a:lnTo>
                  <a:lnTo>
                    <a:pt x="278" y="50"/>
                  </a:lnTo>
                  <a:lnTo>
                    <a:pt x="280" y="53"/>
                  </a:lnTo>
                  <a:lnTo>
                    <a:pt x="283" y="56"/>
                  </a:lnTo>
                  <a:lnTo>
                    <a:pt x="283" y="62"/>
                  </a:lnTo>
                  <a:lnTo>
                    <a:pt x="287" y="65"/>
                  </a:lnTo>
                  <a:lnTo>
                    <a:pt x="283" y="67"/>
                  </a:lnTo>
                  <a:lnTo>
                    <a:pt x="283" y="70"/>
                  </a:lnTo>
                  <a:lnTo>
                    <a:pt x="287" y="73"/>
                  </a:lnTo>
                  <a:lnTo>
                    <a:pt x="280" y="80"/>
                  </a:lnTo>
                  <a:lnTo>
                    <a:pt x="278" y="87"/>
                  </a:lnTo>
                  <a:lnTo>
                    <a:pt x="275" y="85"/>
                  </a:lnTo>
                  <a:lnTo>
                    <a:pt x="270" y="89"/>
                  </a:lnTo>
                  <a:lnTo>
                    <a:pt x="261" y="89"/>
                  </a:lnTo>
                  <a:lnTo>
                    <a:pt x="252" y="87"/>
                  </a:lnTo>
                  <a:lnTo>
                    <a:pt x="247" y="84"/>
                  </a:lnTo>
                  <a:lnTo>
                    <a:pt x="244" y="79"/>
                  </a:lnTo>
                  <a:lnTo>
                    <a:pt x="239" y="77"/>
                  </a:lnTo>
                  <a:lnTo>
                    <a:pt x="234" y="70"/>
                  </a:lnTo>
                  <a:lnTo>
                    <a:pt x="229" y="65"/>
                  </a:lnTo>
                  <a:lnTo>
                    <a:pt x="229" y="63"/>
                  </a:lnTo>
                  <a:lnTo>
                    <a:pt x="225" y="67"/>
                  </a:lnTo>
                  <a:lnTo>
                    <a:pt x="218" y="67"/>
                  </a:lnTo>
                  <a:lnTo>
                    <a:pt x="215" y="67"/>
                  </a:lnTo>
                  <a:lnTo>
                    <a:pt x="206" y="67"/>
                  </a:lnTo>
                  <a:lnTo>
                    <a:pt x="200" y="67"/>
                  </a:lnTo>
                  <a:lnTo>
                    <a:pt x="198" y="67"/>
                  </a:lnTo>
                  <a:lnTo>
                    <a:pt x="194" y="67"/>
                  </a:lnTo>
                  <a:lnTo>
                    <a:pt x="193" y="68"/>
                  </a:lnTo>
                  <a:lnTo>
                    <a:pt x="184" y="68"/>
                  </a:lnTo>
                  <a:lnTo>
                    <a:pt x="182" y="65"/>
                  </a:lnTo>
                  <a:lnTo>
                    <a:pt x="177" y="63"/>
                  </a:lnTo>
                  <a:lnTo>
                    <a:pt x="179" y="67"/>
                  </a:lnTo>
                  <a:lnTo>
                    <a:pt x="177" y="68"/>
                  </a:lnTo>
                  <a:lnTo>
                    <a:pt x="174" y="67"/>
                  </a:lnTo>
                  <a:lnTo>
                    <a:pt x="172" y="67"/>
                  </a:lnTo>
                  <a:lnTo>
                    <a:pt x="172" y="65"/>
                  </a:lnTo>
                  <a:lnTo>
                    <a:pt x="171" y="65"/>
                  </a:lnTo>
                  <a:lnTo>
                    <a:pt x="172" y="65"/>
                  </a:lnTo>
                  <a:lnTo>
                    <a:pt x="171" y="67"/>
                  </a:lnTo>
                  <a:lnTo>
                    <a:pt x="167" y="63"/>
                  </a:lnTo>
                  <a:lnTo>
                    <a:pt x="167" y="67"/>
                  </a:lnTo>
                  <a:lnTo>
                    <a:pt x="165" y="67"/>
                  </a:lnTo>
                  <a:lnTo>
                    <a:pt x="165" y="65"/>
                  </a:lnTo>
                  <a:lnTo>
                    <a:pt x="164" y="67"/>
                  </a:lnTo>
                  <a:lnTo>
                    <a:pt x="164" y="65"/>
                  </a:lnTo>
                  <a:lnTo>
                    <a:pt x="162" y="65"/>
                  </a:lnTo>
                  <a:lnTo>
                    <a:pt x="162" y="67"/>
                  </a:lnTo>
                  <a:lnTo>
                    <a:pt x="162" y="63"/>
                  </a:lnTo>
                  <a:lnTo>
                    <a:pt x="157" y="65"/>
                  </a:lnTo>
                  <a:lnTo>
                    <a:pt x="153" y="63"/>
                  </a:lnTo>
                  <a:lnTo>
                    <a:pt x="153" y="65"/>
                  </a:lnTo>
                  <a:lnTo>
                    <a:pt x="150" y="65"/>
                  </a:lnTo>
                  <a:lnTo>
                    <a:pt x="148" y="63"/>
                  </a:lnTo>
                  <a:lnTo>
                    <a:pt x="145" y="65"/>
                  </a:lnTo>
                  <a:lnTo>
                    <a:pt x="143" y="65"/>
                  </a:lnTo>
                  <a:lnTo>
                    <a:pt x="143" y="67"/>
                  </a:lnTo>
                  <a:lnTo>
                    <a:pt x="141" y="67"/>
                  </a:lnTo>
                  <a:lnTo>
                    <a:pt x="140" y="65"/>
                  </a:lnTo>
                  <a:lnTo>
                    <a:pt x="140" y="67"/>
                  </a:lnTo>
                  <a:lnTo>
                    <a:pt x="138" y="65"/>
                  </a:lnTo>
                  <a:lnTo>
                    <a:pt x="138" y="67"/>
                  </a:lnTo>
                  <a:lnTo>
                    <a:pt x="135" y="67"/>
                  </a:lnTo>
                  <a:lnTo>
                    <a:pt x="136" y="68"/>
                  </a:lnTo>
                  <a:lnTo>
                    <a:pt x="135" y="68"/>
                  </a:lnTo>
                  <a:lnTo>
                    <a:pt x="128" y="67"/>
                  </a:lnTo>
                  <a:lnTo>
                    <a:pt x="119" y="70"/>
                  </a:lnTo>
                  <a:lnTo>
                    <a:pt x="118" y="68"/>
                  </a:lnTo>
                  <a:lnTo>
                    <a:pt x="114" y="67"/>
                  </a:lnTo>
                  <a:lnTo>
                    <a:pt x="107" y="68"/>
                  </a:lnTo>
                  <a:lnTo>
                    <a:pt x="99" y="72"/>
                  </a:lnTo>
                  <a:lnTo>
                    <a:pt x="97" y="70"/>
                  </a:lnTo>
                  <a:lnTo>
                    <a:pt x="94" y="72"/>
                  </a:lnTo>
                  <a:lnTo>
                    <a:pt x="83" y="72"/>
                  </a:lnTo>
                  <a:lnTo>
                    <a:pt x="77" y="77"/>
                  </a:lnTo>
                  <a:lnTo>
                    <a:pt x="71" y="72"/>
                  </a:lnTo>
                  <a:lnTo>
                    <a:pt x="68" y="65"/>
                  </a:lnTo>
                  <a:lnTo>
                    <a:pt x="66" y="65"/>
                  </a:lnTo>
                  <a:lnTo>
                    <a:pt x="66" y="63"/>
                  </a:lnTo>
                  <a:lnTo>
                    <a:pt x="63" y="63"/>
                  </a:lnTo>
                  <a:lnTo>
                    <a:pt x="56" y="60"/>
                  </a:lnTo>
                  <a:lnTo>
                    <a:pt x="58" y="63"/>
                  </a:lnTo>
                  <a:lnTo>
                    <a:pt x="56" y="62"/>
                  </a:lnTo>
                  <a:lnTo>
                    <a:pt x="54" y="63"/>
                  </a:lnTo>
                  <a:lnTo>
                    <a:pt x="54" y="60"/>
                  </a:lnTo>
                  <a:lnTo>
                    <a:pt x="53" y="62"/>
                  </a:lnTo>
                  <a:lnTo>
                    <a:pt x="53" y="60"/>
                  </a:lnTo>
                  <a:lnTo>
                    <a:pt x="53" y="62"/>
                  </a:lnTo>
                  <a:lnTo>
                    <a:pt x="49" y="62"/>
                  </a:lnTo>
                  <a:lnTo>
                    <a:pt x="44" y="60"/>
                  </a:lnTo>
                  <a:lnTo>
                    <a:pt x="42" y="62"/>
                  </a:lnTo>
                  <a:lnTo>
                    <a:pt x="42" y="67"/>
                  </a:lnTo>
                  <a:lnTo>
                    <a:pt x="39" y="68"/>
                  </a:lnTo>
                  <a:lnTo>
                    <a:pt x="37" y="68"/>
                  </a:lnTo>
                  <a:lnTo>
                    <a:pt x="34" y="70"/>
                  </a:lnTo>
                  <a:lnTo>
                    <a:pt x="34" y="65"/>
                  </a:lnTo>
                  <a:lnTo>
                    <a:pt x="31" y="67"/>
                  </a:lnTo>
                  <a:lnTo>
                    <a:pt x="31" y="68"/>
                  </a:lnTo>
                  <a:lnTo>
                    <a:pt x="29" y="67"/>
                  </a:lnTo>
                  <a:lnTo>
                    <a:pt x="20" y="68"/>
                  </a:lnTo>
                  <a:lnTo>
                    <a:pt x="24" y="67"/>
                  </a:lnTo>
                  <a:lnTo>
                    <a:pt x="20" y="65"/>
                  </a:lnTo>
                  <a:lnTo>
                    <a:pt x="22" y="62"/>
                  </a:lnTo>
                  <a:lnTo>
                    <a:pt x="22" y="56"/>
                  </a:lnTo>
                  <a:lnTo>
                    <a:pt x="17" y="56"/>
                  </a:lnTo>
                  <a:lnTo>
                    <a:pt x="10" y="53"/>
                  </a:lnTo>
                  <a:lnTo>
                    <a:pt x="8" y="48"/>
                  </a:lnTo>
                  <a:lnTo>
                    <a:pt x="5" y="48"/>
                  </a:lnTo>
                  <a:lnTo>
                    <a:pt x="0" y="44"/>
                  </a:lnTo>
                  <a:lnTo>
                    <a:pt x="3" y="39"/>
                  </a:lnTo>
                  <a:lnTo>
                    <a:pt x="3" y="34"/>
                  </a:lnTo>
                  <a:lnTo>
                    <a:pt x="7" y="32"/>
                  </a:lnTo>
                  <a:lnTo>
                    <a:pt x="7" y="31"/>
                  </a:lnTo>
                  <a:lnTo>
                    <a:pt x="10" y="29"/>
                  </a:lnTo>
                  <a:lnTo>
                    <a:pt x="19" y="31"/>
                  </a:lnTo>
                  <a:lnTo>
                    <a:pt x="22" y="31"/>
                  </a:lnTo>
                  <a:lnTo>
                    <a:pt x="24" y="29"/>
                  </a:lnTo>
                  <a:lnTo>
                    <a:pt x="22" y="24"/>
                  </a:lnTo>
                  <a:lnTo>
                    <a:pt x="27" y="22"/>
                  </a:lnTo>
                  <a:lnTo>
                    <a:pt x="29" y="24"/>
                  </a:lnTo>
                  <a:lnTo>
                    <a:pt x="36" y="24"/>
                  </a:lnTo>
                  <a:lnTo>
                    <a:pt x="41" y="26"/>
                  </a:lnTo>
                  <a:lnTo>
                    <a:pt x="44" y="24"/>
                  </a:lnTo>
                  <a:lnTo>
                    <a:pt x="46" y="21"/>
                  </a:lnTo>
                  <a:lnTo>
                    <a:pt x="53" y="21"/>
                  </a:lnTo>
                  <a:lnTo>
                    <a:pt x="54" y="19"/>
                  </a:lnTo>
                  <a:lnTo>
                    <a:pt x="65" y="17"/>
                  </a:lnTo>
                  <a:lnTo>
                    <a:pt x="66" y="15"/>
                  </a:lnTo>
                  <a:lnTo>
                    <a:pt x="77" y="12"/>
                  </a:lnTo>
                  <a:lnTo>
                    <a:pt x="78" y="12"/>
                  </a:lnTo>
                  <a:lnTo>
                    <a:pt x="85" y="7"/>
                  </a:lnTo>
                  <a:lnTo>
                    <a:pt x="89" y="10"/>
                  </a:lnTo>
                  <a:lnTo>
                    <a:pt x="90" y="14"/>
                  </a:lnTo>
                  <a:lnTo>
                    <a:pt x="92" y="14"/>
                  </a:lnTo>
                  <a:lnTo>
                    <a:pt x="95" y="17"/>
                  </a:lnTo>
                  <a:lnTo>
                    <a:pt x="99" y="17"/>
                  </a:lnTo>
                  <a:lnTo>
                    <a:pt x="101" y="12"/>
                  </a:lnTo>
                  <a:lnTo>
                    <a:pt x="104" y="12"/>
                  </a:lnTo>
                  <a:lnTo>
                    <a:pt x="107" y="7"/>
                  </a:lnTo>
                  <a:lnTo>
                    <a:pt x="111" y="5"/>
                  </a:lnTo>
                  <a:lnTo>
                    <a:pt x="121" y="2"/>
                  </a:lnTo>
                  <a:lnTo>
                    <a:pt x="123" y="2"/>
                  </a:lnTo>
                  <a:lnTo>
                    <a:pt x="124" y="2"/>
                  </a:lnTo>
                  <a:lnTo>
                    <a:pt x="128" y="3"/>
                  </a:lnTo>
                  <a:lnTo>
                    <a:pt x="128" y="7"/>
                  </a:lnTo>
                  <a:lnTo>
                    <a:pt x="130" y="5"/>
                  </a:lnTo>
                  <a:lnTo>
                    <a:pt x="138" y="5"/>
                  </a:lnTo>
                  <a:lnTo>
                    <a:pt x="140" y="0"/>
                  </a:lnTo>
                  <a:lnTo>
                    <a:pt x="143" y="7"/>
                  </a:lnTo>
                  <a:lnTo>
                    <a:pt x="148" y="3"/>
                  </a:lnTo>
                  <a:lnTo>
                    <a:pt x="150" y="7"/>
                  </a:lnTo>
                  <a:lnTo>
                    <a:pt x="153" y="5"/>
                  </a:lnTo>
                  <a:lnTo>
                    <a:pt x="153" y="3"/>
                  </a:lnTo>
                  <a:lnTo>
                    <a:pt x="155" y="2"/>
                  </a:lnTo>
                  <a:lnTo>
                    <a:pt x="160" y="7"/>
                  </a:lnTo>
                  <a:lnTo>
                    <a:pt x="167" y="9"/>
                  </a:lnTo>
                  <a:lnTo>
                    <a:pt x="174" y="12"/>
                  </a:lnTo>
                  <a:lnTo>
                    <a:pt x="176" y="10"/>
                  </a:lnTo>
                  <a:lnTo>
                    <a:pt x="177" y="12"/>
                  </a:lnTo>
                  <a:lnTo>
                    <a:pt x="179" y="12"/>
                  </a:lnTo>
                  <a:lnTo>
                    <a:pt x="182" y="19"/>
                  </a:lnTo>
                  <a:lnTo>
                    <a:pt x="188" y="19"/>
                  </a:lnTo>
                  <a:lnTo>
                    <a:pt x="186" y="22"/>
                  </a:lnTo>
                  <a:lnTo>
                    <a:pt x="189" y="21"/>
                  </a:lnTo>
                  <a:lnTo>
                    <a:pt x="193" y="22"/>
                  </a:lnTo>
                  <a:lnTo>
                    <a:pt x="193" y="21"/>
                  </a:lnTo>
                  <a:lnTo>
                    <a:pt x="196" y="24"/>
                  </a:lnTo>
                  <a:lnTo>
                    <a:pt x="194" y="24"/>
                  </a:lnTo>
                  <a:lnTo>
                    <a:pt x="196" y="26"/>
                  </a:lnTo>
                  <a:lnTo>
                    <a:pt x="200" y="26"/>
                  </a:lnTo>
                  <a:lnTo>
                    <a:pt x="201" y="29"/>
                  </a:lnTo>
                  <a:lnTo>
                    <a:pt x="203" y="26"/>
                  </a:lnTo>
                  <a:lnTo>
                    <a:pt x="211" y="22"/>
                  </a:lnTo>
                  <a:lnTo>
                    <a:pt x="215" y="19"/>
                  </a:lnTo>
                  <a:lnTo>
                    <a:pt x="215" y="15"/>
                  </a:lnTo>
                  <a:lnTo>
                    <a:pt x="217" y="14"/>
                  </a:lnTo>
                  <a:lnTo>
                    <a:pt x="213" y="14"/>
                  </a:lnTo>
                  <a:lnTo>
                    <a:pt x="213" y="10"/>
                  </a:lnTo>
                  <a:lnTo>
                    <a:pt x="218" y="10"/>
                  </a:lnTo>
                  <a:lnTo>
                    <a:pt x="220" y="10"/>
                  </a:lnTo>
                  <a:lnTo>
                    <a:pt x="220" y="12"/>
                  </a:lnTo>
                  <a:lnTo>
                    <a:pt x="223" y="14"/>
                  </a:lnTo>
                  <a:lnTo>
                    <a:pt x="225" y="14"/>
                  </a:lnTo>
                  <a:lnTo>
                    <a:pt x="229" y="15"/>
                  </a:lnTo>
                  <a:lnTo>
                    <a:pt x="230" y="14"/>
                  </a:lnTo>
                  <a:lnTo>
                    <a:pt x="230" y="17"/>
                  </a:lnTo>
                  <a:lnTo>
                    <a:pt x="232" y="14"/>
                  </a:lnTo>
                  <a:lnTo>
                    <a:pt x="234" y="1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2" name="Freeform 55"/>
            <p:cNvSpPr>
              <a:spLocks noEditPoints="1"/>
            </p:cNvSpPr>
            <p:nvPr/>
          </p:nvSpPr>
          <p:spPr bwMode="gray">
            <a:xfrm>
              <a:off x="7020862" y="2111275"/>
              <a:ext cx="877432" cy="981410"/>
            </a:xfrm>
            <a:custGeom>
              <a:avLst/>
              <a:gdLst>
                <a:gd name="T0" fmla="*/ 252 w 481"/>
                <a:gd name="T1" fmla="*/ 404 h 538"/>
                <a:gd name="T2" fmla="*/ 254 w 481"/>
                <a:gd name="T3" fmla="*/ 398 h 538"/>
                <a:gd name="T4" fmla="*/ 194 w 481"/>
                <a:gd name="T5" fmla="*/ 377 h 538"/>
                <a:gd name="T6" fmla="*/ 46 w 481"/>
                <a:gd name="T7" fmla="*/ 527 h 538"/>
                <a:gd name="T8" fmla="*/ 44 w 481"/>
                <a:gd name="T9" fmla="*/ 497 h 538"/>
                <a:gd name="T10" fmla="*/ 18 w 481"/>
                <a:gd name="T11" fmla="*/ 476 h 538"/>
                <a:gd name="T12" fmla="*/ 12 w 481"/>
                <a:gd name="T13" fmla="*/ 461 h 538"/>
                <a:gd name="T14" fmla="*/ 30 w 481"/>
                <a:gd name="T15" fmla="*/ 462 h 538"/>
                <a:gd name="T16" fmla="*/ 68 w 481"/>
                <a:gd name="T17" fmla="*/ 468 h 538"/>
                <a:gd name="T18" fmla="*/ 83 w 481"/>
                <a:gd name="T19" fmla="*/ 473 h 538"/>
                <a:gd name="T20" fmla="*/ 104 w 481"/>
                <a:gd name="T21" fmla="*/ 468 h 538"/>
                <a:gd name="T22" fmla="*/ 146 w 481"/>
                <a:gd name="T23" fmla="*/ 440 h 538"/>
                <a:gd name="T24" fmla="*/ 169 w 481"/>
                <a:gd name="T25" fmla="*/ 427 h 538"/>
                <a:gd name="T26" fmla="*/ 170 w 481"/>
                <a:gd name="T27" fmla="*/ 411 h 538"/>
                <a:gd name="T28" fmla="*/ 203 w 481"/>
                <a:gd name="T29" fmla="*/ 386 h 538"/>
                <a:gd name="T30" fmla="*/ 223 w 481"/>
                <a:gd name="T31" fmla="*/ 367 h 538"/>
                <a:gd name="T32" fmla="*/ 242 w 481"/>
                <a:gd name="T33" fmla="*/ 370 h 538"/>
                <a:gd name="T34" fmla="*/ 240 w 481"/>
                <a:gd name="T35" fmla="*/ 401 h 538"/>
                <a:gd name="T36" fmla="*/ 213 w 481"/>
                <a:gd name="T37" fmla="*/ 452 h 538"/>
                <a:gd name="T38" fmla="*/ 186 w 481"/>
                <a:gd name="T39" fmla="*/ 473 h 538"/>
                <a:gd name="T40" fmla="*/ 170 w 481"/>
                <a:gd name="T41" fmla="*/ 498 h 538"/>
                <a:gd name="T42" fmla="*/ 165 w 481"/>
                <a:gd name="T43" fmla="*/ 514 h 538"/>
                <a:gd name="T44" fmla="*/ 146 w 481"/>
                <a:gd name="T45" fmla="*/ 520 h 538"/>
                <a:gd name="T46" fmla="*/ 131 w 481"/>
                <a:gd name="T47" fmla="*/ 526 h 538"/>
                <a:gd name="T48" fmla="*/ 100 w 481"/>
                <a:gd name="T49" fmla="*/ 529 h 538"/>
                <a:gd name="T50" fmla="*/ 65 w 481"/>
                <a:gd name="T51" fmla="*/ 536 h 538"/>
                <a:gd name="T52" fmla="*/ 193 w 481"/>
                <a:gd name="T53" fmla="*/ 365 h 538"/>
                <a:gd name="T54" fmla="*/ 199 w 481"/>
                <a:gd name="T55" fmla="*/ 358 h 538"/>
                <a:gd name="T56" fmla="*/ 247 w 481"/>
                <a:gd name="T57" fmla="*/ 360 h 538"/>
                <a:gd name="T58" fmla="*/ 244 w 481"/>
                <a:gd name="T59" fmla="*/ 353 h 538"/>
                <a:gd name="T60" fmla="*/ 275 w 481"/>
                <a:gd name="T61" fmla="*/ 321 h 538"/>
                <a:gd name="T62" fmla="*/ 273 w 481"/>
                <a:gd name="T63" fmla="*/ 319 h 538"/>
                <a:gd name="T64" fmla="*/ 275 w 481"/>
                <a:gd name="T65" fmla="*/ 288 h 538"/>
                <a:gd name="T66" fmla="*/ 281 w 481"/>
                <a:gd name="T67" fmla="*/ 252 h 538"/>
                <a:gd name="T68" fmla="*/ 247 w 481"/>
                <a:gd name="T69" fmla="*/ 245 h 538"/>
                <a:gd name="T70" fmla="*/ 276 w 481"/>
                <a:gd name="T71" fmla="*/ 256 h 538"/>
                <a:gd name="T72" fmla="*/ 285 w 481"/>
                <a:gd name="T73" fmla="*/ 203 h 538"/>
                <a:gd name="T74" fmla="*/ 285 w 481"/>
                <a:gd name="T75" fmla="*/ 193 h 538"/>
                <a:gd name="T76" fmla="*/ 278 w 481"/>
                <a:gd name="T77" fmla="*/ 182 h 538"/>
                <a:gd name="T78" fmla="*/ 310 w 481"/>
                <a:gd name="T79" fmla="*/ 158 h 538"/>
                <a:gd name="T80" fmla="*/ 295 w 481"/>
                <a:gd name="T81" fmla="*/ 140 h 538"/>
                <a:gd name="T82" fmla="*/ 302 w 481"/>
                <a:gd name="T83" fmla="*/ 153 h 538"/>
                <a:gd name="T84" fmla="*/ 300 w 481"/>
                <a:gd name="T85" fmla="*/ 167 h 538"/>
                <a:gd name="T86" fmla="*/ 292 w 481"/>
                <a:gd name="T87" fmla="*/ 162 h 538"/>
                <a:gd name="T88" fmla="*/ 285 w 481"/>
                <a:gd name="T89" fmla="*/ 157 h 538"/>
                <a:gd name="T90" fmla="*/ 273 w 481"/>
                <a:gd name="T91" fmla="*/ 133 h 538"/>
                <a:gd name="T92" fmla="*/ 297 w 481"/>
                <a:gd name="T93" fmla="*/ 117 h 538"/>
                <a:gd name="T94" fmla="*/ 444 w 481"/>
                <a:gd name="T95" fmla="*/ 117 h 538"/>
                <a:gd name="T96" fmla="*/ 421 w 481"/>
                <a:gd name="T97" fmla="*/ 93 h 538"/>
                <a:gd name="T98" fmla="*/ 426 w 481"/>
                <a:gd name="T99" fmla="*/ 116 h 538"/>
                <a:gd name="T100" fmla="*/ 421 w 481"/>
                <a:gd name="T101" fmla="*/ 93 h 538"/>
                <a:gd name="T102" fmla="*/ 445 w 481"/>
                <a:gd name="T103" fmla="*/ 49 h 538"/>
                <a:gd name="T104" fmla="*/ 440 w 481"/>
                <a:gd name="T105" fmla="*/ 90 h 538"/>
                <a:gd name="T106" fmla="*/ 438 w 481"/>
                <a:gd name="T107" fmla="*/ 68 h 538"/>
                <a:gd name="T108" fmla="*/ 430 w 481"/>
                <a:gd name="T109" fmla="*/ 32 h 538"/>
                <a:gd name="T110" fmla="*/ 479 w 481"/>
                <a:gd name="T111" fmla="*/ 8 h 538"/>
                <a:gd name="T112" fmla="*/ 283 w 481"/>
                <a:gd name="T113" fmla="*/ 6 h 538"/>
                <a:gd name="T114" fmla="*/ 479 w 481"/>
                <a:gd name="T115" fmla="*/ 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1" h="538">
                  <a:moveTo>
                    <a:pt x="186" y="476"/>
                  </a:moveTo>
                  <a:lnTo>
                    <a:pt x="187" y="476"/>
                  </a:lnTo>
                  <a:lnTo>
                    <a:pt x="186" y="476"/>
                  </a:lnTo>
                  <a:close/>
                  <a:moveTo>
                    <a:pt x="261" y="387"/>
                  </a:moveTo>
                  <a:lnTo>
                    <a:pt x="259" y="392"/>
                  </a:lnTo>
                  <a:lnTo>
                    <a:pt x="259" y="396"/>
                  </a:lnTo>
                  <a:lnTo>
                    <a:pt x="257" y="403"/>
                  </a:lnTo>
                  <a:lnTo>
                    <a:pt x="252" y="404"/>
                  </a:lnTo>
                  <a:lnTo>
                    <a:pt x="247" y="404"/>
                  </a:lnTo>
                  <a:lnTo>
                    <a:pt x="247" y="406"/>
                  </a:lnTo>
                  <a:lnTo>
                    <a:pt x="245" y="404"/>
                  </a:lnTo>
                  <a:lnTo>
                    <a:pt x="247" y="404"/>
                  </a:lnTo>
                  <a:lnTo>
                    <a:pt x="245" y="404"/>
                  </a:lnTo>
                  <a:lnTo>
                    <a:pt x="247" y="401"/>
                  </a:lnTo>
                  <a:lnTo>
                    <a:pt x="254" y="399"/>
                  </a:lnTo>
                  <a:lnTo>
                    <a:pt x="254" y="398"/>
                  </a:lnTo>
                  <a:lnTo>
                    <a:pt x="259" y="391"/>
                  </a:lnTo>
                  <a:lnTo>
                    <a:pt x="261" y="387"/>
                  </a:lnTo>
                  <a:close/>
                  <a:moveTo>
                    <a:pt x="196" y="377"/>
                  </a:moveTo>
                  <a:lnTo>
                    <a:pt x="199" y="377"/>
                  </a:lnTo>
                  <a:lnTo>
                    <a:pt x="199" y="382"/>
                  </a:lnTo>
                  <a:lnTo>
                    <a:pt x="198" y="379"/>
                  </a:lnTo>
                  <a:lnTo>
                    <a:pt x="194" y="379"/>
                  </a:lnTo>
                  <a:lnTo>
                    <a:pt x="194" y="377"/>
                  </a:lnTo>
                  <a:lnTo>
                    <a:pt x="196" y="377"/>
                  </a:lnTo>
                  <a:close/>
                  <a:moveTo>
                    <a:pt x="189" y="375"/>
                  </a:moveTo>
                  <a:lnTo>
                    <a:pt x="191" y="377"/>
                  </a:lnTo>
                  <a:lnTo>
                    <a:pt x="187" y="379"/>
                  </a:lnTo>
                  <a:lnTo>
                    <a:pt x="187" y="375"/>
                  </a:lnTo>
                  <a:lnTo>
                    <a:pt x="189" y="375"/>
                  </a:lnTo>
                  <a:close/>
                  <a:moveTo>
                    <a:pt x="44" y="534"/>
                  </a:moveTo>
                  <a:lnTo>
                    <a:pt x="46" y="527"/>
                  </a:lnTo>
                  <a:lnTo>
                    <a:pt x="53" y="520"/>
                  </a:lnTo>
                  <a:lnTo>
                    <a:pt x="49" y="517"/>
                  </a:lnTo>
                  <a:lnTo>
                    <a:pt x="49" y="514"/>
                  </a:lnTo>
                  <a:lnTo>
                    <a:pt x="53" y="512"/>
                  </a:lnTo>
                  <a:lnTo>
                    <a:pt x="49" y="509"/>
                  </a:lnTo>
                  <a:lnTo>
                    <a:pt x="49" y="503"/>
                  </a:lnTo>
                  <a:lnTo>
                    <a:pt x="46" y="500"/>
                  </a:lnTo>
                  <a:lnTo>
                    <a:pt x="44" y="497"/>
                  </a:lnTo>
                  <a:lnTo>
                    <a:pt x="39" y="495"/>
                  </a:lnTo>
                  <a:lnTo>
                    <a:pt x="32" y="497"/>
                  </a:lnTo>
                  <a:lnTo>
                    <a:pt x="25" y="488"/>
                  </a:lnTo>
                  <a:lnTo>
                    <a:pt x="18" y="488"/>
                  </a:lnTo>
                  <a:lnTo>
                    <a:pt x="15" y="486"/>
                  </a:lnTo>
                  <a:lnTo>
                    <a:pt x="17" y="481"/>
                  </a:lnTo>
                  <a:lnTo>
                    <a:pt x="18" y="478"/>
                  </a:lnTo>
                  <a:lnTo>
                    <a:pt x="18" y="476"/>
                  </a:lnTo>
                  <a:lnTo>
                    <a:pt x="12" y="469"/>
                  </a:lnTo>
                  <a:lnTo>
                    <a:pt x="5" y="468"/>
                  </a:lnTo>
                  <a:lnTo>
                    <a:pt x="1" y="466"/>
                  </a:lnTo>
                  <a:lnTo>
                    <a:pt x="0" y="462"/>
                  </a:lnTo>
                  <a:lnTo>
                    <a:pt x="8" y="464"/>
                  </a:lnTo>
                  <a:lnTo>
                    <a:pt x="10" y="462"/>
                  </a:lnTo>
                  <a:lnTo>
                    <a:pt x="6" y="459"/>
                  </a:lnTo>
                  <a:lnTo>
                    <a:pt x="12" y="461"/>
                  </a:lnTo>
                  <a:lnTo>
                    <a:pt x="15" y="459"/>
                  </a:lnTo>
                  <a:lnTo>
                    <a:pt x="15" y="457"/>
                  </a:lnTo>
                  <a:lnTo>
                    <a:pt x="17" y="462"/>
                  </a:lnTo>
                  <a:lnTo>
                    <a:pt x="18" y="462"/>
                  </a:lnTo>
                  <a:lnTo>
                    <a:pt x="27" y="464"/>
                  </a:lnTo>
                  <a:lnTo>
                    <a:pt x="29" y="462"/>
                  </a:lnTo>
                  <a:lnTo>
                    <a:pt x="29" y="464"/>
                  </a:lnTo>
                  <a:lnTo>
                    <a:pt x="30" y="462"/>
                  </a:lnTo>
                  <a:lnTo>
                    <a:pt x="34" y="464"/>
                  </a:lnTo>
                  <a:lnTo>
                    <a:pt x="34" y="462"/>
                  </a:lnTo>
                  <a:lnTo>
                    <a:pt x="36" y="466"/>
                  </a:lnTo>
                  <a:lnTo>
                    <a:pt x="39" y="464"/>
                  </a:lnTo>
                  <a:lnTo>
                    <a:pt x="49" y="466"/>
                  </a:lnTo>
                  <a:lnTo>
                    <a:pt x="58" y="464"/>
                  </a:lnTo>
                  <a:lnTo>
                    <a:pt x="65" y="468"/>
                  </a:lnTo>
                  <a:lnTo>
                    <a:pt x="68" y="468"/>
                  </a:lnTo>
                  <a:lnTo>
                    <a:pt x="70" y="469"/>
                  </a:lnTo>
                  <a:lnTo>
                    <a:pt x="71" y="468"/>
                  </a:lnTo>
                  <a:lnTo>
                    <a:pt x="75" y="469"/>
                  </a:lnTo>
                  <a:lnTo>
                    <a:pt x="76" y="473"/>
                  </a:lnTo>
                  <a:lnTo>
                    <a:pt x="78" y="473"/>
                  </a:lnTo>
                  <a:lnTo>
                    <a:pt x="76" y="469"/>
                  </a:lnTo>
                  <a:lnTo>
                    <a:pt x="80" y="473"/>
                  </a:lnTo>
                  <a:lnTo>
                    <a:pt x="83" y="473"/>
                  </a:lnTo>
                  <a:lnTo>
                    <a:pt x="82" y="469"/>
                  </a:lnTo>
                  <a:lnTo>
                    <a:pt x="85" y="471"/>
                  </a:lnTo>
                  <a:lnTo>
                    <a:pt x="95" y="471"/>
                  </a:lnTo>
                  <a:lnTo>
                    <a:pt x="99" y="473"/>
                  </a:lnTo>
                  <a:lnTo>
                    <a:pt x="100" y="473"/>
                  </a:lnTo>
                  <a:lnTo>
                    <a:pt x="97" y="469"/>
                  </a:lnTo>
                  <a:lnTo>
                    <a:pt x="100" y="469"/>
                  </a:lnTo>
                  <a:lnTo>
                    <a:pt x="104" y="468"/>
                  </a:lnTo>
                  <a:lnTo>
                    <a:pt x="109" y="464"/>
                  </a:lnTo>
                  <a:lnTo>
                    <a:pt x="114" y="462"/>
                  </a:lnTo>
                  <a:lnTo>
                    <a:pt x="123" y="461"/>
                  </a:lnTo>
                  <a:lnTo>
                    <a:pt x="129" y="454"/>
                  </a:lnTo>
                  <a:lnTo>
                    <a:pt x="140" y="452"/>
                  </a:lnTo>
                  <a:lnTo>
                    <a:pt x="141" y="452"/>
                  </a:lnTo>
                  <a:lnTo>
                    <a:pt x="145" y="444"/>
                  </a:lnTo>
                  <a:lnTo>
                    <a:pt x="146" y="440"/>
                  </a:lnTo>
                  <a:lnTo>
                    <a:pt x="146" y="438"/>
                  </a:lnTo>
                  <a:lnTo>
                    <a:pt x="148" y="437"/>
                  </a:lnTo>
                  <a:lnTo>
                    <a:pt x="146" y="433"/>
                  </a:lnTo>
                  <a:lnTo>
                    <a:pt x="148" y="433"/>
                  </a:lnTo>
                  <a:lnTo>
                    <a:pt x="155" y="430"/>
                  </a:lnTo>
                  <a:lnTo>
                    <a:pt x="160" y="430"/>
                  </a:lnTo>
                  <a:lnTo>
                    <a:pt x="169" y="430"/>
                  </a:lnTo>
                  <a:lnTo>
                    <a:pt x="169" y="427"/>
                  </a:lnTo>
                  <a:lnTo>
                    <a:pt x="172" y="428"/>
                  </a:lnTo>
                  <a:lnTo>
                    <a:pt x="174" y="432"/>
                  </a:lnTo>
                  <a:lnTo>
                    <a:pt x="175" y="430"/>
                  </a:lnTo>
                  <a:lnTo>
                    <a:pt x="179" y="423"/>
                  </a:lnTo>
                  <a:lnTo>
                    <a:pt x="174" y="420"/>
                  </a:lnTo>
                  <a:lnTo>
                    <a:pt x="172" y="420"/>
                  </a:lnTo>
                  <a:lnTo>
                    <a:pt x="167" y="416"/>
                  </a:lnTo>
                  <a:lnTo>
                    <a:pt x="170" y="411"/>
                  </a:lnTo>
                  <a:lnTo>
                    <a:pt x="172" y="408"/>
                  </a:lnTo>
                  <a:lnTo>
                    <a:pt x="179" y="403"/>
                  </a:lnTo>
                  <a:lnTo>
                    <a:pt x="187" y="406"/>
                  </a:lnTo>
                  <a:lnTo>
                    <a:pt x="194" y="401"/>
                  </a:lnTo>
                  <a:lnTo>
                    <a:pt x="196" y="398"/>
                  </a:lnTo>
                  <a:lnTo>
                    <a:pt x="205" y="398"/>
                  </a:lnTo>
                  <a:lnTo>
                    <a:pt x="206" y="391"/>
                  </a:lnTo>
                  <a:lnTo>
                    <a:pt x="203" y="386"/>
                  </a:lnTo>
                  <a:lnTo>
                    <a:pt x="203" y="384"/>
                  </a:lnTo>
                  <a:lnTo>
                    <a:pt x="210" y="380"/>
                  </a:lnTo>
                  <a:lnTo>
                    <a:pt x="211" y="377"/>
                  </a:lnTo>
                  <a:lnTo>
                    <a:pt x="216" y="374"/>
                  </a:lnTo>
                  <a:lnTo>
                    <a:pt x="218" y="370"/>
                  </a:lnTo>
                  <a:lnTo>
                    <a:pt x="222" y="372"/>
                  </a:lnTo>
                  <a:lnTo>
                    <a:pt x="222" y="365"/>
                  </a:lnTo>
                  <a:lnTo>
                    <a:pt x="223" y="367"/>
                  </a:lnTo>
                  <a:lnTo>
                    <a:pt x="223" y="363"/>
                  </a:lnTo>
                  <a:lnTo>
                    <a:pt x="228" y="365"/>
                  </a:lnTo>
                  <a:lnTo>
                    <a:pt x="227" y="370"/>
                  </a:lnTo>
                  <a:lnTo>
                    <a:pt x="230" y="370"/>
                  </a:lnTo>
                  <a:lnTo>
                    <a:pt x="239" y="374"/>
                  </a:lnTo>
                  <a:lnTo>
                    <a:pt x="240" y="372"/>
                  </a:lnTo>
                  <a:lnTo>
                    <a:pt x="242" y="372"/>
                  </a:lnTo>
                  <a:lnTo>
                    <a:pt x="242" y="370"/>
                  </a:lnTo>
                  <a:lnTo>
                    <a:pt x="247" y="370"/>
                  </a:lnTo>
                  <a:lnTo>
                    <a:pt x="242" y="380"/>
                  </a:lnTo>
                  <a:lnTo>
                    <a:pt x="245" y="384"/>
                  </a:lnTo>
                  <a:lnTo>
                    <a:pt x="251" y="387"/>
                  </a:lnTo>
                  <a:lnTo>
                    <a:pt x="256" y="391"/>
                  </a:lnTo>
                  <a:lnTo>
                    <a:pt x="254" y="396"/>
                  </a:lnTo>
                  <a:lnTo>
                    <a:pt x="249" y="401"/>
                  </a:lnTo>
                  <a:lnTo>
                    <a:pt x="240" y="401"/>
                  </a:lnTo>
                  <a:lnTo>
                    <a:pt x="240" y="404"/>
                  </a:lnTo>
                  <a:lnTo>
                    <a:pt x="235" y="408"/>
                  </a:lnTo>
                  <a:lnTo>
                    <a:pt x="234" y="418"/>
                  </a:lnTo>
                  <a:lnTo>
                    <a:pt x="232" y="427"/>
                  </a:lnTo>
                  <a:lnTo>
                    <a:pt x="228" y="435"/>
                  </a:lnTo>
                  <a:lnTo>
                    <a:pt x="222" y="444"/>
                  </a:lnTo>
                  <a:lnTo>
                    <a:pt x="220" y="445"/>
                  </a:lnTo>
                  <a:lnTo>
                    <a:pt x="213" y="452"/>
                  </a:lnTo>
                  <a:lnTo>
                    <a:pt x="211" y="456"/>
                  </a:lnTo>
                  <a:lnTo>
                    <a:pt x="208" y="457"/>
                  </a:lnTo>
                  <a:lnTo>
                    <a:pt x="201" y="459"/>
                  </a:lnTo>
                  <a:lnTo>
                    <a:pt x="198" y="466"/>
                  </a:lnTo>
                  <a:lnTo>
                    <a:pt x="193" y="466"/>
                  </a:lnTo>
                  <a:lnTo>
                    <a:pt x="191" y="471"/>
                  </a:lnTo>
                  <a:lnTo>
                    <a:pt x="194" y="469"/>
                  </a:lnTo>
                  <a:lnTo>
                    <a:pt x="186" y="473"/>
                  </a:lnTo>
                  <a:lnTo>
                    <a:pt x="182" y="478"/>
                  </a:lnTo>
                  <a:lnTo>
                    <a:pt x="181" y="481"/>
                  </a:lnTo>
                  <a:lnTo>
                    <a:pt x="182" y="486"/>
                  </a:lnTo>
                  <a:lnTo>
                    <a:pt x="179" y="488"/>
                  </a:lnTo>
                  <a:lnTo>
                    <a:pt x="177" y="488"/>
                  </a:lnTo>
                  <a:lnTo>
                    <a:pt x="177" y="491"/>
                  </a:lnTo>
                  <a:lnTo>
                    <a:pt x="175" y="490"/>
                  </a:lnTo>
                  <a:lnTo>
                    <a:pt x="170" y="498"/>
                  </a:lnTo>
                  <a:lnTo>
                    <a:pt x="174" y="498"/>
                  </a:lnTo>
                  <a:lnTo>
                    <a:pt x="174" y="503"/>
                  </a:lnTo>
                  <a:lnTo>
                    <a:pt x="170" y="502"/>
                  </a:lnTo>
                  <a:lnTo>
                    <a:pt x="169" y="505"/>
                  </a:lnTo>
                  <a:lnTo>
                    <a:pt x="165" y="507"/>
                  </a:lnTo>
                  <a:lnTo>
                    <a:pt x="167" y="515"/>
                  </a:lnTo>
                  <a:lnTo>
                    <a:pt x="165" y="517"/>
                  </a:lnTo>
                  <a:lnTo>
                    <a:pt x="165" y="514"/>
                  </a:lnTo>
                  <a:lnTo>
                    <a:pt x="164" y="517"/>
                  </a:lnTo>
                  <a:lnTo>
                    <a:pt x="160" y="517"/>
                  </a:lnTo>
                  <a:lnTo>
                    <a:pt x="160" y="519"/>
                  </a:lnTo>
                  <a:lnTo>
                    <a:pt x="155" y="519"/>
                  </a:lnTo>
                  <a:lnTo>
                    <a:pt x="150" y="519"/>
                  </a:lnTo>
                  <a:lnTo>
                    <a:pt x="150" y="520"/>
                  </a:lnTo>
                  <a:lnTo>
                    <a:pt x="148" y="519"/>
                  </a:lnTo>
                  <a:lnTo>
                    <a:pt x="146" y="520"/>
                  </a:lnTo>
                  <a:lnTo>
                    <a:pt x="145" y="519"/>
                  </a:lnTo>
                  <a:lnTo>
                    <a:pt x="143" y="524"/>
                  </a:lnTo>
                  <a:lnTo>
                    <a:pt x="143" y="520"/>
                  </a:lnTo>
                  <a:lnTo>
                    <a:pt x="138" y="520"/>
                  </a:lnTo>
                  <a:lnTo>
                    <a:pt x="140" y="524"/>
                  </a:lnTo>
                  <a:lnTo>
                    <a:pt x="133" y="526"/>
                  </a:lnTo>
                  <a:lnTo>
                    <a:pt x="133" y="527"/>
                  </a:lnTo>
                  <a:lnTo>
                    <a:pt x="131" y="526"/>
                  </a:lnTo>
                  <a:lnTo>
                    <a:pt x="123" y="526"/>
                  </a:lnTo>
                  <a:lnTo>
                    <a:pt x="117" y="526"/>
                  </a:lnTo>
                  <a:lnTo>
                    <a:pt x="116" y="526"/>
                  </a:lnTo>
                  <a:lnTo>
                    <a:pt x="112" y="529"/>
                  </a:lnTo>
                  <a:lnTo>
                    <a:pt x="111" y="527"/>
                  </a:lnTo>
                  <a:lnTo>
                    <a:pt x="106" y="527"/>
                  </a:lnTo>
                  <a:lnTo>
                    <a:pt x="104" y="529"/>
                  </a:lnTo>
                  <a:lnTo>
                    <a:pt x="100" y="529"/>
                  </a:lnTo>
                  <a:lnTo>
                    <a:pt x="97" y="531"/>
                  </a:lnTo>
                  <a:lnTo>
                    <a:pt x="92" y="531"/>
                  </a:lnTo>
                  <a:lnTo>
                    <a:pt x="88" y="532"/>
                  </a:lnTo>
                  <a:lnTo>
                    <a:pt x="83" y="532"/>
                  </a:lnTo>
                  <a:lnTo>
                    <a:pt x="80" y="536"/>
                  </a:lnTo>
                  <a:lnTo>
                    <a:pt x="71" y="534"/>
                  </a:lnTo>
                  <a:lnTo>
                    <a:pt x="68" y="538"/>
                  </a:lnTo>
                  <a:lnTo>
                    <a:pt x="65" y="536"/>
                  </a:lnTo>
                  <a:lnTo>
                    <a:pt x="61" y="538"/>
                  </a:lnTo>
                  <a:lnTo>
                    <a:pt x="54" y="534"/>
                  </a:lnTo>
                  <a:lnTo>
                    <a:pt x="46" y="536"/>
                  </a:lnTo>
                  <a:lnTo>
                    <a:pt x="44" y="534"/>
                  </a:lnTo>
                  <a:close/>
                  <a:moveTo>
                    <a:pt x="198" y="367"/>
                  </a:moveTo>
                  <a:lnTo>
                    <a:pt x="199" y="368"/>
                  </a:lnTo>
                  <a:lnTo>
                    <a:pt x="198" y="370"/>
                  </a:lnTo>
                  <a:lnTo>
                    <a:pt x="193" y="365"/>
                  </a:lnTo>
                  <a:lnTo>
                    <a:pt x="196" y="367"/>
                  </a:lnTo>
                  <a:lnTo>
                    <a:pt x="196" y="362"/>
                  </a:lnTo>
                  <a:lnTo>
                    <a:pt x="198" y="367"/>
                  </a:lnTo>
                  <a:close/>
                  <a:moveTo>
                    <a:pt x="232" y="358"/>
                  </a:moveTo>
                  <a:lnTo>
                    <a:pt x="234" y="362"/>
                  </a:lnTo>
                  <a:lnTo>
                    <a:pt x="232" y="362"/>
                  </a:lnTo>
                  <a:lnTo>
                    <a:pt x="232" y="358"/>
                  </a:lnTo>
                  <a:close/>
                  <a:moveTo>
                    <a:pt x="199" y="358"/>
                  </a:moveTo>
                  <a:lnTo>
                    <a:pt x="201" y="358"/>
                  </a:lnTo>
                  <a:lnTo>
                    <a:pt x="201" y="360"/>
                  </a:lnTo>
                  <a:lnTo>
                    <a:pt x="199" y="360"/>
                  </a:lnTo>
                  <a:lnTo>
                    <a:pt x="199" y="358"/>
                  </a:lnTo>
                  <a:close/>
                  <a:moveTo>
                    <a:pt x="244" y="353"/>
                  </a:moveTo>
                  <a:lnTo>
                    <a:pt x="245" y="357"/>
                  </a:lnTo>
                  <a:lnTo>
                    <a:pt x="249" y="357"/>
                  </a:lnTo>
                  <a:lnTo>
                    <a:pt x="247" y="360"/>
                  </a:lnTo>
                  <a:lnTo>
                    <a:pt x="244" y="362"/>
                  </a:lnTo>
                  <a:lnTo>
                    <a:pt x="245" y="363"/>
                  </a:lnTo>
                  <a:lnTo>
                    <a:pt x="244" y="363"/>
                  </a:lnTo>
                  <a:lnTo>
                    <a:pt x="244" y="365"/>
                  </a:lnTo>
                  <a:lnTo>
                    <a:pt x="239" y="355"/>
                  </a:lnTo>
                  <a:lnTo>
                    <a:pt x="242" y="355"/>
                  </a:lnTo>
                  <a:lnTo>
                    <a:pt x="242" y="351"/>
                  </a:lnTo>
                  <a:lnTo>
                    <a:pt x="244" y="353"/>
                  </a:lnTo>
                  <a:close/>
                  <a:moveTo>
                    <a:pt x="237" y="350"/>
                  </a:moveTo>
                  <a:lnTo>
                    <a:pt x="235" y="353"/>
                  </a:lnTo>
                  <a:lnTo>
                    <a:pt x="232" y="357"/>
                  </a:lnTo>
                  <a:lnTo>
                    <a:pt x="234" y="350"/>
                  </a:lnTo>
                  <a:lnTo>
                    <a:pt x="237" y="346"/>
                  </a:lnTo>
                  <a:lnTo>
                    <a:pt x="237" y="350"/>
                  </a:lnTo>
                  <a:close/>
                  <a:moveTo>
                    <a:pt x="275" y="319"/>
                  </a:moveTo>
                  <a:lnTo>
                    <a:pt x="275" y="321"/>
                  </a:lnTo>
                  <a:lnTo>
                    <a:pt x="269" y="322"/>
                  </a:lnTo>
                  <a:lnTo>
                    <a:pt x="268" y="324"/>
                  </a:lnTo>
                  <a:lnTo>
                    <a:pt x="266" y="322"/>
                  </a:lnTo>
                  <a:lnTo>
                    <a:pt x="266" y="321"/>
                  </a:lnTo>
                  <a:lnTo>
                    <a:pt x="269" y="321"/>
                  </a:lnTo>
                  <a:lnTo>
                    <a:pt x="269" y="317"/>
                  </a:lnTo>
                  <a:lnTo>
                    <a:pt x="269" y="319"/>
                  </a:lnTo>
                  <a:lnTo>
                    <a:pt x="273" y="319"/>
                  </a:lnTo>
                  <a:lnTo>
                    <a:pt x="275" y="317"/>
                  </a:lnTo>
                  <a:lnTo>
                    <a:pt x="275" y="319"/>
                  </a:lnTo>
                  <a:close/>
                  <a:moveTo>
                    <a:pt x="271" y="293"/>
                  </a:moveTo>
                  <a:lnTo>
                    <a:pt x="271" y="297"/>
                  </a:lnTo>
                  <a:lnTo>
                    <a:pt x="269" y="298"/>
                  </a:lnTo>
                  <a:lnTo>
                    <a:pt x="266" y="297"/>
                  </a:lnTo>
                  <a:lnTo>
                    <a:pt x="271" y="293"/>
                  </a:lnTo>
                  <a:close/>
                  <a:moveTo>
                    <a:pt x="275" y="288"/>
                  </a:moveTo>
                  <a:lnTo>
                    <a:pt x="278" y="286"/>
                  </a:lnTo>
                  <a:lnTo>
                    <a:pt x="281" y="292"/>
                  </a:lnTo>
                  <a:lnTo>
                    <a:pt x="278" y="295"/>
                  </a:lnTo>
                  <a:lnTo>
                    <a:pt x="275" y="295"/>
                  </a:lnTo>
                  <a:lnTo>
                    <a:pt x="269" y="290"/>
                  </a:lnTo>
                  <a:lnTo>
                    <a:pt x="273" y="286"/>
                  </a:lnTo>
                  <a:lnTo>
                    <a:pt x="275" y="288"/>
                  </a:lnTo>
                  <a:close/>
                  <a:moveTo>
                    <a:pt x="281" y="252"/>
                  </a:moveTo>
                  <a:lnTo>
                    <a:pt x="281" y="256"/>
                  </a:lnTo>
                  <a:lnTo>
                    <a:pt x="278" y="256"/>
                  </a:lnTo>
                  <a:lnTo>
                    <a:pt x="280" y="256"/>
                  </a:lnTo>
                  <a:lnTo>
                    <a:pt x="280" y="252"/>
                  </a:lnTo>
                  <a:lnTo>
                    <a:pt x="281" y="252"/>
                  </a:lnTo>
                  <a:close/>
                  <a:moveTo>
                    <a:pt x="245" y="244"/>
                  </a:moveTo>
                  <a:lnTo>
                    <a:pt x="247" y="244"/>
                  </a:lnTo>
                  <a:lnTo>
                    <a:pt x="247" y="245"/>
                  </a:lnTo>
                  <a:lnTo>
                    <a:pt x="245" y="245"/>
                  </a:lnTo>
                  <a:lnTo>
                    <a:pt x="245" y="244"/>
                  </a:lnTo>
                  <a:close/>
                  <a:moveTo>
                    <a:pt x="275" y="235"/>
                  </a:moveTo>
                  <a:lnTo>
                    <a:pt x="276" y="237"/>
                  </a:lnTo>
                  <a:lnTo>
                    <a:pt x="280" y="240"/>
                  </a:lnTo>
                  <a:lnTo>
                    <a:pt x="273" y="247"/>
                  </a:lnTo>
                  <a:lnTo>
                    <a:pt x="273" y="251"/>
                  </a:lnTo>
                  <a:lnTo>
                    <a:pt x="276" y="256"/>
                  </a:lnTo>
                  <a:lnTo>
                    <a:pt x="275" y="257"/>
                  </a:lnTo>
                  <a:lnTo>
                    <a:pt x="269" y="254"/>
                  </a:lnTo>
                  <a:lnTo>
                    <a:pt x="268" y="245"/>
                  </a:lnTo>
                  <a:lnTo>
                    <a:pt x="269" y="237"/>
                  </a:lnTo>
                  <a:lnTo>
                    <a:pt x="275" y="235"/>
                  </a:lnTo>
                  <a:close/>
                  <a:moveTo>
                    <a:pt x="285" y="203"/>
                  </a:moveTo>
                  <a:lnTo>
                    <a:pt x="285" y="206"/>
                  </a:lnTo>
                  <a:lnTo>
                    <a:pt x="285" y="203"/>
                  </a:lnTo>
                  <a:lnTo>
                    <a:pt x="285" y="201"/>
                  </a:lnTo>
                  <a:lnTo>
                    <a:pt x="285" y="203"/>
                  </a:lnTo>
                  <a:close/>
                  <a:moveTo>
                    <a:pt x="286" y="191"/>
                  </a:moveTo>
                  <a:lnTo>
                    <a:pt x="286" y="193"/>
                  </a:lnTo>
                  <a:lnTo>
                    <a:pt x="286" y="189"/>
                  </a:lnTo>
                  <a:lnTo>
                    <a:pt x="290" y="191"/>
                  </a:lnTo>
                  <a:lnTo>
                    <a:pt x="288" y="194"/>
                  </a:lnTo>
                  <a:lnTo>
                    <a:pt x="285" y="193"/>
                  </a:lnTo>
                  <a:lnTo>
                    <a:pt x="286" y="193"/>
                  </a:lnTo>
                  <a:lnTo>
                    <a:pt x="285" y="191"/>
                  </a:lnTo>
                  <a:lnTo>
                    <a:pt x="286" y="191"/>
                  </a:lnTo>
                  <a:close/>
                  <a:moveTo>
                    <a:pt x="278" y="182"/>
                  </a:moveTo>
                  <a:lnTo>
                    <a:pt x="281" y="182"/>
                  </a:lnTo>
                  <a:lnTo>
                    <a:pt x="281" y="186"/>
                  </a:lnTo>
                  <a:lnTo>
                    <a:pt x="278" y="186"/>
                  </a:lnTo>
                  <a:lnTo>
                    <a:pt x="278" y="182"/>
                  </a:lnTo>
                  <a:close/>
                  <a:moveTo>
                    <a:pt x="292" y="164"/>
                  </a:moveTo>
                  <a:lnTo>
                    <a:pt x="293" y="164"/>
                  </a:lnTo>
                  <a:lnTo>
                    <a:pt x="293" y="167"/>
                  </a:lnTo>
                  <a:lnTo>
                    <a:pt x="292" y="167"/>
                  </a:lnTo>
                  <a:lnTo>
                    <a:pt x="292" y="164"/>
                  </a:lnTo>
                  <a:close/>
                  <a:moveTo>
                    <a:pt x="307" y="157"/>
                  </a:moveTo>
                  <a:lnTo>
                    <a:pt x="310" y="157"/>
                  </a:lnTo>
                  <a:lnTo>
                    <a:pt x="310" y="158"/>
                  </a:lnTo>
                  <a:lnTo>
                    <a:pt x="307" y="158"/>
                  </a:lnTo>
                  <a:lnTo>
                    <a:pt x="307" y="157"/>
                  </a:lnTo>
                  <a:close/>
                  <a:moveTo>
                    <a:pt x="280" y="124"/>
                  </a:moveTo>
                  <a:lnTo>
                    <a:pt x="285" y="126"/>
                  </a:lnTo>
                  <a:lnTo>
                    <a:pt x="292" y="133"/>
                  </a:lnTo>
                  <a:lnTo>
                    <a:pt x="293" y="136"/>
                  </a:lnTo>
                  <a:lnTo>
                    <a:pt x="292" y="138"/>
                  </a:lnTo>
                  <a:lnTo>
                    <a:pt x="295" y="140"/>
                  </a:lnTo>
                  <a:lnTo>
                    <a:pt x="293" y="140"/>
                  </a:lnTo>
                  <a:lnTo>
                    <a:pt x="295" y="141"/>
                  </a:lnTo>
                  <a:lnTo>
                    <a:pt x="292" y="143"/>
                  </a:lnTo>
                  <a:lnTo>
                    <a:pt x="295" y="143"/>
                  </a:lnTo>
                  <a:lnTo>
                    <a:pt x="295" y="146"/>
                  </a:lnTo>
                  <a:lnTo>
                    <a:pt x="297" y="146"/>
                  </a:lnTo>
                  <a:lnTo>
                    <a:pt x="298" y="148"/>
                  </a:lnTo>
                  <a:lnTo>
                    <a:pt x="302" y="153"/>
                  </a:lnTo>
                  <a:lnTo>
                    <a:pt x="304" y="155"/>
                  </a:lnTo>
                  <a:lnTo>
                    <a:pt x="302" y="152"/>
                  </a:lnTo>
                  <a:lnTo>
                    <a:pt x="304" y="150"/>
                  </a:lnTo>
                  <a:lnTo>
                    <a:pt x="304" y="153"/>
                  </a:lnTo>
                  <a:lnTo>
                    <a:pt x="305" y="153"/>
                  </a:lnTo>
                  <a:lnTo>
                    <a:pt x="305" y="162"/>
                  </a:lnTo>
                  <a:lnTo>
                    <a:pt x="302" y="169"/>
                  </a:lnTo>
                  <a:lnTo>
                    <a:pt x="300" y="167"/>
                  </a:lnTo>
                  <a:lnTo>
                    <a:pt x="298" y="167"/>
                  </a:lnTo>
                  <a:lnTo>
                    <a:pt x="298" y="172"/>
                  </a:lnTo>
                  <a:lnTo>
                    <a:pt x="297" y="172"/>
                  </a:lnTo>
                  <a:lnTo>
                    <a:pt x="298" y="169"/>
                  </a:lnTo>
                  <a:lnTo>
                    <a:pt x="295" y="169"/>
                  </a:lnTo>
                  <a:lnTo>
                    <a:pt x="295" y="167"/>
                  </a:lnTo>
                  <a:lnTo>
                    <a:pt x="295" y="165"/>
                  </a:lnTo>
                  <a:lnTo>
                    <a:pt x="292" y="162"/>
                  </a:lnTo>
                  <a:lnTo>
                    <a:pt x="293" y="160"/>
                  </a:lnTo>
                  <a:lnTo>
                    <a:pt x="290" y="162"/>
                  </a:lnTo>
                  <a:lnTo>
                    <a:pt x="290" y="164"/>
                  </a:lnTo>
                  <a:lnTo>
                    <a:pt x="288" y="164"/>
                  </a:lnTo>
                  <a:lnTo>
                    <a:pt x="288" y="160"/>
                  </a:lnTo>
                  <a:lnTo>
                    <a:pt x="285" y="160"/>
                  </a:lnTo>
                  <a:lnTo>
                    <a:pt x="283" y="158"/>
                  </a:lnTo>
                  <a:lnTo>
                    <a:pt x="285" y="157"/>
                  </a:lnTo>
                  <a:lnTo>
                    <a:pt x="283" y="157"/>
                  </a:lnTo>
                  <a:lnTo>
                    <a:pt x="283" y="150"/>
                  </a:lnTo>
                  <a:lnTo>
                    <a:pt x="286" y="145"/>
                  </a:lnTo>
                  <a:lnTo>
                    <a:pt x="283" y="145"/>
                  </a:lnTo>
                  <a:lnTo>
                    <a:pt x="283" y="141"/>
                  </a:lnTo>
                  <a:lnTo>
                    <a:pt x="285" y="140"/>
                  </a:lnTo>
                  <a:lnTo>
                    <a:pt x="278" y="138"/>
                  </a:lnTo>
                  <a:lnTo>
                    <a:pt x="273" y="133"/>
                  </a:lnTo>
                  <a:lnTo>
                    <a:pt x="273" y="126"/>
                  </a:lnTo>
                  <a:lnTo>
                    <a:pt x="280" y="124"/>
                  </a:lnTo>
                  <a:close/>
                  <a:moveTo>
                    <a:pt x="295" y="123"/>
                  </a:moveTo>
                  <a:lnTo>
                    <a:pt x="292" y="124"/>
                  </a:lnTo>
                  <a:lnTo>
                    <a:pt x="292" y="123"/>
                  </a:lnTo>
                  <a:lnTo>
                    <a:pt x="293" y="121"/>
                  </a:lnTo>
                  <a:lnTo>
                    <a:pt x="295" y="123"/>
                  </a:lnTo>
                  <a:close/>
                  <a:moveTo>
                    <a:pt x="297" y="117"/>
                  </a:moveTo>
                  <a:lnTo>
                    <a:pt x="300" y="119"/>
                  </a:lnTo>
                  <a:lnTo>
                    <a:pt x="297" y="119"/>
                  </a:lnTo>
                  <a:lnTo>
                    <a:pt x="295" y="121"/>
                  </a:lnTo>
                  <a:lnTo>
                    <a:pt x="295" y="119"/>
                  </a:lnTo>
                  <a:lnTo>
                    <a:pt x="297" y="117"/>
                  </a:lnTo>
                  <a:close/>
                  <a:moveTo>
                    <a:pt x="438" y="112"/>
                  </a:moveTo>
                  <a:lnTo>
                    <a:pt x="440" y="112"/>
                  </a:lnTo>
                  <a:lnTo>
                    <a:pt x="444" y="117"/>
                  </a:lnTo>
                  <a:lnTo>
                    <a:pt x="447" y="123"/>
                  </a:lnTo>
                  <a:lnTo>
                    <a:pt x="444" y="126"/>
                  </a:lnTo>
                  <a:lnTo>
                    <a:pt x="438" y="124"/>
                  </a:lnTo>
                  <a:lnTo>
                    <a:pt x="435" y="119"/>
                  </a:lnTo>
                  <a:lnTo>
                    <a:pt x="433" y="112"/>
                  </a:lnTo>
                  <a:lnTo>
                    <a:pt x="435" y="111"/>
                  </a:lnTo>
                  <a:lnTo>
                    <a:pt x="438" y="112"/>
                  </a:lnTo>
                  <a:close/>
                  <a:moveTo>
                    <a:pt x="421" y="93"/>
                  </a:moveTo>
                  <a:lnTo>
                    <a:pt x="421" y="97"/>
                  </a:lnTo>
                  <a:lnTo>
                    <a:pt x="428" y="100"/>
                  </a:lnTo>
                  <a:lnTo>
                    <a:pt x="430" y="104"/>
                  </a:lnTo>
                  <a:lnTo>
                    <a:pt x="430" y="107"/>
                  </a:lnTo>
                  <a:lnTo>
                    <a:pt x="426" y="109"/>
                  </a:lnTo>
                  <a:lnTo>
                    <a:pt x="428" y="114"/>
                  </a:lnTo>
                  <a:lnTo>
                    <a:pt x="428" y="116"/>
                  </a:lnTo>
                  <a:lnTo>
                    <a:pt x="426" y="116"/>
                  </a:lnTo>
                  <a:lnTo>
                    <a:pt x="423" y="107"/>
                  </a:lnTo>
                  <a:lnTo>
                    <a:pt x="425" y="102"/>
                  </a:lnTo>
                  <a:lnTo>
                    <a:pt x="420" y="99"/>
                  </a:lnTo>
                  <a:lnTo>
                    <a:pt x="420" y="95"/>
                  </a:lnTo>
                  <a:lnTo>
                    <a:pt x="418" y="95"/>
                  </a:lnTo>
                  <a:lnTo>
                    <a:pt x="416" y="88"/>
                  </a:lnTo>
                  <a:lnTo>
                    <a:pt x="421" y="90"/>
                  </a:lnTo>
                  <a:lnTo>
                    <a:pt x="421" y="93"/>
                  </a:lnTo>
                  <a:close/>
                  <a:moveTo>
                    <a:pt x="435" y="29"/>
                  </a:moveTo>
                  <a:lnTo>
                    <a:pt x="437" y="30"/>
                  </a:lnTo>
                  <a:lnTo>
                    <a:pt x="440" y="29"/>
                  </a:lnTo>
                  <a:lnTo>
                    <a:pt x="444" y="34"/>
                  </a:lnTo>
                  <a:lnTo>
                    <a:pt x="445" y="34"/>
                  </a:lnTo>
                  <a:lnTo>
                    <a:pt x="449" y="42"/>
                  </a:lnTo>
                  <a:lnTo>
                    <a:pt x="445" y="44"/>
                  </a:lnTo>
                  <a:lnTo>
                    <a:pt x="445" y="49"/>
                  </a:lnTo>
                  <a:lnTo>
                    <a:pt x="452" y="58"/>
                  </a:lnTo>
                  <a:lnTo>
                    <a:pt x="454" y="61"/>
                  </a:lnTo>
                  <a:lnTo>
                    <a:pt x="447" y="63"/>
                  </a:lnTo>
                  <a:lnTo>
                    <a:pt x="449" y="68"/>
                  </a:lnTo>
                  <a:lnTo>
                    <a:pt x="444" y="71"/>
                  </a:lnTo>
                  <a:lnTo>
                    <a:pt x="440" y="75"/>
                  </a:lnTo>
                  <a:lnTo>
                    <a:pt x="442" y="82"/>
                  </a:lnTo>
                  <a:lnTo>
                    <a:pt x="440" y="90"/>
                  </a:lnTo>
                  <a:lnTo>
                    <a:pt x="435" y="93"/>
                  </a:lnTo>
                  <a:lnTo>
                    <a:pt x="428" y="92"/>
                  </a:lnTo>
                  <a:lnTo>
                    <a:pt x="426" y="93"/>
                  </a:lnTo>
                  <a:lnTo>
                    <a:pt x="425" y="88"/>
                  </a:lnTo>
                  <a:lnTo>
                    <a:pt x="426" y="85"/>
                  </a:lnTo>
                  <a:lnTo>
                    <a:pt x="432" y="80"/>
                  </a:lnTo>
                  <a:lnTo>
                    <a:pt x="435" y="71"/>
                  </a:lnTo>
                  <a:lnTo>
                    <a:pt x="438" y="68"/>
                  </a:lnTo>
                  <a:lnTo>
                    <a:pt x="437" y="63"/>
                  </a:lnTo>
                  <a:lnTo>
                    <a:pt x="430" y="61"/>
                  </a:lnTo>
                  <a:lnTo>
                    <a:pt x="428" y="54"/>
                  </a:lnTo>
                  <a:lnTo>
                    <a:pt x="425" y="52"/>
                  </a:lnTo>
                  <a:lnTo>
                    <a:pt x="428" y="47"/>
                  </a:lnTo>
                  <a:lnTo>
                    <a:pt x="428" y="42"/>
                  </a:lnTo>
                  <a:lnTo>
                    <a:pt x="432" y="37"/>
                  </a:lnTo>
                  <a:lnTo>
                    <a:pt x="430" y="32"/>
                  </a:lnTo>
                  <a:lnTo>
                    <a:pt x="432" y="29"/>
                  </a:lnTo>
                  <a:lnTo>
                    <a:pt x="435" y="29"/>
                  </a:lnTo>
                  <a:close/>
                  <a:moveTo>
                    <a:pt x="481" y="20"/>
                  </a:moveTo>
                  <a:lnTo>
                    <a:pt x="478" y="20"/>
                  </a:lnTo>
                  <a:lnTo>
                    <a:pt x="481" y="20"/>
                  </a:lnTo>
                  <a:close/>
                  <a:moveTo>
                    <a:pt x="479" y="8"/>
                  </a:moveTo>
                  <a:lnTo>
                    <a:pt x="479" y="12"/>
                  </a:lnTo>
                  <a:lnTo>
                    <a:pt x="479" y="8"/>
                  </a:lnTo>
                  <a:close/>
                  <a:moveTo>
                    <a:pt x="471" y="5"/>
                  </a:moveTo>
                  <a:lnTo>
                    <a:pt x="474" y="5"/>
                  </a:lnTo>
                  <a:lnTo>
                    <a:pt x="473" y="6"/>
                  </a:lnTo>
                  <a:lnTo>
                    <a:pt x="469" y="6"/>
                  </a:lnTo>
                  <a:lnTo>
                    <a:pt x="471" y="5"/>
                  </a:lnTo>
                  <a:close/>
                  <a:moveTo>
                    <a:pt x="281" y="5"/>
                  </a:moveTo>
                  <a:lnTo>
                    <a:pt x="283" y="5"/>
                  </a:lnTo>
                  <a:lnTo>
                    <a:pt x="283" y="6"/>
                  </a:lnTo>
                  <a:lnTo>
                    <a:pt x="281" y="6"/>
                  </a:lnTo>
                  <a:lnTo>
                    <a:pt x="281" y="5"/>
                  </a:lnTo>
                  <a:close/>
                  <a:moveTo>
                    <a:pt x="479" y="5"/>
                  </a:moveTo>
                  <a:lnTo>
                    <a:pt x="476" y="5"/>
                  </a:lnTo>
                  <a:lnTo>
                    <a:pt x="476" y="3"/>
                  </a:lnTo>
                  <a:lnTo>
                    <a:pt x="479" y="0"/>
                  </a:lnTo>
                  <a:lnTo>
                    <a:pt x="481" y="3"/>
                  </a:lnTo>
                  <a:lnTo>
                    <a:pt x="479" y="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3" name="Freeform 56"/>
            <p:cNvSpPr>
              <a:spLocks noEditPoints="1"/>
            </p:cNvSpPr>
            <p:nvPr/>
          </p:nvSpPr>
          <p:spPr bwMode="gray">
            <a:xfrm>
              <a:off x="7278071" y="2578266"/>
              <a:ext cx="1171126" cy="1118225"/>
            </a:xfrm>
            <a:custGeom>
              <a:avLst/>
              <a:gdLst>
                <a:gd name="T0" fmla="*/ 203 w 642"/>
                <a:gd name="T1" fmla="*/ 609 h 613"/>
                <a:gd name="T2" fmla="*/ 395 w 642"/>
                <a:gd name="T3" fmla="*/ 538 h 613"/>
                <a:gd name="T4" fmla="*/ 142 w 642"/>
                <a:gd name="T5" fmla="*/ 529 h 613"/>
                <a:gd name="T6" fmla="*/ 203 w 642"/>
                <a:gd name="T7" fmla="*/ 533 h 613"/>
                <a:gd name="T8" fmla="*/ 176 w 642"/>
                <a:gd name="T9" fmla="*/ 546 h 613"/>
                <a:gd name="T10" fmla="*/ 128 w 642"/>
                <a:gd name="T11" fmla="*/ 529 h 613"/>
                <a:gd name="T12" fmla="*/ 81 w 642"/>
                <a:gd name="T13" fmla="*/ 517 h 613"/>
                <a:gd name="T14" fmla="*/ 79 w 642"/>
                <a:gd name="T15" fmla="*/ 519 h 613"/>
                <a:gd name="T16" fmla="*/ 106 w 642"/>
                <a:gd name="T17" fmla="*/ 529 h 613"/>
                <a:gd name="T18" fmla="*/ 84 w 642"/>
                <a:gd name="T19" fmla="*/ 548 h 613"/>
                <a:gd name="T20" fmla="*/ 7 w 642"/>
                <a:gd name="T21" fmla="*/ 531 h 613"/>
                <a:gd name="T22" fmla="*/ 21 w 642"/>
                <a:gd name="T23" fmla="*/ 509 h 613"/>
                <a:gd name="T24" fmla="*/ 553 w 642"/>
                <a:gd name="T25" fmla="*/ 485 h 613"/>
                <a:gd name="T26" fmla="*/ 415 w 642"/>
                <a:gd name="T27" fmla="*/ 478 h 613"/>
                <a:gd name="T28" fmla="*/ 442 w 642"/>
                <a:gd name="T29" fmla="*/ 521 h 613"/>
                <a:gd name="T30" fmla="*/ 374 w 642"/>
                <a:gd name="T31" fmla="*/ 493 h 613"/>
                <a:gd name="T32" fmla="*/ 408 w 642"/>
                <a:gd name="T33" fmla="*/ 464 h 613"/>
                <a:gd name="T34" fmla="*/ 371 w 642"/>
                <a:gd name="T35" fmla="*/ 454 h 613"/>
                <a:gd name="T36" fmla="*/ 487 w 642"/>
                <a:gd name="T37" fmla="*/ 440 h 613"/>
                <a:gd name="T38" fmla="*/ 456 w 642"/>
                <a:gd name="T39" fmla="*/ 416 h 613"/>
                <a:gd name="T40" fmla="*/ 354 w 642"/>
                <a:gd name="T41" fmla="*/ 389 h 613"/>
                <a:gd name="T42" fmla="*/ 354 w 642"/>
                <a:gd name="T43" fmla="*/ 389 h 613"/>
                <a:gd name="T44" fmla="*/ 495 w 642"/>
                <a:gd name="T45" fmla="*/ 387 h 613"/>
                <a:gd name="T46" fmla="*/ 355 w 642"/>
                <a:gd name="T47" fmla="*/ 377 h 613"/>
                <a:gd name="T48" fmla="*/ 372 w 642"/>
                <a:gd name="T49" fmla="*/ 355 h 613"/>
                <a:gd name="T50" fmla="*/ 410 w 642"/>
                <a:gd name="T51" fmla="*/ 399 h 613"/>
                <a:gd name="T52" fmla="*/ 403 w 642"/>
                <a:gd name="T53" fmla="*/ 410 h 613"/>
                <a:gd name="T54" fmla="*/ 362 w 642"/>
                <a:gd name="T55" fmla="*/ 369 h 613"/>
                <a:gd name="T56" fmla="*/ 332 w 642"/>
                <a:gd name="T57" fmla="*/ 352 h 613"/>
                <a:gd name="T58" fmla="*/ 338 w 642"/>
                <a:gd name="T59" fmla="*/ 374 h 613"/>
                <a:gd name="T60" fmla="*/ 330 w 642"/>
                <a:gd name="T61" fmla="*/ 350 h 613"/>
                <a:gd name="T62" fmla="*/ 349 w 642"/>
                <a:gd name="T63" fmla="*/ 331 h 613"/>
                <a:gd name="T64" fmla="*/ 639 w 642"/>
                <a:gd name="T65" fmla="*/ 321 h 613"/>
                <a:gd name="T66" fmla="*/ 632 w 642"/>
                <a:gd name="T67" fmla="*/ 340 h 613"/>
                <a:gd name="T68" fmla="*/ 378 w 642"/>
                <a:gd name="T69" fmla="*/ 309 h 613"/>
                <a:gd name="T70" fmla="*/ 432 w 642"/>
                <a:gd name="T71" fmla="*/ 276 h 613"/>
                <a:gd name="T72" fmla="*/ 374 w 642"/>
                <a:gd name="T73" fmla="*/ 259 h 613"/>
                <a:gd name="T74" fmla="*/ 372 w 642"/>
                <a:gd name="T75" fmla="*/ 227 h 613"/>
                <a:gd name="T76" fmla="*/ 473 w 642"/>
                <a:gd name="T77" fmla="*/ 218 h 613"/>
                <a:gd name="T78" fmla="*/ 362 w 642"/>
                <a:gd name="T79" fmla="*/ 208 h 613"/>
                <a:gd name="T80" fmla="*/ 453 w 642"/>
                <a:gd name="T81" fmla="*/ 130 h 613"/>
                <a:gd name="T82" fmla="*/ 448 w 642"/>
                <a:gd name="T83" fmla="*/ 107 h 613"/>
                <a:gd name="T84" fmla="*/ 439 w 642"/>
                <a:gd name="T85" fmla="*/ 71 h 613"/>
                <a:gd name="T86" fmla="*/ 448 w 642"/>
                <a:gd name="T87" fmla="*/ 133 h 613"/>
                <a:gd name="T88" fmla="*/ 402 w 642"/>
                <a:gd name="T89" fmla="*/ 206 h 613"/>
                <a:gd name="T90" fmla="*/ 463 w 642"/>
                <a:gd name="T91" fmla="*/ 182 h 613"/>
                <a:gd name="T92" fmla="*/ 518 w 642"/>
                <a:gd name="T93" fmla="*/ 128 h 613"/>
                <a:gd name="T94" fmla="*/ 511 w 642"/>
                <a:gd name="T95" fmla="*/ 198 h 613"/>
                <a:gd name="T96" fmla="*/ 501 w 642"/>
                <a:gd name="T97" fmla="*/ 246 h 613"/>
                <a:gd name="T98" fmla="*/ 535 w 642"/>
                <a:gd name="T99" fmla="*/ 283 h 613"/>
                <a:gd name="T100" fmla="*/ 453 w 642"/>
                <a:gd name="T101" fmla="*/ 261 h 613"/>
                <a:gd name="T102" fmla="*/ 431 w 642"/>
                <a:gd name="T103" fmla="*/ 317 h 613"/>
                <a:gd name="T104" fmla="*/ 489 w 642"/>
                <a:gd name="T105" fmla="*/ 418 h 613"/>
                <a:gd name="T106" fmla="*/ 460 w 642"/>
                <a:gd name="T107" fmla="*/ 405 h 613"/>
                <a:gd name="T108" fmla="*/ 408 w 642"/>
                <a:gd name="T109" fmla="*/ 316 h 613"/>
                <a:gd name="T110" fmla="*/ 390 w 642"/>
                <a:gd name="T111" fmla="*/ 229 h 613"/>
                <a:gd name="T112" fmla="*/ 381 w 642"/>
                <a:gd name="T113" fmla="*/ 196 h 613"/>
                <a:gd name="T114" fmla="*/ 388 w 642"/>
                <a:gd name="T115" fmla="*/ 126 h 613"/>
                <a:gd name="T116" fmla="*/ 419 w 642"/>
                <a:gd name="T117" fmla="*/ 73 h 613"/>
                <a:gd name="T118" fmla="*/ 458 w 642"/>
                <a:gd name="T119" fmla="*/ 37 h 613"/>
                <a:gd name="T120" fmla="*/ 512 w 642"/>
                <a:gd name="T121" fmla="*/ 63 h 613"/>
                <a:gd name="T122" fmla="*/ 480 w 642"/>
                <a:gd name="T123" fmla="*/ 2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13">
                  <a:moveTo>
                    <a:pt x="12" y="560"/>
                  </a:moveTo>
                  <a:lnTo>
                    <a:pt x="14" y="562"/>
                  </a:lnTo>
                  <a:lnTo>
                    <a:pt x="11" y="565"/>
                  </a:lnTo>
                  <a:lnTo>
                    <a:pt x="9" y="562"/>
                  </a:lnTo>
                  <a:lnTo>
                    <a:pt x="9" y="557"/>
                  </a:lnTo>
                  <a:lnTo>
                    <a:pt x="12" y="560"/>
                  </a:lnTo>
                  <a:close/>
                  <a:moveTo>
                    <a:pt x="193" y="553"/>
                  </a:moveTo>
                  <a:lnTo>
                    <a:pt x="197" y="553"/>
                  </a:lnTo>
                  <a:lnTo>
                    <a:pt x="203" y="560"/>
                  </a:lnTo>
                  <a:lnTo>
                    <a:pt x="203" y="562"/>
                  </a:lnTo>
                  <a:lnTo>
                    <a:pt x="200" y="570"/>
                  </a:lnTo>
                  <a:lnTo>
                    <a:pt x="198" y="575"/>
                  </a:lnTo>
                  <a:lnTo>
                    <a:pt x="200" y="579"/>
                  </a:lnTo>
                  <a:lnTo>
                    <a:pt x="205" y="587"/>
                  </a:lnTo>
                  <a:lnTo>
                    <a:pt x="207" y="592"/>
                  </a:lnTo>
                  <a:lnTo>
                    <a:pt x="209" y="599"/>
                  </a:lnTo>
                  <a:lnTo>
                    <a:pt x="212" y="606"/>
                  </a:lnTo>
                  <a:lnTo>
                    <a:pt x="212" y="609"/>
                  </a:lnTo>
                  <a:lnTo>
                    <a:pt x="210" y="613"/>
                  </a:lnTo>
                  <a:lnTo>
                    <a:pt x="203" y="609"/>
                  </a:lnTo>
                  <a:lnTo>
                    <a:pt x="200" y="603"/>
                  </a:lnTo>
                  <a:lnTo>
                    <a:pt x="198" y="594"/>
                  </a:lnTo>
                  <a:lnTo>
                    <a:pt x="195" y="589"/>
                  </a:lnTo>
                  <a:lnTo>
                    <a:pt x="190" y="582"/>
                  </a:lnTo>
                  <a:lnTo>
                    <a:pt x="190" y="577"/>
                  </a:lnTo>
                  <a:lnTo>
                    <a:pt x="186" y="567"/>
                  </a:lnTo>
                  <a:lnTo>
                    <a:pt x="186" y="563"/>
                  </a:lnTo>
                  <a:lnTo>
                    <a:pt x="192" y="555"/>
                  </a:lnTo>
                  <a:lnTo>
                    <a:pt x="193" y="553"/>
                  </a:lnTo>
                  <a:close/>
                  <a:moveTo>
                    <a:pt x="5" y="553"/>
                  </a:moveTo>
                  <a:lnTo>
                    <a:pt x="9" y="553"/>
                  </a:lnTo>
                  <a:lnTo>
                    <a:pt x="9" y="562"/>
                  </a:lnTo>
                  <a:lnTo>
                    <a:pt x="2" y="558"/>
                  </a:lnTo>
                  <a:lnTo>
                    <a:pt x="2" y="557"/>
                  </a:lnTo>
                  <a:lnTo>
                    <a:pt x="0" y="557"/>
                  </a:lnTo>
                  <a:lnTo>
                    <a:pt x="2" y="553"/>
                  </a:lnTo>
                  <a:lnTo>
                    <a:pt x="5" y="553"/>
                  </a:lnTo>
                  <a:close/>
                  <a:moveTo>
                    <a:pt x="402" y="534"/>
                  </a:moveTo>
                  <a:lnTo>
                    <a:pt x="400" y="538"/>
                  </a:lnTo>
                  <a:lnTo>
                    <a:pt x="395" y="538"/>
                  </a:lnTo>
                  <a:lnTo>
                    <a:pt x="393" y="539"/>
                  </a:lnTo>
                  <a:lnTo>
                    <a:pt x="395" y="536"/>
                  </a:lnTo>
                  <a:lnTo>
                    <a:pt x="402" y="534"/>
                  </a:lnTo>
                  <a:close/>
                  <a:moveTo>
                    <a:pt x="260" y="533"/>
                  </a:moveTo>
                  <a:lnTo>
                    <a:pt x="258" y="533"/>
                  </a:lnTo>
                  <a:lnTo>
                    <a:pt x="262" y="533"/>
                  </a:lnTo>
                  <a:lnTo>
                    <a:pt x="263" y="534"/>
                  </a:lnTo>
                  <a:lnTo>
                    <a:pt x="260" y="538"/>
                  </a:lnTo>
                  <a:lnTo>
                    <a:pt x="255" y="536"/>
                  </a:lnTo>
                  <a:lnTo>
                    <a:pt x="251" y="536"/>
                  </a:lnTo>
                  <a:lnTo>
                    <a:pt x="246" y="536"/>
                  </a:lnTo>
                  <a:lnTo>
                    <a:pt x="255" y="534"/>
                  </a:lnTo>
                  <a:lnTo>
                    <a:pt x="256" y="533"/>
                  </a:lnTo>
                  <a:lnTo>
                    <a:pt x="260" y="533"/>
                  </a:lnTo>
                  <a:close/>
                  <a:moveTo>
                    <a:pt x="134" y="531"/>
                  </a:moveTo>
                  <a:lnTo>
                    <a:pt x="134" y="533"/>
                  </a:lnTo>
                  <a:lnTo>
                    <a:pt x="135" y="533"/>
                  </a:lnTo>
                  <a:lnTo>
                    <a:pt x="139" y="533"/>
                  </a:lnTo>
                  <a:lnTo>
                    <a:pt x="139" y="529"/>
                  </a:lnTo>
                  <a:lnTo>
                    <a:pt x="142" y="529"/>
                  </a:lnTo>
                  <a:lnTo>
                    <a:pt x="140" y="533"/>
                  </a:lnTo>
                  <a:lnTo>
                    <a:pt x="144" y="534"/>
                  </a:lnTo>
                  <a:lnTo>
                    <a:pt x="144" y="533"/>
                  </a:lnTo>
                  <a:lnTo>
                    <a:pt x="144" y="534"/>
                  </a:lnTo>
                  <a:lnTo>
                    <a:pt x="149" y="531"/>
                  </a:lnTo>
                  <a:lnTo>
                    <a:pt x="149" y="534"/>
                  </a:lnTo>
                  <a:lnTo>
                    <a:pt x="156" y="533"/>
                  </a:lnTo>
                  <a:lnTo>
                    <a:pt x="161" y="536"/>
                  </a:lnTo>
                  <a:lnTo>
                    <a:pt x="168" y="536"/>
                  </a:lnTo>
                  <a:lnTo>
                    <a:pt x="169" y="534"/>
                  </a:lnTo>
                  <a:lnTo>
                    <a:pt x="171" y="536"/>
                  </a:lnTo>
                  <a:lnTo>
                    <a:pt x="174" y="533"/>
                  </a:lnTo>
                  <a:lnTo>
                    <a:pt x="176" y="534"/>
                  </a:lnTo>
                  <a:lnTo>
                    <a:pt x="178" y="533"/>
                  </a:lnTo>
                  <a:lnTo>
                    <a:pt x="181" y="534"/>
                  </a:lnTo>
                  <a:lnTo>
                    <a:pt x="190" y="533"/>
                  </a:lnTo>
                  <a:lnTo>
                    <a:pt x="193" y="531"/>
                  </a:lnTo>
                  <a:lnTo>
                    <a:pt x="198" y="533"/>
                  </a:lnTo>
                  <a:lnTo>
                    <a:pt x="200" y="531"/>
                  </a:lnTo>
                  <a:lnTo>
                    <a:pt x="203" y="533"/>
                  </a:lnTo>
                  <a:lnTo>
                    <a:pt x="210" y="533"/>
                  </a:lnTo>
                  <a:lnTo>
                    <a:pt x="219" y="534"/>
                  </a:lnTo>
                  <a:lnTo>
                    <a:pt x="227" y="533"/>
                  </a:lnTo>
                  <a:lnTo>
                    <a:pt x="229" y="534"/>
                  </a:lnTo>
                  <a:lnTo>
                    <a:pt x="236" y="534"/>
                  </a:lnTo>
                  <a:lnTo>
                    <a:pt x="241" y="536"/>
                  </a:lnTo>
                  <a:lnTo>
                    <a:pt x="244" y="533"/>
                  </a:lnTo>
                  <a:lnTo>
                    <a:pt x="246" y="534"/>
                  </a:lnTo>
                  <a:lnTo>
                    <a:pt x="243" y="538"/>
                  </a:lnTo>
                  <a:lnTo>
                    <a:pt x="234" y="541"/>
                  </a:lnTo>
                  <a:lnTo>
                    <a:pt x="229" y="539"/>
                  </a:lnTo>
                  <a:lnTo>
                    <a:pt x="221" y="543"/>
                  </a:lnTo>
                  <a:lnTo>
                    <a:pt x="212" y="543"/>
                  </a:lnTo>
                  <a:lnTo>
                    <a:pt x="202" y="546"/>
                  </a:lnTo>
                  <a:lnTo>
                    <a:pt x="198" y="546"/>
                  </a:lnTo>
                  <a:lnTo>
                    <a:pt x="195" y="550"/>
                  </a:lnTo>
                  <a:lnTo>
                    <a:pt x="185" y="543"/>
                  </a:lnTo>
                  <a:lnTo>
                    <a:pt x="180" y="546"/>
                  </a:lnTo>
                  <a:lnTo>
                    <a:pt x="178" y="548"/>
                  </a:lnTo>
                  <a:lnTo>
                    <a:pt x="176" y="546"/>
                  </a:lnTo>
                  <a:lnTo>
                    <a:pt x="176" y="548"/>
                  </a:lnTo>
                  <a:lnTo>
                    <a:pt x="174" y="548"/>
                  </a:lnTo>
                  <a:lnTo>
                    <a:pt x="164" y="548"/>
                  </a:lnTo>
                  <a:lnTo>
                    <a:pt x="154" y="548"/>
                  </a:lnTo>
                  <a:lnTo>
                    <a:pt x="147" y="550"/>
                  </a:lnTo>
                  <a:lnTo>
                    <a:pt x="144" y="548"/>
                  </a:lnTo>
                  <a:lnTo>
                    <a:pt x="135" y="550"/>
                  </a:lnTo>
                  <a:lnTo>
                    <a:pt x="137" y="548"/>
                  </a:lnTo>
                  <a:lnTo>
                    <a:pt x="137" y="543"/>
                  </a:lnTo>
                  <a:lnTo>
                    <a:pt x="132" y="541"/>
                  </a:lnTo>
                  <a:lnTo>
                    <a:pt x="132" y="539"/>
                  </a:lnTo>
                  <a:lnTo>
                    <a:pt x="130" y="539"/>
                  </a:lnTo>
                  <a:lnTo>
                    <a:pt x="128" y="538"/>
                  </a:lnTo>
                  <a:lnTo>
                    <a:pt x="127" y="543"/>
                  </a:lnTo>
                  <a:lnTo>
                    <a:pt x="123" y="539"/>
                  </a:lnTo>
                  <a:lnTo>
                    <a:pt x="123" y="536"/>
                  </a:lnTo>
                  <a:lnTo>
                    <a:pt x="127" y="533"/>
                  </a:lnTo>
                  <a:lnTo>
                    <a:pt x="130" y="533"/>
                  </a:lnTo>
                  <a:lnTo>
                    <a:pt x="127" y="531"/>
                  </a:lnTo>
                  <a:lnTo>
                    <a:pt x="128" y="529"/>
                  </a:lnTo>
                  <a:lnTo>
                    <a:pt x="134" y="531"/>
                  </a:lnTo>
                  <a:close/>
                  <a:moveTo>
                    <a:pt x="5" y="527"/>
                  </a:moveTo>
                  <a:lnTo>
                    <a:pt x="5" y="529"/>
                  </a:lnTo>
                  <a:lnTo>
                    <a:pt x="5" y="527"/>
                  </a:lnTo>
                  <a:close/>
                  <a:moveTo>
                    <a:pt x="149" y="527"/>
                  </a:moveTo>
                  <a:lnTo>
                    <a:pt x="151" y="529"/>
                  </a:lnTo>
                  <a:lnTo>
                    <a:pt x="145" y="529"/>
                  </a:lnTo>
                  <a:lnTo>
                    <a:pt x="149" y="527"/>
                  </a:lnTo>
                  <a:close/>
                  <a:moveTo>
                    <a:pt x="0" y="526"/>
                  </a:moveTo>
                  <a:lnTo>
                    <a:pt x="2" y="531"/>
                  </a:lnTo>
                  <a:lnTo>
                    <a:pt x="0" y="529"/>
                  </a:lnTo>
                  <a:lnTo>
                    <a:pt x="0" y="526"/>
                  </a:lnTo>
                  <a:close/>
                  <a:moveTo>
                    <a:pt x="5" y="519"/>
                  </a:moveTo>
                  <a:lnTo>
                    <a:pt x="7" y="519"/>
                  </a:lnTo>
                  <a:lnTo>
                    <a:pt x="7" y="522"/>
                  </a:lnTo>
                  <a:lnTo>
                    <a:pt x="5" y="522"/>
                  </a:lnTo>
                  <a:lnTo>
                    <a:pt x="5" y="519"/>
                  </a:lnTo>
                  <a:close/>
                  <a:moveTo>
                    <a:pt x="79" y="516"/>
                  </a:moveTo>
                  <a:lnTo>
                    <a:pt x="81" y="516"/>
                  </a:lnTo>
                  <a:lnTo>
                    <a:pt x="81" y="517"/>
                  </a:lnTo>
                  <a:lnTo>
                    <a:pt x="79" y="517"/>
                  </a:lnTo>
                  <a:lnTo>
                    <a:pt x="79" y="516"/>
                  </a:lnTo>
                  <a:close/>
                  <a:moveTo>
                    <a:pt x="84" y="516"/>
                  </a:moveTo>
                  <a:lnTo>
                    <a:pt x="87" y="516"/>
                  </a:lnTo>
                  <a:lnTo>
                    <a:pt x="84" y="517"/>
                  </a:lnTo>
                  <a:lnTo>
                    <a:pt x="84" y="516"/>
                  </a:lnTo>
                  <a:close/>
                  <a:moveTo>
                    <a:pt x="28" y="512"/>
                  </a:moveTo>
                  <a:lnTo>
                    <a:pt x="28" y="516"/>
                  </a:lnTo>
                  <a:lnTo>
                    <a:pt x="31" y="512"/>
                  </a:lnTo>
                  <a:lnTo>
                    <a:pt x="41" y="512"/>
                  </a:lnTo>
                  <a:lnTo>
                    <a:pt x="50" y="514"/>
                  </a:lnTo>
                  <a:lnTo>
                    <a:pt x="55" y="517"/>
                  </a:lnTo>
                  <a:lnTo>
                    <a:pt x="58" y="516"/>
                  </a:lnTo>
                  <a:lnTo>
                    <a:pt x="62" y="519"/>
                  </a:lnTo>
                  <a:lnTo>
                    <a:pt x="62" y="517"/>
                  </a:lnTo>
                  <a:lnTo>
                    <a:pt x="69" y="517"/>
                  </a:lnTo>
                  <a:lnTo>
                    <a:pt x="72" y="521"/>
                  </a:lnTo>
                  <a:lnTo>
                    <a:pt x="74" y="519"/>
                  </a:lnTo>
                  <a:lnTo>
                    <a:pt x="75" y="521"/>
                  </a:lnTo>
                  <a:lnTo>
                    <a:pt x="79" y="519"/>
                  </a:lnTo>
                  <a:lnTo>
                    <a:pt x="81" y="521"/>
                  </a:lnTo>
                  <a:lnTo>
                    <a:pt x="84" y="522"/>
                  </a:lnTo>
                  <a:lnTo>
                    <a:pt x="84" y="524"/>
                  </a:lnTo>
                  <a:lnTo>
                    <a:pt x="87" y="522"/>
                  </a:lnTo>
                  <a:lnTo>
                    <a:pt x="86" y="526"/>
                  </a:lnTo>
                  <a:lnTo>
                    <a:pt x="87" y="527"/>
                  </a:lnTo>
                  <a:lnTo>
                    <a:pt x="89" y="526"/>
                  </a:lnTo>
                  <a:lnTo>
                    <a:pt x="91" y="529"/>
                  </a:lnTo>
                  <a:lnTo>
                    <a:pt x="93" y="526"/>
                  </a:lnTo>
                  <a:lnTo>
                    <a:pt x="93" y="529"/>
                  </a:lnTo>
                  <a:lnTo>
                    <a:pt x="98" y="526"/>
                  </a:lnTo>
                  <a:lnTo>
                    <a:pt x="94" y="526"/>
                  </a:lnTo>
                  <a:lnTo>
                    <a:pt x="98" y="524"/>
                  </a:lnTo>
                  <a:lnTo>
                    <a:pt x="96" y="524"/>
                  </a:lnTo>
                  <a:lnTo>
                    <a:pt x="98" y="519"/>
                  </a:lnTo>
                  <a:lnTo>
                    <a:pt x="99" y="519"/>
                  </a:lnTo>
                  <a:lnTo>
                    <a:pt x="103" y="522"/>
                  </a:lnTo>
                  <a:lnTo>
                    <a:pt x="104" y="519"/>
                  </a:lnTo>
                  <a:lnTo>
                    <a:pt x="110" y="522"/>
                  </a:lnTo>
                  <a:lnTo>
                    <a:pt x="106" y="529"/>
                  </a:lnTo>
                  <a:lnTo>
                    <a:pt x="110" y="531"/>
                  </a:lnTo>
                  <a:lnTo>
                    <a:pt x="111" y="527"/>
                  </a:lnTo>
                  <a:lnTo>
                    <a:pt x="111" y="524"/>
                  </a:lnTo>
                  <a:lnTo>
                    <a:pt x="115" y="522"/>
                  </a:lnTo>
                  <a:lnTo>
                    <a:pt x="120" y="524"/>
                  </a:lnTo>
                  <a:lnTo>
                    <a:pt x="120" y="529"/>
                  </a:lnTo>
                  <a:lnTo>
                    <a:pt x="116" y="531"/>
                  </a:lnTo>
                  <a:lnTo>
                    <a:pt x="123" y="531"/>
                  </a:lnTo>
                  <a:lnTo>
                    <a:pt x="122" y="538"/>
                  </a:lnTo>
                  <a:lnTo>
                    <a:pt x="123" y="543"/>
                  </a:lnTo>
                  <a:lnTo>
                    <a:pt x="116" y="543"/>
                  </a:lnTo>
                  <a:lnTo>
                    <a:pt x="113" y="541"/>
                  </a:lnTo>
                  <a:lnTo>
                    <a:pt x="108" y="543"/>
                  </a:lnTo>
                  <a:lnTo>
                    <a:pt x="101" y="541"/>
                  </a:lnTo>
                  <a:lnTo>
                    <a:pt x="96" y="545"/>
                  </a:lnTo>
                  <a:lnTo>
                    <a:pt x="89" y="543"/>
                  </a:lnTo>
                  <a:lnTo>
                    <a:pt x="86" y="545"/>
                  </a:lnTo>
                  <a:lnTo>
                    <a:pt x="87" y="548"/>
                  </a:lnTo>
                  <a:lnTo>
                    <a:pt x="86" y="550"/>
                  </a:lnTo>
                  <a:lnTo>
                    <a:pt x="84" y="548"/>
                  </a:lnTo>
                  <a:lnTo>
                    <a:pt x="82" y="548"/>
                  </a:lnTo>
                  <a:lnTo>
                    <a:pt x="72" y="548"/>
                  </a:lnTo>
                  <a:lnTo>
                    <a:pt x="69" y="543"/>
                  </a:lnTo>
                  <a:lnTo>
                    <a:pt x="62" y="545"/>
                  </a:lnTo>
                  <a:lnTo>
                    <a:pt x="57" y="546"/>
                  </a:lnTo>
                  <a:lnTo>
                    <a:pt x="48" y="550"/>
                  </a:lnTo>
                  <a:lnTo>
                    <a:pt x="46" y="553"/>
                  </a:lnTo>
                  <a:lnTo>
                    <a:pt x="45" y="553"/>
                  </a:lnTo>
                  <a:lnTo>
                    <a:pt x="40" y="555"/>
                  </a:lnTo>
                  <a:lnTo>
                    <a:pt x="31" y="557"/>
                  </a:lnTo>
                  <a:lnTo>
                    <a:pt x="28" y="558"/>
                  </a:lnTo>
                  <a:lnTo>
                    <a:pt x="26" y="558"/>
                  </a:lnTo>
                  <a:lnTo>
                    <a:pt x="23" y="560"/>
                  </a:lnTo>
                  <a:lnTo>
                    <a:pt x="14" y="558"/>
                  </a:lnTo>
                  <a:lnTo>
                    <a:pt x="12" y="560"/>
                  </a:lnTo>
                  <a:lnTo>
                    <a:pt x="12" y="553"/>
                  </a:lnTo>
                  <a:lnTo>
                    <a:pt x="11" y="550"/>
                  </a:lnTo>
                  <a:lnTo>
                    <a:pt x="5" y="543"/>
                  </a:lnTo>
                  <a:lnTo>
                    <a:pt x="5" y="538"/>
                  </a:lnTo>
                  <a:lnTo>
                    <a:pt x="7" y="531"/>
                  </a:lnTo>
                  <a:lnTo>
                    <a:pt x="9" y="526"/>
                  </a:lnTo>
                  <a:lnTo>
                    <a:pt x="9" y="522"/>
                  </a:lnTo>
                  <a:lnTo>
                    <a:pt x="11" y="521"/>
                  </a:lnTo>
                  <a:lnTo>
                    <a:pt x="9" y="522"/>
                  </a:lnTo>
                  <a:lnTo>
                    <a:pt x="9" y="521"/>
                  </a:lnTo>
                  <a:lnTo>
                    <a:pt x="12" y="516"/>
                  </a:lnTo>
                  <a:lnTo>
                    <a:pt x="17" y="516"/>
                  </a:lnTo>
                  <a:lnTo>
                    <a:pt x="24" y="516"/>
                  </a:lnTo>
                  <a:lnTo>
                    <a:pt x="28" y="512"/>
                  </a:lnTo>
                  <a:close/>
                  <a:moveTo>
                    <a:pt x="485" y="509"/>
                  </a:moveTo>
                  <a:lnTo>
                    <a:pt x="487" y="510"/>
                  </a:lnTo>
                  <a:lnTo>
                    <a:pt x="487" y="514"/>
                  </a:lnTo>
                  <a:lnTo>
                    <a:pt x="482" y="516"/>
                  </a:lnTo>
                  <a:lnTo>
                    <a:pt x="480" y="514"/>
                  </a:lnTo>
                  <a:lnTo>
                    <a:pt x="482" y="510"/>
                  </a:lnTo>
                  <a:lnTo>
                    <a:pt x="485" y="509"/>
                  </a:lnTo>
                  <a:close/>
                  <a:moveTo>
                    <a:pt x="21" y="505"/>
                  </a:moveTo>
                  <a:lnTo>
                    <a:pt x="23" y="505"/>
                  </a:lnTo>
                  <a:lnTo>
                    <a:pt x="23" y="509"/>
                  </a:lnTo>
                  <a:lnTo>
                    <a:pt x="21" y="509"/>
                  </a:lnTo>
                  <a:lnTo>
                    <a:pt x="21" y="505"/>
                  </a:lnTo>
                  <a:close/>
                  <a:moveTo>
                    <a:pt x="454" y="504"/>
                  </a:moveTo>
                  <a:lnTo>
                    <a:pt x="456" y="504"/>
                  </a:lnTo>
                  <a:lnTo>
                    <a:pt x="456" y="505"/>
                  </a:lnTo>
                  <a:lnTo>
                    <a:pt x="454" y="505"/>
                  </a:lnTo>
                  <a:lnTo>
                    <a:pt x="454" y="504"/>
                  </a:lnTo>
                  <a:close/>
                  <a:moveTo>
                    <a:pt x="442" y="495"/>
                  </a:moveTo>
                  <a:lnTo>
                    <a:pt x="444" y="495"/>
                  </a:lnTo>
                  <a:lnTo>
                    <a:pt x="444" y="497"/>
                  </a:lnTo>
                  <a:lnTo>
                    <a:pt x="442" y="497"/>
                  </a:lnTo>
                  <a:lnTo>
                    <a:pt x="442" y="495"/>
                  </a:lnTo>
                  <a:close/>
                  <a:moveTo>
                    <a:pt x="372" y="497"/>
                  </a:moveTo>
                  <a:lnTo>
                    <a:pt x="371" y="498"/>
                  </a:lnTo>
                  <a:lnTo>
                    <a:pt x="369" y="498"/>
                  </a:lnTo>
                  <a:lnTo>
                    <a:pt x="371" y="495"/>
                  </a:lnTo>
                  <a:lnTo>
                    <a:pt x="372" y="497"/>
                  </a:lnTo>
                  <a:close/>
                  <a:moveTo>
                    <a:pt x="553" y="481"/>
                  </a:moveTo>
                  <a:lnTo>
                    <a:pt x="555" y="481"/>
                  </a:lnTo>
                  <a:lnTo>
                    <a:pt x="555" y="485"/>
                  </a:lnTo>
                  <a:lnTo>
                    <a:pt x="553" y="485"/>
                  </a:lnTo>
                  <a:lnTo>
                    <a:pt x="553" y="481"/>
                  </a:lnTo>
                  <a:close/>
                  <a:moveTo>
                    <a:pt x="366" y="483"/>
                  </a:moveTo>
                  <a:lnTo>
                    <a:pt x="367" y="480"/>
                  </a:lnTo>
                  <a:lnTo>
                    <a:pt x="367" y="481"/>
                  </a:lnTo>
                  <a:lnTo>
                    <a:pt x="369" y="480"/>
                  </a:lnTo>
                  <a:lnTo>
                    <a:pt x="369" y="481"/>
                  </a:lnTo>
                  <a:lnTo>
                    <a:pt x="372" y="485"/>
                  </a:lnTo>
                  <a:lnTo>
                    <a:pt x="364" y="492"/>
                  </a:lnTo>
                  <a:lnTo>
                    <a:pt x="357" y="487"/>
                  </a:lnTo>
                  <a:lnTo>
                    <a:pt x="362" y="483"/>
                  </a:lnTo>
                  <a:lnTo>
                    <a:pt x="362" y="480"/>
                  </a:lnTo>
                  <a:lnTo>
                    <a:pt x="364" y="483"/>
                  </a:lnTo>
                  <a:lnTo>
                    <a:pt x="366" y="480"/>
                  </a:lnTo>
                  <a:lnTo>
                    <a:pt x="366" y="483"/>
                  </a:lnTo>
                  <a:close/>
                  <a:moveTo>
                    <a:pt x="402" y="476"/>
                  </a:moveTo>
                  <a:lnTo>
                    <a:pt x="403" y="478"/>
                  </a:lnTo>
                  <a:lnTo>
                    <a:pt x="405" y="476"/>
                  </a:lnTo>
                  <a:lnTo>
                    <a:pt x="408" y="478"/>
                  </a:lnTo>
                  <a:lnTo>
                    <a:pt x="408" y="476"/>
                  </a:lnTo>
                  <a:lnTo>
                    <a:pt x="415" y="478"/>
                  </a:lnTo>
                  <a:lnTo>
                    <a:pt x="417" y="481"/>
                  </a:lnTo>
                  <a:lnTo>
                    <a:pt x="419" y="481"/>
                  </a:lnTo>
                  <a:lnTo>
                    <a:pt x="420" y="485"/>
                  </a:lnTo>
                  <a:lnTo>
                    <a:pt x="425" y="487"/>
                  </a:lnTo>
                  <a:lnTo>
                    <a:pt x="424" y="488"/>
                  </a:lnTo>
                  <a:lnTo>
                    <a:pt x="429" y="488"/>
                  </a:lnTo>
                  <a:lnTo>
                    <a:pt x="431" y="487"/>
                  </a:lnTo>
                  <a:lnTo>
                    <a:pt x="436" y="490"/>
                  </a:lnTo>
                  <a:lnTo>
                    <a:pt x="442" y="498"/>
                  </a:lnTo>
                  <a:lnTo>
                    <a:pt x="444" y="497"/>
                  </a:lnTo>
                  <a:lnTo>
                    <a:pt x="451" y="504"/>
                  </a:lnTo>
                  <a:lnTo>
                    <a:pt x="453" y="504"/>
                  </a:lnTo>
                  <a:lnTo>
                    <a:pt x="453" y="505"/>
                  </a:lnTo>
                  <a:lnTo>
                    <a:pt x="456" y="505"/>
                  </a:lnTo>
                  <a:lnTo>
                    <a:pt x="458" y="504"/>
                  </a:lnTo>
                  <a:lnTo>
                    <a:pt x="465" y="510"/>
                  </a:lnTo>
                  <a:lnTo>
                    <a:pt x="463" y="519"/>
                  </a:lnTo>
                  <a:lnTo>
                    <a:pt x="454" y="522"/>
                  </a:lnTo>
                  <a:lnTo>
                    <a:pt x="446" y="524"/>
                  </a:lnTo>
                  <a:lnTo>
                    <a:pt x="442" y="521"/>
                  </a:lnTo>
                  <a:lnTo>
                    <a:pt x="432" y="519"/>
                  </a:lnTo>
                  <a:lnTo>
                    <a:pt x="431" y="519"/>
                  </a:lnTo>
                  <a:lnTo>
                    <a:pt x="422" y="521"/>
                  </a:lnTo>
                  <a:lnTo>
                    <a:pt x="415" y="519"/>
                  </a:lnTo>
                  <a:lnTo>
                    <a:pt x="412" y="519"/>
                  </a:lnTo>
                  <a:lnTo>
                    <a:pt x="410" y="519"/>
                  </a:lnTo>
                  <a:lnTo>
                    <a:pt x="405" y="521"/>
                  </a:lnTo>
                  <a:lnTo>
                    <a:pt x="403" y="524"/>
                  </a:lnTo>
                  <a:lnTo>
                    <a:pt x="398" y="522"/>
                  </a:lnTo>
                  <a:lnTo>
                    <a:pt x="395" y="524"/>
                  </a:lnTo>
                  <a:lnTo>
                    <a:pt x="386" y="522"/>
                  </a:lnTo>
                  <a:lnTo>
                    <a:pt x="384" y="522"/>
                  </a:lnTo>
                  <a:lnTo>
                    <a:pt x="376" y="517"/>
                  </a:lnTo>
                  <a:lnTo>
                    <a:pt x="374" y="516"/>
                  </a:lnTo>
                  <a:lnTo>
                    <a:pt x="372" y="516"/>
                  </a:lnTo>
                  <a:lnTo>
                    <a:pt x="371" y="510"/>
                  </a:lnTo>
                  <a:lnTo>
                    <a:pt x="374" y="504"/>
                  </a:lnTo>
                  <a:lnTo>
                    <a:pt x="372" y="500"/>
                  </a:lnTo>
                  <a:lnTo>
                    <a:pt x="376" y="497"/>
                  </a:lnTo>
                  <a:lnTo>
                    <a:pt x="374" y="493"/>
                  </a:lnTo>
                  <a:lnTo>
                    <a:pt x="378" y="488"/>
                  </a:lnTo>
                  <a:lnTo>
                    <a:pt x="374" y="487"/>
                  </a:lnTo>
                  <a:lnTo>
                    <a:pt x="378" y="485"/>
                  </a:lnTo>
                  <a:lnTo>
                    <a:pt x="376" y="487"/>
                  </a:lnTo>
                  <a:lnTo>
                    <a:pt x="383" y="490"/>
                  </a:lnTo>
                  <a:lnTo>
                    <a:pt x="383" y="488"/>
                  </a:lnTo>
                  <a:lnTo>
                    <a:pt x="384" y="490"/>
                  </a:lnTo>
                  <a:lnTo>
                    <a:pt x="386" y="487"/>
                  </a:lnTo>
                  <a:lnTo>
                    <a:pt x="393" y="480"/>
                  </a:lnTo>
                  <a:lnTo>
                    <a:pt x="402" y="476"/>
                  </a:lnTo>
                  <a:close/>
                  <a:moveTo>
                    <a:pt x="372" y="475"/>
                  </a:moveTo>
                  <a:lnTo>
                    <a:pt x="376" y="475"/>
                  </a:lnTo>
                  <a:lnTo>
                    <a:pt x="374" y="476"/>
                  </a:lnTo>
                  <a:lnTo>
                    <a:pt x="371" y="476"/>
                  </a:lnTo>
                  <a:lnTo>
                    <a:pt x="369" y="475"/>
                  </a:lnTo>
                  <a:lnTo>
                    <a:pt x="372" y="475"/>
                  </a:lnTo>
                  <a:close/>
                  <a:moveTo>
                    <a:pt x="391" y="457"/>
                  </a:moveTo>
                  <a:lnTo>
                    <a:pt x="396" y="461"/>
                  </a:lnTo>
                  <a:lnTo>
                    <a:pt x="398" y="461"/>
                  </a:lnTo>
                  <a:lnTo>
                    <a:pt x="408" y="464"/>
                  </a:lnTo>
                  <a:lnTo>
                    <a:pt x="407" y="471"/>
                  </a:lnTo>
                  <a:lnTo>
                    <a:pt x="400" y="469"/>
                  </a:lnTo>
                  <a:lnTo>
                    <a:pt x="391" y="466"/>
                  </a:lnTo>
                  <a:lnTo>
                    <a:pt x="383" y="469"/>
                  </a:lnTo>
                  <a:lnTo>
                    <a:pt x="381" y="468"/>
                  </a:lnTo>
                  <a:lnTo>
                    <a:pt x="379" y="464"/>
                  </a:lnTo>
                  <a:lnTo>
                    <a:pt x="384" y="461"/>
                  </a:lnTo>
                  <a:lnTo>
                    <a:pt x="386" y="457"/>
                  </a:lnTo>
                  <a:lnTo>
                    <a:pt x="391" y="457"/>
                  </a:lnTo>
                  <a:close/>
                  <a:moveTo>
                    <a:pt x="494" y="454"/>
                  </a:moveTo>
                  <a:lnTo>
                    <a:pt x="495" y="454"/>
                  </a:lnTo>
                  <a:lnTo>
                    <a:pt x="495" y="456"/>
                  </a:lnTo>
                  <a:lnTo>
                    <a:pt x="494" y="456"/>
                  </a:lnTo>
                  <a:lnTo>
                    <a:pt x="494" y="454"/>
                  </a:lnTo>
                  <a:close/>
                  <a:moveTo>
                    <a:pt x="372" y="452"/>
                  </a:moveTo>
                  <a:lnTo>
                    <a:pt x="378" y="459"/>
                  </a:lnTo>
                  <a:lnTo>
                    <a:pt x="376" y="463"/>
                  </a:lnTo>
                  <a:lnTo>
                    <a:pt x="372" y="461"/>
                  </a:lnTo>
                  <a:lnTo>
                    <a:pt x="372" y="456"/>
                  </a:lnTo>
                  <a:lnTo>
                    <a:pt x="371" y="454"/>
                  </a:lnTo>
                  <a:lnTo>
                    <a:pt x="372" y="452"/>
                  </a:lnTo>
                  <a:close/>
                  <a:moveTo>
                    <a:pt x="489" y="452"/>
                  </a:moveTo>
                  <a:lnTo>
                    <a:pt x="492" y="454"/>
                  </a:lnTo>
                  <a:lnTo>
                    <a:pt x="489" y="452"/>
                  </a:lnTo>
                  <a:close/>
                  <a:moveTo>
                    <a:pt x="490" y="446"/>
                  </a:moveTo>
                  <a:lnTo>
                    <a:pt x="494" y="447"/>
                  </a:lnTo>
                  <a:lnTo>
                    <a:pt x="499" y="452"/>
                  </a:lnTo>
                  <a:lnTo>
                    <a:pt x="494" y="449"/>
                  </a:lnTo>
                  <a:lnTo>
                    <a:pt x="487" y="451"/>
                  </a:lnTo>
                  <a:lnTo>
                    <a:pt x="487" y="447"/>
                  </a:lnTo>
                  <a:lnTo>
                    <a:pt x="485" y="447"/>
                  </a:lnTo>
                  <a:lnTo>
                    <a:pt x="487" y="446"/>
                  </a:lnTo>
                  <a:lnTo>
                    <a:pt x="490" y="446"/>
                  </a:lnTo>
                  <a:close/>
                  <a:moveTo>
                    <a:pt x="472" y="442"/>
                  </a:moveTo>
                  <a:lnTo>
                    <a:pt x="475" y="442"/>
                  </a:lnTo>
                  <a:lnTo>
                    <a:pt x="475" y="444"/>
                  </a:lnTo>
                  <a:lnTo>
                    <a:pt x="472" y="444"/>
                  </a:lnTo>
                  <a:lnTo>
                    <a:pt x="472" y="442"/>
                  </a:lnTo>
                  <a:close/>
                  <a:moveTo>
                    <a:pt x="485" y="440"/>
                  </a:moveTo>
                  <a:lnTo>
                    <a:pt x="487" y="440"/>
                  </a:lnTo>
                  <a:lnTo>
                    <a:pt x="487" y="442"/>
                  </a:lnTo>
                  <a:lnTo>
                    <a:pt x="485" y="442"/>
                  </a:lnTo>
                  <a:lnTo>
                    <a:pt x="485" y="440"/>
                  </a:lnTo>
                  <a:close/>
                  <a:moveTo>
                    <a:pt x="482" y="428"/>
                  </a:moveTo>
                  <a:lnTo>
                    <a:pt x="485" y="430"/>
                  </a:lnTo>
                  <a:lnTo>
                    <a:pt x="485" y="434"/>
                  </a:lnTo>
                  <a:lnTo>
                    <a:pt x="485" y="432"/>
                  </a:lnTo>
                  <a:lnTo>
                    <a:pt x="490" y="437"/>
                  </a:lnTo>
                  <a:lnTo>
                    <a:pt x="492" y="435"/>
                  </a:lnTo>
                  <a:lnTo>
                    <a:pt x="494" y="439"/>
                  </a:lnTo>
                  <a:lnTo>
                    <a:pt x="487" y="442"/>
                  </a:lnTo>
                  <a:lnTo>
                    <a:pt x="483" y="439"/>
                  </a:lnTo>
                  <a:lnTo>
                    <a:pt x="485" y="434"/>
                  </a:lnTo>
                  <a:lnTo>
                    <a:pt x="480" y="432"/>
                  </a:lnTo>
                  <a:lnTo>
                    <a:pt x="482" y="428"/>
                  </a:lnTo>
                  <a:close/>
                  <a:moveTo>
                    <a:pt x="456" y="416"/>
                  </a:moveTo>
                  <a:lnTo>
                    <a:pt x="458" y="418"/>
                  </a:lnTo>
                  <a:lnTo>
                    <a:pt x="456" y="420"/>
                  </a:lnTo>
                  <a:lnTo>
                    <a:pt x="454" y="418"/>
                  </a:lnTo>
                  <a:lnTo>
                    <a:pt x="456" y="416"/>
                  </a:lnTo>
                  <a:close/>
                  <a:moveTo>
                    <a:pt x="343" y="406"/>
                  </a:moveTo>
                  <a:lnTo>
                    <a:pt x="347" y="410"/>
                  </a:lnTo>
                  <a:lnTo>
                    <a:pt x="343" y="408"/>
                  </a:lnTo>
                  <a:lnTo>
                    <a:pt x="343" y="406"/>
                  </a:lnTo>
                  <a:close/>
                  <a:moveTo>
                    <a:pt x="362" y="396"/>
                  </a:moveTo>
                  <a:lnTo>
                    <a:pt x="361" y="394"/>
                  </a:lnTo>
                  <a:lnTo>
                    <a:pt x="361" y="393"/>
                  </a:lnTo>
                  <a:lnTo>
                    <a:pt x="362" y="396"/>
                  </a:lnTo>
                  <a:close/>
                  <a:moveTo>
                    <a:pt x="516" y="393"/>
                  </a:moveTo>
                  <a:lnTo>
                    <a:pt x="518" y="394"/>
                  </a:lnTo>
                  <a:lnTo>
                    <a:pt x="516" y="394"/>
                  </a:lnTo>
                  <a:lnTo>
                    <a:pt x="516" y="393"/>
                  </a:lnTo>
                  <a:lnTo>
                    <a:pt x="512" y="393"/>
                  </a:lnTo>
                  <a:lnTo>
                    <a:pt x="516" y="393"/>
                  </a:lnTo>
                  <a:close/>
                  <a:moveTo>
                    <a:pt x="364" y="393"/>
                  </a:moveTo>
                  <a:lnTo>
                    <a:pt x="364" y="396"/>
                  </a:lnTo>
                  <a:lnTo>
                    <a:pt x="361" y="391"/>
                  </a:lnTo>
                  <a:lnTo>
                    <a:pt x="364" y="391"/>
                  </a:lnTo>
                  <a:lnTo>
                    <a:pt x="364" y="393"/>
                  </a:lnTo>
                  <a:close/>
                  <a:moveTo>
                    <a:pt x="354" y="389"/>
                  </a:moveTo>
                  <a:lnTo>
                    <a:pt x="357" y="391"/>
                  </a:lnTo>
                  <a:lnTo>
                    <a:pt x="354" y="391"/>
                  </a:lnTo>
                  <a:lnTo>
                    <a:pt x="355" y="394"/>
                  </a:lnTo>
                  <a:lnTo>
                    <a:pt x="361" y="398"/>
                  </a:lnTo>
                  <a:lnTo>
                    <a:pt x="359" y="399"/>
                  </a:lnTo>
                  <a:lnTo>
                    <a:pt x="359" y="405"/>
                  </a:lnTo>
                  <a:lnTo>
                    <a:pt x="364" y="411"/>
                  </a:lnTo>
                  <a:lnTo>
                    <a:pt x="362" y="411"/>
                  </a:lnTo>
                  <a:lnTo>
                    <a:pt x="359" y="411"/>
                  </a:lnTo>
                  <a:lnTo>
                    <a:pt x="354" y="408"/>
                  </a:lnTo>
                  <a:lnTo>
                    <a:pt x="352" y="410"/>
                  </a:lnTo>
                  <a:lnTo>
                    <a:pt x="349" y="410"/>
                  </a:lnTo>
                  <a:lnTo>
                    <a:pt x="343" y="406"/>
                  </a:lnTo>
                  <a:lnTo>
                    <a:pt x="345" y="401"/>
                  </a:lnTo>
                  <a:lnTo>
                    <a:pt x="347" y="399"/>
                  </a:lnTo>
                  <a:lnTo>
                    <a:pt x="347" y="398"/>
                  </a:lnTo>
                  <a:lnTo>
                    <a:pt x="350" y="398"/>
                  </a:lnTo>
                  <a:lnTo>
                    <a:pt x="350" y="393"/>
                  </a:lnTo>
                  <a:lnTo>
                    <a:pt x="347" y="391"/>
                  </a:lnTo>
                  <a:lnTo>
                    <a:pt x="354" y="389"/>
                  </a:lnTo>
                  <a:close/>
                  <a:moveTo>
                    <a:pt x="366" y="389"/>
                  </a:moveTo>
                  <a:lnTo>
                    <a:pt x="371" y="389"/>
                  </a:lnTo>
                  <a:lnTo>
                    <a:pt x="374" y="393"/>
                  </a:lnTo>
                  <a:lnTo>
                    <a:pt x="374" y="396"/>
                  </a:lnTo>
                  <a:lnTo>
                    <a:pt x="369" y="396"/>
                  </a:lnTo>
                  <a:lnTo>
                    <a:pt x="369" y="394"/>
                  </a:lnTo>
                  <a:lnTo>
                    <a:pt x="369" y="396"/>
                  </a:lnTo>
                  <a:lnTo>
                    <a:pt x="366" y="396"/>
                  </a:lnTo>
                  <a:lnTo>
                    <a:pt x="364" y="389"/>
                  </a:lnTo>
                  <a:lnTo>
                    <a:pt x="364" y="387"/>
                  </a:lnTo>
                  <a:lnTo>
                    <a:pt x="366" y="389"/>
                  </a:lnTo>
                  <a:close/>
                  <a:moveTo>
                    <a:pt x="504" y="387"/>
                  </a:moveTo>
                  <a:lnTo>
                    <a:pt x="506" y="387"/>
                  </a:lnTo>
                  <a:lnTo>
                    <a:pt x="506" y="391"/>
                  </a:lnTo>
                  <a:lnTo>
                    <a:pt x="504" y="391"/>
                  </a:lnTo>
                  <a:lnTo>
                    <a:pt x="504" y="387"/>
                  </a:lnTo>
                  <a:close/>
                  <a:moveTo>
                    <a:pt x="495" y="384"/>
                  </a:moveTo>
                  <a:lnTo>
                    <a:pt x="497" y="384"/>
                  </a:lnTo>
                  <a:lnTo>
                    <a:pt x="497" y="387"/>
                  </a:lnTo>
                  <a:lnTo>
                    <a:pt x="495" y="387"/>
                  </a:lnTo>
                  <a:lnTo>
                    <a:pt x="495" y="384"/>
                  </a:lnTo>
                  <a:close/>
                  <a:moveTo>
                    <a:pt x="485" y="384"/>
                  </a:moveTo>
                  <a:lnTo>
                    <a:pt x="487" y="386"/>
                  </a:lnTo>
                  <a:lnTo>
                    <a:pt x="483" y="386"/>
                  </a:lnTo>
                  <a:lnTo>
                    <a:pt x="485" y="384"/>
                  </a:lnTo>
                  <a:close/>
                  <a:moveTo>
                    <a:pt x="352" y="381"/>
                  </a:moveTo>
                  <a:lnTo>
                    <a:pt x="354" y="381"/>
                  </a:lnTo>
                  <a:lnTo>
                    <a:pt x="354" y="382"/>
                  </a:lnTo>
                  <a:lnTo>
                    <a:pt x="352" y="382"/>
                  </a:lnTo>
                  <a:lnTo>
                    <a:pt x="352" y="381"/>
                  </a:lnTo>
                  <a:close/>
                  <a:moveTo>
                    <a:pt x="490" y="381"/>
                  </a:moveTo>
                  <a:lnTo>
                    <a:pt x="494" y="382"/>
                  </a:lnTo>
                  <a:lnTo>
                    <a:pt x="494" y="384"/>
                  </a:lnTo>
                  <a:lnTo>
                    <a:pt x="489" y="381"/>
                  </a:lnTo>
                  <a:lnTo>
                    <a:pt x="487" y="382"/>
                  </a:lnTo>
                  <a:lnTo>
                    <a:pt x="490" y="384"/>
                  </a:lnTo>
                  <a:lnTo>
                    <a:pt x="482" y="382"/>
                  </a:lnTo>
                  <a:lnTo>
                    <a:pt x="489" y="379"/>
                  </a:lnTo>
                  <a:lnTo>
                    <a:pt x="490" y="381"/>
                  </a:lnTo>
                  <a:close/>
                  <a:moveTo>
                    <a:pt x="355" y="377"/>
                  </a:moveTo>
                  <a:lnTo>
                    <a:pt x="355" y="381"/>
                  </a:lnTo>
                  <a:lnTo>
                    <a:pt x="354" y="377"/>
                  </a:lnTo>
                  <a:lnTo>
                    <a:pt x="355" y="377"/>
                  </a:lnTo>
                  <a:close/>
                  <a:moveTo>
                    <a:pt x="359" y="375"/>
                  </a:moveTo>
                  <a:lnTo>
                    <a:pt x="361" y="375"/>
                  </a:lnTo>
                  <a:lnTo>
                    <a:pt x="359" y="379"/>
                  </a:lnTo>
                  <a:lnTo>
                    <a:pt x="357" y="377"/>
                  </a:lnTo>
                  <a:lnTo>
                    <a:pt x="357" y="375"/>
                  </a:lnTo>
                  <a:lnTo>
                    <a:pt x="359" y="375"/>
                  </a:lnTo>
                  <a:close/>
                  <a:moveTo>
                    <a:pt x="357" y="357"/>
                  </a:moveTo>
                  <a:lnTo>
                    <a:pt x="361" y="357"/>
                  </a:lnTo>
                  <a:lnTo>
                    <a:pt x="361" y="358"/>
                  </a:lnTo>
                  <a:lnTo>
                    <a:pt x="357" y="358"/>
                  </a:lnTo>
                  <a:lnTo>
                    <a:pt x="357" y="357"/>
                  </a:lnTo>
                  <a:close/>
                  <a:moveTo>
                    <a:pt x="413" y="355"/>
                  </a:moveTo>
                  <a:lnTo>
                    <a:pt x="417" y="362"/>
                  </a:lnTo>
                  <a:lnTo>
                    <a:pt x="413" y="362"/>
                  </a:lnTo>
                  <a:lnTo>
                    <a:pt x="412" y="364"/>
                  </a:lnTo>
                  <a:lnTo>
                    <a:pt x="413" y="355"/>
                  </a:lnTo>
                  <a:close/>
                  <a:moveTo>
                    <a:pt x="372" y="355"/>
                  </a:moveTo>
                  <a:lnTo>
                    <a:pt x="372" y="357"/>
                  </a:lnTo>
                  <a:lnTo>
                    <a:pt x="372" y="355"/>
                  </a:lnTo>
                  <a:close/>
                  <a:moveTo>
                    <a:pt x="388" y="353"/>
                  </a:moveTo>
                  <a:lnTo>
                    <a:pt x="390" y="353"/>
                  </a:lnTo>
                  <a:lnTo>
                    <a:pt x="393" y="355"/>
                  </a:lnTo>
                  <a:lnTo>
                    <a:pt x="395" y="362"/>
                  </a:lnTo>
                  <a:lnTo>
                    <a:pt x="398" y="362"/>
                  </a:lnTo>
                  <a:lnTo>
                    <a:pt x="398" y="365"/>
                  </a:lnTo>
                  <a:lnTo>
                    <a:pt x="402" y="365"/>
                  </a:lnTo>
                  <a:lnTo>
                    <a:pt x="403" y="369"/>
                  </a:lnTo>
                  <a:lnTo>
                    <a:pt x="407" y="370"/>
                  </a:lnTo>
                  <a:lnTo>
                    <a:pt x="403" y="379"/>
                  </a:lnTo>
                  <a:lnTo>
                    <a:pt x="396" y="386"/>
                  </a:lnTo>
                  <a:lnTo>
                    <a:pt x="396" y="387"/>
                  </a:lnTo>
                  <a:lnTo>
                    <a:pt x="396" y="393"/>
                  </a:lnTo>
                  <a:lnTo>
                    <a:pt x="402" y="393"/>
                  </a:lnTo>
                  <a:lnTo>
                    <a:pt x="402" y="398"/>
                  </a:lnTo>
                  <a:lnTo>
                    <a:pt x="403" y="401"/>
                  </a:lnTo>
                  <a:lnTo>
                    <a:pt x="407" y="401"/>
                  </a:lnTo>
                  <a:lnTo>
                    <a:pt x="410" y="399"/>
                  </a:lnTo>
                  <a:lnTo>
                    <a:pt x="415" y="399"/>
                  </a:lnTo>
                  <a:lnTo>
                    <a:pt x="420" y="398"/>
                  </a:lnTo>
                  <a:lnTo>
                    <a:pt x="429" y="403"/>
                  </a:lnTo>
                  <a:lnTo>
                    <a:pt x="429" y="406"/>
                  </a:lnTo>
                  <a:lnTo>
                    <a:pt x="432" y="410"/>
                  </a:lnTo>
                  <a:lnTo>
                    <a:pt x="432" y="411"/>
                  </a:lnTo>
                  <a:lnTo>
                    <a:pt x="429" y="410"/>
                  </a:lnTo>
                  <a:lnTo>
                    <a:pt x="432" y="413"/>
                  </a:lnTo>
                  <a:lnTo>
                    <a:pt x="431" y="411"/>
                  </a:lnTo>
                  <a:lnTo>
                    <a:pt x="429" y="415"/>
                  </a:lnTo>
                  <a:lnTo>
                    <a:pt x="427" y="416"/>
                  </a:lnTo>
                  <a:lnTo>
                    <a:pt x="424" y="418"/>
                  </a:lnTo>
                  <a:lnTo>
                    <a:pt x="417" y="420"/>
                  </a:lnTo>
                  <a:lnTo>
                    <a:pt x="412" y="420"/>
                  </a:lnTo>
                  <a:lnTo>
                    <a:pt x="413" y="420"/>
                  </a:lnTo>
                  <a:lnTo>
                    <a:pt x="407" y="418"/>
                  </a:lnTo>
                  <a:lnTo>
                    <a:pt x="407" y="415"/>
                  </a:lnTo>
                  <a:lnTo>
                    <a:pt x="405" y="415"/>
                  </a:lnTo>
                  <a:lnTo>
                    <a:pt x="403" y="411"/>
                  </a:lnTo>
                  <a:lnTo>
                    <a:pt x="403" y="410"/>
                  </a:lnTo>
                  <a:lnTo>
                    <a:pt x="403" y="406"/>
                  </a:lnTo>
                  <a:lnTo>
                    <a:pt x="400" y="405"/>
                  </a:lnTo>
                  <a:lnTo>
                    <a:pt x="398" y="408"/>
                  </a:lnTo>
                  <a:lnTo>
                    <a:pt x="393" y="410"/>
                  </a:lnTo>
                  <a:lnTo>
                    <a:pt x="384" y="413"/>
                  </a:lnTo>
                  <a:lnTo>
                    <a:pt x="381" y="415"/>
                  </a:lnTo>
                  <a:lnTo>
                    <a:pt x="379" y="415"/>
                  </a:lnTo>
                  <a:lnTo>
                    <a:pt x="378" y="405"/>
                  </a:lnTo>
                  <a:lnTo>
                    <a:pt x="381" y="396"/>
                  </a:lnTo>
                  <a:lnTo>
                    <a:pt x="381" y="393"/>
                  </a:lnTo>
                  <a:lnTo>
                    <a:pt x="378" y="393"/>
                  </a:lnTo>
                  <a:lnTo>
                    <a:pt x="374" y="389"/>
                  </a:lnTo>
                  <a:lnTo>
                    <a:pt x="372" y="391"/>
                  </a:lnTo>
                  <a:lnTo>
                    <a:pt x="371" y="387"/>
                  </a:lnTo>
                  <a:lnTo>
                    <a:pt x="367" y="386"/>
                  </a:lnTo>
                  <a:lnTo>
                    <a:pt x="367" y="384"/>
                  </a:lnTo>
                  <a:lnTo>
                    <a:pt x="361" y="377"/>
                  </a:lnTo>
                  <a:lnTo>
                    <a:pt x="359" y="372"/>
                  </a:lnTo>
                  <a:lnTo>
                    <a:pt x="361" y="369"/>
                  </a:lnTo>
                  <a:lnTo>
                    <a:pt x="362" y="369"/>
                  </a:lnTo>
                  <a:lnTo>
                    <a:pt x="364" y="362"/>
                  </a:lnTo>
                  <a:lnTo>
                    <a:pt x="362" y="357"/>
                  </a:lnTo>
                  <a:lnTo>
                    <a:pt x="366" y="357"/>
                  </a:lnTo>
                  <a:lnTo>
                    <a:pt x="369" y="355"/>
                  </a:lnTo>
                  <a:lnTo>
                    <a:pt x="374" y="360"/>
                  </a:lnTo>
                  <a:lnTo>
                    <a:pt x="376" y="365"/>
                  </a:lnTo>
                  <a:lnTo>
                    <a:pt x="379" y="367"/>
                  </a:lnTo>
                  <a:lnTo>
                    <a:pt x="379" y="365"/>
                  </a:lnTo>
                  <a:lnTo>
                    <a:pt x="381" y="364"/>
                  </a:lnTo>
                  <a:lnTo>
                    <a:pt x="383" y="357"/>
                  </a:lnTo>
                  <a:lnTo>
                    <a:pt x="388" y="353"/>
                  </a:lnTo>
                  <a:close/>
                  <a:moveTo>
                    <a:pt x="390" y="352"/>
                  </a:moveTo>
                  <a:lnTo>
                    <a:pt x="393" y="353"/>
                  </a:lnTo>
                  <a:lnTo>
                    <a:pt x="390" y="353"/>
                  </a:lnTo>
                  <a:lnTo>
                    <a:pt x="388" y="352"/>
                  </a:lnTo>
                  <a:lnTo>
                    <a:pt x="390" y="352"/>
                  </a:lnTo>
                  <a:close/>
                  <a:moveTo>
                    <a:pt x="332" y="350"/>
                  </a:moveTo>
                  <a:lnTo>
                    <a:pt x="333" y="350"/>
                  </a:lnTo>
                  <a:lnTo>
                    <a:pt x="333" y="352"/>
                  </a:lnTo>
                  <a:lnTo>
                    <a:pt x="332" y="352"/>
                  </a:lnTo>
                  <a:lnTo>
                    <a:pt x="332" y="350"/>
                  </a:lnTo>
                  <a:close/>
                  <a:moveTo>
                    <a:pt x="354" y="346"/>
                  </a:moveTo>
                  <a:lnTo>
                    <a:pt x="355" y="350"/>
                  </a:lnTo>
                  <a:lnTo>
                    <a:pt x="361" y="348"/>
                  </a:lnTo>
                  <a:lnTo>
                    <a:pt x="361" y="350"/>
                  </a:lnTo>
                  <a:lnTo>
                    <a:pt x="355" y="352"/>
                  </a:lnTo>
                  <a:lnTo>
                    <a:pt x="355" y="357"/>
                  </a:lnTo>
                  <a:lnTo>
                    <a:pt x="357" y="357"/>
                  </a:lnTo>
                  <a:lnTo>
                    <a:pt x="359" y="362"/>
                  </a:lnTo>
                  <a:lnTo>
                    <a:pt x="359" y="364"/>
                  </a:lnTo>
                  <a:lnTo>
                    <a:pt x="355" y="365"/>
                  </a:lnTo>
                  <a:lnTo>
                    <a:pt x="357" y="370"/>
                  </a:lnTo>
                  <a:lnTo>
                    <a:pt x="355" y="374"/>
                  </a:lnTo>
                  <a:lnTo>
                    <a:pt x="355" y="375"/>
                  </a:lnTo>
                  <a:lnTo>
                    <a:pt x="352" y="375"/>
                  </a:lnTo>
                  <a:lnTo>
                    <a:pt x="352" y="377"/>
                  </a:lnTo>
                  <a:lnTo>
                    <a:pt x="345" y="381"/>
                  </a:lnTo>
                  <a:lnTo>
                    <a:pt x="340" y="379"/>
                  </a:lnTo>
                  <a:lnTo>
                    <a:pt x="340" y="377"/>
                  </a:lnTo>
                  <a:lnTo>
                    <a:pt x="338" y="374"/>
                  </a:lnTo>
                  <a:lnTo>
                    <a:pt x="343" y="374"/>
                  </a:lnTo>
                  <a:lnTo>
                    <a:pt x="338" y="367"/>
                  </a:lnTo>
                  <a:lnTo>
                    <a:pt x="337" y="367"/>
                  </a:lnTo>
                  <a:lnTo>
                    <a:pt x="338" y="365"/>
                  </a:lnTo>
                  <a:lnTo>
                    <a:pt x="337" y="364"/>
                  </a:lnTo>
                  <a:lnTo>
                    <a:pt x="340" y="360"/>
                  </a:lnTo>
                  <a:lnTo>
                    <a:pt x="342" y="353"/>
                  </a:lnTo>
                  <a:lnTo>
                    <a:pt x="338" y="353"/>
                  </a:lnTo>
                  <a:lnTo>
                    <a:pt x="337" y="350"/>
                  </a:lnTo>
                  <a:lnTo>
                    <a:pt x="342" y="346"/>
                  </a:lnTo>
                  <a:lnTo>
                    <a:pt x="345" y="348"/>
                  </a:lnTo>
                  <a:lnTo>
                    <a:pt x="354" y="346"/>
                  </a:lnTo>
                  <a:close/>
                  <a:moveTo>
                    <a:pt x="332" y="345"/>
                  </a:moveTo>
                  <a:lnTo>
                    <a:pt x="335" y="346"/>
                  </a:lnTo>
                  <a:lnTo>
                    <a:pt x="335" y="345"/>
                  </a:lnTo>
                  <a:lnTo>
                    <a:pt x="335" y="348"/>
                  </a:lnTo>
                  <a:lnTo>
                    <a:pt x="328" y="352"/>
                  </a:lnTo>
                  <a:lnTo>
                    <a:pt x="326" y="348"/>
                  </a:lnTo>
                  <a:lnTo>
                    <a:pt x="328" y="346"/>
                  </a:lnTo>
                  <a:lnTo>
                    <a:pt x="330" y="350"/>
                  </a:lnTo>
                  <a:lnTo>
                    <a:pt x="330" y="345"/>
                  </a:lnTo>
                  <a:lnTo>
                    <a:pt x="332" y="345"/>
                  </a:lnTo>
                  <a:close/>
                  <a:moveTo>
                    <a:pt x="342" y="338"/>
                  </a:moveTo>
                  <a:lnTo>
                    <a:pt x="340" y="341"/>
                  </a:lnTo>
                  <a:lnTo>
                    <a:pt x="340" y="345"/>
                  </a:lnTo>
                  <a:lnTo>
                    <a:pt x="335" y="346"/>
                  </a:lnTo>
                  <a:lnTo>
                    <a:pt x="335" y="341"/>
                  </a:lnTo>
                  <a:lnTo>
                    <a:pt x="337" y="341"/>
                  </a:lnTo>
                  <a:lnTo>
                    <a:pt x="340" y="338"/>
                  </a:lnTo>
                  <a:lnTo>
                    <a:pt x="342" y="338"/>
                  </a:lnTo>
                  <a:close/>
                  <a:moveTo>
                    <a:pt x="615" y="328"/>
                  </a:moveTo>
                  <a:lnTo>
                    <a:pt x="617" y="328"/>
                  </a:lnTo>
                  <a:lnTo>
                    <a:pt x="615" y="331"/>
                  </a:lnTo>
                  <a:lnTo>
                    <a:pt x="613" y="328"/>
                  </a:lnTo>
                  <a:lnTo>
                    <a:pt x="615" y="326"/>
                  </a:lnTo>
                  <a:lnTo>
                    <a:pt x="615" y="328"/>
                  </a:lnTo>
                  <a:close/>
                  <a:moveTo>
                    <a:pt x="357" y="326"/>
                  </a:moveTo>
                  <a:lnTo>
                    <a:pt x="355" y="331"/>
                  </a:lnTo>
                  <a:lnTo>
                    <a:pt x="352" y="333"/>
                  </a:lnTo>
                  <a:lnTo>
                    <a:pt x="349" y="331"/>
                  </a:lnTo>
                  <a:lnTo>
                    <a:pt x="352" y="329"/>
                  </a:lnTo>
                  <a:lnTo>
                    <a:pt x="354" y="326"/>
                  </a:lnTo>
                  <a:lnTo>
                    <a:pt x="357" y="326"/>
                  </a:lnTo>
                  <a:close/>
                  <a:moveTo>
                    <a:pt x="374" y="319"/>
                  </a:moveTo>
                  <a:lnTo>
                    <a:pt x="374" y="323"/>
                  </a:lnTo>
                  <a:lnTo>
                    <a:pt x="378" y="326"/>
                  </a:lnTo>
                  <a:lnTo>
                    <a:pt x="374" y="324"/>
                  </a:lnTo>
                  <a:lnTo>
                    <a:pt x="374" y="329"/>
                  </a:lnTo>
                  <a:lnTo>
                    <a:pt x="372" y="324"/>
                  </a:lnTo>
                  <a:lnTo>
                    <a:pt x="374" y="319"/>
                  </a:lnTo>
                  <a:close/>
                  <a:moveTo>
                    <a:pt x="345" y="317"/>
                  </a:moveTo>
                  <a:lnTo>
                    <a:pt x="349" y="319"/>
                  </a:lnTo>
                  <a:lnTo>
                    <a:pt x="345" y="319"/>
                  </a:lnTo>
                  <a:lnTo>
                    <a:pt x="343" y="319"/>
                  </a:lnTo>
                  <a:lnTo>
                    <a:pt x="345" y="317"/>
                  </a:lnTo>
                  <a:close/>
                  <a:moveTo>
                    <a:pt x="639" y="321"/>
                  </a:moveTo>
                  <a:lnTo>
                    <a:pt x="642" y="323"/>
                  </a:lnTo>
                  <a:lnTo>
                    <a:pt x="642" y="324"/>
                  </a:lnTo>
                  <a:lnTo>
                    <a:pt x="641" y="324"/>
                  </a:lnTo>
                  <a:lnTo>
                    <a:pt x="639" y="321"/>
                  </a:lnTo>
                  <a:lnTo>
                    <a:pt x="637" y="321"/>
                  </a:lnTo>
                  <a:lnTo>
                    <a:pt x="641" y="323"/>
                  </a:lnTo>
                  <a:lnTo>
                    <a:pt x="639" y="324"/>
                  </a:lnTo>
                  <a:lnTo>
                    <a:pt x="637" y="324"/>
                  </a:lnTo>
                  <a:lnTo>
                    <a:pt x="634" y="323"/>
                  </a:lnTo>
                  <a:lnTo>
                    <a:pt x="634" y="317"/>
                  </a:lnTo>
                  <a:lnTo>
                    <a:pt x="635" y="317"/>
                  </a:lnTo>
                  <a:lnTo>
                    <a:pt x="639" y="321"/>
                  </a:lnTo>
                  <a:close/>
                  <a:moveTo>
                    <a:pt x="374" y="316"/>
                  </a:moveTo>
                  <a:lnTo>
                    <a:pt x="376" y="316"/>
                  </a:lnTo>
                  <a:lnTo>
                    <a:pt x="376" y="317"/>
                  </a:lnTo>
                  <a:lnTo>
                    <a:pt x="374" y="317"/>
                  </a:lnTo>
                  <a:lnTo>
                    <a:pt x="374" y="316"/>
                  </a:lnTo>
                  <a:close/>
                  <a:moveTo>
                    <a:pt x="598" y="311"/>
                  </a:moveTo>
                  <a:lnTo>
                    <a:pt x="605" y="314"/>
                  </a:lnTo>
                  <a:lnTo>
                    <a:pt x="611" y="317"/>
                  </a:lnTo>
                  <a:lnTo>
                    <a:pt x="618" y="324"/>
                  </a:lnTo>
                  <a:lnTo>
                    <a:pt x="620" y="328"/>
                  </a:lnTo>
                  <a:lnTo>
                    <a:pt x="629" y="331"/>
                  </a:lnTo>
                  <a:lnTo>
                    <a:pt x="632" y="340"/>
                  </a:lnTo>
                  <a:lnTo>
                    <a:pt x="632" y="341"/>
                  </a:lnTo>
                  <a:lnTo>
                    <a:pt x="630" y="340"/>
                  </a:lnTo>
                  <a:lnTo>
                    <a:pt x="629" y="343"/>
                  </a:lnTo>
                  <a:lnTo>
                    <a:pt x="627" y="341"/>
                  </a:lnTo>
                  <a:lnTo>
                    <a:pt x="625" y="338"/>
                  </a:lnTo>
                  <a:lnTo>
                    <a:pt x="625" y="336"/>
                  </a:lnTo>
                  <a:lnTo>
                    <a:pt x="620" y="333"/>
                  </a:lnTo>
                  <a:lnTo>
                    <a:pt x="622" y="331"/>
                  </a:lnTo>
                  <a:lnTo>
                    <a:pt x="618" y="328"/>
                  </a:lnTo>
                  <a:lnTo>
                    <a:pt x="613" y="326"/>
                  </a:lnTo>
                  <a:lnTo>
                    <a:pt x="610" y="326"/>
                  </a:lnTo>
                  <a:lnTo>
                    <a:pt x="610" y="321"/>
                  </a:lnTo>
                  <a:lnTo>
                    <a:pt x="608" y="317"/>
                  </a:lnTo>
                  <a:lnTo>
                    <a:pt x="603" y="314"/>
                  </a:lnTo>
                  <a:lnTo>
                    <a:pt x="598" y="312"/>
                  </a:lnTo>
                  <a:lnTo>
                    <a:pt x="598" y="311"/>
                  </a:lnTo>
                  <a:close/>
                  <a:moveTo>
                    <a:pt x="376" y="300"/>
                  </a:moveTo>
                  <a:lnTo>
                    <a:pt x="379" y="300"/>
                  </a:lnTo>
                  <a:lnTo>
                    <a:pt x="378" y="304"/>
                  </a:lnTo>
                  <a:lnTo>
                    <a:pt x="378" y="309"/>
                  </a:lnTo>
                  <a:lnTo>
                    <a:pt x="381" y="307"/>
                  </a:lnTo>
                  <a:lnTo>
                    <a:pt x="379" y="316"/>
                  </a:lnTo>
                  <a:lnTo>
                    <a:pt x="379" y="317"/>
                  </a:lnTo>
                  <a:lnTo>
                    <a:pt x="381" y="324"/>
                  </a:lnTo>
                  <a:lnTo>
                    <a:pt x="381" y="321"/>
                  </a:lnTo>
                  <a:lnTo>
                    <a:pt x="378" y="317"/>
                  </a:lnTo>
                  <a:lnTo>
                    <a:pt x="378" y="316"/>
                  </a:lnTo>
                  <a:lnTo>
                    <a:pt x="376" y="314"/>
                  </a:lnTo>
                  <a:lnTo>
                    <a:pt x="372" y="314"/>
                  </a:lnTo>
                  <a:lnTo>
                    <a:pt x="374" y="305"/>
                  </a:lnTo>
                  <a:lnTo>
                    <a:pt x="376" y="304"/>
                  </a:lnTo>
                  <a:lnTo>
                    <a:pt x="376" y="300"/>
                  </a:lnTo>
                  <a:close/>
                  <a:moveTo>
                    <a:pt x="560" y="295"/>
                  </a:moveTo>
                  <a:lnTo>
                    <a:pt x="562" y="297"/>
                  </a:lnTo>
                  <a:lnTo>
                    <a:pt x="559" y="295"/>
                  </a:lnTo>
                  <a:lnTo>
                    <a:pt x="557" y="294"/>
                  </a:lnTo>
                  <a:lnTo>
                    <a:pt x="560" y="295"/>
                  </a:lnTo>
                  <a:close/>
                  <a:moveTo>
                    <a:pt x="431" y="273"/>
                  </a:moveTo>
                  <a:lnTo>
                    <a:pt x="432" y="273"/>
                  </a:lnTo>
                  <a:lnTo>
                    <a:pt x="432" y="276"/>
                  </a:lnTo>
                  <a:lnTo>
                    <a:pt x="431" y="276"/>
                  </a:lnTo>
                  <a:lnTo>
                    <a:pt x="431" y="273"/>
                  </a:lnTo>
                  <a:close/>
                  <a:moveTo>
                    <a:pt x="374" y="273"/>
                  </a:moveTo>
                  <a:lnTo>
                    <a:pt x="378" y="276"/>
                  </a:lnTo>
                  <a:lnTo>
                    <a:pt x="378" y="278"/>
                  </a:lnTo>
                  <a:lnTo>
                    <a:pt x="374" y="283"/>
                  </a:lnTo>
                  <a:lnTo>
                    <a:pt x="371" y="283"/>
                  </a:lnTo>
                  <a:lnTo>
                    <a:pt x="366" y="280"/>
                  </a:lnTo>
                  <a:lnTo>
                    <a:pt x="366" y="276"/>
                  </a:lnTo>
                  <a:lnTo>
                    <a:pt x="371" y="273"/>
                  </a:lnTo>
                  <a:lnTo>
                    <a:pt x="374" y="273"/>
                  </a:lnTo>
                  <a:close/>
                  <a:moveTo>
                    <a:pt x="548" y="259"/>
                  </a:moveTo>
                  <a:lnTo>
                    <a:pt x="548" y="261"/>
                  </a:lnTo>
                  <a:lnTo>
                    <a:pt x="548" y="259"/>
                  </a:lnTo>
                  <a:close/>
                  <a:moveTo>
                    <a:pt x="374" y="259"/>
                  </a:moveTo>
                  <a:lnTo>
                    <a:pt x="378" y="263"/>
                  </a:lnTo>
                  <a:lnTo>
                    <a:pt x="374" y="264"/>
                  </a:lnTo>
                  <a:lnTo>
                    <a:pt x="371" y="264"/>
                  </a:lnTo>
                  <a:lnTo>
                    <a:pt x="371" y="259"/>
                  </a:lnTo>
                  <a:lnTo>
                    <a:pt x="374" y="259"/>
                  </a:lnTo>
                  <a:close/>
                  <a:moveTo>
                    <a:pt x="541" y="249"/>
                  </a:moveTo>
                  <a:lnTo>
                    <a:pt x="547" y="258"/>
                  </a:lnTo>
                  <a:lnTo>
                    <a:pt x="543" y="256"/>
                  </a:lnTo>
                  <a:lnTo>
                    <a:pt x="540" y="251"/>
                  </a:lnTo>
                  <a:lnTo>
                    <a:pt x="541" y="249"/>
                  </a:lnTo>
                  <a:close/>
                  <a:moveTo>
                    <a:pt x="521" y="247"/>
                  </a:moveTo>
                  <a:lnTo>
                    <a:pt x="524" y="249"/>
                  </a:lnTo>
                  <a:lnTo>
                    <a:pt x="521" y="249"/>
                  </a:lnTo>
                  <a:lnTo>
                    <a:pt x="519" y="247"/>
                  </a:lnTo>
                  <a:lnTo>
                    <a:pt x="521" y="247"/>
                  </a:lnTo>
                  <a:close/>
                  <a:moveTo>
                    <a:pt x="372" y="246"/>
                  </a:moveTo>
                  <a:lnTo>
                    <a:pt x="374" y="247"/>
                  </a:lnTo>
                  <a:lnTo>
                    <a:pt x="371" y="249"/>
                  </a:lnTo>
                  <a:lnTo>
                    <a:pt x="372" y="246"/>
                  </a:lnTo>
                  <a:close/>
                  <a:moveTo>
                    <a:pt x="507" y="241"/>
                  </a:moveTo>
                  <a:lnTo>
                    <a:pt x="509" y="241"/>
                  </a:lnTo>
                  <a:lnTo>
                    <a:pt x="509" y="242"/>
                  </a:lnTo>
                  <a:lnTo>
                    <a:pt x="507" y="242"/>
                  </a:lnTo>
                  <a:lnTo>
                    <a:pt x="507" y="241"/>
                  </a:lnTo>
                  <a:close/>
                  <a:moveTo>
                    <a:pt x="372" y="227"/>
                  </a:moveTo>
                  <a:lnTo>
                    <a:pt x="378" y="227"/>
                  </a:lnTo>
                  <a:lnTo>
                    <a:pt x="379" y="230"/>
                  </a:lnTo>
                  <a:lnTo>
                    <a:pt x="378" y="237"/>
                  </a:lnTo>
                  <a:lnTo>
                    <a:pt x="376" y="241"/>
                  </a:lnTo>
                  <a:lnTo>
                    <a:pt x="372" y="242"/>
                  </a:lnTo>
                  <a:lnTo>
                    <a:pt x="369" y="239"/>
                  </a:lnTo>
                  <a:lnTo>
                    <a:pt x="367" y="235"/>
                  </a:lnTo>
                  <a:lnTo>
                    <a:pt x="371" y="227"/>
                  </a:lnTo>
                  <a:lnTo>
                    <a:pt x="372" y="227"/>
                  </a:lnTo>
                  <a:close/>
                  <a:moveTo>
                    <a:pt x="478" y="222"/>
                  </a:moveTo>
                  <a:lnTo>
                    <a:pt x="480" y="222"/>
                  </a:lnTo>
                  <a:lnTo>
                    <a:pt x="480" y="225"/>
                  </a:lnTo>
                  <a:lnTo>
                    <a:pt x="478" y="225"/>
                  </a:lnTo>
                  <a:lnTo>
                    <a:pt x="478" y="222"/>
                  </a:lnTo>
                  <a:close/>
                  <a:moveTo>
                    <a:pt x="482" y="220"/>
                  </a:moveTo>
                  <a:lnTo>
                    <a:pt x="485" y="220"/>
                  </a:lnTo>
                  <a:lnTo>
                    <a:pt x="485" y="223"/>
                  </a:lnTo>
                  <a:lnTo>
                    <a:pt x="483" y="223"/>
                  </a:lnTo>
                  <a:lnTo>
                    <a:pt x="482" y="220"/>
                  </a:lnTo>
                  <a:close/>
                  <a:moveTo>
                    <a:pt x="473" y="218"/>
                  </a:moveTo>
                  <a:lnTo>
                    <a:pt x="477" y="218"/>
                  </a:lnTo>
                  <a:lnTo>
                    <a:pt x="477" y="222"/>
                  </a:lnTo>
                  <a:lnTo>
                    <a:pt x="473" y="222"/>
                  </a:lnTo>
                  <a:lnTo>
                    <a:pt x="473" y="218"/>
                  </a:lnTo>
                  <a:close/>
                  <a:moveTo>
                    <a:pt x="364" y="213"/>
                  </a:moveTo>
                  <a:lnTo>
                    <a:pt x="371" y="217"/>
                  </a:lnTo>
                  <a:lnTo>
                    <a:pt x="371" y="222"/>
                  </a:lnTo>
                  <a:lnTo>
                    <a:pt x="369" y="225"/>
                  </a:lnTo>
                  <a:lnTo>
                    <a:pt x="362" y="225"/>
                  </a:lnTo>
                  <a:lnTo>
                    <a:pt x="359" y="222"/>
                  </a:lnTo>
                  <a:lnTo>
                    <a:pt x="361" y="215"/>
                  </a:lnTo>
                  <a:lnTo>
                    <a:pt x="364" y="213"/>
                  </a:lnTo>
                  <a:close/>
                  <a:moveTo>
                    <a:pt x="384" y="210"/>
                  </a:moveTo>
                  <a:lnTo>
                    <a:pt x="384" y="213"/>
                  </a:lnTo>
                  <a:lnTo>
                    <a:pt x="384" y="210"/>
                  </a:lnTo>
                  <a:close/>
                  <a:moveTo>
                    <a:pt x="362" y="208"/>
                  </a:moveTo>
                  <a:lnTo>
                    <a:pt x="364" y="210"/>
                  </a:lnTo>
                  <a:lnTo>
                    <a:pt x="362" y="212"/>
                  </a:lnTo>
                  <a:lnTo>
                    <a:pt x="361" y="208"/>
                  </a:lnTo>
                  <a:lnTo>
                    <a:pt x="362" y="208"/>
                  </a:lnTo>
                  <a:close/>
                  <a:moveTo>
                    <a:pt x="222" y="200"/>
                  </a:moveTo>
                  <a:lnTo>
                    <a:pt x="222" y="201"/>
                  </a:lnTo>
                  <a:lnTo>
                    <a:pt x="224" y="201"/>
                  </a:lnTo>
                  <a:lnTo>
                    <a:pt x="222" y="201"/>
                  </a:lnTo>
                  <a:lnTo>
                    <a:pt x="221" y="200"/>
                  </a:lnTo>
                  <a:lnTo>
                    <a:pt x="222" y="200"/>
                  </a:lnTo>
                  <a:close/>
                  <a:moveTo>
                    <a:pt x="444" y="160"/>
                  </a:moveTo>
                  <a:lnTo>
                    <a:pt x="448" y="160"/>
                  </a:lnTo>
                  <a:lnTo>
                    <a:pt x="448" y="162"/>
                  </a:lnTo>
                  <a:lnTo>
                    <a:pt x="444" y="162"/>
                  </a:lnTo>
                  <a:lnTo>
                    <a:pt x="444" y="160"/>
                  </a:lnTo>
                  <a:close/>
                  <a:moveTo>
                    <a:pt x="250" y="155"/>
                  </a:moveTo>
                  <a:lnTo>
                    <a:pt x="255" y="157"/>
                  </a:lnTo>
                  <a:lnTo>
                    <a:pt x="253" y="159"/>
                  </a:lnTo>
                  <a:lnTo>
                    <a:pt x="251" y="164"/>
                  </a:lnTo>
                  <a:lnTo>
                    <a:pt x="248" y="159"/>
                  </a:lnTo>
                  <a:lnTo>
                    <a:pt x="250" y="155"/>
                  </a:lnTo>
                  <a:close/>
                  <a:moveTo>
                    <a:pt x="449" y="126"/>
                  </a:moveTo>
                  <a:lnTo>
                    <a:pt x="453" y="126"/>
                  </a:lnTo>
                  <a:lnTo>
                    <a:pt x="453" y="130"/>
                  </a:lnTo>
                  <a:lnTo>
                    <a:pt x="449" y="130"/>
                  </a:lnTo>
                  <a:lnTo>
                    <a:pt x="449" y="126"/>
                  </a:lnTo>
                  <a:close/>
                  <a:moveTo>
                    <a:pt x="381" y="116"/>
                  </a:moveTo>
                  <a:lnTo>
                    <a:pt x="383" y="116"/>
                  </a:lnTo>
                  <a:lnTo>
                    <a:pt x="383" y="118"/>
                  </a:lnTo>
                  <a:lnTo>
                    <a:pt x="381" y="118"/>
                  </a:lnTo>
                  <a:lnTo>
                    <a:pt x="381" y="116"/>
                  </a:lnTo>
                  <a:close/>
                  <a:moveTo>
                    <a:pt x="386" y="111"/>
                  </a:moveTo>
                  <a:lnTo>
                    <a:pt x="388" y="114"/>
                  </a:lnTo>
                  <a:lnTo>
                    <a:pt x="383" y="118"/>
                  </a:lnTo>
                  <a:lnTo>
                    <a:pt x="386" y="111"/>
                  </a:lnTo>
                  <a:close/>
                  <a:moveTo>
                    <a:pt x="451" y="107"/>
                  </a:moveTo>
                  <a:lnTo>
                    <a:pt x="453" y="107"/>
                  </a:lnTo>
                  <a:lnTo>
                    <a:pt x="453" y="111"/>
                  </a:lnTo>
                  <a:lnTo>
                    <a:pt x="451" y="111"/>
                  </a:lnTo>
                  <a:lnTo>
                    <a:pt x="451" y="107"/>
                  </a:lnTo>
                  <a:close/>
                  <a:moveTo>
                    <a:pt x="448" y="106"/>
                  </a:moveTo>
                  <a:lnTo>
                    <a:pt x="451" y="106"/>
                  </a:lnTo>
                  <a:lnTo>
                    <a:pt x="451" y="107"/>
                  </a:lnTo>
                  <a:lnTo>
                    <a:pt x="448" y="107"/>
                  </a:lnTo>
                  <a:lnTo>
                    <a:pt x="448" y="106"/>
                  </a:lnTo>
                  <a:close/>
                  <a:moveTo>
                    <a:pt x="444" y="102"/>
                  </a:moveTo>
                  <a:lnTo>
                    <a:pt x="446" y="104"/>
                  </a:lnTo>
                  <a:lnTo>
                    <a:pt x="444" y="104"/>
                  </a:lnTo>
                  <a:lnTo>
                    <a:pt x="442" y="101"/>
                  </a:lnTo>
                  <a:lnTo>
                    <a:pt x="444" y="102"/>
                  </a:lnTo>
                  <a:close/>
                  <a:moveTo>
                    <a:pt x="410" y="53"/>
                  </a:moveTo>
                  <a:lnTo>
                    <a:pt x="415" y="54"/>
                  </a:lnTo>
                  <a:lnTo>
                    <a:pt x="417" y="58"/>
                  </a:lnTo>
                  <a:lnTo>
                    <a:pt x="410" y="53"/>
                  </a:lnTo>
                  <a:close/>
                  <a:moveTo>
                    <a:pt x="468" y="51"/>
                  </a:moveTo>
                  <a:lnTo>
                    <a:pt x="468" y="54"/>
                  </a:lnTo>
                  <a:lnTo>
                    <a:pt x="468" y="51"/>
                  </a:lnTo>
                  <a:close/>
                  <a:moveTo>
                    <a:pt x="441" y="54"/>
                  </a:moveTo>
                  <a:lnTo>
                    <a:pt x="442" y="54"/>
                  </a:lnTo>
                  <a:lnTo>
                    <a:pt x="451" y="53"/>
                  </a:lnTo>
                  <a:lnTo>
                    <a:pt x="451" y="56"/>
                  </a:lnTo>
                  <a:lnTo>
                    <a:pt x="446" y="65"/>
                  </a:lnTo>
                  <a:lnTo>
                    <a:pt x="441" y="70"/>
                  </a:lnTo>
                  <a:lnTo>
                    <a:pt x="439" y="71"/>
                  </a:lnTo>
                  <a:lnTo>
                    <a:pt x="437" y="78"/>
                  </a:lnTo>
                  <a:lnTo>
                    <a:pt x="434" y="82"/>
                  </a:lnTo>
                  <a:lnTo>
                    <a:pt x="425" y="85"/>
                  </a:lnTo>
                  <a:lnTo>
                    <a:pt x="425" y="95"/>
                  </a:lnTo>
                  <a:lnTo>
                    <a:pt x="427" y="101"/>
                  </a:lnTo>
                  <a:lnTo>
                    <a:pt x="429" y="101"/>
                  </a:lnTo>
                  <a:lnTo>
                    <a:pt x="431" y="101"/>
                  </a:lnTo>
                  <a:lnTo>
                    <a:pt x="436" y="99"/>
                  </a:lnTo>
                  <a:lnTo>
                    <a:pt x="439" y="102"/>
                  </a:lnTo>
                  <a:lnTo>
                    <a:pt x="439" y="104"/>
                  </a:lnTo>
                  <a:lnTo>
                    <a:pt x="442" y="106"/>
                  </a:lnTo>
                  <a:lnTo>
                    <a:pt x="446" y="109"/>
                  </a:lnTo>
                  <a:lnTo>
                    <a:pt x="446" y="114"/>
                  </a:lnTo>
                  <a:lnTo>
                    <a:pt x="442" y="116"/>
                  </a:lnTo>
                  <a:lnTo>
                    <a:pt x="444" y="123"/>
                  </a:lnTo>
                  <a:lnTo>
                    <a:pt x="442" y="123"/>
                  </a:lnTo>
                  <a:lnTo>
                    <a:pt x="444" y="124"/>
                  </a:lnTo>
                  <a:lnTo>
                    <a:pt x="448" y="126"/>
                  </a:lnTo>
                  <a:lnTo>
                    <a:pt x="448" y="131"/>
                  </a:lnTo>
                  <a:lnTo>
                    <a:pt x="448" y="133"/>
                  </a:lnTo>
                  <a:lnTo>
                    <a:pt x="448" y="135"/>
                  </a:lnTo>
                  <a:lnTo>
                    <a:pt x="446" y="145"/>
                  </a:lnTo>
                  <a:lnTo>
                    <a:pt x="448" y="148"/>
                  </a:lnTo>
                  <a:lnTo>
                    <a:pt x="444" y="150"/>
                  </a:lnTo>
                  <a:lnTo>
                    <a:pt x="442" y="153"/>
                  </a:lnTo>
                  <a:lnTo>
                    <a:pt x="446" y="159"/>
                  </a:lnTo>
                  <a:lnTo>
                    <a:pt x="441" y="160"/>
                  </a:lnTo>
                  <a:lnTo>
                    <a:pt x="441" y="164"/>
                  </a:lnTo>
                  <a:lnTo>
                    <a:pt x="434" y="169"/>
                  </a:lnTo>
                  <a:lnTo>
                    <a:pt x="432" y="179"/>
                  </a:lnTo>
                  <a:lnTo>
                    <a:pt x="424" y="179"/>
                  </a:lnTo>
                  <a:lnTo>
                    <a:pt x="420" y="184"/>
                  </a:lnTo>
                  <a:lnTo>
                    <a:pt x="415" y="189"/>
                  </a:lnTo>
                  <a:lnTo>
                    <a:pt x="412" y="189"/>
                  </a:lnTo>
                  <a:lnTo>
                    <a:pt x="410" y="191"/>
                  </a:lnTo>
                  <a:lnTo>
                    <a:pt x="403" y="193"/>
                  </a:lnTo>
                  <a:lnTo>
                    <a:pt x="400" y="200"/>
                  </a:lnTo>
                  <a:lnTo>
                    <a:pt x="402" y="205"/>
                  </a:lnTo>
                  <a:lnTo>
                    <a:pt x="400" y="206"/>
                  </a:lnTo>
                  <a:lnTo>
                    <a:pt x="402" y="206"/>
                  </a:lnTo>
                  <a:lnTo>
                    <a:pt x="403" y="212"/>
                  </a:lnTo>
                  <a:lnTo>
                    <a:pt x="405" y="213"/>
                  </a:lnTo>
                  <a:lnTo>
                    <a:pt x="405" y="210"/>
                  </a:lnTo>
                  <a:lnTo>
                    <a:pt x="408" y="212"/>
                  </a:lnTo>
                  <a:lnTo>
                    <a:pt x="408" y="213"/>
                  </a:lnTo>
                  <a:lnTo>
                    <a:pt x="412" y="217"/>
                  </a:lnTo>
                  <a:lnTo>
                    <a:pt x="412" y="218"/>
                  </a:lnTo>
                  <a:lnTo>
                    <a:pt x="420" y="222"/>
                  </a:lnTo>
                  <a:lnTo>
                    <a:pt x="420" y="220"/>
                  </a:lnTo>
                  <a:lnTo>
                    <a:pt x="431" y="217"/>
                  </a:lnTo>
                  <a:lnTo>
                    <a:pt x="431" y="215"/>
                  </a:lnTo>
                  <a:lnTo>
                    <a:pt x="436" y="212"/>
                  </a:lnTo>
                  <a:lnTo>
                    <a:pt x="436" y="201"/>
                  </a:lnTo>
                  <a:lnTo>
                    <a:pt x="437" y="198"/>
                  </a:lnTo>
                  <a:lnTo>
                    <a:pt x="436" y="196"/>
                  </a:lnTo>
                  <a:lnTo>
                    <a:pt x="439" y="193"/>
                  </a:lnTo>
                  <a:lnTo>
                    <a:pt x="442" y="186"/>
                  </a:lnTo>
                  <a:lnTo>
                    <a:pt x="448" y="182"/>
                  </a:lnTo>
                  <a:lnTo>
                    <a:pt x="454" y="181"/>
                  </a:lnTo>
                  <a:lnTo>
                    <a:pt x="463" y="182"/>
                  </a:lnTo>
                  <a:lnTo>
                    <a:pt x="468" y="177"/>
                  </a:lnTo>
                  <a:lnTo>
                    <a:pt x="468" y="172"/>
                  </a:lnTo>
                  <a:lnTo>
                    <a:pt x="465" y="167"/>
                  </a:lnTo>
                  <a:lnTo>
                    <a:pt x="461" y="167"/>
                  </a:lnTo>
                  <a:lnTo>
                    <a:pt x="456" y="167"/>
                  </a:lnTo>
                  <a:lnTo>
                    <a:pt x="454" y="165"/>
                  </a:lnTo>
                  <a:lnTo>
                    <a:pt x="454" y="162"/>
                  </a:lnTo>
                  <a:lnTo>
                    <a:pt x="458" y="162"/>
                  </a:lnTo>
                  <a:lnTo>
                    <a:pt x="463" y="155"/>
                  </a:lnTo>
                  <a:lnTo>
                    <a:pt x="466" y="150"/>
                  </a:lnTo>
                  <a:lnTo>
                    <a:pt x="470" y="150"/>
                  </a:lnTo>
                  <a:lnTo>
                    <a:pt x="473" y="147"/>
                  </a:lnTo>
                  <a:lnTo>
                    <a:pt x="480" y="145"/>
                  </a:lnTo>
                  <a:lnTo>
                    <a:pt x="485" y="142"/>
                  </a:lnTo>
                  <a:lnTo>
                    <a:pt x="489" y="136"/>
                  </a:lnTo>
                  <a:lnTo>
                    <a:pt x="494" y="133"/>
                  </a:lnTo>
                  <a:lnTo>
                    <a:pt x="501" y="131"/>
                  </a:lnTo>
                  <a:lnTo>
                    <a:pt x="506" y="133"/>
                  </a:lnTo>
                  <a:lnTo>
                    <a:pt x="511" y="128"/>
                  </a:lnTo>
                  <a:lnTo>
                    <a:pt x="518" y="128"/>
                  </a:lnTo>
                  <a:lnTo>
                    <a:pt x="524" y="126"/>
                  </a:lnTo>
                  <a:lnTo>
                    <a:pt x="530" y="128"/>
                  </a:lnTo>
                  <a:lnTo>
                    <a:pt x="531" y="133"/>
                  </a:lnTo>
                  <a:lnTo>
                    <a:pt x="528" y="133"/>
                  </a:lnTo>
                  <a:lnTo>
                    <a:pt x="528" y="136"/>
                  </a:lnTo>
                  <a:lnTo>
                    <a:pt x="526" y="136"/>
                  </a:lnTo>
                  <a:lnTo>
                    <a:pt x="526" y="142"/>
                  </a:lnTo>
                  <a:lnTo>
                    <a:pt x="530" y="148"/>
                  </a:lnTo>
                  <a:lnTo>
                    <a:pt x="535" y="150"/>
                  </a:lnTo>
                  <a:lnTo>
                    <a:pt x="533" y="152"/>
                  </a:lnTo>
                  <a:lnTo>
                    <a:pt x="533" y="160"/>
                  </a:lnTo>
                  <a:lnTo>
                    <a:pt x="530" y="162"/>
                  </a:lnTo>
                  <a:lnTo>
                    <a:pt x="530" y="165"/>
                  </a:lnTo>
                  <a:lnTo>
                    <a:pt x="526" y="172"/>
                  </a:lnTo>
                  <a:lnTo>
                    <a:pt x="528" y="179"/>
                  </a:lnTo>
                  <a:lnTo>
                    <a:pt x="526" y="186"/>
                  </a:lnTo>
                  <a:lnTo>
                    <a:pt x="528" y="189"/>
                  </a:lnTo>
                  <a:lnTo>
                    <a:pt x="526" y="189"/>
                  </a:lnTo>
                  <a:lnTo>
                    <a:pt x="518" y="191"/>
                  </a:lnTo>
                  <a:lnTo>
                    <a:pt x="511" y="198"/>
                  </a:lnTo>
                  <a:lnTo>
                    <a:pt x="507" y="200"/>
                  </a:lnTo>
                  <a:lnTo>
                    <a:pt x="504" y="200"/>
                  </a:lnTo>
                  <a:lnTo>
                    <a:pt x="497" y="205"/>
                  </a:lnTo>
                  <a:lnTo>
                    <a:pt x="494" y="205"/>
                  </a:lnTo>
                  <a:lnTo>
                    <a:pt x="490" y="208"/>
                  </a:lnTo>
                  <a:lnTo>
                    <a:pt x="483" y="206"/>
                  </a:lnTo>
                  <a:lnTo>
                    <a:pt x="478" y="213"/>
                  </a:lnTo>
                  <a:lnTo>
                    <a:pt x="482" y="218"/>
                  </a:lnTo>
                  <a:lnTo>
                    <a:pt x="473" y="215"/>
                  </a:lnTo>
                  <a:lnTo>
                    <a:pt x="473" y="218"/>
                  </a:lnTo>
                  <a:lnTo>
                    <a:pt x="468" y="220"/>
                  </a:lnTo>
                  <a:lnTo>
                    <a:pt x="468" y="222"/>
                  </a:lnTo>
                  <a:lnTo>
                    <a:pt x="473" y="229"/>
                  </a:lnTo>
                  <a:lnTo>
                    <a:pt x="475" y="227"/>
                  </a:lnTo>
                  <a:lnTo>
                    <a:pt x="480" y="232"/>
                  </a:lnTo>
                  <a:lnTo>
                    <a:pt x="483" y="239"/>
                  </a:lnTo>
                  <a:lnTo>
                    <a:pt x="487" y="237"/>
                  </a:lnTo>
                  <a:lnTo>
                    <a:pt x="487" y="239"/>
                  </a:lnTo>
                  <a:lnTo>
                    <a:pt x="495" y="241"/>
                  </a:lnTo>
                  <a:lnTo>
                    <a:pt x="501" y="246"/>
                  </a:lnTo>
                  <a:lnTo>
                    <a:pt x="507" y="246"/>
                  </a:lnTo>
                  <a:lnTo>
                    <a:pt x="512" y="249"/>
                  </a:lnTo>
                  <a:lnTo>
                    <a:pt x="523" y="251"/>
                  </a:lnTo>
                  <a:lnTo>
                    <a:pt x="526" y="251"/>
                  </a:lnTo>
                  <a:lnTo>
                    <a:pt x="526" y="253"/>
                  </a:lnTo>
                  <a:lnTo>
                    <a:pt x="524" y="258"/>
                  </a:lnTo>
                  <a:lnTo>
                    <a:pt x="526" y="261"/>
                  </a:lnTo>
                  <a:lnTo>
                    <a:pt x="526" y="268"/>
                  </a:lnTo>
                  <a:lnTo>
                    <a:pt x="524" y="275"/>
                  </a:lnTo>
                  <a:lnTo>
                    <a:pt x="526" y="276"/>
                  </a:lnTo>
                  <a:lnTo>
                    <a:pt x="530" y="276"/>
                  </a:lnTo>
                  <a:lnTo>
                    <a:pt x="538" y="278"/>
                  </a:lnTo>
                  <a:lnTo>
                    <a:pt x="545" y="282"/>
                  </a:lnTo>
                  <a:lnTo>
                    <a:pt x="547" y="283"/>
                  </a:lnTo>
                  <a:lnTo>
                    <a:pt x="548" y="288"/>
                  </a:lnTo>
                  <a:lnTo>
                    <a:pt x="552" y="292"/>
                  </a:lnTo>
                  <a:lnTo>
                    <a:pt x="548" y="290"/>
                  </a:lnTo>
                  <a:lnTo>
                    <a:pt x="545" y="285"/>
                  </a:lnTo>
                  <a:lnTo>
                    <a:pt x="543" y="285"/>
                  </a:lnTo>
                  <a:lnTo>
                    <a:pt x="535" y="283"/>
                  </a:lnTo>
                  <a:lnTo>
                    <a:pt x="531" y="283"/>
                  </a:lnTo>
                  <a:lnTo>
                    <a:pt x="528" y="282"/>
                  </a:lnTo>
                  <a:lnTo>
                    <a:pt x="524" y="282"/>
                  </a:lnTo>
                  <a:lnTo>
                    <a:pt x="518" y="278"/>
                  </a:lnTo>
                  <a:lnTo>
                    <a:pt x="511" y="278"/>
                  </a:lnTo>
                  <a:lnTo>
                    <a:pt x="504" y="275"/>
                  </a:lnTo>
                  <a:lnTo>
                    <a:pt x="502" y="270"/>
                  </a:lnTo>
                  <a:lnTo>
                    <a:pt x="499" y="268"/>
                  </a:lnTo>
                  <a:lnTo>
                    <a:pt x="495" y="270"/>
                  </a:lnTo>
                  <a:lnTo>
                    <a:pt x="490" y="268"/>
                  </a:lnTo>
                  <a:lnTo>
                    <a:pt x="487" y="268"/>
                  </a:lnTo>
                  <a:lnTo>
                    <a:pt x="478" y="270"/>
                  </a:lnTo>
                  <a:lnTo>
                    <a:pt x="473" y="266"/>
                  </a:lnTo>
                  <a:lnTo>
                    <a:pt x="472" y="268"/>
                  </a:lnTo>
                  <a:lnTo>
                    <a:pt x="468" y="264"/>
                  </a:lnTo>
                  <a:lnTo>
                    <a:pt x="466" y="264"/>
                  </a:lnTo>
                  <a:lnTo>
                    <a:pt x="465" y="261"/>
                  </a:lnTo>
                  <a:lnTo>
                    <a:pt x="458" y="263"/>
                  </a:lnTo>
                  <a:lnTo>
                    <a:pt x="453" y="259"/>
                  </a:lnTo>
                  <a:lnTo>
                    <a:pt x="453" y="261"/>
                  </a:lnTo>
                  <a:lnTo>
                    <a:pt x="441" y="259"/>
                  </a:lnTo>
                  <a:lnTo>
                    <a:pt x="434" y="263"/>
                  </a:lnTo>
                  <a:lnTo>
                    <a:pt x="432" y="264"/>
                  </a:lnTo>
                  <a:lnTo>
                    <a:pt x="434" y="268"/>
                  </a:lnTo>
                  <a:lnTo>
                    <a:pt x="432" y="271"/>
                  </a:lnTo>
                  <a:lnTo>
                    <a:pt x="432" y="273"/>
                  </a:lnTo>
                  <a:lnTo>
                    <a:pt x="431" y="273"/>
                  </a:lnTo>
                  <a:lnTo>
                    <a:pt x="431" y="275"/>
                  </a:lnTo>
                  <a:lnTo>
                    <a:pt x="429" y="280"/>
                  </a:lnTo>
                  <a:lnTo>
                    <a:pt x="427" y="282"/>
                  </a:lnTo>
                  <a:lnTo>
                    <a:pt x="429" y="282"/>
                  </a:lnTo>
                  <a:lnTo>
                    <a:pt x="429" y="280"/>
                  </a:lnTo>
                  <a:lnTo>
                    <a:pt x="434" y="283"/>
                  </a:lnTo>
                  <a:lnTo>
                    <a:pt x="434" y="287"/>
                  </a:lnTo>
                  <a:lnTo>
                    <a:pt x="436" y="290"/>
                  </a:lnTo>
                  <a:lnTo>
                    <a:pt x="434" y="294"/>
                  </a:lnTo>
                  <a:lnTo>
                    <a:pt x="436" y="304"/>
                  </a:lnTo>
                  <a:lnTo>
                    <a:pt x="432" y="304"/>
                  </a:lnTo>
                  <a:lnTo>
                    <a:pt x="431" y="307"/>
                  </a:lnTo>
                  <a:lnTo>
                    <a:pt x="431" y="317"/>
                  </a:lnTo>
                  <a:lnTo>
                    <a:pt x="434" y="324"/>
                  </a:lnTo>
                  <a:lnTo>
                    <a:pt x="437" y="329"/>
                  </a:lnTo>
                  <a:lnTo>
                    <a:pt x="441" y="338"/>
                  </a:lnTo>
                  <a:lnTo>
                    <a:pt x="441" y="341"/>
                  </a:lnTo>
                  <a:lnTo>
                    <a:pt x="442" y="348"/>
                  </a:lnTo>
                  <a:lnTo>
                    <a:pt x="446" y="357"/>
                  </a:lnTo>
                  <a:lnTo>
                    <a:pt x="449" y="364"/>
                  </a:lnTo>
                  <a:lnTo>
                    <a:pt x="449" y="367"/>
                  </a:lnTo>
                  <a:lnTo>
                    <a:pt x="451" y="367"/>
                  </a:lnTo>
                  <a:lnTo>
                    <a:pt x="453" y="369"/>
                  </a:lnTo>
                  <a:lnTo>
                    <a:pt x="456" y="377"/>
                  </a:lnTo>
                  <a:lnTo>
                    <a:pt x="460" y="381"/>
                  </a:lnTo>
                  <a:lnTo>
                    <a:pt x="463" y="387"/>
                  </a:lnTo>
                  <a:lnTo>
                    <a:pt x="466" y="393"/>
                  </a:lnTo>
                  <a:lnTo>
                    <a:pt x="470" y="401"/>
                  </a:lnTo>
                  <a:lnTo>
                    <a:pt x="473" y="405"/>
                  </a:lnTo>
                  <a:lnTo>
                    <a:pt x="480" y="408"/>
                  </a:lnTo>
                  <a:lnTo>
                    <a:pt x="482" y="411"/>
                  </a:lnTo>
                  <a:lnTo>
                    <a:pt x="485" y="415"/>
                  </a:lnTo>
                  <a:lnTo>
                    <a:pt x="489" y="418"/>
                  </a:lnTo>
                  <a:lnTo>
                    <a:pt x="497" y="423"/>
                  </a:lnTo>
                  <a:lnTo>
                    <a:pt x="499" y="427"/>
                  </a:lnTo>
                  <a:lnTo>
                    <a:pt x="489" y="422"/>
                  </a:lnTo>
                  <a:lnTo>
                    <a:pt x="487" y="423"/>
                  </a:lnTo>
                  <a:lnTo>
                    <a:pt x="482" y="420"/>
                  </a:lnTo>
                  <a:lnTo>
                    <a:pt x="480" y="422"/>
                  </a:lnTo>
                  <a:lnTo>
                    <a:pt x="477" y="420"/>
                  </a:lnTo>
                  <a:lnTo>
                    <a:pt x="472" y="416"/>
                  </a:lnTo>
                  <a:lnTo>
                    <a:pt x="473" y="415"/>
                  </a:lnTo>
                  <a:lnTo>
                    <a:pt x="478" y="416"/>
                  </a:lnTo>
                  <a:lnTo>
                    <a:pt x="472" y="410"/>
                  </a:lnTo>
                  <a:lnTo>
                    <a:pt x="473" y="408"/>
                  </a:lnTo>
                  <a:lnTo>
                    <a:pt x="472" y="408"/>
                  </a:lnTo>
                  <a:lnTo>
                    <a:pt x="472" y="406"/>
                  </a:lnTo>
                  <a:lnTo>
                    <a:pt x="470" y="410"/>
                  </a:lnTo>
                  <a:lnTo>
                    <a:pt x="468" y="408"/>
                  </a:lnTo>
                  <a:lnTo>
                    <a:pt x="466" y="408"/>
                  </a:lnTo>
                  <a:lnTo>
                    <a:pt x="465" y="406"/>
                  </a:lnTo>
                  <a:lnTo>
                    <a:pt x="463" y="406"/>
                  </a:lnTo>
                  <a:lnTo>
                    <a:pt x="460" y="405"/>
                  </a:lnTo>
                  <a:lnTo>
                    <a:pt x="453" y="403"/>
                  </a:lnTo>
                  <a:lnTo>
                    <a:pt x="446" y="399"/>
                  </a:lnTo>
                  <a:lnTo>
                    <a:pt x="444" y="396"/>
                  </a:lnTo>
                  <a:lnTo>
                    <a:pt x="444" y="393"/>
                  </a:lnTo>
                  <a:lnTo>
                    <a:pt x="439" y="384"/>
                  </a:lnTo>
                  <a:lnTo>
                    <a:pt x="437" y="377"/>
                  </a:lnTo>
                  <a:lnTo>
                    <a:pt x="432" y="374"/>
                  </a:lnTo>
                  <a:lnTo>
                    <a:pt x="432" y="370"/>
                  </a:lnTo>
                  <a:lnTo>
                    <a:pt x="431" y="364"/>
                  </a:lnTo>
                  <a:lnTo>
                    <a:pt x="427" y="360"/>
                  </a:lnTo>
                  <a:lnTo>
                    <a:pt x="422" y="357"/>
                  </a:lnTo>
                  <a:lnTo>
                    <a:pt x="413" y="355"/>
                  </a:lnTo>
                  <a:lnTo>
                    <a:pt x="407" y="348"/>
                  </a:lnTo>
                  <a:lnTo>
                    <a:pt x="407" y="346"/>
                  </a:lnTo>
                  <a:lnTo>
                    <a:pt x="403" y="341"/>
                  </a:lnTo>
                  <a:lnTo>
                    <a:pt x="407" y="333"/>
                  </a:lnTo>
                  <a:lnTo>
                    <a:pt x="407" y="329"/>
                  </a:lnTo>
                  <a:lnTo>
                    <a:pt x="408" y="328"/>
                  </a:lnTo>
                  <a:lnTo>
                    <a:pt x="408" y="321"/>
                  </a:lnTo>
                  <a:lnTo>
                    <a:pt x="408" y="316"/>
                  </a:lnTo>
                  <a:lnTo>
                    <a:pt x="410" y="307"/>
                  </a:lnTo>
                  <a:lnTo>
                    <a:pt x="410" y="304"/>
                  </a:lnTo>
                  <a:lnTo>
                    <a:pt x="407" y="305"/>
                  </a:lnTo>
                  <a:lnTo>
                    <a:pt x="408" y="302"/>
                  </a:lnTo>
                  <a:lnTo>
                    <a:pt x="408" y="294"/>
                  </a:lnTo>
                  <a:lnTo>
                    <a:pt x="410" y="285"/>
                  </a:lnTo>
                  <a:lnTo>
                    <a:pt x="412" y="280"/>
                  </a:lnTo>
                  <a:lnTo>
                    <a:pt x="410" y="275"/>
                  </a:lnTo>
                  <a:lnTo>
                    <a:pt x="403" y="275"/>
                  </a:lnTo>
                  <a:lnTo>
                    <a:pt x="402" y="273"/>
                  </a:lnTo>
                  <a:lnTo>
                    <a:pt x="398" y="273"/>
                  </a:lnTo>
                  <a:lnTo>
                    <a:pt x="398" y="270"/>
                  </a:lnTo>
                  <a:lnTo>
                    <a:pt x="393" y="266"/>
                  </a:lnTo>
                  <a:lnTo>
                    <a:pt x="395" y="266"/>
                  </a:lnTo>
                  <a:lnTo>
                    <a:pt x="393" y="264"/>
                  </a:lnTo>
                  <a:lnTo>
                    <a:pt x="391" y="254"/>
                  </a:lnTo>
                  <a:lnTo>
                    <a:pt x="388" y="251"/>
                  </a:lnTo>
                  <a:lnTo>
                    <a:pt x="388" y="242"/>
                  </a:lnTo>
                  <a:lnTo>
                    <a:pt x="390" y="235"/>
                  </a:lnTo>
                  <a:lnTo>
                    <a:pt x="390" y="229"/>
                  </a:lnTo>
                  <a:lnTo>
                    <a:pt x="393" y="227"/>
                  </a:lnTo>
                  <a:lnTo>
                    <a:pt x="396" y="225"/>
                  </a:lnTo>
                  <a:lnTo>
                    <a:pt x="396" y="227"/>
                  </a:lnTo>
                  <a:lnTo>
                    <a:pt x="396" y="223"/>
                  </a:lnTo>
                  <a:lnTo>
                    <a:pt x="400" y="220"/>
                  </a:lnTo>
                  <a:lnTo>
                    <a:pt x="402" y="215"/>
                  </a:lnTo>
                  <a:lnTo>
                    <a:pt x="400" y="215"/>
                  </a:lnTo>
                  <a:lnTo>
                    <a:pt x="400" y="213"/>
                  </a:lnTo>
                  <a:lnTo>
                    <a:pt x="398" y="215"/>
                  </a:lnTo>
                  <a:lnTo>
                    <a:pt x="391" y="212"/>
                  </a:lnTo>
                  <a:lnTo>
                    <a:pt x="391" y="213"/>
                  </a:lnTo>
                  <a:lnTo>
                    <a:pt x="391" y="212"/>
                  </a:lnTo>
                  <a:lnTo>
                    <a:pt x="390" y="212"/>
                  </a:lnTo>
                  <a:lnTo>
                    <a:pt x="390" y="213"/>
                  </a:lnTo>
                  <a:lnTo>
                    <a:pt x="388" y="213"/>
                  </a:lnTo>
                  <a:lnTo>
                    <a:pt x="390" y="212"/>
                  </a:lnTo>
                  <a:lnTo>
                    <a:pt x="383" y="210"/>
                  </a:lnTo>
                  <a:lnTo>
                    <a:pt x="383" y="205"/>
                  </a:lnTo>
                  <a:lnTo>
                    <a:pt x="386" y="200"/>
                  </a:lnTo>
                  <a:lnTo>
                    <a:pt x="381" y="196"/>
                  </a:lnTo>
                  <a:lnTo>
                    <a:pt x="383" y="194"/>
                  </a:lnTo>
                  <a:lnTo>
                    <a:pt x="383" y="189"/>
                  </a:lnTo>
                  <a:lnTo>
                    <a:pt x="381" y="189"/>
                  </a:lnTo>
                  <a:lnTo>
                    <a:pt x="376" y="191"/>
                  </a:lnTo>
                  <a:lnTo>
                    <a:pt x="374" y="193"/>
                  </a:lnTo>
                  <a:lnTo>
                    <a:pt x="372" y="191"/>
                  </a:lnTo>
                  <a:lnTo>
                    <a:pt x="374" y="191"/>
                  </a:lnTo>
                  <a:lnTo>
                    <a:pt x="372" y="189"/>
                  </a:lnTo>
                  <a:lnTo>
                    <a:pt x="372" y="186"/>
                  </a:lnTo>
                  <a:lnTo>
                    <a:pt x="376" y="179"/>
                  </a:lnTo>
                  <a:lnTo>
                    <a:pt x="372" y="174"/>
                  </a:lnTo>
                  <a:lnTo>
                    <a:pt x="372" y="169"/>
                  </a:lnTo>
                  <a:lnTo>
                    <a:pt x="378" y="160"/>
                  </a:lnTo>
                  <a:lnTo>
                    <a:pt x="381" y="155"/>
                  </a:lnTo>
                  <a:lnTo>
                    <a:pt x="383" y="150"/>
                  </a:lnTo>
                  <a:lnTo>
                    <a:pt x="386" y="143"/>
                  </a:lnTo>
                  <a:lnTo>
                    <a:pt x="388" y="136"/>
                  </a:lnTo>
                  <a:lnTo>
                    <a:pt x="388" y="131"/>
                  </a:lnTo>
                  <a:lnTo>
                    <a:pt x="384" y="130"/>
                  </a:lnTo>
                  <a:lnTo>
                    <a:pt x="388" y="126"/>
                  </a:lnTo>
                  <a:lnTo>
                    <a:pt x="390" y="128"/>
                  </a:lnTo>
                  <a:lnTo>
                    <a:pt x="390" y="126"/>
                  </a:lnTo>
                  <a:lnTo>
                    <a:pt x="390" y="118"/>
                  </a:lnTo>
                  <a:lnTo>
                    <a:pt x="391" y="118"/>
                  </a:lnTo>
                  <a:lnTo>
                    <a:pt x="391" y="119"/>
                  </a:lnTo>
                  <a:lnTo>
                    <a:pt x="391" y="118"/>
                  </a:lnTo>
                  <a:lnTo>
                    <a:pt x="395" y="118"/>
                  </a:lnTo>
                  <a:lnTo>
                    <a:pt x="395" y="114"/>
                  </a:lnTo>
                  <a:lnTo>
                    <a:pt x="390" y="111"/>
                  </a:lnTo>
                  <a:lnTo>
                    <a:pt x="393" y="109"/>
                  </a:lnTo>
                  <a:lnTo>
                    <a:pt x="393" y="106"/>
                  </a:lnTo>
                  <a:lnTo>
                    <a:pt x="398" y="102"/>
                  </a:lnTo>
                  <a:lnTo>
                    <a:pt x="402" y="97"/>
                  </a:lnTo>
                  <a:lnTo>
                    <a:pt x="402" y="92"/>
                  </a:lnTo>
                  <a:lnTo>
                    <a:pt x="403" y="92"/>
                  </a:lnTo>
                  <a:lnTo>
                    <a:pt x="405" y="90"/>
                  </a:lnTo>
                  <a:lnTo>
                    <a:pt x="407" y="85"/>
                  </a:lnTo>
                  <a:lnTo>
                    <a:pt x="413" y="80"/>
                  </a:lnTo>
                  <a:lnTo>
                    <a:pt x="419" y="75"/>
                  </a:lnTo>
                  <a:lnTo>
                    <a:pt x="419" y="73"/>
                  </a:lnTo>
                  <a:lnTo>
                    <a:pt x="424" y="66"/>
                  </a:lnTo>
                  <a:lnTo>
                    <a:pt x="432" y="61"/>
                  </a:lnTo>
                  <a:lnTo>
                    <a:pt x="439" y="53"/>
                  </a:lnTo>
                  <a:lnTo>
                    <a:pt x="437" y="51"/>
                  </a:lnTo>
                  <a:lnTo>
                    <a:pt x="441" y="54"/>
                  </a:lnTo>
                  <a:close/>
                  <a:moveTo>
                    <a:pt x="417" y="41"/>
                  </a:moveTo>
                  <a:lnTo>
                    <a:pt x="417" y="44"/>
                  </a:lnTo>
                  <a:lnTo>
                    <a:pt x="422" y="44"/>
                  </a:lnTo>
                  <a:lnTo>
                    <a:pt x="422" y="49"/>
                  </a:lnTo>
                  <a:lnTo>
                    <a:pt x="419" y="51"/>
                  </a:lnTo>
                  <a:lnTo>
                    <a:pt x="417" y="51"/>
                  </a:lnTo>
                  <a:lnTo>
                    <a:pt x="417" y="46"/>
                  </a:lnTo>
                  <a:lnTo>
                    <a:pt x="415" y="46"/>
                  </a:lnTo>
                  <a:lnTo>
                    <a:pt x="417" y="41"/>
                  </a:lnTo>
                  <a:close/>
                  <a:moveTo>
                    <a:pt x="465" y="36"/>
                  </a:moveTo>
                  <a:lnTo>
                    <a:pt x="465" y="39"/>
                  </a:lnTo>
                  <a:lnTo>
                    <a:pt x="466" y="41"/>
                  </a:lnTo>
                  <a:lnTo>
                    <a:pt x="465" y="42"/>
                  </a:lnTo>
                  <a:lnTo>
                    <a:pt x="461" y="41"/>
                  </a:lnTo>
                  <a:lnTo>
                    <a:pt x="458" y="37"/>
                  </a:lnTo>
                  <a:lnTo>
                    <a:pt x="461" y="30"/>
                  </a:lnTo>
                  <a:lnTo>
                    <a:pt x="463" y="27"/>
                  </a:lnTo>
                  <a:lnTo>
                    <a:pt x="466" y="34"/>
                  </a:lnTo>
                  <a:lnTo>
                    <a:pt x="465" y="36"/>
                  </a:lnTo>
                  <a:close/>
                  <a:moveTo>
                    <a:pt x="514" y="3"/>
                  </a:moveTo>
                  <a:lnTo>
                    <a:pt x="516" y="8"/>
                  </a:lnTo>
                  <a:lnTo>
                    <a:pt x="519" y="10"/>
                  </a:lnTo>
                  <a:lnTo>
                    <a:pt x="519" y="13"/>
                  </a:lnTo>
                  <a:lnTo>
                    <a:pt x="523" y="13"/>
                  </a:lnTo>
                  <a:lnTo>
                    <a:pt x="524" y="17"/>
                  </a:lnTo>
                  <a:lnTo>
                    <a:pt x="526" y="17"/>
                  </a:lnTo>
                  <a:lnTo>
                    <a:pt x="526" y="25"/>
                  </a:lnTo>
                  <a:lnTo>
                    <a:pt x="521" y="32"/>
                  </a:lnTo>
                  <a:lnTo>
                    <a:pt x="521" y="37"/>
                  </a:lnTo>
                  <a:lnTo>
                    <a:pt x="523" y="39"/>
                  </a:lnTo>
                  <a:lnTo>
                    <a:pt x="519" y="46"/>
                  </a:lnTo>
                  <a:lnTo>
                    <a:pt x="518" y="51"/>
                  </a:lnTo>
                  <a:lnTo>
                    <a:pt x="516" y="54"/>
                  </a:lnTo>
                  <a:lnTo>
                    <a:pt x="512" y="61"/>
                  </a:lnTo>
                  <a:lnTo>
                    <a:pt x="512" y="63"/>
                  </a:lnTo>
                  <a:lnTo>
                    <a:pt x="509" y="65"/>
                  </a:lnTo>
                  <a:lnTo>
                    <a:pt x="504" y="70"/>
                  </a:lnTo>
                  <a:lnTo>
                    <a:pt x="501" y="70"/>
                  </a:lnTo>
                  <a:lnTo>
                    <a:pt x="492" y="70"/>
                  </a:lnTo>
                  <a:lnTo>
                    <a:pt x="485" y="71"/>
                  </a:lnTo>
                  <a:lnTo>
                    <a:pt x="480" y="73"/>
                  </a:lnTo>
                  <a:lnTo>
                    <a:pt x="478" y="75"/>
                  </a:lnTo>
                  <a:lnTo>
                    <a:pt x="475" y="80"/>
                  </a:lnTo>
                  <a:lnTo>
                    <a:pt x="478" y="70"/>
                  </a:lnTo>
                  <a:lnTo>
                    <a:pt x="477" y="66"/>
                  </a:lnTo>
                  <a:lnTo>
                    <a:pt x="475" y="66"/>
                  </a:lnTo>
                  <a:lnTo>
                    <a:pt x="473" y="63"/>
                  </a:lnTo>
                  <a:lnTo>
                    <a:pt x="473" y="54"/>
                  </a:lnTo>
                  <a:lnTo>
                    <a:pt x="472" y="53"/>
                  </a:lnTo>
                  <a:lnTo>
                    <a:pt x="473" y="48"/>
                  </a:lnTo>
                  <a:lnTo>
                    <a:pt x="470" y="44"/>
                  </a:lnTo>
                  <a:lnTo>
                    <a:pt x="466" y="42"/>
                  </a:lnTo>
                  <a:lnTo>
                    <a:pt x="473" y="37"/>
                  </a:lnTo>
                  <a:lnTo>
                    <a:pt x="477" y="32"/>
                  </a:lnTo>
                  <a:lnTo>
                    <a:pt x="480" y="29"/>
                  </a:lnTo>
                  <a:lnTo>
                    <a:pt x="478" y="24"/>
                  </a:lnTo>
                  <a:lnTo>
                    <a:pt x="485" y="19"/>
                  </a:lnTo>
                  <a:lnTo>
                    <a:pt x="487" y="15"/>
                  </a:lnTo>
                  <a:lnTo>
                    <a:pt x="492" y="13"/>
                  </a:lnTo>
                  <a:lnTo>
                    <a:pt x="499" y="5"/>
                  </a:lnTo>
                  <a:lnTo>
                    <a:pt x="506" y="8"/>
                  </a:lnTo>
                  <a:lnTo>
                    <a:pt x="511" y="0"/>
                  </a:lnTo>
                  <a:lnTo>
                    <a:pt x="514" y="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4" name="Freeform 57"/>
            <p:cNvSpPr>
              <a:spLocks noEditPoints="1"/>
            </p:cNvSpPr>
            <p:nvPr/>
          </p:nvSpPr>
          <p:spPr bwMode="gray">
            <a:xfrm>
              <a:off x="9465268" y="2954048"/>
              <a:ext cx="1462995" cy="2199964"/>
            </a:xfrm>
            <a:custGeom>
              <a:avLst/>
              <a:gdLst>
                <a:gd name="T0" fmla="*/ 548 w 802"/>
                <a:gd name="T1" fmla="*/ 1109 h 1206"/>
                <a:gd name="T2" fmla="*/ 507 w 802"/>
                <a:gd name="T3" fmla="*/ 1114 h 1206"/>
                <a:gd name="T4" fmla="*/ 558 w 802"/>
                <a:gd name="T5" fmla="*/ 1017 h 1206"/>
                <a:gd name="T6" fmla="*/ 483 w 802"/>
                <a:gd name="T7" fmla="*/ 1112 h 1206"/>
                <a:gd name="T8" fmla="*/ 404 w 802"/>
                <a:gd name="T9" fmla="*/ 1082 h 1206"/>
                <a:gd name="T10" fmla="*/ 517 w 802"/>
                <a:gd name="T11" fmla="*/ 993 h 1206"/>
                <a:gd name="T12" fmla="*/ 582 w 802"/>
                <a:gd name="T13" fmla="*/ 952 h 1206"/>
                <a:gd name="T14" fmla="*/ 519 w 802"/>
                <a:gd name="T15" fmla="*/ 957 h 1206"/>
                <a:gd name="T16" fmla="*/ 517 w 802"/>
                <a:gd name="T17" fmla="*/ 930 h 1206"/>
                <a:gd name="T18" fmla="*/ 466 w 802"/>
                <a:gd name="T19" fmla="*/ 793 h 1206"/>
                <a:gd name="T20" fmla="*/ 370 w 802"/>
                <a:gd name="T21" fmla="*/ 707 h 1206"/>
                <a:gd name="T22" fmla="*/ 327 w 802"/>
                <a:gd name="T23" fmla="*/ 692 h 1206"/>
                <a:gd name="T24" fmla="*/ 281 w 802"/>
                <a:gd name="T25" fmla="*/ 687 h 1206"/>
                <a:gd name="T26" fmla="*/ 164 w 802"/>
                <a:gd name="T27" fmla="*/ 463 h 1206"/>
                <a:gd name="T28" fmla="*/ 346 w 802"/>
                <a:gd name="T29" fmla="*/ 349 h 1206"/>
                <a:gd name="T30" fmla="*/ 350 w 802"/>
                <a:gd name="T31" fmla="*/ 335 h 1206"/>
                <a:gd name="T32" fmla="*/ 339 w 802"/>
                <a:gd name="T33" fmla="*/ 332 h 1206"/>
                <a:gd name="T34" fmla="*/ 165 w 802"/>
                <a:gd name="T35" fmla="*/ 304 h 1206"/>
                <a:gd name="T36" fmla="*/ 273 w 802"/>
                <a:gd name="T37" fmla="*/ 318 h 1206"/>
                <a:gd name="T38" fmla="*/ 252 w 802"/>
                <a:gd name="T39" fmla="*/ 335 h 1206"/>
                <a:gd name="T40" fmla="*/ 182 w 802"/>
                <a:gd name="T41" fmla="*/ 318 h 1206"/>
                <a:gd name="T42" fmla="*/ 529 w 802"/>
                <a:gd name="T43" fmla="*/ 299 h 1206"/>
                <a:gd name="T44" fmla="*/ 97 w 802"/>
                <a:gd name="T45" fmla="*/ 286 h 1206"/>
                <a:gd name="T46" fmla="*/ 46 w 802"/>
                <a:gd name="T47" fmla="*/ 511 h 1206"/>
                <a:gd name="T48" fmla="*/ 65 w 802"/>
                <a:gd name="T49" fmla="*/ 456 h 1206"/>
                <a:gd name="T50" fmla="*/ 78 w 802"/>
                <a:gd name="T51" fmla="*/ 508 h 1206"/>
                <a:gd name="T52" fmla="*/ 176 w 802"/>
                <a:gd name="T53" fmla="*/ 477 h 1206"/>
                <a:gd name="T54" fmla="*/ 199 w 802"/>
                <a:gd name="T55" fmla="*/ 441 h 1206"/>
                <a:gd name="T56" fmla="*/ 273 w 802"/>
                <a:gd name="T57" fmla="*/ 380 h 1206"/>
                <a:gd name="T58" fmla="*/ 324 w 802"/>
                <a:gd name="T59" fmla="*/ 368 h 1206"/>
                <a:gd name="T60" fmla="*/ 345 w 802"/>
                <a:gd name="T61" fmla="*/ 342 h 1206"/>
                <a:gd name="T62" fmla="*/ 423 w 802"/>
                <a:gd name="T63" fmla="*/ 286 h 1206"/>
                <a:gd name="T64" fmla="*/ 520 w 802"/>
                <a:gd name="T65" fmla="*/ 325 h 1206"/>
                <a:gd name="T66" fmla="*/ 636 w 802"/>
                <a:gd name="T67" fmla="*/ 385 h 1206"/>
                <a:gd name="T68" fmla="*/ 724 w 802"/>
                <a:gd name="T69" fmla="*/ 403 h 1206"/>
                <a:gd name="T70" fmla="*/ 773 w 802"/>
                <a:gd name="T71" fmla="*/ 426 h 1206"/>
                <a:gd name="T72" fmla="*/ 799 w 802"/>
                <a:gd name="T73" fmla="*/ 743 h 1206"/>
                <a:gd name="T74" fmla="*/ 782 w 802"/>
                <a:gd name="T75" fmla="*/ 899 h 1206"/>
                <a:gd name="T76" fmla="*/ 795 w 802"/>
                <a:gd name="T77" fmla="*/ 1027 h 1206"/>
                <a:gd name="T78" fmla="*/ 693 w 802"/>
                <a:gd name="T79" fmla="*/ 1109 h 1206"/>
                <a:gd name="T80" fmla="*/ 614 w 802"/>
                <a:gd name="T81" fmla="*/ 1090 h 1206"/>
                <a:gd name="T82" fmla="*/ 536 w 802"/>
                <a:gd name="T83" fmla="*/ 1092 h 1206"/>
                <a:gd name="T84" fmla="*/ 515 w 802"/>
                <a:gd name="T85" fmla="*/ 974 h 1206"/>
                <a:gd name="T86" fmla="*/ 587 w 802"/>
                <a:gd name="T87" fmla="*/ 952 h 1206"/>
                <a:gd name="T88" fmla="*/ 496 w 802"/>
                <a:gd name="T89" fmla="*/ 880 h 1206"/>
                <a:gd name="T90" fmla="*/ 466 w 802"/>
                <a:gd name="T91" fmla="*/ 793 h 1206"/>
                <a:gd name="T92" fmla="*/ 411 w 802"/>
                <a:gd name="T93" fmla="*/ 745 h 1206"/>
                <a:gd name="T94" fmla="*/ 389 w 802"/>
                <a:gd name="T95" fmla="*/ 711 h 1206"/>
                <a:gd name="T96" fmla="*/ 372 w 802"/>
                <a:gd name="T97" fmla="*/ 701 h 1206"/>
                <a:gd name="T98" fmla="*/ 331 w 802"/>
                <a:gd name="T99" fmla="*/ 694 h 1206"/>
                <a:gd name="T100" fmla="*/ 319 w 802"/>
                <a:gd name="T101" fmla="*/ 692 h 1206"/>
                <a:gd name="T102" fmla="*/ 264 w 802"/>
                <a:gd name="T103" fmla="*/ 684 h 1206"/>
                <a:gd name="T104" fmla="*/ 210 w 802"/>
                <a:gd name="T105" fmla="*/ 660 h 1206"/>
                <a:gd name="T106" fmla="*/ 116 w 802"/>
                <a:gd name="T107" fmla="*/ 643 h 1206"/>
                <a:gd name="T108" fmla="*/ 275 w 802"/>
                <a:gd name="T109" fmla="*/ 263 h 1206"/>
                <a:gd name="T110" fmla="*/ 257 w 802"/>
                <a:gd name="T111" fmla="*/ 258 h 1206"/>
                <a:gd name="T112" fmla="*/ 78 w 802"/>
                <a:gd name="T113" fmla="*/ 236 h 1206"/>
                <a:gd name="T114" fmla="*/ 140 w 802"/>
                <a:gd name="T115" fmla="*/ 188 h 1206"/>
                <a:gd name="T116" fmla="*/ 215 w 802"/>
                <a:gd name="T117" fmla="*/ 226 h 1206"/>
                <a:gd name="T118" fmla="*/ 176 w 802"/>
                <a:gd name="T119" fmla="*/ 217 h 1206"/>
                <a:gd name="T120" fmla="*/ 131 w 802"/>
                <a:gd name="T121" fmla="*/ 19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1206">
                  <a:moveTo>
                    <a:pt x="548" y="1114"/>
                  </a:moveTo>
                  <a:lnTo>
                    <a:pt x="543" y="1112"/>
                  </a:lnTo>
                  <a:lnTo>
                    <a:pt x="544" y="1109"/>
                  </a:lnTo>
                  <a:lnTo>
                    <a:pt x="549" y="1112"/>
                  </a:lnTo>
                  <a:lnTo>
                    <a:pt x="548" y="1114"/>
                  </a:lnTo>
                  <a:close/>
                  <a:moveTo>
                    <a:pt x="493" y="1107"/>
                  </a:moveTo>
                  <a:lnTo>
                    <a:pt x="491" y="1111"/>
                  </a:lnTo>
                  <a:lnTo>
                    <a:pt x="486" y="1116"/>
                  </a:lnTo>
                  <a:lnTo>
                    <a:pt x="481" y="1117"/>
                  </a:lnTo>
                  <a:lnTo>
                    <a:pt x="474" y="1119"/>
                  </a:lnTo>
                  <a:lnTo>
                    <a:pt x="471" y="1121"/>
                  </a:lnTo>
                  <a:lnTo>
                    <a:pt x="464" y="1119"/>
                  </a:lnTo>
                  <a:lnTo>
                    <a:pt x="464" y="1116"/>
                  </a:lnTo>
                  <a:lnTo>
                    <a:pt x="469" y="1116"/>
                  </a:lnTo>
                  <a:lnTo>
                    <a:pt x="471" y="1114"/>
                  </a:lnTo>
                  <a:lnTo>
                    <a:pt x="474" y="1116"/>
                  </a:lnTo>
                  <a:lnTo>
                    <a:pt x="479" y="1114"/>
                  </a:lnTo>
                  <a:lnTo>
                    <a:pt x="485" y="1112"/>
                  </a:lnTo>
                  <a:lnTo>
                    <a:pt x="486" y="1111"/>
                  </a:lnTo>
                  <a:lnTo>
                    <a:pt x="490" y="1111"/>
                  </a:lnTo>
                  <a:lnTo>
                    <a:pt x="493" y="1107"/>
                  </a:lnTo>
                  <a:close/>
                  <a:moveTo>
                    <a:pt x="548" y="1109"/>
                  </a:moveTo>
                  <a:lnTo>
                    <a:pt x="549" y="1109"/>
                  </a:lnTo>
                  <a:lnTo>
                    <a:pt x="546" y="1111"/>
                  </a:lnTo>
                  <a:lnTo>
                    <a:pt x="544" y="1107"/>
                  </a:lnTo>
                  <a:lnTo>
                    <a:pt x="548" y="1109"/>
                  </a:lnTo>
                  <a:close/>
                  <a:moveTo>
                    <a:pt x="537" y="1102"/>
                  </a:moveTo>
                  <a:lnTo>
                    <a:pt x="539" y="1102"/>
                  </a:lnTo>
                  <a:lnTo>
                    <a:pt x="541" y="1102"/>
                  </a:lnTo>
                  <a:lnTo>
                    <a:pt x="539" y="1104"/>
                  </a:lnTo>
                  <a:lnTo>
                    <a:pt x="534" y="1100"/>
                  </a:lnTo>
                  <a:lnTo>
                    <a:pt x="537" y="1102"/>
                  </a:lnTo>
                  <a:close/>
                  <a:moveTo>
                    <a:pt x="539" y="1102"/>
                  </a:moveTo>
                  <a:lnTo>
                    <a:pt x="534" y="1100"/>
                  </a:lnTo>
                  <a:lnTo>
                    <a:pt x="536" y="1093"/>
                  </a:lnTo>
                  <a:lnTo>
                    <a:pt x="539" y="1097"/>
                  </a:lnTo>
                  <a:lnTo>
                    <a:pt x="539" y="1102"/>
                  </a:lnTo>
                  <a:close/>
                  <a:moveTo>
                    <a:pt x="517" y="1088"/>
                  </a:moveTo>
                  <a:lnTo>
                    <a:pt x="519" y="1088"/>
                  </a:lnTo>
                  <a:lnTo>
                    <a:pt x="517" y="1088"/>
                  </a:lnTo>
                  <a:close/>
                  <a:moveTo>
                    <a:pt x="532" y="1088"/>
                  </a:moveTo>
                  <a:lnTo>
                    <a:pt x="534" y="1093"/>
                  </a:lnTo>
                  <a:lnTo>
                    <a:pt x="534" y="1100"/>
                  </a:lnTo>
                  <a:lnTo>
                    <a:pt x="537" y="1104"/>
                  </a:lnTo>
                  <a:lnTo>
                    <a:pt x="543" y="1105"/>
                  </a:lnTo>
                  <a:lnTo>
                    <a:pt x="543" y="1112"/>
                  </a:lnTo>
                  <a:lnTo>
                    <a:pt x="541" y="1116"/>
                  </a:lnTo>
                  <a:lnTo>
                    <a:pt x="536" y="1116"/>
                  </a:lnTo>
                  <a:lnTo>
                    <a:pt x="529" y="1114"/>
                  </a:lnTo>
                  <a:lnTo>
                    <a:pt x="520" y="1116"/>
                  </a:lnTo>
                  <a:lnTo>
                    <a:pt x="514" y="1114"/>
                  </a:lnTo>
                  <a:lnTo>
                    <a:pt x="507" y="1114"/>
                  </a:lnTo>
                  <a:lnTo>
                    <a:pt x="502" y="1112"/>
                  </a:lnTo>
                  <a:lnTo>
                    <a:pt x="500" y="1111"/>
                  </a:lnTo>
                  <a:lnTo>
                    <a:pt x="502" y="1105"/>
                  </a:lnTo>
                  <a:lnTo>
                    <a:pt x="505" y="1104"/>
                  </a:lnTo>
                  <a:lnTo>
                    <a:pt x="512" y="1097"/>
                  </a:lnTo>
                  <a:lnTo>
                    <a:pt x="515" y="1090"/>
                  </a:lnTo>
                  <a:lnTo>
                    <a:pt x="522" y="1088"/>
                  </a:lnTo>
                  <a:lnTo>
                    <a:pt x="531" y="1085"/>
                  </a:lnTo>
                  <a:lnTo>
                    <a:pt x="532" y="1088"/>
                  </a:lnTo>
                  <a:close/>
                  <a:moveTo>
                    <a:pt x="681" y="1075"/>
                  </a:moveTo>
                  <a:lnTo>
                    <a:pt x="679" y="1071"/>
                  </a:lnTo>
                  <a:lnTo>
                    <a:pt x="679" y="1070"/>
                  </a:lnTo>
                  <a:lnTo>
                    <a:pt x="681" y="1075"/>
                  </a:lnTo>
                  <a:close/>
                  <a:moveTo>
                    <a:pt x="544" y="1056"/>
                  </a:moveTo>
                  <a:lnTo>
                    <a:pt x="546" y="1056"/>
                  </a:lnTo>
                  <a:lnTo>
                    <a:pt x="543" y="1056"/>
                  </a:lnTo>
                  <a:lnTo>
                    <a:pt x="544" y="1056"/>
                  </a:lnTo>
                  <a:close/>
                  <a:moveTo>
                    <a:pt x="517" y="993"/>
                  </a:moveTo>
                  <a:lnTo>
                    <a:pt x="525" y="994"/>
                  </a:lnTo>
                  <a:lnTo>
                    <a:pt x="534" y="998"/>
                  </a:lnTo>
                  <a:lnTo>
                    <a:pt x="539" y="1003"/>
                  </a:lnTo>
                  <a:lnTo>
                    <a:pt x="543" y="1010"/>
                  </a:lnTo>
                  <a:lnTo>
                    <a:pt x="546" y="1013"/>
                  </a:lnTo>
                  <a:lnTo>
                    <a:pt x="544" y="1013"/>
                  </a:lnTo>
                  <a:lnTo>
                    <a:pt x="549" y="1015"/>
                  </a:lnTo>
                  <a:lnTo>
                    <a:pt x="558" y="1017"/>
                  </a:lnTo>
                  <a:lnTo>
                    <a:pt x="565" y="1018"/>
                  </a:lnTo>
                  <a:lnTo>
                    <a:pt x="560" y="1025"/>
                  </a:lnTo>
                  <a:lnTo>
                    <a:pt x="558" y="1032"/>
                  </a:lnTo>
                  <a:lnTo>
                    <a:pt x="553" y="1039"/>
                  </a:lnTo>
                  <a:lnTo>
                    <a:pt x="555" y="1049"/>
                  </a:lnTo>
                  <a:lnTo>
                    <a:pt x="553" y="1051"/>
                  </a:lnTo>
                  <a:lnTo>
                    <a:pt x="544" y="1054"/>
                  </a:lnTo>
                  <a:lnTo>
                    <a:pt x="541" y="1058"/>
                  </a:lnTo>
                  <a:lnTo>
                    <a:pt x="541" y="1061"/>
                  </a:lnTo>
                  <a:lnTo>
                    <a:pt x="541" y="1068"/>
                  </a:lnTo>
                  <a:lnTo>
                    <a:pt x="541" y="1073"/>
                  </a:lnTo>
                  <a:lnTo>
                    <a:pt x="543" y="1078"/>
                  </a:lnTo>
                  <a:lnTo>
                    <a:pt x="534" y="1078"/>
                  </a:lnTo>
                  <a:lnTo>
                    <a:pt x="531" y="1080"/>
                  </a:lnTo>
                  <a:lnTo>
                    <a:pt x="529" y="1087"/>
                  </a:lnTo>
                  <a:lnTo>
                    <a:pt x="522" y="1088"/>
                  </a:lnTo>
                  <a:lnTo>
                    <a:pt x="515" y="1087"/>
                  </a:lnTo>
                  <a:lnTo>
                    <a:pt x="512" y="1093"/>
                  </a:lnTo>
                  <a:lnTo>
                    <a:pt x="507" y="1099"/>
                  </a:lnTo>
                  <a:lnTo>
                    <a:pt x="502" y="1102"/>
                  </a:lnTo>
                  <a:lnTo>
                    <a:pt x="496" y="1105"/>
                  </a:lnTo>
                  <a:lnTo>
                    <a:pt x="491" y="1107"/>
                  </a:lnTo>
                  <a:lnTo>
                    <a:pt x="490" y="1111"/>
                  </a:lnTo>
                  <a:lnTo>
                    <a:pt x="486" y="1111"/>
                  </a:lnTo>
                  <a:lnTo>
                    <a:pt x="485" y="1112"/>
                  </a:lnTo>
                  <a:lnTo>
                    <a:pt x="483" y="1112"/>
                  </a:lnTo>
                  <a:lnTo>
                    <a:pt x="474" y="1114"/>
                  </a:lnTo>
                  <a:lnTo>
                    <a:pt x="471" y="1114"/>
                  </a:lnTo>
                  <a:lnTo>
                    <a:pt x="469" y="1116"/>
                  </a:lnTo>
                  <a:lnTo>
                    <a:pt x="464" y="1116"/>
                  </a:lnTo>
                  <a:lnTo>
                    <a:pt x="459" y="1114"/>
                  </a:lnTo>
                  <a:lnTo>
                    <a:pt x="457" y="1116"/>
                  </a:lnTo>
                  <a:lnTo>
                    <a:pt x="447" y="1116"/>
                  </a:lnTo>
                  <a:lnTo>
                    <a:pt x="445" y="1116"/>
                  </a:lnTo>
                  <a:lnTo>
                    <a:pt x="442" y="1116"/>
                  </a:lnTo>
                  <a:lnTo>
                    <a:pt x="432" y="1116"/>
                  </a:lnTo>
                  <a:lnTo>
                    <a:pt x="426" y="1116"/>
                  </a:lnTo>
                  <a:lnTo>
                    <a:pt x="420" y="1116"/>
                  </a:lnTo>
                  <a:lnTo>
                    <a:pt x="418" y="1114"/>
                  </a:lnTo>
                  <a:lnTo>
                    <a:pt x="416" y="1116"/>
                  </a:lnTo>
                  <a:lnTo>
                    <a:pt x="408" y="1116"/>
                  </a:lnTo>
                  <a:lnTo>
                    <a:pt x="401" y="1117"/>
                  </a:lnTo>
                  <a:lnTo>
                    <a:pt x="397" y="1119"/>
                  </a:lnTo>
                  <a:lnTo>
                    <a:pt x="396" y="1119"/>
                  </a:lnTo>
                  <a:lnTo>
                    <a:pt x="392" y="1123"/>
                  </a:lnTo>
                  <a:lnTo>
                    <a:pt x="391" y="1121"/>
                  </a:lnTo>
                  <a:lnTo>
                    <a:pt x="391" y="1119"/>
                  </a:lnTo>
                  <a:lnTo>
                    <a:pt x="392" y="1112"/>
                  </a:lnTo>
                  <a:lnTo>
                    <a:pt x="392" y="1105"/>
                  </a:lnTo>
                  <a:lnTo>
                    <a:pt x="396" y="1097"/>
                  </a:lnTo>
                  <a:lnTo>
                    <a:pt x="399" y="1090"/>
                  </a:lnTo>
                  <a:lnTo>
                    <a:pt x="404" y="1082"/>
                  </a:lnTo>
                  <a:lnTo>
                    <a:pt x="406" y="1078"/>
                  </a:lnTo>
                  <a:lnTo>
                    <a:pt x="411" y="1075"/>
                  </a:lnTo>
                  <a:lnTo>
                    <a:pt x="409" y="1070"/>
                  </a:lnTo>
                  <a:lnTo>
                    <a:pt x="415" y="1059"/>
                  </a:lnTo>
                  <a:lnTo>
                    <a:pt x="416" y="1056"/>
                  </a:lnTo>
                  <a:lnTo>
                    <a:pt x="418" y="1054"/>
                  </a:lnTo>
                  <a:lnTo>
                    <a:pt x="420" y="1051"/>
                  </a:lnTo>
                  <a:lnTo>
                    <a:pt x="423" y="1044"/>
                  </a:lnTo>
                  <a:lnTo>
                    <a:pt x="432" y="1037"/>
                  </a:lnTo>
                  <a:lnTo>
                    <a:pt x="433" y="1032"/>
                  </a:lnTo>
                  <a:lnTo>
                    <a:pt x="438" y="1023"/>
                  </a:lnTo>
                  <a:lnTo>
                    <a:pt x="440" y="1022"/>
                  </a:lnTo>
                  <a:lnTo>
                    <a:pt x="444" y="1018"/>
                  </a:lnTo>
                  <a:lnTo>
                    <a:pt x="445" y="1020"/>
                  </a:lnTo>
                  <a:lnTo>
                    <a:pt x="445" y="1017"/>
                  </a:lnTo>
                  <a:lnTo>
                    <a:pt x="450" y="1012"/>
                  </a:lnTo>
                  <a:lnTo>
                    <a:pt x="454" y="1010"/>
                  </a:lnTo>
                  <a:lnTo>
                    <a:pt x="462" y="1005"/>
                  </a:lnTo>
                  <a:lnTo>
                    <a:pt x="467" y="1003"/>
                  </a:lnTo>
                  <a:lnTo>
                    <a:pt x="473" y="1001"/>
                  </a:lnTo>
                  <a:lnTo>
                    <a:pt x="481" y="998"/>
                  </a:lnTo>
                  <a:lnTo>
                    <a:pt x="485" y="998"/>
                  </a:lnTo>
                  <a:lnTo>
                    <a:pt x="493" y="996"/>
                  </a:lnTo>
                  <a:lnTo>
                    <a:pt x="502" y="996"/>
                  </a:lnTo>
                  <a:lnTo>
                    <a:pt x="510" y="993"/>
                  </a:lnTo>
                  <a:lnTo>
                    <a:pt x="517" y="993"/>
                  </a:lnTo>
                  <a:close/>
                  <a:moveTo>
                    <a:pt x="558" y="977"/>
                  </a:moveTo>
                  <a:lnTo>
                    <a:pt x="561" y="977"/>
                  </a:lnTo>
                  <a:lnTo>
                    <a:pt x="558" y="977"/>
                  </a:lnTo>
                  <a:close/>
                  <a:moveTo>
                    <a:pt x="555" y="974"/>
                  </a:moveTo>
                  <a:lnTo>
                    <a:pt x="558" y="976"/>
                  </a:lnTo>
                  <a:lnTo>
                    <a:pt x="551" y="974"/>
                  </a:lnTo>
                  <a:lnTo>
                    <a:pt x="551" y="972"/>
                  </a:lnTo>
                  <a:lnTo>
                    <a:pt x="555" y="974"/>
                  </a:lnTo>
                  <a:close/>
                  <a:moveTo>
                    <a:pt x="529" y="967"/>
                  </a:moveTo>
                  <a:lnTo>
                    <a:pt x="532" y="967"/>
                  </a:lnTo>
                  <a:lnTo>
                    <a:pt x="532" y="969"/>
                  </a:lnTo>
                  <a:lnTo>
                    <a:pt x="529" y="969"/>
                  </a:lnTo>
                  <a:lnTo>
                    <a:pt x="529" y="967"/>
                  </a:lnTo>
                  <a:close/>
                  <a:moveTo>
                    <a:pt x="525" y="969"/>
                  </a:moveTo>
                  <a:lnTo>
                    <a:pt x="522" y="969"/>
                  </a:lnTo>
                  <a:lnTo>
                    <a:pt x="520" y="964"/>
                  </a:lnTo>
                  <a:lnTo>
                    <a:pt x="527" y="967"/>
                  </a:lnTo>
                  <a:lnTo>
                    <a:pt x="527" y="969"/>
                  </a:lnTo>
                  <a:lnTo>
                    <a:pt x="525" y="969"/>
                  </a:lnTo>
                  <a:close/>
                  <a:moveTo>
                    <a:pt x="546" y="930"/>
                  </a:moveTo>
                  <a:lnTo>
                    <a:pt x="555" y="935"/>
                  </a:lnTo>
                  <a:lnTo>
                    <a:pt x="563" y="940"/>
                  </a:lnTo>
                  <a:lnTo>
                    <a:pt x="572" y="945"/>
                  </a:lnTo>
                  <a:lnTo>
                    <a:pt x="578" y="947"/>
                  </a:lnTo>
                  <a:lnTo>
                    <a:pt x="582" y="948"/>
                  </a:lnTo>
                  <a:lnTo>
                    <a:pt x="582" y="952"/>
                  </a:lnTo>
                  <a:lnTo>
                    <a:pt x="584" y="952"/>
                  </a:lnTo>
                  <a:lnTo>
                    <a:pt x="592" y="955"/>
                  </a:lnTo>
                  <a:lnTo>
                    <a:pt x="597" y="955"/>
                  </a:lnTo>
                  <a:lnTo>
                    <a:pt x="601" y="962"/>
                  </a:lnTo>
                  <a:lnTo>
                    <a:pt x="595" y="969"/>
                  </a:lnTo>
                  <a:lnTo>
                    <a:pt x="595" y="971"/>
                  </a:lnTo>
                  <a:lnTo>
                    <a:pt x="601" y="976"/>
                  </a:lnTo>
                  <a:lnTo>
                    <a:pt x="606" y="974"/>
                  </a:lnTo>
                  <a:lnTo>
                    <a:pt x="606" y="976"/>
                  </a:lnTo>
                  <a:lnTo>
                    <a:pt x="599" y="977"/>
                  </a:lnTo>
                  <a:lnTo>
                    <a:pt x="592" y="974"/>
                  </a:lnTo>
                  <a:lnTo>
                    <a:pt x="587" y="976"/>
                  </a:lnTo>
                  <a:lnTo>
                    <a:pt x="587" y="967"/>
                  </a:lnTo>
                  <a:lnTo>
                    <a:pt x="584" y="965"/>
                  </a:lnTo>
                  <a:lnTo>
                    <a:pt x="580" y="969"/>
                  </a:lnTo>
                  <a:lnTo>
                    <a:pt x="577" y="976"/>
                  </a:lnTo>
                  <a:lnTo>
                    <a:pt x="575" y="974"/>
                  </a:lnTo>
                  <a:lnTo>
                    <a:pt x="572" y="974"/>
                  </a:lnTo>
                  <a:lnTo>
                    <a:pt x="563" y="974"/>
                  </a:lnTo>
                  <a:lnTo>
                    <a:pt x="560" y="974"/>
                  </a:lnTo>
                  <a:lnTo>
                    <a:pt x="549" y="969"/>
                  </a:lnTo>
                  <a:lnTo>
                    <a:pt x="544" y="967"/>
                  </a:lnTo>
                  <a:lnTo>
                    <a:pt x="537" y="969"/>
                  </a:lnTo>
                  <a:lnTo>
                    <a:pt x="529" y="964"/>
                  </a:lnTo>
                  <a:lnTo>
                    <a:pt x="525" y="962"/>
                  </a:lnTo>
                  <a:lnTo>
                    <a:pt x="519" y="957"/>
                  </a:lnTo>
                  <a:lnTo>
                    <a:pt x="517" y="955"/>
                  </a:lnTo>
                  <a:lnTo>
                    <a:pt x="510" y="950"/>
                  </a:lnTo>
                  <a:lnTo>
                    <a:pt x="507" y="948"/>
                  </a:lnTo>
                  <a:lnTo>
                    <a:pt x="503" y="941"/>
                  </a:lnTo>
                  <a:lnTo>
                    <a:pt x="507" y="936"/>
                  </a:lnTo>
                  <a:lnTo>
                    <a:pt x="512" y="935"/>
                  </a:lnTo>
                  <a:lnTo>
                    <a:pt x="515" y="936"/>
                  </a:lnTo>
                  <a:lnTo>
                    <a:pt x="522" y="938"/>
                  </a:lnTo>
                  <a:lnTo>
                    <a:pt x="525" y="936"/>
                  </a:lnTo>
                  <a:lnTo>
                    <a:pt x="532" y="931"/>
                  </a:lnTo>
                  <a:lnTo>
                    <a:pt x="539" y="931"/>
                  </a:lnTo>
                  <a:lnTo>
                    <a:pt x="546" y="930"/>
                  </a:lnTo>
                  <a:close/>
                  <a:moveTo>
                    <a:pt x="531" y="926"/>
                  </a:moveTo>
                  <a:lnTo>
                    <a:pt x="534" y="926"/>
                  </a:lnTo>
                  <a:lnTo>
                    <a:pt x="534" y="930"/>
                  </a:lnTo>
                  <a:lnTo>
                    <a:pt x="531" y="930"/>
                  </a:lnTo>
                  <a:lnTo>
                    <a:pt x="531" y="926"/>
                  </a:lnTo>
                  <a:close/>
                  <a:moveTo>
                    <a:pt x="512" y="918"/>
                  </a:moveTo>
                  <a:lnTo>
                    <a:pt x="517" y="919"/>
                  </a:lnTo>
                  <a:lnTo>
                    <a:pt x="524" y="921"/>
                  </a:lnTo>
                  <a:lnTo>
                    <a:pt x="529" y="926"/>
                  </a:lnTo>
                  <a:lnTo>
                    <a:pt x="532" y="930"/>
                  </a:lnTo>
                  <a:lnTo>
                    <a:pt x="524" y="935"/>
                  </a:lnTo>
                  <a:lnTo>
                    <a:pt x="517" y="933"/>
                  </a:lnTo>
                  <a:lnTo>
                    <a:pt x="515" y="931"/>
                  </a:lnTo>
                  <a:lnTo>
                    <a:pt x="517" y="930"/>
                  </a:lnTo>
                  <a:lnTo>
                    <a:pt x="512" y="926"/>
                  </a:lnTo>
                  <a:lnTo>
                    <a:pt x="510" y="921"/>
                  </a:lnTo>
                  <a:lnTo>
                    <a:pt x="510" y="918"/>
                  </a:lnTo>
                  <a:lnTo>
                    <a:pt x="512" y="918"/>
                  </a:lnTo>
                  <a:close/>
                  <a:moveTo>
                    <a:pt x="536" y="916"/>
                  </a:moveTo>
                  <a:lnTo>
                    <a:pt x="534" y="923"/>
                  </a:lnTo>
                  <a:lnTo>
                    <a:pt x="536" y="924"/>
                  </a:lnTo>
                  <a:lnTo>
                    <a:pt x="541" y="926"/>
                  </a:lnTo>
                  <a:lnTo>
                    <a:pt x="546" y="924"/>
                  </a:lnTo>
                  <a:lnTo>
                    <a:pt x="549" y="926"/>
                  </a:lnTo>
                  <a:lnTo>
                    <a:pt x="549" y="928"/>
                  </a:lnTo>
                  <a:lnTo>
                    <a:pt x="546" y="928"/>
                  </a:lnTo>
                  <a:lnTo>
                    <a:pt x="537" y="930"/>
                  </a:lnTo>
                  <a:lnTo>
                    <a:pt x="536" y="928"/>
                  </a:lnTo>
                  <a:lnTo>
                    <a:pt x="531" y="923"/>
                  </a:lnTo>
                  <a:lnTo>
                    <a:pt x="527" y="919"/>
                  </a:lnTo>
                  <a:lnTo>
                    <a:pt x="517" y="916"/>
                  </a:lnTo>
                  <a:lnTo>
                    <a:pt x="517" y="906"/>
                  </a:lnTo>
                  <a:lnTo>
                    <a:pt x="520" y="904"/>
                  </a:lnTo>
                  <a:lnTo>
                    <a:pt x="524" y="907"/>
                  </a:lnTo>
                  <a:lnTo>
                    <a:pt x="531" y="911"/>
                  </a:lnTo>
                  <a:lnTo>
                    <a:pt x="534" y="914"/>
                  </a:lnTo>
                  <a:lnTo>
                    <a:pt x="536" y="916"/>
                  </a:lnTo>
                  <a:close/>
                  <a:moveTo>
                    <a:pt x="462" y="795"/>
                  </a:moveTo>
                  <a:lnTo>
                    <a:pt x="464" y="791"/>
                  </a:lnTo>
                  <a:lnTo>
                    <a:pt x="466" y="793"/>
                  </a:lnTo>
                  <a:lnTo>
                    <a:pt x="462" y="795"/>
                  </a:lnTo>
                  <a:close/>
                  <a:moveTo>
                    <a:pt x="379" y="731"/>
                  </a:moveTo>
                  <a:lnTo>
                    <a:pt x="380" y="731"/>
                  </a:lnTo>
                  <a:lnTo>
                    <a:pt x="380" y="733"/>
                  </a:lnTo>
                  <a:lnTo>
                    <a:pt x="379" y="733"/>
                  </a:lnTo>
                  <a:lnTo>
                    <a:pt x="379" y="731"/>
                  </a:lnTo>
                  <a:close/>
                  <a:moveTo>
                    <a:pt x="341" y="713"/>
                  </a:moveTo>
                  <a:lnTo>
                    <a:pt x="343" y="713"/>
                  </a:lnTo>
                  <a:lnTo>
                    <a:pt x="343" y="714"/>
                  </a:lnTo>
                  <a:lnTo>
                    <a:pt x="341" y="714"/>
                  </a:lnTo>
                  <a:lnTo>
                    <a:pt x="341" y="713"/>
                  </a:lnTo>
                  <a:close/>
                  <a:moveTo>
                    <a:pt x="382" y="707"/>
                  </a:moveTo>
                  <a:lnTo>
                    <a:pt x="384" y="707"/>
                  </a:lnTo>
                  <a:lnTo>
                    <a:pt x="384" y="709"/>
                  </a:lnTo>
                  <a:lnTo>
                    <a:pt x="382" y="709"/>
                  </a:lnTo>
                  <a:lnTo>
                    <a:pt x="382" y="707"/>
                  </a:lnTo>
                  <a:close/>
                  <a:moveTo>
                    <a:pt x="392" y="707"/>
                  </a:moveTo>
                  <a:lnTo>
                    <a:pt x="394" y="713"/>
                  </a:lnTo>
                  <a:lnTo>
                    <a:pt x="389" y="707"/>
                  </a:lnTo>
                  <a:lnTo>
                    <a:pt x="394" y="704"/>
                  </a:lnTo>
                  <a:lnTo>
                    <a:pt x="392" y="707"/>
                  </a:lnTo>
                  <a:close/>
                  <a:moveTo>
                    <a:pt x="374" y="701"/>
                  </a:moveTo>
                  <a:lnTo>
                    <a:pt x="377" y="702"/>
                  </a:lnTo>
                  <a:lnTo>
                    <a:pt x="374" y="702"/>
                  </a:lnTo>
                  <a:lnTo>
                    <a:pt x="374" y="709"/>
                  </a:lnTo>
                  <a:lnTo>
                    <a:pt x="370" y="707"/>
                  </a:lnTo>
                  <a:lnTo>
                    <a:pt x="368" y="711"/>
                  </a:lnTo>
                  <a:lnTo>
                    <a:pt x="370" y="718"/>
                  </a:lnTo>
                  <a:lnTo>
                    <a:pt x="368" y="723"/>
                  </a:lnTo>
                  <a:lnTo>
                    <a:pt x="367" y="723"/>
                  </a:lnTo>
                  <a:lnTo>
                    <a:pt x="360" y="716"/>
                  </a:lnTo>
                  <a:lnTo>
                    <a:pt x="363" y="713"/>
                  </a:lnTo>
                  <a:lnTo>
                    <a:pt x="362" y="711"/>
                  </a:lnTo>
                  <a:lnTo>
                    <a:pt x="365" y="709"/>
                  </a:lnTo>
                  <a:lnTo>
                    <a:pt x="367" y="706"/>
                  </a:lnTo>
                  <a:lnTo>
                    <a:pt x="372" y="704"/>
                  </a:lnTo>
                  <a:lnTo>
                    <a:pt x="372" y="701"/>
                  </a:lnTo>
                  <a:lnTo>
                    <a:pt x="374" y="701"/>
                  </a:lnTo>
                  <a:close/>
                  <a:moveTo>
                    <a:pt x="297" y="697"/>
                  </a:moveTo>
                  <a:lnTo>
                    <a:pt x="298" y="697"/>
                  </a:lnTo>
                  <a:lnTo>
                    <a:pt x="298" y="699"/>
                  </a:lnTo>
                  <a:lnTo>
                    <a:pt x="297" y="699"/>
                  </a:lnTo>
                  <a:lnTo>
                    <a:pt x="297" y="697"/>
                  </a:lnTo>
                  <a:close/>
                  <a:moveTo>
                    <a:pt x="327" y="694"/>
                  </a:moveTo>
                  <a:lnTo>
                    <a:pt x="329" y="694"/>
                  </a:lnTo>
                  <a:lnTo>
                    <a:pt x="327" y="694"/>
                  </a:lnTo>
                  <a:lnTo>
                    <a:pt x="329" y="696"/>
                  </a:lnTo>
                  <a:lnTo>
                    <a:pt x="327" y="697"/>
                  </a:lnTo>
                  <a:lnTo>
                    <a:pt x="326" y="696"/>
                  </a:lnTo>
                  <a:lnTo>
                    <a:pt x="327" y="694"/>
                  </a:lnTo>
                  <a:lnTo>
                    <a:pt x="326" y="692"/>
                  </a:lnTo>
                  <a:lnTo>
                    <a:pt x="327" y="692"/>
                  </a:lnTo>
                  <a:lnTo>
                    <a:pt x="327" y="694"/>
                  </a:lnTo>
                  <a:close/>
                  <a:moveTo>
                    <a:pt x="326" y="689"/>
                  </a:moveTo>
                  <a:lnTo>
                    <a:pt x="326" y="692"/>
                  </a:lnTo>
                  <a:lnTo>
                    <a:pt x="326" y="689"/>
                  </a:lnTo>
                  <a:close/>
                  <a:moveTo>
                    <a:pt x="304" y="690"/>
                  </a:moveTo>
                  <a:lnTo>
                    <a:pt x="305" y="690"/>
                  </a:lnTo>
                  <a:lnTo>
                    <a:pt x="305" y="694"/>
                  </a:lnTo>
                  <a:lnTo>
                    <a:pt x="307" y="694"/>
                  </a:lnTo>
                  <a:lnTo>
                    <a:pt x="309" y="696"/>
                  </a:lnTo>
                  <a:lnTo>
                    <a:pt x="304" y="696"/>
                  </a:lnTo>
                  <a:lnTo>
                    <a:pt x="304" y="697"/>
                  </a:lnTo>
                  <a:lnTo>
                    <a:pt x="300" y="699"/>
                  </a:lnTo>
                  <a:lnTo>
                    <a:pt x="295" y="696"/>
                  </a:lnTo>
                  <a:lnTo>
                    <a:pt x="300" y="694"/>
                  </a:lnTo>
                  <a:lnTo>
                    <a:pt x="295" y="696"/>
                  </a:lnTo>
                  <a:lnTo>
                    <a:pt x="297" y="690"/>
                  </a:lnTo>
                  <a:lnTo>
                    <a:pt x="304" y="690"/>
                  </a:lnTo>
                  <a:close/>
                  <a:moveTo>
                    <a:pt x="295" y="690"/>
                  </a:moveTo>
                  <a:lnTo>
                    <a:pt x="295" y="692"/>
                  </a:lnTo>
                  <a:lnTo>
                    <a:pt x="293" y="694"/>
                  </a:lnTo>
                  <a:lnTo>
                    <a:pt x="292" y="692"/>
                  </a:lnTo>
                  <a:lnTo>
                    <a:pt x="293" y="689"/>
                  </a:lnTo>
                  <a:lnTo>
                    <a:pt x="295" y="690"/>
                  </a:lnTo>
                  <a:close/>
                  <a:moveTo>
                    <a:pt x="281" y="692"/>
                  </a:moveTo>
                  <a:lnTo>
                    <a:pt x="278" y="689"/>
                  </a:lnTo>
                  <a:lnTo>
                    <a:pt x="281" y="687"/>
                  </a:lnTo>
                  <a:lnTo>
                    <a:pt x="281" y="692"/>
                  </a:lnTo>
                  <a:close/>
                  <a:moveTo>
                    <a:pt x="152" y="479"/>
                  </a:moveTo>
                  <a:lnTo>
                    <a:pt x="153" y="479"/>
                  </a:lnTo>
                  <a:lnTo>
                    <a:pt x="153" y="480"/>
                  </a:lnTo>
                  <a:lnTo>
                    <a:pt x="150" y="480"/>
                  </a:lnTo>
                  <a:lnTo>
                    <a:pt x="152" y="479"/>
                  </a:lnTo>
                  <a:close/>
                  <a:moveTo>
                    <a:pt x="155" y="479"/>
                  </a:moveTo>
                  <a:lnTo>
                    <a:pt x="157" y="479"/>
                  </a:lnTo>
                  <a:lnTo>
                    <a:pt x="157" y="482"/>
                  </a:lnTo>
                  <a:lnTo>
                    <a:pt x="155" y="482"/>
                  </a:lnTo>
                  <a:lnTo>
                    <a:pt x="155" y="479"/>
                  </a:lnTo>
                  <a:close/>
                  <a:moveTo>
                    <a:pt x="63" y="474"/>
                  </a:moveTo>
                  <a:lnTo>
                    <a:pt x="63" y="475"/>
                  </a:lnTo>
                  <a:lnTo>
                    <a:pt x="63" y="474"/>
                  </a:lnTo>
                  <a:close/>
                  <a:moveTo>
                    <a:pt x="176" y="463"/>
                  </a:moveTo>
                  <a:lnTo>
                    <a:pt x="179" y="463"/>
                  </a:lnTo>
                  <a:lnTo>
                    <a:pt x="177" y="463"/>
                  </a:lnTo>
                  <a:lnTo>
                    <a:pt x="172" y="465"/>
                  </a:lnTo>
                  <a:lnTo>
                    <a:pt x="174" y="467"/>
                  </a:lnTo>
                  <a:lnTo>
                    <a:pt x="170" y="468"/>
                  </a:lnTo>
                  <a:lnTo>
                    <a:pt x="167" y="467"/>
                  </a:lnTo>
                  <a:lnTo>
                    <a:pt x="170" y="463"/>
                  </a:lnTo>
                  <a:lnTo>
                    <a:pt x="176" y="463"/>
                  </a:lnTo>
                  <a:close/>
                  <a:moveTo>
                    <a:pt x="170" y="460"/>
                  </a:moveTo>
                  <a:lnTo>
                    <a:pt x="169" y="462"/>
                  </a:lnTo>
                  <a:lnTo>
                    <a:pt x="164" y="463"/>
                  </a:lnTo>
                  <a:lnTo>
                    <a:pt x="170" y="460"/>
                  </a:lnTo>
                  <a:close/>
                  <a:moveTo>
                    <a:pt x="61" y="433"/>
                  </a:moveTo>
                  <a:lnTo>
                    <a:pt x="66" y="434"/>
                  </a:lnTo>
                  <a:lnTo>
                    <a:pt x="63" y="438"/>
                  </a:lnTo>
                  <a:lnTo>
                    <a:pt x="59" y="436"/>
                  </a:lnTo>
                  <a:lnTo>
                    <a:pt x="59" y="433"/>
                  </a:lnTo>
                  <a:lnTo>
                    <a:pt x="61" y="433"/>
                  </a:lnTo>
                  <a:close/>
                  <a:moveTo>
                    <a:pt x="232" y="376"/>
                  </a:moveTo>
                  <a:lnTo>
                    <a:pt x="235" y="376"/>
                  </a:lnTo>
                  <a:lnTo>
                    <a:pt x="235" y="378"/>
                  </a:lnTo>
                  <a:lnTo>
                    <a:pt x="232" y="378"/>
                  </a:lnTo>
                  <a:lnTo>
                    <a:pt x="232" y="376"/>
                  </a:lnTo>
                  <a:close/>
                  <a:moveTo>
                    <a:pt x="346" y="357"/>
                  </a:moveTo>
                  <a:lnTo>
                    <a:pt x="350" y="357"/>
                  </a:lnTo>
                  <a:lnTo>
                    <a:pt x="350" y="359"/>
                  </a:lnTo>
                  <a:lnTo>
                    <a:pt x="346" y="359"/>
                  </a:lnTo>
                  <a:lnTo>
                    <a:pt x="346" y="357"/>
                  </a:lnTo>
                  <a:close/>
                  <a:moveTo>
                    <a:pt x="343" y="351"/>
                  </a:moveTo>
                  <a:lnTo>
                    <a:pt x="346" y="351"/>
                  </a:lnTo>
                  <a:lnTo>
                    <a:pt x="346" y="352"/>
                  </a:lnTo>
                  <a:lnTo>
                    <a:pt x="343" y="352"/>
                  </a:lnTo>
                  <a:lnTo>
                    <a:pt x="343" y="351"/>
                  </a:lnTo>
                  <a:close/>
                  <a:moveTo>
                    <a:pt x="346" y="347"/>
                  </a:moveTo>
                  <a:lnTo>
                    <a:pt x="348" y="347"/>
                  </a:lnTo>
                  <a:lnTo>
                    <a:pt x="348" y="349"/>
                  </a:lnTo>
                  <a:lnTo>
                    <a:pt x="346" y="349"/>
                  </a:lnTo>
                  <a:lnTo>
                    <a:pt x="346" y="347"/>
                  </a:lnTo>
                  <a:close/>
                  <a:moveTo>
                    <a:pt x="249" y="339"/>
                  </a:moveTo>
                  <a:lnTo>
                    <a:pt x="252" y="339"/>
                  </a:lnTo>
                  <a:lnTo>
                    <a:pt x="252" y="340"/>
                  </a:lnTo>
                  <a:lnTo>
                    <a:pt x="249" y="340"/>
                  </a:lnTo>
                  <a:lnTo>
                    <a:pt x="249" y="339"/>
                  </a:lnTo>
                  <a:close/>
                  <a:moveTo>
                    <a:pt x="242" y="339"/>
                  </a:moveTo>
                  <a:lnTo>
                    <a:pt x="244" y="340"/>
                  </a:lnTo>
                  <a:lnTo>
                    <a:pt x="246" y="339"/>
                  </a:lnTo>
                  <a:lnTo>
                    <a:pt x="246" y="345"/>
                  </a:lnTo>
                  <a:lnTo>
                    <a:pt x="242" y="342"/>
                  </a:lnTo>
                  <a:lnTo>
                    <a:pt x="244" y="342"/>
                  </a:lnTo>
                  <a:lnTo>
                    <a:pt x="242" y="339"/>
                  </a:lnTo>
                  <a:close/>
                  <a:moveTo>
                    <a:pt x="237" y="337"/>
                  </a:moveTo>
                  <a:lnTo>
                    <a:pt x="239" y="339"/>
                  </a:lnTo>
                  <a:lnTo>
                    <a:pt x="239" y="342"/>
                  </a:lnTo>
                  <a:lnTo>
                    <a:pt x="237" y="337"/>
                  </a:lnTo>
                  <a:close/>
                  <a:moveTo>
                    <a:pt x="351" y="337"/>
                  </a:moveTo>
                  <a:lnTo>
                    <a:pt x="353" y="339"/>
                  </a:lnTo>
                  <a:lnTo>
                    <a:pt x="348" y="342"/>
                  </a:lnTo>
                  <a:lnTo>
                    <a:pt x="345" y="340"/>
                  </a:lnTo>
                  <a:lnTo>
                    <a:pt x="345" y="344"/>
                  </a:lnTo>
                  <a:lnTo>
                    <a:pt x="343" y="342"/>
                  </a:lnTo>
                  <a:lnTo>
                    <a:pt x="343" y="335"/>
                  </a:lnTo>
                  <a:lnTo>
                    <a:pt x="348" y="337"/>
                  </a:lnTo>
                  <a:lnTo>
                    <a:pt x="350" y="335"/>
                  </a:lnTo>
                  <a:lnTo>
                    <a:pt x="351" y="337"/>
                  </a:lnTo>
                  <a:close/>
                  <a:moveTo>
                    <a:pt x="334" y="337"/>
                  </a:moveTo>
                  <a:lnTo>
                    <a:pt x="333" y="333"/>
                  </a:lnTo>
                  <a:lnTo>
                    <a:pt x="336" y="335"/>
                  </a:lnTo>
                  <a:lnTo>
                    <a:pt x="334" y="337"/>
                  </a:lnTo>
                  <a:close/>
                  <a:moveTo>
                    <a:pt x="326" y="330"/>
                  </a:moveTo>
                  <a:lnTo>
                    <a:pt x="329" y="335"/>
                  </a:lnTo>
                  <a:lnTo>
                    <a:pt x="322" y="332"/>
                  </a:lnTo>
                  <a:lnTo>
                    <a:pt x="317" y="330"/>
                  </a:lnTo>
                  <a:lnTo>
                    <a:pt x="326" y="330"/>
                  </a:lnTo>
                  <a:close/>
                  <a:moveTo>
                    <a:pt x="343" y="327"/>
                  </a:moveTo>
                  <a:lnTo>
                    <a:pt x="346" y="332"/>
                  </a:lnTo>
                  <a:lnTo>
                    <a:pt x="346" y="333"/>
                  </a:lnTo>
                  <a:lnTo>
                    <a:pt x="348" y="337"/>
                  </a:lnTo>
                  <a:lnTo>
                    <a:pt x="339" y="333"/>
                  </a:lnTo>
                  <a:lnTo>
                    <a:pt x="341" y="328"/>
                  </a:lnTo>
                  <a:lnTo>
                    <a:pt x="343" y="327"/>
                  </a:lnTo>
                  <a:close/>
                  <a:moveTo>
                    <a:pt x="181" y="325"/>
                  </a:moveTo>
                  <a:lnTo>
                    <a:pt x="182" y="327"/>
                  </a:lnTo>
                  <a:lnTo>
                    <a:pt x="179" y="328"/>
                  </a:lnTo>
                  <a:lnTo>
                    <a:pt x="179" y="327"/>
                  </a:lnTo>
                  <a:lnTo>
                    <a:pt x="181" y="325"/>
                  </a:lnTo>
                  <a:close/>
                  <a:moveTo>
                    <a:pt x="339" y="323"/>
                  </a:moveTo>
                  <a:lnTo>
                    <a:pt x="343" y="327"/>
                  </a:lnTo>
                  <a:lnTo>
                    <a:pt x="339" y="328"/>
                  </a:lnTo>
                  <a:lnTo>
                    <a:pt x="339" y="332"/>
                  </a:lnTo>
                  <a:lnTo>
                    <a:pt x="339" y="333"/>
                  </a:lnTo>
                  <a:lnTo>
                    <a:pt x="343" y="335"/>
                  </a:lnTo>
                  <a:lnTo>
                    <a:pt x="341" y="342"/>
                  </a:lnTo>
                  <a:lnTo>
                    <a:pt x="339" y="339"/>
                  </a:lnTo>
                  <a:lnTo>
                    <a:pt x="338" y="337"/>
                  </a:lnTo>
                  <a:lnTo>
                    <a:pt x="338" y="335"/>
                  </a:lnTo>
                  <a:lnTo>
                    <a:pt x="333" y="332"/>
                  </a:lnTo>
                  <a:lnTo>
                    <a:pt x="334" y="325"/>
                  </a:lnTo>
                  <a:lnTo>
                    <a:pt x="339" y="323"/>
                  </a:lnTo>
                  <a:close/>
                  <a:moveTo>
                    <a:pt x="176" y="321"/>
                  </a:moveTo>
                  <a:lnTo>
                    <a:pt x="177" y="321"/>
                  </a:lnTo>
                  <a:lnTo>
                    <a:pt x="177" y="323"/>
                  </a:lnTo>
                  <a:lnTo>
                    <a:pt x="176" y="323"/>
                  </a:lnTo>
                  <a:lnTo>
                    <a:pt x="176" y="321"/>
                  </a:lnTo>
                  <a:close/>
                  <a:moveTo>
                    <a:pt x="177" y="320"/>
                  </a:moveTo>
                  <a:lnTo>
                    <a:pt x="181" y="320"/>
                  </a:lnTo>
                  <a:lnTo>
                    <a:pt x="177" y="320"/>
                  </a:lnTo>
                  <a:close/>
                  <a:moveTo>
                    <a:pt x="537" y="315"/>
                  </a:moveTo>
                  <a:lnTo>
                    <a:pt x="537" y="311"/>
                  </a:lnTo>
                  <a:lnTo>
                    <a:pt x="537" y="310"/>
                  </a:lnTo>
                  <a:lnTo>
                    <a:pt x="537" y="315"/>
                  </a:lnTo>
                  <a:close/>
                  <a:moveTo>
                    <a:pt x="140" y="303"/>
                  </a:moveTo>
                  <a:lnTo>
                    <a:pt x="148" y="304"/>
                  </a:lnTo>
                  <a:lnTo>
                    <a:pt x="153" y="303"/>
                  </a:lnTo>
                  <a:lnTo>
                    <a:pt x="158" y="306"/>
                  </a:lnTo>
                  <a:lnTo>
                    <a:pt x="165" y="304"/>
                  </a:lnTo>
                  <a:lnTo>
                    <a:pt x="165" y="306"/>
                  </a:lnTo>
                  <a:lnTo>
                    <a:pt x="167" y="304"/>
                  </a:lnTo>
                  <a:lnTo>
                    <a:pt x="170" y="306"/>
                  </a:lnTo>
                  <a:lnTo>
                    <a:pt x="177" y="306"/>
                  </a:lnTo>
                  <a:lnTo>
                    <a:pt x="182" y="308"/>
                  </a:lnTo>
                  <a:lnTo>
                    <a:pt x="184" y="306"/>
                  </a:lnTo>
                  <a:lnTo>
                    <a:pt x="184" y="310"/>
                  </a:lnTo>
                  <a:lnTo>
                    <a:pt x="186" y="310"/>
                  </a:lnTo>
                  <a:lnTo>
                    <a:pt x="191" y="306"/>
                  </a:lnTo>
                  <a:lnTo>
                    <a:pt x="198" y="308"/>
                  </a:lnTo>
                  <a:lnTo>
                    <a:pt x="199" y="308"/>
                  </a:lnTo>
                  <a:lnTo>
                    <a:pt x="205" y="308"/>
                  </a:lnTo>
                  <a:lnTo>
                    <a:pt x="210" y="310"/>
                  </a:lnTo>
                  <a:lnTo>
                    <a:pt x="213" y="308"/>
                  </a:lnTo>
                  <a:lnTo>
                    <a:pt x="220" y="308"/>
                  </a:lnTo>
                  <a:lnTo>
                    <a:pt x="225" y="310"/>
                  </a:lnTo>
                  <a:lnTo>
                    <a:pt x="227" y="308"/>
                  </a:lnTo>
                  <a:lnTo>
                    <a:pt x="230" y="311"/>
                  </a:lnTo>
                  <a:lnTo>
                    <a:pt x="237" y="311"/>
                  </a:lnTo>
                  <a:lnTo>
                    <a:pt x="242" y="315"/>
                  </a:lnTo>
                  <a:lnTo>
                    <a:pt x="247" y="316"/>
                  </a:lnTo>
                  <a:lnTo>
                    <a:pt x="252" y="316"/>
                  </a:lnTo>
                  <a:lnTo>
                    <a:pt x="256" y="315"/>
                  </a:lnTo>
                  <a:lnTo>
                    <a:pt x="263" y="315"/>
                  </a:lnTo>
                  <a:lnTo>
                    <a:pt x="264" y="316"/>
                  </a:lnTo>
                  <a:lnTo>
                    <a:pt x="273" y="318"/>
                  </a:lnTo>
                  <a:lnTo>
                    <a:pt x="283" y="318"/>
                  </a:lnTo>
                  <a:lnTo>
                    <a:pt x="288" y="318"/>
                  </a:lnTo>
                  <a:lnTo>
                    <a:pt x="295" y="320"/>
                  </a:lnTo>
                  <a:lnTo>
                    <a:pt x="297" y="318"/>
                  </a:lnTo>
                  <a:lnTo>
                    <a:pt x="305" y="323"/>
                  </a:lnTo>
                  <a:lnTo>
                    <a:pt x="309" y="323"/>
                  </a:lnTo>
                  <a:lnTo>
                    <a:pt x="310" y="325"/>
                  </a:lnTo>
                  <a:lnTo>
                    <a:pt x="307" y="327"/>
                  </a:lnTo>
                  <a:lnTo>
                    <a:pt x="304" y="330"/>
                  </a:lnTo>
                  <a:lnTo>
                    <a:pt x="298" y="328"/>
                  </a:lnTo>
                  <a:lnTo>
                    <a:pt x="293" y="330"/>
                  </a:lnTo>
                  <a:lnTo>
                    <a:pt x="288" y="328"/>
                  </a:lnTo>
                  <a:lnTo>
                    <a:pt x="287" y="328"/>
                  </a:lnTo>
                  <a:lnTo>
                    <a:pt x="288" y="330"/>
                  </a:lnTo>
                  <a:lnTo>
                    <a:pt x="288" y="332"/>
                  </a:lnTo>
                  <a:lnTo>
                    <a:pt x="285" y="330"/>
                  </a:lnTo>
                  <a:lnTo>
                    <a:pt x="278" y="335"/>
                  </a:lnTo>
                  <a:lnTo>
                    <a:pt x="276" y="333"/>
                  </a:lnTo>
                  <a:lnTo>
                    <a:pt x="268" y="335"/>
                  </a:lnTo>
                  <a:lnTo>
                    <a:pt x="263" y="332"/>
                  </a:lnTo>
                  <a:lnTo>
                    <a:pt x="268" y="337"/>
                  </a:lnTo>
                  <a:lnTo>
                    <a:pt x="268" y="339"/>
                  </a:lnTo>
                  <a:lnTo>
                    <a:pt x="263" y="335"/>
                  </a:lnTo>
                  <a:lnTo>
                    <a:pt x="259" y="337"/>
                  </a:lnTo>
                  <a:lnTo>
                    <a:pt x="259" y="339"/>
                  </a:lnTo>
                  <a:lnTo>
                    <a:pt x="252" y="335"/>
                  </a:lnTo>
                  <a:lnTo>
                    <a:pt x="251" y="337"/>
                  </a:lnTo>
                  <a:lnTo>
                    <a:pt x="244" y="333"/>
                  </a:lnTo>
                  <a:lnTo>
                    <a:pt x="235" y="337"/>
                  </a:lnTo>
                  <a:lnTo>
                    <a:pt x="234" y="340"/>
                  </a:lnTo>
                  <a:lnTo>
                    <a:pt x="232" y="337"/>
                  </a:lnTo>
                  <a:lnTo>
                    <a:pt x="230" y="339"/>
                  </a:lnTo>
                  <a:lnTo>
                    <a:pt x="230" y="335"/>
                  </a:lnTo>
                  <a:lnTo>
                    <a:pt x="228" y="335"/>
                  </a:lnTo>
                  <a:lnTo>
                    <a:pt x="227" y="333"/>
                  </a:lnTo>
                  <a:lnTo>
                    <a:pt x="223" y="335"/>
                  </a:lnTo>
                  <a:lnTo>
                    <a:pt x="220" y="333"/>
                  </a:lnTo>
                  <a:lnTo>
                    <a:pt x="211" y="332"/>
                  </a:lnTo>
                  <a:lnTo>
                    <a:pt x="206" y="328"/>
                  </a:lnTo>
                  <a:lnTo>
                    <a:pt x="199" y="328"/>
                  </a:lnTo>
                  <a:lnTo>
                    <a:pt x="199" y="327"/>
                  </a:lnTo>
                  <a:lnTo>
                    <a:pt x="196" y="325"/>
                  </a:lnTo>
                  <a:lnTo>
                    <a:pt x="193" y="321"/>
                  </a:lnTo>
                  <a:lnTo>
                    <a:pt x="191" y="321"/>
                  </a:lnTo>
                  <a:lnTo>
                    <a:pt x="193" y="323"/>
                  </a:lnTo>
                  <a:lnTo>
                    <a:pt x="191" y="325"/>
                  </a:lnTo>
                  <a:lnTo>
                    <a:pt x="187" y="320"/>
                  </a:lnTo>
                  <a:lnTo>
                    <a:pt x="186" y="320"/>
                  </a:lnTo>
                  <a:lnTo>
                    <a:pt x="187" y="321"/>
                  </a:lnTo>
                  <a:lnTo>
                    <a:pt x="184" y="320"/>
                  </a:lnTo>
                  <a:lnTo>
                    <a:pt x="182" y="321"/>
                  </a:lnTo>
                  <a:lnTo>
                    <a:pt x="182" y="318"/>
                  </a:lnTo>
                  <a:lnTo>
                    <a:pt x="174" y="320"/>
                  </a:lnTo>
                  <a:lnTo>
                    <a:pt x="177" y="316"/>
                  </a:lnTo>
                  <a:lnTo>
                    <a:pt x="174" y="315"/>
                  </a:lnTo>
                  <a:lnTo>
                    <a:pt x="174" y="316"/>
                  </a:lnTo>
                  <a:lnTo>
                    <a:pt x="170" y="313"/>
                  </a:lnTo>
                  <a:lnTo>
                    <a:pt x="164" y="315"/>
                  </a:lnTo>
                  <a:lnTo>
                    <a:pt x="164" y="313"/>
                  </a:lnTo>
                  <a:lnTo>
                    <a:pt x="160" y="313"/>
                  </a:lnTo>
                  <a:lnTo>
                    <a:pt x="162" y="313"/>
                  </a:lnTo>
                  <a:lnTo>
                    <a:pt x="157" y="315"/>
                  </a:lnTo>
                  <a:lnTo>
                    <a:pt x="157" y="313"/>
                  </a:lnTo>
                  <a:lnTo>
                    <a:pt x="152" y="313"/>
                  </a:lnTo>
                  <a:lnTo>
                    <a:pt x="150" y="310"/>
                  </a:lnTo>
                  <a:lnTo>
                    <a:pt x="145" y="313"/>
                  </a:lnTo>
                  <a:lnTo>
                    <a:pt x="145" y="310"/>
                  </a:lnTo>
                  <a:lnTo>
                    <a:pt x="145" y="313"/>
                  </a:lnTo>
                  <a:lnTo>
                    <a:pt x="140" y="311"/>
                  </a:lnTo>
                  <a:lnTo>
                    <a:pt x="140" y="306"/>
                  </a:lnTo>
                  <a:lnTo>
                    <a:pt x="136" y="308"/>
                  </a:lnTo>
                  <a:lnTo>
                    <a:pt x="136" y="304"/>
                  </a:lnTo>
                  <a:lnTo>
                    <a:pt x="133" y="303"/>
                  </a:lnTo>
                  <a:lnTo>
                    <a:pt x="140" y="303"/>
                  </a:lnTo>
                  <a:close/>
                  <a:moveTo>
                    <a:pt x="532" y="303"/>
                  </a:moveTo>
                  <a:lnTo>
                    <a:pt x="532" y="306"/>
                  </a:lnTo>
                  <a:lnTo>
                    <a:pt x="529" y="304"/>
                  </a:lnTo>
                  <a:lnTo>
                    <a:pt x="529" y="299"/>
                  </a:lnTo>
                  <a:lnTo>
                    <a:pt x="532" y="303"/>
                  </a:lnTo>
                  <a:close/>
                  <a:moveTo>
                    <a:pt x="97" y="286"/>
                  </a:moveTo>
                  <a:lnTo>
                    <a:pt x="102" y="289"/>
                  </a:lnTo>
                  <a:lnTo>
                    <a:pt x="104" y="287"/>
                  </a:lnTo>
                  <a:lnTo>
                    <a:pt x="106" y="289"/>
                  </a:lnTo>
                  <a:lnTo>
                    <a:pt x="109" y="287"/>
                  </a:lnTo>
                  <a:lnTo>
                    <a:pt x="107" y="291"/>
                  </a:lnTo>
                  <a:lnTo>
                    <a:pt x="111" y="291"/>
                  </a:lnTo>
                  <a:lnTo>
                    <a:pt x="112" y="289"/>
                  </a:lnTo>
                  <a:lnTo>
                    <a:pt x="114" y="292"/>
                  </a:lnTo>
                  <a:lnTo>
                    <a:pt x="114" y="287"/>
                  </a:lnTo>
                  <a:lnTo>
                    <a:pt x="116" y="289"/>
                  </a:lnTo>
                  <a:lnTo>
                    <a:pt x="119" y="287"/>
                  </a:lnTo>
                  <a:lnTo>
                    <a:pt x="121" y="289"/>
                  </a:lnTo>
                  <a:lnTo>
                    <a:pt x="124" y="287"/>
                  </a:lnTo>
                  <a:lnTo>
                    <a:pt x="123" y="291"/>
                  </a:lnTo>
                  <a:lnTo>
                    <a:pt x="119" y="292"/>
                  </a:lnTo>
                  <a:lnTo>
                    <a:pt x="112" y="294"/>
                  </a:lnTo>
                  <a:lnTo>
                    <a:pt x="111" y="292"/>
                  </a:lnTo>
                  <a:lnTo>
                    <a:pt x="107" y="294"/>
                  </a:lnTo>
                  <a:lnTo>
                    <a:pt x="104" y="291"/>
                  </a:lnTo>
                  <a:lnTo>
                    <a:pt x="104" y="292"/>
                  </a:lnTo>
                  <a:lnTo>
                    <a:pt x="97" y="291"/>
                  </a:lnTo>
                  <a:lnTo>
                    <a:pt x="95" y="291"/>
                  </a:lnTo>
                  <a:lnTo>
                    <a:pt x="95" y="289"/>
                  </a:lnTo>
                  <a:lnTo>
                    <a:pt x="97" y="286"/>
                  </a:lnTo>
                  <a:close/>
                  <a:moveTo>
                    <a:pt x="51" y="614"/>
                  </a:moveTo>
                  <a:lnTo>
                    <a:pt x="59" y="612"/>
                  </a:lnTo>
                  <a:lnTo>
                    <a:pt x="63" y="603"/>
                  </a:lnTo>
                  <a:lnTo>
                    <a:pt x="68" y="602"/>
                  </a:lnTo>
                  <a:lnTo>
                    <a:pt x="73" y="600"/>
                  </a:lnTo>
                  <a:lnTo>
                    <a:pt x="75" y="600"/>
                  </a:lnTo>
                  <a:lnTo>
                    <a:pt x="75" y="596"/>
                  </a:lnTo>
                  <a:lnTo>
                    <a:pt x="71" y="595"/>
                  </a:lnTo>
                  <a:lnTo>
                    <a:pt x="80" y="595"/>
                  </a:lnTo>
                  <a:lnTo>
                    <a:pt x="80" y="593"/>
                  </a:lnTo>
                  <a:lnTo>
                    <a:pt x="85" y="591"/>
                  </a:lnTo>
                  <a:lnTo>
                    <a:pt x="87" y="588"/>
                  </a:lnTo>
                  <a:lnTo>
                    <a:pt x="87" y="595"/>
                  </a:lnTo>
                  <a:lnTo>
                    <a:pt x="90" y="590"/>
                  </a:lnTo>
                  <a:lnTo>
                    <a:pt x="94" y="586"/>
                  </a:lnTo>
                  <a:lnTo>
                    <a:pt x="102" y="573"/>
                  </a:lnTo>
                  <a:lnTo>
                    <a:pt x="106" y="567"/>
                  </a:lnTo>
                  <a:lnTo>
                    <a:pt x="112" y="561"/>
                  </a:lnTo>
                  <a:lnTo>
                    <a:pt x="99" y="555"/>
                  </a:lnTo>
                  <a:lnTo>
                    <a:pt x="90" y="552"/>
                  </a:lnTo>
                  <a:lnTo>
                    <a:pt x="80" y="549"/>
                  </a:lnTo>
                  <a:lnTo>
                    <a:pt x="61" y="544"/>
                  </a:lnTo>
                  <a:lnTo>
                    <a:pt x="39" y="535"/>
                  </a:lnTo>
                  <a:lnTo>
                    <a:pt x="49" y="520"/>
                  </a:lnTo>
                  <a:lnTo>
                    <a:pt x="49" y="514"/>
                  </a:lnTo>
                  <a:lnTo>
                    <a:pt x="46" y="511"/>
                  </a:lnTo>
                  <a:lnTo>
                    <a:pt x="41" y="451"/>
                  </a:lnTo>
                  <a:lnTo>
                    <a:pt x="34" y="409"/>
                  </a:lnTo>
                  <a:lnTo>
                    <a:pt x="37" y="409"/>
                  </a:lnTo>
                  <a:lnTo>
                    <a:pt x="39" y="407"/>
                  </a:lnTo>
                  <a:lnTo>
                    <a:pt x="41" y="414"/>
                  </a:lnTo>
                  <a:lnTo>
                    <a:pt x="42" y="424"/>
                  </a:lnTo>
                  <a:lnTo>
                    <a:pt x="41" y="431"/>
                  </a:lnTo>
                  <a:lnTo>
                    <a:pt x="42" y="441"/>
                  </a:lnTo>
                  <a:lnTo>
                    <a:pt x="41" y="443"/>
                  </a:lnTo>
                  <a:lnTo>
                    <a:pt x="42" y="446"/>
                  </a:lnTo>
                  <a:lnTo>
                    <a:pt x="42" y="450"/>
                  </a:lnTo>
                  <a:lnTo>
                    <a:pt x="42" y="453"/>
                  </a:lnTo>
                  <a:lnTo>
                    <a:pt x="46" y="458"/>
                  </a:lnTo>
                  <a:lnTo>
                    <a:pt x="44" y="460"/>
                  </a:lnTo>
                  <a:lnTo>
                    <a:pt x="46" y="462"/>
                  </a:lnTo>
                  <a:lnTo>
                    <a:pt x="46" y="467"/>
                  </a:lnTo>
                  <a:lnTo>
                    <a:pt x="54" y="468"/>
                  </a:lnTo>
                  <a:lnTo>
                    <a:pt x="56" y="463"/>
                  </a:lnTo>
                  <a:lnTo>
                    <a:pt x="58" y="465"/>
                  </a:lnTo>
                  <a:lnTo>
                    <a:pt x="61" y="463"/>
                  </a:lnTo>
                  <a:lnTo>
                    <a:pt x="59" y="462"/>
                  </a:lnTo>
                  <a:lnTo>
                    <a:pt x="59" y="460"/>
                  </a:lnTo>
                  <a:lnTo>
                    <a:pt x="63" y="460"/>
                  </a:lnTo>
                  <a:lnTo>
                    <a:pt x="61" y="455"/>
                  </a:lnTo>
                  <a:lnTo>
                    <a:pt x="63" y="456"/>
                  </a:lnTo>
                  <a:lnTo>
                    <a:pt x="65" y="456"/>
                  </a:lnTo>
                  <a:lnTo>
                    <a:pt x="65" y="465"/>
                  </a:lnTo>
                  <a:lnTo>
                    <a:pt x="63" y="465"/>
                  </a:lnTo>
                  <a:lnTo>
                    <a:pt x="65" y="470"/>
                  </a:lnTo>
                  <a:lnTo>
                    <a:pt x="61" y="472"/>
                  </a:lnTo>
                  <a:lnTo>
                    <a:pt x="59" y="475"/>
                  </a:lnTo>
                  <a:lnTo>
                    <a:pt x="59" y="477"/>
                  </a:lnTo>
                  <a:lnTo>
                    <a:pt x="63" y="482"/>
                  </a:lnTo>
                  <a:lnTo>
                    <a:pt x="59" y="480"/>
                  </a:lnTo>
                  <a:lnTo>
                    <a:pt x="59" y="484"/>
                  </a:lnTo>
                  <a:lnTo>
                    <a:pt x="58" y="485"/>
                  </a:lnTo>
                  <a:lnTo>
                    <a:pt x="63" y="485"/>
                  </a:lnTo>
                  <a:lnTo>
                    <a:pt x="66" y="489"/>
                  </a:lnTo>
                  <a:lnTo>
                    <a:pt x="65" y="494"/>
                  </a:lnTo>
                  <a:lnTo>
                    <a:pt x="66" y="497"/>
                  </a:lnTo>
                  <a:lnTo>
                    <a:pt x="66" y="494"/>
                  </a:lnTo>
                  <a:lnTo>
                    <a:pt x="68" y="497"/>
                  </a:lnTo>
                  <a:lnTo>
                    <a:pt x="66" y="499"/>
                  </a:lnTo>
                  <a:lnTo>
                    <a:pt x="75" y="503"/>
                  </a:lnTo>
                  <a:lnTo>
                    <a:pt x="71" y="499"/>
                  </a:lnTo>
                  <a:lnTo>
                    <a:pt x="77" y="499"/>
                  </a:lnTo>
                  <a:lnTo>
                    <a:pt x="77" y="497"/>
                  </a:lnTo>
                  <a:lnTo>
                    <a:pt x="78" y="497"/>
                  </a:lnTo>
                  <a:lnTo>
                    <a:pt x="78" y="499"/>
                  </a:lnTo>
                  <a:lnTo>
                    <a:pt x="77" y="499"/>
                  </a:lnTo>
                  <a:lnTo>
                    <a:pt x="75" y="504"/>
                  </a:lnTo>
                  <a:lnTo>
                    <a:pt x="78" y="508"/>
                  </a:lnTo>
                  <a:lnTo>
                    <a:pt x="83" y="511"/>
                  </a:lnTo>
                  <a:lnTo>
                    <a:pt x="90" y="509"/>
                  </a:lnTo>
                  <a:lnTo>
                    <a:pt x="95" y="516"/>
                  </a:lnTo>
                  <a:lnTo>
                    <a:pt x="100" y="514"/>
                  </a:lnTo>
                  <a:lnTo>
                    <a:pt x="111" y="514"/>
                  </a:lnTo>
                  <a:lnTo>
                    <a:pt x="119" y="516"/>
                  </a:lnTo>
                  <a:lnTo>
                    <a:pt x="123" y="518"/>
                  </a:lnTo>
                  <a:lnTo>
                    <a:pt x="133" y="514"/>
                  </a:lnTo>
                  <a:lnTo>
                    <a:pt x="138" y="514"/>
                  </a:lnTo>
                  <a:lnTo>
                    <a:pt x="141" y="513"/>
                  </a:lnTo>
                  <a:lnTo>
                    <a:pt x="148" y="506"/>
                  </a:lnTo>
                  <a:lnTo>
                    <a:pt x="148" y="501"/>
                  </a:lnTo>
                  <a:lnTo>
                    <a:pt x="152" y="499"/>
                  </a:lnTo>
                  <a:lnTo>
                    <a:pt x="153" y="494"/>
                  </a:lnTo>
                  <a:lnTo>
                    <a:pt x="155" y="492"/>
                  </a:lnTo>
                  <a:lnTo>
                    <a:pt x="165" y="489"/>
                  </a:lnTo>
                  <a:lnTo>
                    <a:pt x="174" y="482"/>
                  </a:lnTo>
                  <a:lnTo>
                    <a:pt x="174" y="484"/>
                  </a:lnTo>
                  <a:lnTo>
                    <a:pt x="177" y="484"/>
                  </a:lnTo>
                  <a:lnTo>
                    <a:pt x="170" y="479"/>
                  </a:lnTo>
                  <a:lnTo>
                    <a:pt x="170" y="477"/>
                  </a:lnTo>
                  <a:lnTo>
                    <a:pt x="174" y="475"/>
                  </a:lnTo>
                  <a:lnTo>
                    <a:pt x="176" y="477"/>
                  </a:lnTo>
                  <a:lnTo>
                    <a:pt x="176" y="475"/>
                  </a:lnTo>
                  <a:lnTo>
                    <a:pt x="177" y="474"/>
                  </a:lnTo>
                  <a:lnTo>
                    <a:pt x="176" y="477"/>
                  </a:lnTo>
                  <a:lnTo>
                    <a:pt x="177" y="477"/>
                  </a:lnTo>
                  <a:lnTo>
                    <a:pt x="182" y="474"/>
                  </a:lnTo>
                  <a:lnTo>
                    <a:pt x="181" y="472"/>
                  </a:lnTo>
                  <a:lnTo>
                    <a:pt x="187" y="468"/>
                  </a:lnTo>
                  <a:lnTo>
                    <a:pt x="189" y="467"/>
                  </a:lnTo>
                  <a:lnTo>
                    <a:pt x="191" y="467"/>
                  </a:lnTo>
                  <a:lnTo>
                    <a:pt x="194" y="463"/>
                  </a:lnTo>
                  <a:lnTo>
                    <a:pt x="196" y="465"/>
                  </a:lnTo>
                  <a:lnTo>
                    <a:pt x="198" y="465"/>
                  </a:lnTo>
                  <a:lnTo>
                    <a:pt x="196" y="465"/>
                  </a:lnTo>
                  <a:lnTo>
                    <a:pt x="194" y="462"/>
                  </a:lnTo>
                  <a:lnTo>
                    <a:pt x="194" y="460"/>
                  </a:lnTo>
                  <a:lnTo>
                    <a:pt x="198" y="460"/>
                  </a:lnTo>
                  <a:lnTo>
                    <a:pt x="196" y="460"/>
                  </a:lnTo>
                  <a:lnTo>
                    <a:pt x="194" y="460"/>
                  </a:lnTo>
                  <a:lnTo>
                    <a:pt x="194" y="456"/>
                  </a:lnTo>
                  <a:lnTo>
                    <a:pt x="193" y="458"/>
                  </a:lnTo>
                  <a:lnTo>
                    <a:pt x="193" y="455"/>
                  </a:lnTo>
                  <a:lnTo>
                    <a:pt x="191" y="455"/>
                  </a:lnTo>
                  <a:lnTo>
                    <a:pt x="194" y="453"/>
                  </a:lnTo>
                  <a:lnTo>
                    <a:pt x="196" y="448"/>
                  </a:lnTo>
                  <a:lnTo>
                    <a:pt x="198" y="446"/>
                  </a:lnTo>
                  <a:lnTo>
                    <a:pt x="196" y="443"/>
                  </a:lnTo>
                  <a:lnTo>
                    <a:pt x="198" y="441"/>
                  </a:lnTo>
                  <a:lnTo>
                    <a:pt x="201" y="443"/>
                  </a:lnTo>
                  <a:lnTo>
                    <a:pt x="199" y="441"/>
                  </a:lnTo>
                  <a:lnTo>
                    <a:pt x="205" y="438"/>
                  </a:lnTo>
                  <a:lnTo>
                    <a:pt x="203" y="434"/>
                  </a:lnTo>
                  <a:lnTo>
                    <a:pt x="205" y="433"/>
                  </a:lnTo>
                  <a:lnTo>
                    <a:pt x="206" y="434"/>
                  </a:lnTo>
                  <a:lnTo>
                    <a:pt x="210" y="431"/>
                  </a:lnTo>
                  <a:lnTo>
                    <a:pt x="217" y="431"/>
                  </a:lnTo>
                  <a:lnTo>
                    <a:pt x="218" y="427"/>
                  </a:lnTo>
                  <a:lnTo>
                    <a:pt x="225" y="427"/>
                  </a:lnTo>
                  <a:lnTo>
                    <a:pt x="230" y="424"/>
                  </a:lnTo>
                  <a:lnTo>
                    <a:pt x="234" y="417"/>
                  </a:lnTo>
                  <a:lnTo>
                    <a:pt x="237" y="407"/>
                  </a:lnTo>
                  <a:lnTo>
                    <a:pt x="239" y="409"/>
                  </a:lnTo>
                  <a:lnTo>
                    <a:pt x="235" y="407"/>
                  </a:lnTo>
                  <a:lnTo>
                    <a:pt x="239" y="400"/>
                  </a:lnTo>
                  <a:lnTo>
                    <a:pt x="244" y="395"/>
                  </a:lnTo>
                  <a:lnTo>
                    <a:pt x="242" y="393"/>
                  </a:lnTo>
                  <a:lnTo>
                    <a:pt x="244" y="392"/>
                  </a:lnTo>
                  <a:lnTo>
                    <a:pt x="242" y="383"/>
                  </a:lnTo>
                  <a:lnTo>
                    <a:pt x="249" y="376"/>
                  </a:lnTo>
                  <a:lnTo>
                    <a:pt x="254" y="374"/>
                  </a:lnTo>
                  <a:lnTo>
                    <a:pt x="257" y="376"/>
                  </a:lnTo>
                  <a:lnTo>
                    <a:pt x="264" y="373"/>
                  </a:lnTo>
                  <a:lnTo>
                    <a:pt x="266" y="376"/>
                  </a:lnTo>
                  <a:lnTo>
                    <a:pt x="273" y="374"/>
                  </a:lnTo>
                  <a:lnTo>
                    <a:pt x="271" y="376"/>
                  </a:lnTo>
                  <a:lnTo>
                    <a:pt x="273" y="380"/>
                  </a:lnTo>
                  <a:lnTo>
                    <a:pt x="275" y="378"/>
                  </a:lnTo>
                  <a:lnTo>
                    <a:pt x="275" y="383"/>
                  </a:lnTo>
                  <a:lnTo>
                    <a:pt x="276" y="380"/>
                  </a:lnTo>
                  <a:lnTo>
                    <a:pt x="280" y="380"/>
                  </a:lnTo>
                  <a:lnTo>
                    <a:pt x="281" y="381"/>
                  </a:lnTo>
                  <a:lnTo>
                    <a:pt x="281" y="383"/>
                  </a:lnTo>
                  <a:lnTo>
                    <a:pt x="281" y="381"/>
                  </a:lnTo>
                  <a:lnTo>
                    <a:pt x="283" y="381"/>
                  </a:lnTo>
                  <a:lnTo>
                    <a:pt x="287" y="378"/>
                  </a:lnTo>
                  <a:lnTo>
                    <a:pt x="292" y="380"/>
                  </a:lnTo>
                  <a:lnTo>
                    <a:pt x="292" y="383"/>
                  </a:lnTo>
                  <a:lnTo>
                    <a:pt x="293" y="378"/>
                  </a:lnTo>
                  <a:lnTo>
                    <a:pt x="298" y="376"/>
                  </a:lnTo>
                  <a:lnTo>
                    <a:pt x="300" y="378"/>
                  </a:lnTo>
                  <a:lnTo>
                    <a:pt x="300" y="373"/>
                  </a:lnTo>
                  <a:lnTo>
                    <a:pt x="298" y="371"/>
                  </a:lnTo>
                  <a:lnTo>
                    <a:pt x="302" y="373"/>
                  </a:lnTo>
                  <a:lnTo>
                    <a:pt x="300" y="371"/>
                  </a:lnTo>
                  <a:lnTo>
                    <a:pt x="304" y="371"/>
                  </a:lnTo>
                  <a:lnTo>
                    <a:pt x="304" y="373"/>
                  </a:lnTo>
                  <a:lnTo>
                    <a:pt x="307" y="371"/>
                  </a:lnTo>
                  <a:lnTo>
                    <a:pt x="312" y="373"/>
                  </a:lnTo>
                  <a:lnTo>
                    <a:pt x="316" y="364"/>
                  </a:lnTo>
                  <a:lnTo>
                    <a:pt x="317" y="368"/>
                  </a:lnTo>
                  <a:lnTo>
                    <a:pt x="317" y="366"/>
                  </a:lnTo>
                  <a:lnTo>
                    <a:pt x="324" y="368"/>
                  </a:lnTo>
                  <a:lnTo>
                    <a:pt x="324" y="364"/>
                  </a:lnTo>
                  <a:lnTo>
                    <a:pt x="329" y="362"/>
                  </a:lnTo>
                  <a:lnTo>
                    <a:pt x="331" y="364"/>
                  </a:lnTo>
                  <a:lnTo>
                    <a:pt x="333" y="362"/>
                  </a:lnTo>
                  <a:lnTo>
                    <a:pt x="334" y="364"/>
                  </a:lnTo>
                  <a:lnTo>
                    <a:pt x="339" y="362"/>
                  </a:lnTo>
                  <a:lnTo>
                    <a:pt x="343" y="364"/>
                  </a:lnTo>
                  <a:lnTo>
                    <a:pt x="341" y="362"/>
                  </a:lnTo>
                  <a:lnTo>
                    <a:pt x="343" y="359"/>
                  </a:lnTo>
                  <a:lnTo>
                    <a:pt x="345" y="359"/>
                  </a:lnTo>
                  <a:lnTo>
                    <a:pt x="346" y="357"/>
                  </a:lnTo>
                  <a:lnTo>
                    <a:pt x="346" y="359"/>
                  </a:lnTo>
                  <a:lnTo>
                    <a:pt x="348" y="359"/>
                  </a:lnTo>
                  <a:lnTo>
                    <a:pt x="350" y="356"/>
                  </a:lnTo>
                  <a:lnTo>
                    <a:pt x="355" y="356"/>
                  </a:lnTo>
                  <a:lnTo>
                    <a:pt x="348" y="356"/>
                  </a:lnTo>
                  <a:lnTo>
                    <a:pt x="350" y="352"/>
                  </a:lnTo>
                  <a:lnTo>
                    <a:pt x="348" y="352"/>
                  </a:lnTo>
                  <a:lnTo>
                    <a:pt x="345" y="351"/>
                  </a:lnTo>
                  <a:lnTo>
                    <a:pt x="345" y="349"/>
                  </a:lnTo>
                  <a:lnTo>
                    <a:pt x="348" y="349"/>
                  </a:lnTo>
                  <a:lnTo>
                    <a:pt x="348" y="351"/>
                  </a:lnTo>
                  <a:lnTo>
                    <a:pt x="350" y="351"/>
                  </a:lnTo>
                  <a:lnTo>
                    <a:pt x="348" y="347"/>
                  </a:lnTo>
                  <a:lnTo>
                    <a:pt x="346" y="345"/>
                  </a:lnTo>
                  <a:lnTo>
                    <a:pt x="345" y="342"/>
                  </a:lnTo>
                  <a:lnTo>
                    <a:pt x="348" y="344"/>
                  </a:lnTo>
                  <a:lnTo>
                    <a:pt x="353" y="339"/>
                  </a:lnTo>
                  <a:lnTo>
                    <a:pt x="351" y="335"/>
                  </a:lnTo>
                  <a:lnTo>
                    <a:pt x="350" y="335"/>
                  </a:lnTo>
                  <a:lnTo>
                    <a:pt x="348" y="337"/>
                  </a:lnTo>
                  <a:lnTo>
                    <a:pt x="346" y="333"/>
                  </a:lnTo>
                  <a:lnTo>
                    <a:pt x="348" y="332"/>
                  </a:lnTo>
                  <a:lnTo>
                    <a:pt x="341" y="321"/>
                  </a:lnTo>
                  <a:lnTo>
                    <a:pt x="348" y="320"/>
                  </a:lnTo>
                  <a:lnTo>
                    <a:pt x="353" y="320"/>
                  </a:lnTo>
                  <a:lnTo>
                    <a:pt x="351" y="318"/>
                  </a:lnTo>
                  <a:lnTo>
                    <a:pt x="360" y="315"/>
                  </a:lnTo>
                  <a:lnTo>
                    <a:pt x="362" y="315"/>
                  </a:lnTo>
                  <a:lnTo>
                    <a:pt x="363" y="313"/>
                  </a:lnTo>
                  <a:lnTo>
                    <a:pt x="370" y="310"/>
                  </a:lnTo>
                  <a:lnTo>
                    <a:pt x="372" y="308"/>
                  </a:lnTo>
                  <a:lnTo>
                    <a:pt x="380" y="303"/>
                  </a:lnTo>
                  <a:lnTo>
                    <a:pt x="384" y="301"/>
                  </a:lnTo>
                  <a:lnTo>
                    <a:pt x="392" y="298"/>
                  </a:lnTo>
                  <a:lnTo>
                    <a:pt x="394" y="298"/>
                  </a:lnTo>
                  <a:lnTo>
                    <a:pt x="399" y="294"/>
                  </a:lnTo>
                  <a:lnTo>
                    <a:pt x="404" y="291"/>
                  </a:lnTo>
                  <a:lnTo>
                    <a:pt x="411" y="289"/>
                  </a:lnTo>
                  <a:lnTo>
                    <a:pt x="411" y="287"/>
                  </a:lnTo>
                  <a:lnTo>
                    <a:pt x="416" y="287"/>
                  </a:lnTo>
                  <a:lnTo>
                    <a:pt x="423" y="286"/>
                  </a:lnTo>
                  <a:lnTo>
                    <a:pt x="430" y="286"/>
                  </a:lnTo>
                  <a:lnTo>
                    <a:pt x="430" y="287"/>
                  </a:lnTo>
                  <a:lnTo>
                    <a:pt x="435" y="286"/>
                  </a:lnTo>
                  <a:lnTo>
                    <a:pt x="437" y="291"/>
                  </a:lnTo>
                  <a:lnTo>
                    <a:pt x="435" y="291"/>
                  </a:lnTo>
                  <a:lnTo>
                    <a:pt x="438" y="292"/>
                  </a:lnTo>
                  <a:lnTo>
                    <a:pt x="438" y="294"/>
                  </a:lnTo>
                  <a:lnTo>
                    <a:pt x="437" y="292"/>
                  </a:lnTo>
                  <a:lnTo>
                    <a:pt x="437" y="294"/>
                  </a:lnTo>
                  <a:lnTo>
                    <a:pt x="438" y="296"/>
                  </a:lnTo>
                  <a:lnTo>
                    <a:pt x="440" y="294"/>
                  </a:lnTo>
                  <a:lnTo>
                    <a:pt x="445" y="299"/>
                  </a:lnTo>
                  <a:lnTo>
                    <a:pt x="452" y="303"/>
                  </a:lnTo>
                  <a:lnTo>
                    <a:pt x="457" y="304"/>
                  </a:lnTo>
                  <a:lnTo>
                    <a:pt x="464" y="306"/>
                  </a:lnTo>
                  <a:lnTo>
                    <a:pt x="474" y="311"/>
                  </a:lnTo>
                  <a:lnTo>
                    <a:pt x="483" y="315"/>
                  </a:lnTo>
                  <a:lnTo>
                    <a:pt x="483" y="316"/>
                  </a:lnTo>
                  <a:lnTo>
                    <a:pt x="485" y="316"/>
                  </a:lnTo>
                  <a:lnTo>
                    <a:pt x="490" y="318"/>
                  </a:lnTo>
                  <a:lnTo>
                    <a:pt x="496" y="320"/>
                  </a:lnTo>
                  <a:lnTo>
                    <a:pt x="498" y="320"/>
                  </a:lnTo>
                  <a:lnTo>
                    <a:pt x="507" y="321"/>
                  </a:lnTo>
                  <a:lnTo>
                    <a:pt x="508" y="321"/>
                  </a:lnTo>
                  <a:lnTo>
                    <a:pt x="517" y="323"/>
                  </a:lnTo>
                  <a:lnTo>
                    <a:pt x="520" y="325"/>
                  </a:lnTo>
                  <a:lnTo>
                    <a:pt x="524" y="327"/>
                  </a:lnTo>
                  <a:lnTo>
                    <a:pt x="531" y="332"/>
                  </a:lnTo>
                  <a:lnTo>
                    <a:pt x="532" y="332"/>
                  </a:lnTo>
                  <a:lnTo>
                    <a:pt x="532" y="333"/>
                  </a:lnTo>
                  <a:lnTo>
                    <a:pt x="537" y="340"/>
                  </a:lnTo>
                  <a:lnTo>
                    <a:pt x="546" y="345"/>
                  </a:lnTo>
                  <a:lnTo>
                    <a:pt x="549" y="345"/>
                  </a:lnTo>
                  <a:lnTo>
                    <a:pt x="551" y="345"/>
                  </a:lnTo>
                  <a:lnTo>
                    <a:pt x="558" y="347"/>
                  </a:lnTo>
                  <a:lnTo>
                    <a:pt x="561" y="347"/>
                  </a:lnTo>
                  <a:lnTo>
                    <a:pt x="568" y="351"/>
                  </a:lnTo>
                  <a:lnTo>
                    <a:pt x="577" y="354"/>
                  </a:lnTo>
                  <a:lnTo>
                    <a:pt x="580" y="356"/>
                  </a:lnTo>
                  <a:lnTo>
                    <a:pt x="585" y="359"/>
                  </a:lnTo>
                  <a:lnTo>
                    <a:pt x="592" y="364"/>
                  </a:lnTo>
                  <a:lnTo>
                    <a:pt x="597" y="366"/>
                  </a:lnTo>
                  <a:lnTo>
                    <a:pt x="606" y="368"/>
                  </a:lnTo>
                  <a:lnTo>
                    <a:pt x="604" y="369"/>
                  </a:lnTo>
                  <a:lnTo>
                    <a:pt x="606" y="368"/>
                  </a:lnTo>
                  <a:lnTo>
                    <a:pt x="609" y="369"/>
                  </a:lnTo>
                  <a:lnTo>
                    <a:pt x="616" y="373"/>
                  </a:lnTo>
                  <a:lnTo>
                    <a:pt x="619" y="376"/>
                  </a:lnTo>
                  <a:lnTo>
                    <a:pt x="625" y="380"/>
                  </a:lnTo>
                  <a:lnTo>
                    <a:pt x="631" y="383"/>
                  </a:lnTo>
                  <a:lnTo>
                    <a:pt x="635" y="385"/>
                  </a:lnTo>
                  <a:lnTo>
                    <a:pt x="636" y="385"/>
                  </a:lnTo>
                  <a:lnTo>
                    <a:pt x="638" y="385"/>
                  </a:lnTo>
                  <a:lnTo>
                    <a:pt x="640" y="386"/>
                  </a:lnTo>
                  <a:lnTo>
                    <a:pt x="640" y="385"/>
                  </a:lnTo>
                  <a:lnTo>
                    <a:pt x="647" y="390"/>
                  </a:lnTo>
                  <a:lnTo>
                    <a:pt x="652" y="393"/>
                  </a:lnTo>
                  <a:lnTo>
                    <a:pt x="659" y="395"/>
                  </a:lnTo>
                  <a:lnTo>
                    <a:pt x="667" y="395"/>
                  </a:lnTo>
                  <a:lnTo>
                    <a:pt x="674" y="395"/>
                  </a:lnTo>
                  <a:lnTo>
                    <a:pt x="679" y="393"/>
                  </a:lnTo>
                  <a:lnTo>
                    <a:pt x="689" y="393"/>
                  </a:lnTo>
                  <a:lnTo>
                    <a:pt x="691" y="390"/>
                  </a:lnTo>
                  <a:lnTo>
                    <a:pt x="694" y="388"/>
                  </a:lnTo>
                  <a:lnTo>
                    <a:pt x="696" y="390"/>
                  </a:lnTo>
                  <a:lnTo>
                    <a:pt x="698" y="392"/>
                  </a:lnTo>
                  <a:lnTo>
                    <a:pt x="698" y="390"/>
                  </a:lnTo>
                  <a:lnTo>
                    <a:pt x="700" y="388"/>
                  </a:lnTo>
                  <a:lnTo>
                    <a:pt x="700" y="395"/>
                  </a:lnTo>
                  <a:lnTo>
                    <a:pt x="705" y="395"/>
                  </a:lnTo>
                  <a:lnTo>
                    <a:pt x="706" y="400"/>
                  </a:lnTo>
                  <a:lnTo>
                    <a:pt x="712" y="398"/>
                  </a:lnTo>
                  <a:lnTo>
                    <a:pt x="713" y="400"/>
                  </a:lnTo>
                  <a:lnTo>
                    <a:pt x="717" y="402"/>
                  </a:lnTo>
                  <a:lnTo>
                    <a:pt x="717" y="403"/>
                  </a:lnTo>
                  <a:lnTo>
                    <a:pt x="722" y="403"/>
                  </a:lnTo>
                  <a:lnTo>
                    <a:pt x="722" y="405"/>
                  </a:lnTo>
                  <a:lnTo>
                    <a:pt x="724" y="403"/>
                  </a:lnTo>
                  <a:lnTo>
                    <a:pt x="725" y="405"/>
                  </a:lnTo>
                  <a:lnTo>
                    <a:pt x="725" y="402"/>
                  </a:lnTo>
                  <a:lnTo>
                    <a:pt x="724" y="398"/>
                  </a:lnTo>
                  <a:lnTo>
                    <a:pt x="734" y="400"/>
                  </a:lnTo>
                  <a:lnTo>
                    <a:pt x="737" y="402"/>
                  </a:lnTo>
                  <a:lnTo>
                    <a:pt x="741" y="402"/>
                  </a:lnTo>
                  <a:lnTo>
                    <a:pt x="741" y="403"/>
                  </a:lnTo>
                  <a:lnTo>
                    <a:pt x="744" y="402"/>
                  </a:lnTo>
                  <a:lnTo>
                    <a:pt x="746" y="403"/>
                  </a:lnTo>
                  <a:lnTo>
                    <a:pt x="749" y="403"/>
                  </a:lnTo>
                  <a:lnTo>
                    <a:pt x="753" y="405"/>
                  </a:lnTo>
                  <a:lnTo>
                    <a:pt x="754" y="403"/>
                  </a:lnTo>
                  <a:lnTo>
                    <a:pt x="758" y="407"/>
                  </a:lnTo>
                  <a:lnTo>
                    <a:pt x="766" y="409"/>
                  </a:lnTo>
                  <a:lnTo>
                    <a:pt x="771" y="414"/>
                  </a:lnTo>
                  <a:lnTo>
                    <a:pt x="770" y="412"/>
                  </a:lnTo>
                  <a:lnTo>
                    <a:pt x="766" y="415"/>
                  </a:lnTo>
                  <a:lnTo>
                    <a:pt x="768" y="417"/>
                  </a:lnTo>
                  <a:lnTo>
                    <a:pt x="766" y="419"/>
                  </a:lnTo>
                  <a:lnTo>
                    <a:pt x="768" y="421"/>
                  </a:lnTo>
                  <a:lnTo>
                    <a:pt x="764" y="421"/>
                  </a:lnTo>
                  <a:lnTo>
                    <a:pt x="764" y="424"/>
                  </a:lnTo>
                  <a:lnTo>
                    <a:pt x="766" y="426"/>
                  </a:lnTo>
                  <a:lnTo>
                    <a:pt x="770" y="426"/>
                  </a:lnTo>
                  <a:lnTo>
                    <a:pt x="766" y="422"/>
                  </a:lnTo>
                  <a:lnTo>
                    <a:pt x="773" y="426"/>
                  </a:lnTo>
                  <a:lnTo>
                    <a:pt x="775" y="424"/>
                  </a:lnTo>
                  <a:lnTo>
                    <a:pt x="776" y="422"/>
                  </a:lnTo>
                  <a:lnTo>
                    <a:pt x="778" y="422"/>
                  </a:lnTo>
                  <a:lnTo>
                    <a:pt x="787" y="424"/>
                  </a:lnTo>
                  <a:lnTo>
                    <a:pt x="790" y="424"/>
                  </a:lnTo>
                  <a:lnTo>
                    <a:pt x="792" y="426"/>
                  </a:lnTo>
                  <a:lnTo>
                    <a:pt x="792" y="424"/>
                  </a:lnTo>
                  <a:lnTo>
                    <a:pt x="802" y="422"/>
                  </a:lnTo>
                  <a:lnTo>
                    <a:pt x="802" y="450"/>
                  </a:lnTo>
                  <a:lnTo>
                    <a:pt x="802" y="455"/>
                  </a:lnTo>
                  <a:lnTo>
                    <a:pt x="802" y="474"/>
                  </a:lnTo>
                  <a:lnTo>
                    <a:pt x="802" y="480"/>
                  </a:lnTo>
                  <a:lnTo>
                    <a:pt x="802" y="497"/>
                  </a:lnTo>
                  <a:lnTo>
                    <a:pt x="802" y="520"/>
                  </a:lnTo>
                  <a:lnTo>
                    <a:pt x="802" y="532"/>
                  </a:lnTo>
                  <a:lnTo>
                    <a:pt x="800" y="581"/>
                  </a:lnTo>
                  <a:lnTo>
                    <a:pt x="800" y="590"/>
                  </a:lnTo>
                  <a:lnTo>
                    <a:pt x="800" y="607"/>
                  </a:lnTo>
                  <a:lnTo>
                    <a:pt x="800" y="610"/>
                  </a:lnTo>
                  <a:lnTo>
                    <a:pt x="800" y="656"/>
                  </a:lnTo>
                  <a:lnTo>
                    <a:pt x="800" y="667"/>
                  </a:lnTo>
                  <a:lnTo>
                    <a:pt x="800" y="672"/>
                  </a:lnTo>
                  <a:lnTo>
                    <a:pt x="799" y="699"/>
                  </a:lnTo>
                  <a:lnTo>
                    <a:pt x="799" y="707"/>
                  </a:lnTo>
                  <a:lnTo>
                    <a:pt x="799" y="726"/>
                  </a:lnTo>
                  <a:lnTo>
                    <a:pt x="799" y="743"/>
                  </a:lnTo>
                  <a:lnTo>
                    <a:pt x="797" y="807"/>
                  </a:lnTo>
                  <a:lnTo>
                    <a:pt x="797" y="865"/>
                  </a:lnTo>
                  <a:lnTo>
                    <a:pt x="797" y="866"/>
                  </a:lnTo>
                  <a:lnTo>
                    <a:pt x="797" y="868"/>
                  </a:lnTo>
                  <a:lnTo>
                    <a:pt x="800" y="868"/>
                  </a:lnTo>
                  <a:lnTo>
                    <a:pt x="799" y="870"/>
                  </a:lnTo>
                  <a:lnTo>
                    <a:pt x="795" y="868"/>
                  </a:lnTo>
                  <a:lnTo>
                    <a:pt x="792" y="868"/>
                  </a:lnTo>
                  <a:lnTo>
                    <a:pt x="792" y="871"/>
                  </a:lnTo>
                  <a:lnTo>
                    <a:pt x="794" y="873"/>
                  </a:lnTo>
                  <a:lnTo>
                    <a:pt x="788" y="875"/>
                  </a:lnTo>
                  <a:lnTo>
                    <a:pt x="794" y="877"/>
                  </a:lnTo>
                  <a:lnTo>
                    <a:pt x="788" y="878"/>
                  </a:lnTo>
                  <a:lnTo>
                    <a:pt x="790" y="880"/>
                  </a:lnTo>
                  <a:lnTo>
                    <a:pt x="790" y="882"/>
                  </a:lnTo>
                  <a:lnTo>
                    <a:pt x="787" y="880"/>
                  </a:lnTo>
                  <a:lnTo>
                    <a:pt x="788" y="883"/>
                  </a:lnTo>
                  <a:lnTo>
                    <a:pt x="787" y="885"/>
                  </a:lnTo>
                  <a:lnTo>
                    <a:pt x="790" y="883"/>
                  </a:lnTo>
                  <a:lnTo>
                    <a:pt x="790" y="887"/>
                  </a:lnTo>
                  <a:lnTo>
                    <a:pt x="792" y="889"/>
                  </a:lnTo>
                  <a:lnTo>
                    <a:pt x="787" y="890"/>
                  </a:lnTo>
                  <a:lnTo>
                    <a:pt x="787" y="895"/>
                  </a:lnTo>
                  <a:lnTo>
                    <a:pt x="788" y="897"/>
                  </a:lnTo>
                  <a:lnTo>
                    <a:pt x="783" y="897"/>
                  </a:lnTo>
                  <a:lnTo>
                    <a:pt x="782" y="899"/>
                  </a:lnTo>
                  <a:lnTo>
                    <a:pt x="785" y="899"/>
                  </a:lnTo>
                  <a:lnTo>
                    <a:pt x="783" y="900"/>
                  </a:lnTo>
                  <a:lnTo>
                    <a:pt x="776" y="902"/>
                  </a:lnTo>
                  <a:lnTo>
                    <a:pt x="782" y="904"/>
                  </a:lnTo>
                  <a:lnTo>
                    <a:pt x="778" y="907"/>
                  </a:lnTo>
                  <a:lnTo>
                    <a:pt x="780" y="907"/>
                  </a:lnTo>
                  <a:lnTo>
                    <a:pt x="778" y="909"/>
                  </a:lnTo>
                  <a:lnTo>
                    <a:pt x="780" y="911"/>
                  </a:lnTo>
                  <a:lnTo>
                    <a:pt x="776" y="911"/>
                  </a:lnTo>
                  <a:lnTo>
                    <a:pt x="776" y="916"/>
                  </a:lnTo>
                  <a:lnTo>
                    <a:pt x="783" y="919"/>
                  </a:lnTo>
                  <a:lnTo>
                    <a:pt x="780" y="924"/>
                  </a:lnTo>
                  <a:lnTo>
                    <a:pt x="782" y="926"/>
                  </a:lnTo>
                  <a:lnTo>
                    <a:pt x="785" y="928"/>
                  </a:lnTo>
                  <a:lnTo>
                    <a:pt x="783" y="930"/>
                  </a:lnTo>
                  <a:lnTo>
                    <a:pt x="785" y="935"/>
                  </a:lnTo>
                  <a:lnTo>
                    <a:pt x="788" y="935"/>
                  </a:lnTo>
                  <a:lnTo>
                    <a:pt x="790" y="933"/>
                  </a:lnTo>
                  <a:lnTo>
                    <a:pt x="788" y="936"/>
                  </a:lnTo>
                  <a:lnTo>
                    <a:pt x="790" y="938"/>
                  </a:lnTo>
                  <a:lnTo>
                    <a:pt x="792" y="936"/>
                  </a:lnTo>
                  <a:lnTo>
                    <a:pt x="794" y="938"/>
                  </a:lnTo>
                  <a:lnTo>
                    <a:pt x="795" y="936"/>
                  </a:lnTo>
                  <a:lnTo>
                    <a:pt x="799" y="936"/>
                  </a:lnTo>
                  <a:lnTo>
                    <a:pt x="799" y="948"/>
                  </a:lnTo>
                  <a:lnTo>
                    <a:pt x="795" y="1027"/>
                  </a:lnTo>
                  <a:lnTo>
                    <a:pt x="795" y="1034"/>
                  </a:lnTo>
                  <a:lnTo>
                    <a:pt x="795" y="1042"/>
                  </a:lnTo>
                  <a:lnTo>
                    <a:pt x="794" y="1164"/>
                  </a:lnTo>
                  <a:lnTo>
                    <a:pt x="794" y="1206"/>
                  </a:lnTo>
                  <a:lnTo>
                    <a:pt x="792" y="1203"/>
                  </a:lnTo>
                  <a:lnTo>
                    <a:pt x="792" y="1205"/>
                  </a:lnTo>
                  <a:lnTo>
                    <a:pt x="790" y="1203"/>
                  </a:lnTo>
                  <a:lnTo>
                    <a:pt x="782" y="1199"/>
                  </a:lnTo>
                  <a:lnTo>
                    <a:pt x="776" y="1199"/>
                  </a:lnTo>
                  <a:lnTo>
                    <a:pt x="773" y="1196"/>
                  </a:lnTo>
                  <a:lnTo>
                    <a:pt x="768" y="1191"/>
                  </a:lnTo>
                  <a:lnTo>
                    <a:pt x="764" y="1186"/>
                  </a:lnTo>
                  <a:lnTo>
                    <a:pt x="758" y="1177"/>
                  </a:lnTo>
                  <a:lnTo>
                    <a:pt x="749" y="1172"/>
                  </a:lnTo>
                  <a:lnTo>
                    <a:pt x="744" y="1167"/>
                  </a:lnTo>
                  <a:lnTo>
                    <a:pt x="741" y="1160"/>
                  </a:lnTo>
                  <a:lnTo>
                    <a:pt x="734" y="1152"/>
                  </a:lnTo>
                  <a:lnTo>
                    <a:pt x="730" y="1143"/>
                  </a:lnTo>
                  <a:lnTo>
                    <a:pt x="727" y="1140"/>
                  </a:lnTo>
                  <a:lnTo>
                    <a:pt x="722" y="1134"/>
                  </a:lnTo>
                  <a:lnTo>
                    <a:pt x="718" y="1131"/>
                  </a:lnTo>
                  <a:lnTo>
                    <a:pt x="715" y="1126"/>
                  </a:lnTo>
                  <a:lnTo>
                    <a:pt x="712" y="1124"/>
                  </a:lnTo>
                  <a:lnTo>
                    <a:pt x="703" y="1119"/>
                  </a:lnTo>
                  <a:lnTo>
                    <a:pt x="700" y="1112"/>
                  </a:lnTo>
                  <a:lnTo>
                    <a:pt x="693" y="1109"/>
                  </a:lnTo>
                  <a:lnTo>
                    <a:pt x="688" y="1105"/>
                  </a:lnTo>
                  <a:lnTo>
                    <a:pt x="679" y="1100"/>
                  </a:lnTo>
                  <a:lnTo>
                    <a:pt x="672" y="1093"/>
                  </a:lnTo>
                  <a:lnTo>
                    <a:pt x="671" y="1092"/>
                  </a:lnTo>
                  <a:lnTo>
                    <a:pt x="667" y="1083"/>
                  </a:lnTo>
                  <a:lnTo>
                    <a:pt x="674" y="1080"/>
                  </a:lnTo>
                  <a:lnTo>
                    <a:pt x="679" y="1080"/>
                  </a:lnTo>
                  <a:lnTo>
                    <a:pt x="683" y="1076"/>
                  </a:lnTo>
                  <a:lnTo>
                    <a:pt x="683" y="1073"/>
                  </a:lnTo>
                  <a:lnTo>
                    <a:pt x="679" y="1068"/>
                  </a:lnTo>
                  <a:lnTo>
                    <a:pt x="681" y="1059"/>
                  </a:lnTo>
                  <a:lnTo>
                    <a:pt x="681" y="1061"/>
                  </a:lnTo>
                  <a:lnTo>
                    <a:pt x="679" y="1071"/>
                  </a:lnTo>
                  <a:lnTo>
                    <a:pt x="681" y="1076"/>
                  </a:lnTo>
                  <a:lnTo>
                    <a:pt x="674" y="1078"/>
                  </a:lnTo>
                  <a:lnTo>
                    <a:pt x="669" y="1082"/>
                  </a:lnTo>
                  <a:lnTo>
                    <a:pt x="657" y="1082"/>
                  </a:lnTo>
                  <a:lnTo>
                    <a:pt x="654" y="1082"/>
                  </a:lnTo>
                  <a:lnTo>
                    <a:pt x="650" y="1082"/>
                  </a:lnTo>
                  <a:lnTo>
                    <a:pt x="643" y="1082"/>
                  </a:lnTo>
                  <a:lnTo>
                    <a:pt x="640" y="1082"/>
                  </a:lnTo>
                  <a:lnTo>
                    <a:pt x="638" y="1082"/>
                  </a:lnTo>
                  <a:lnTo>
                    <a:pt x="631" y="1083"/>
                  </a:lnTo>
                  <a:lnTo>
                    <a:pt x="623" y="1085"/>
                  </a:lnTo>
                  <a:lnTo>
                    <a:pt x="623" y="1087"/>
                  </a:lnTo>
                  <a:lnTo>
                    <a:pt x="614" y="1090"/>
                  </a:lnTo>
                  <a:lnTo>
                    <a:pt x="613" y="1090"/>
                  </a:lnTo>
                  <a:lnTo>
                    <a:pt x="607" y="1092"/>
                  </a:lnTo>
                  <a:lnTo>
                    <a:pt x="597" y="1093"/>
                  </a:lnTo>
                  <a:lnTo>
                    <a:pt x="594" y="1093"/>
                  </a:lnTo>
                  <a:lnTo>
                    <a:pt x="585" y="1090"/>
                  </a:lnTo>
                  <a:lnTo>
                    <a:pt x="584" y="1087"/>
                  </a:lnTo>
                  <a:lnTo>
                    <a:pt x="580" y="1080"/>
                  </a:lnTo>
                  <a:lnTo>
                    <a:pt x="575" y="1082"/>
                  </a:lnTo>
                  <a:lnTo>
                    <a:pt x="568" y="1083"/>
                  </a:lnTo>
                  <a:lnTo>
                    <a:pt x="565" y="1085"/>
                  </a:lnTo>
                  <a:lnTo>
                    <a:pt x="563" y="1085"/>
                  </a:lnTo>
                  <a:lnTo>
                    <a:pt x="561" y="1085"/>
                  </a:lnTo>
                  <a:lnTo>
                    <a:pt x="561" y="1083"/>
                  </a:lnTo>
                  <a:lnTo>
                    <a:pt x="560" y="1085"/>
                  </a:lnTo>
                  <a:lnTo>
                    <a:pt x="561" y="1083"/>
                  </a:lnTo>
                  <a:lnTo>
                    <a:pt x="561" y="1085"/>
                  </a:lnTo>
                  <a:lnTo>
                    <a:pt x="561" y="1087"/>
                  </a:lnTo>
                  <a:lnTo>
                    <a:pt x="556" y="1090"/>
                  </a:lnTo>
                  <a:lnTo>
                    <a:pt x="551" y="1093"/>
                  </a:lnTo>
                  <a:lnTo>
                    <a:pt x="549" y="1093"/>
                  </a:lnTo>
                  <a:lnTo>
                    <a:pt x="553" y="1097"/>
                  </a:lnTo>
                  <a:lnTo>
                    <a:pt x="553" y="1107"/>
                  </a:lnTo>
                  <a:lnTo>
                    <a:pt x="549" y="1109"/>
                  </a:lnTo>
                  <a:lnTo>
                    <a:pt x="544" y="1107"/>
                  </a:lnTo>
                  <a:lnTo>
                    <a:pt x="541" y="1097"/>
                  </a:lnTo>
                  <a:lnTo>
                    <a:pt x="536" y="1092"/>
                  </a:lnTo>
                  <a:lnTo>
                    <a:pt x="534" y="1083"/>
                  </a:lnTo>
                  <a:lnTo>
                    <a:pt x="536" y="1080"/>
                  </a:lnTo>
                  <a:lnTo>
                    <a:pt x="544" y="1078"/>
                  </a:lnTo>
                  <a:lnTo>
                    <a:pt x="541" y="1073"/>
                  </a:lnTo>
                  <a:lnTo>
                    <a:pt x="544" y="1066"/>
                  </a:lnTo>
                  <a:lnTo>
                    <a:pt x="543" y="1061"/>
                  </a:lnTo>
                  <a:lnTo>
                    <a:pt x="544" y="1058"/>
                  </a:lnTo>
                  <a:lnTo>
                    <a:pt x="553" y="1054"/>
                  </a:lnTo>
                  <a:lnTo>
                    <a:pt x="556" y="1053"/>
                  </a:lnTo>
                  <a:lnTo>
                    <a:pt x="556" y="1049"/>
                  </a:lnTo>
                  <a:lnTo>
                    <a:pt x="556" y="1041"/>
                  </a:lnTo>
                  <a:lnTo>
                    <a:pt x="560" y="1034"/>
                  </a:lnTo>
                  <a:lnTo>
                    <a:pt x="561" y="1025"/>
                  </a:lnTo>
                  <a:lnTo>
                    <a:pt x="566" y="1020"/>
                  </a:lnTo>
                  <a:lnTo>
                    <a:pt x="566" y="1015"/>
                  </a:lnTo>
                  <a:lnTo>
                    <a:pt x="561" y="1012"/>
                  </a:lnTo>
                  <a:lnTo>
                    <a:pt x="549" y="1012"/>
                  </a:lnTo>
                  <a:lnTo>
                    <a:pt x="548" y="1006"/>
                  </a:lnTo>
                  <a:lnTo>
                    <a:pt x="544" y="996"/>
                  </a:lnTo>
                  <a:lnTo>
                    <a:pt x="544" y="993"/>
                  </a:lnTo>
                  <a:lnTo>
                    <a:pt x="539" y="988"/>
                  </a:lnTo>
                  <a:lnTo>
                    <a:pt x="531" y="984"/>
                  </a:lnTo>
                  <a:lnTo>
                    <a:pt x="527" y="981"/>
                  </a:lnTo>
                  <a:lnTo>
                    <a:pt x="524" y="981"/>
                  </a:lnTo>
                  <a:lnTo>
                    <a:pt x="517" y="977"/>
                  </a:lnTo>
                  <a:lnTo>
                    <a:pt x="515" y="974"/>
                  </a:lnTo>
                  <a:lnTo>
                    <a:pt x="517" y="972"/>
                  </a:lnTo>
                  <a:lnTo>
                    <a:pt x="520" y="974"/>
                  </a:lnTo>
                  <a:lnTo>
                    <a:pt x="527" y="974"/>
                  </a:lnTo>
                  <a:lnTo>
                    <a:pt x="536" y="974"/>
                  </a:lnTo>
                  <a:lnTo>
                    <a:pt x="544" y="972"/>
                  </a:lnTo>
                  <a:lnTo>
                    <a:pt x="555" y="977"/>
                  </a:lnTo>
                  <a:lnTo>
                    <a:pt x="558" y="977"/>
                  </a:lnTo>
                  <a:lnTo>
                    <a:pt x="565" y="979"/>
                  </a:lnTo>
                  <a:lnTo>
                    <a:pt x="570" y="977"/>
                  </a:lnTo>
                  <a:lnTo>
                    <a:pt x="575" y="977"/>
                  </a:lnTo>
                  <a:lnTo>
                    <a:pt x="578" y="976"/>
                  </a:lnTo>
                  <a:lnTo>
                    <a:pt x="584" y="967"/>
                  </a:lnTo>
                  <a:lnTo>
                    <a:pt x="585" y="976"/>
                  </a:lnTo>
                  <a:lnTo>
                    <a:pt x="587" y="977"/>
                  </a:lnTo>
                  <a:lnTo>
                    <a:pt x="592" y="976"/>
                  </a:lnTo>
                  <a:lnTo>
                    <a:pt x="597" y="977"/>
                  </a:lnTo>
                  <a:lnTo>
                    <a:pt x="606" y="977"/>
                  </a:lnTo>
                  <a:lnTo>
                    <a:pt x="607" y="974"/>
                  </a:lnTo>
                  <a:lnTo>
                    <a:pt x="604" y="972"/>
                  </a:lnTo>
                  <a:lnTo>
                    <a:pt x="601" y="974"/>
                  </a:lnTo>
                  <a:lnTo>
                    <a:pt x="597" y="969"/>
                  </a:lnTo>
                  <a:lnTo>
                    <a:pt x="602" y="964"/>
                  </a:lnTo>
                  <a:lnTo>
                    <a:pt x="601" y="962"/>
                  </a:lnTo>
                  <a:lnTo>
                    <a:pt x="597" y="955"/>
                  </a:lnTo>
                  <a:lnTo>
                    <a:pt x="592" y="955"/>
                  </a:lnTo>
                  <a:lnTo>
                    <a:pt x="587" y="952"/>
                  </a:lnTo>
                  <a:lnTo>
                    <a:pt x="584" y="952"/>
                  </a:lnTo>
                  <a:lnTo>
                    <a:pt x="582" y="952"/>
                  </a:lnTo>
                  <a:lnTo>
                    <a:pt x="584" y="948"/>
                  </a:lnTo>
                  <a:lnTo>
                    <a:pt x="578" y="945"/>
                  </a:lnTo>
                  <a:lnTo>
                    <a:pt x="572" y="945"/>
                  </a:lnTo>
                  <a:lnTo>
                    <a:pt x="568" y="941"/>
                  </a:lnTo>
                  <a:lnTo>
                    <a:pt x="563" y="938"/>
                  </a:lnTo>
                  <a:lnTo>
                    <a:pt x="556" y="931"/>
                  </a:lnTo>
                  <a:lnTo>
                    <a:pt x="551" y="930"/>
                  </a:lnTo>
                  <a:lnTo>
                    <a:pt x="549" y="924"/>
                  </a:lnTo>
                  <a:lnTo>
                    <a:pt x="548" y="924"/>
                  </a:lnTo>
                  <a:lnTo>
                    <a:pt x="546" y="923"/>
                  </a:lnTo>
                  <a:lnTo>
                    <a:pt x="541" y="924"/>
                  </a:lnTo>
                  <a:lnTo>
                    <a:pt x="536" y="923"/>
                  </a:lnTo>
                  <a:lnTo>
                    <a:pt x="536" y="918"/>
                  </a:lnTo>
                  <a:lnTo>
                    <a:pt x="536" y="912"/>
                  </a:lnTo>
                  <a:lnTo>
                    <a:pt x="534" y="912"/>
                  </a:lnTo>
                  <a:lnTo>
                    <a:pt x="532" y="909"/>
                  </a:lnTo>
                  <a:lnTo>
                    <a:pt x="525" y="906"/>
                  </a:lnTo>
                  <a:lnTo>
                    <a:pt x="519" y="902"/>
                  </a:lnTo>
                  <a:lnTo>
                    <a:pt x="517" y="899"/>
                  </a:lnTo>
                  <a:lnTo>
                    <a:pt x="514" y="897"/>
                  </a:lnTo>
                  <a:lnTo>
                    <a:pt x="508" y="892"/>
                  </a:lnTo>
                  <a:lnTo>
                    <a:pt x="507" y="889"/>
                  </a:lnTo>
                  <a:lnTo>
                    <a:pt x="500" y="883"/>
                  </a:lnTo>
                  <a:lnTo>
                    <a:pt x="496" y="880"/>
                  </a:lnTo>
                  <a:lnTo>
                    <a:pt x="495" y="878"/>
                  </a:lnTo>
                  <a:lnTo>
                    <a:pt x="493" y="878"/>
                  </a:lnTo>
                  <a:lnTo>
                    <a:pt x="488" y="873"/>
                  </a:lnTo>
                  <a:lnTo>
                    <a:pt x="488" y="870"/>
                  </a:lnTo>
                  <a:lnTo>
                    <a:pt x="490" y="868"/>
                  </a:lnTo>
                  <a:lnTo>
                    <a:pt x="486" y="865"/>
                  </a:lnTo>
                  <a:lnTo>
                    <a:pt x="485" y="858"/>
                  </a:lnTo>
                  <a:lnTo>
                    <a:pt x="483" y="851"/>
                  </a:lnTo>
                  <a:lnTo>
                    <a:pt x="486" y="851"/>
                  </a:lnTo>
                  <a:lnTo>
                    <a:pt x="481" y="842"/>
                  </a:lnTo>
                  <a:lnTo>
                    <a:pt x="479" y="841"/>
                  </a:lnTo>
                  <a:lnTo>
                    <a:pt x="481" y="837"/>
                  </a:lnTo>
                  <a:lnTo>
                    <a:pt x="478" y="837"/>
                  </a:lnTo>
                  <a:lnTo>
                    <a:pt x="474" y="829"/>
                  </a:lnTo>
                  <a:lnTo>
                    <a:pt x="471" y="824"/>
                  </a:lnTo>
                  <a:lnTo>
                    <a:pt x="473" y="822"/>
                  </a:lnTo>
                  <a:lnTo>
                    <a:pt x="471" y="822"/>
                  </a:lnTo>
                  <a:lnTo>
                    <a:pt x="467" y="819"/>
                  </a:lnTo>
                  <a:lnTo>
                    <a:pt x="467" y="815"/>
                  </a:lnTo>
                  <a:lnTo>
                    <a:pt x="471" y="810"/>
                  </a:lnTo>
                  <a:lnTo>
                    <a:pt x="466" y="808"/>
                  </a:lnTo>
                  <a:lnTo>
                    <a:pt x="459" y="808"/>
                  </a:lnTo>
                  <a:lnTo>
                    <a:pt x="457" y="805"/>
                  </a:lnTo>
                  <a:lnTo>
                    <a:pt x="457" y="800"/>
                  </a:lnTo>
                  <a:lnTo>
                    <a:pt x="466" y="795"/>
                  </a:lnTo>
                  <a:lnTo>
                    <a:pt x="466" y="793"/>
                  </a:lnTo>
                  <a:lnTo>
                    <a:pt x="466" y="789"/>
                  </a:lnTo>
                  <a:lnTo>
                    <a:pt x="461" y="796"/>
                  </a:lnTo>
                  <a:lnTo>
                    <a:pt x="454" y="796"/>
                  </a:lnTo>
                  <a:lnTo>
                    <a:pt x="449" y="800"/>
                  </a:lnTo>
                  <a:lnTo>
                    <a:pt x="447" y="798"/>
                  </a:lnTo>
                  <a:lnTo>
                    <a:pt x="444" y="789"/>
                  </a:lnTo>
                  <a:lnTo>
                    <a:pt x="444" y="783"/>
                  </a:lnTo>
                  <a:lnTo>
                    <a:pt x="445" y="778"/>
                  </a:lnTo>
                  <a:lnTo>
                    <a:pt x="449" y="774"/>
                  </a:lnTo>
                  <a:lnTo>
                    <a:pt x="449" y="772"/>
                  </a:lnTo>
                  <a:lnTo>
                    <a:pt x="440" y="769"/>
                  </a:lnTo>
                  <a:lnTo>
                    <a:pt x="433" y="764"/>
                  </a:lnTo>
                  <a:lnTo>
                    <a:pt x="426" y="757"/>
                  </a:lnTo>
                  <a:lnTo>
                    <a:pt x="426" y="754"/>
                  </a:lnTo>
                  <a:lnTo>
                    <a:pt x="423" y="752"/>
                  </a:lnTo>
                  <a:lnTo>
                    <a:pt x="416" y="755"/>
                  </a:lnTo>
                  <a:lnTo>
                    <a:pt x="411" y="754"/>
                  </a:lnTo>
                  <a:lnTo>
                    <a:pt x="413" y="750"/>
                  </a:lnTo>
                  <a:lnTo>
                    <a:pt x="420" y="745"/>
                  </a:lnTo>
                  <a:lnTo>
                    <a:pt x="413" y="748"/>
                  </a:lnTo>
                  <a:lnTo>
                    <a:pt x="411" y="752"/>
                  </a:lnTo>
                  <a:lnTo>
                    <a:pt x="408" y="752"/>
                  </a:lnTo>
                  <a:lnTo>
                    <a:pt x="408" y="754"/>
                  </a:lnTo>
                  <a:lnTo>
                    <a:pt x="406" y="754"/>
                  </a:lnTo>
                  <a:lnTo>
                    <a:pt x="406" y="748"/>
                  </a:lnTo>
                  <a:lnTo>
                    <a:pt x="411" y="745"/>
                  </a:lnTo>
                  <a:lnTo>
                    <a:pt x="406" y="743"/>
                  </a:lnTo>
                  <a:lnTo>
                    <a:pt x="401" y="738"/>
                  </a:lnTo>
                  <a:lnTo>
                    <a:pt x="403" y="731"/>
                  </a:lnTo>
                  <a:lnTo>
                    <a:pt x="401" y="733"/>
                  </a:lnTo>
                  <a:lnTo>
                    <a:pt x="399" y="735"/>
                  </a:lnTo>
                  <a:lnTo>
                    <a:pt x="397" y="735"/>
                  </a:lnTo>
                  <a:lnTo>
                    <a:pt x="396" y="735"/>
                  </a:lnTo>
                  <a:lnTo>
                    <a:pt x="387" y="731"/>
                  </a:lnTo>
                  <a:lnTo>
                    <a:pt x="386" y="730"/>
                  </a:lnTo>
                  <a:lnTo>
                    <a:pt x="387" y="726"/>
                  </a:lnTo>
                  <a:lnTo>
                    <a:pt x="392" y="726"/>
                  </a:lnTo>
                  <a:lnTo>
                    <a:pt x="392" y="728"/>
                  </a:lnTo>
                  <a:lnTo>
                    <a:pt x="392" y="726"/>
                  </a:lnTo>
                  <a:lnTo>
                    <a:pt x="396" y="726"/>
                  </a:lnTo>
                  <a:lnTo>
                    <a:pt x="396" y="725"/>
                  </a:lnTo>
                  <a:lnTo>
                    <a:pt x="386" y="726"/>
                  </a:lnTo>
                  <a:lnTo>
                    <a:pt x="387" y="723"/>
                  </a:lnTo>
                  <a:lnTo>
                    <a:pt x="386" y="718"/>
                  </a:lnTo>
                  <a:lnTo>
                    <a:pt x="389" y="713"/>
                  </a:lnTo>
                  <a:lnTo>
                    <a:pt x="394" y="713"/>
                  </a:lnTo>
                  <a:lnTo>
                    <a:pt x="392" y="707"/>
                  </a:lnTo>
                  <a:lnTo>
                    <a:pt x="394" y="704"/>
                  </a:lnTo>
                  <a:lnTo>
                    <a:pt x="389" y="707"/>
                  </a:lnTo>
                  <a:lnTo>
                    <a:pt x="387" y="709"/>
                  </a:lnTo>
                  <a:lnTo>
                    <a:pt x="391" y="711"/>
                  </a:lnTo>
                  <a:lnTo>
                    <a:pt x="389" y="711"/>
                  </a:lnTo>
                  <a:lnTo>
                    <a:pt x="386" y="718"/>
                  </a:lnTo>
                  <a:lnTo>
                    <a:pt x="386" y="723"/>
                  </a:lnTo>
                  <a:lnTo>
                    <a:pt x="379" y="728"/>
                  </a:lnTo>
                  <a:lnTo>
                    <a:pt x="374" y="721"/>
                  </a:lnTo>
                  <a:lnTo>
                    <a:pt x="374" y="719"/>
                  </a:lnTo>
                  <a:lnTo>
                    <a:pt x="377" y="714"/>
                  </a:lnTo>
                  <a:lnTo>
                    <a:pt x="384" y="711"/>
                  </a:lnTo>
                  <a:lnTo>
                    <a:pt x="386" y="709"/>
                  </a:lnTo>
                  <a:lnTo>
                    <a:pt x="384" y="707"/>
                  </a:lnTo>
                  <a:lnTo>
                    <a:pt x="382" y="707"/>
                  </a:lnTo>
                  <a:lnTo>
                    <a:pt x="382" y="709"/>
                  </a:lnTo>
                  <a:lnTo>
                    <a:pt x="374" y="714"/>
                  </a:lnTo>
                  <a:lnTo>
                    <a:pt x="372" y="723"/>
                  </a:lnTo>
                  <a:lnTo>
                    <a:pt x="370" y="725"/>
                  </a:lnTo>
                  <a:lnTo>
                    <a:pt x="368" y="723"/>
                  </a:lnTo>
                  <a:lnTo>
                    <a:pt x="372" y="716"/>
                  </a:lnTo>
                  <a:lnTo>
                    <a:pt x="370" y="711"/>
                  </a:lnTo>
                  <a:lnTo>
                    <a:pt x="374" y="709"/>
                  </a:lnTo>
                  <a:lnTo>
                    <a:pt x="374" y="702"/>
                  </a:lnTo>
                  <a:lnTo>
                    <a:pt x="379" y="702"/>
                  </a:lnTo>
                  <a:lnTo>
                    <a:pt x="375" y="697"/>
                  </a:lnTo>
                  <a:lnTo>
                    <a:pt x="375" y="696"/>
                  </a:lnTo>
                  <a:lnTo>
                    <a:pt x="374" y="697"/>
                  </a:lnTo>
                  <a:lnTo>
                    <a:pt x="374" y="699"/>
                  </a:lnTo>
                  <a:lnTo>
                    <a:pt x="375" y="701"/>
                  </a:lnTo>
                  <a:lnTo>
                    <a:pt x="372" y="701"/>
                  </a:lnTo>
                  <a:lnTo>
                    <a:pt x="372" y="702"/>
                  </a:lnTo>
                  <a:lnTo>
                    <a:pt x="367" y="704"/>
                  </a:lnTo>
                  <a:lnTo>
                    <a:pt x="365" y="709"/>
                  </a:lnTo>
                  <a:lnTo>
                    <a:pt x="362" y="711"/>
                  </a:lnTo>
                  <a:lnTo>
                    <a:pt x="360" y="714"/>
                  </a:lnTo>
                  <a:lnTo>
                    <a:pt x="356" y="711"/>
                  </a:lnTo>
                  <a:lnTo>
                    <a:pt x="353" y="713"/>
                  </a:lnTo>
                  <a:lnTo>
                    <a:pt x="348" y="709"/>
                  </a:lnTo>
                  <a:lnTo>
                    <a:pt x="350" y="704"/>
                  </a:lnTo>
                  <a:lnTo>
                    <a:pt x="345" y="706"/>
                  </a:lnTo>
                  <a:lnTo>
                    <a:pt x="345" y="709"/>
                  </a:lnTo>
                  <a:lnTo>
                    <a:pt x="341" y="711"/>
                  </a:lnTo>
                  <a:lnTo>
                    <a:pt x="339" y="707"/>
                  </a:lnTo>
                  <a:lnTo>
                    <a:pt x="334" y="706"/>
                  </a:lnTo>
                  <a:lnTo>
                    <a:pt x="336" y="702"/>
                  </a:lnTo>
                  <a:lnTo>
                    <a:pt x="336" y="697"/>
                  </a:lnTo>
                  <a:lnTo>
                    <a:pt x="338" y="694"/>
                  </a:lnTo>
                  <a:lnTo>
                    <a:pt x="336" y="697"/>
                  </a:lnTo>
                  <a:lnTo>
                    <a:pt x="334" y="702"/>
                  </a:lnTo>
                  <a:lnTo>
                    <a:pt x="333" y="706"/>
                  </a:lnTo>
                  <a:lnTo>
                    <a:pt x="331" y="706"/>
                  </a:lnTo>
                  <a:lnTo>
                    <a:pt x="327" y="702"/>
                  </a:lnTo>
                  <a:lnTo>
                    <a:pt x="329" y="701"/>
                  </a:lnTo>
                  <a:lnTo>
                    <a:pt x="331" y="696"/>
                  </a:lnTo>
                  <a:lnTo>
                    <a:pt x="333" y="696"/>
                  </a:lnTo>
                  <a:lnTo>
                    <a:pt x="331" y="694"/>
                  </a:lnTo>
                  <a:lnTo>
                    <a:pt x="333" y="690"/>
                  </a:lnTo>
                  <a:lnTo>
                    <a:pt x="329" y="694"/>
                  </a:lnTo>
                  <a:lnTo>
                    <a:pt x="327" y="692"/>
                  </a:lnTo>
                  <a:lnTo>
                    <a:pt x="326" y="687"/>
                  </a:lnTo>
                  <a:lnTo>
                    <a:pt x="326" y="690"/>
                  </a:lnTo>
                  <a:lnTo>
                    <a:pt x="327" y="694"/>
                  </a:lnTo>
                  <a:lnTo>
                    <a:pt x="324" y="696"/>
                  </a:lnTo>
                  <a:lnTo>
                    <a:pt x="327" y="697"/>
                  </a:lnTo>
                  <a:lnTo>
                    <a:pt x="327" y="701"/>
                  </a:lnTo>
                  <a:lnTo>
                    <a:pt x="322" y="701"/>
                  </a:lnTo>
                  <a:lnTo>
                    <a:pt x="322" y="699"/>
                  </a:lnTo>
                  <a:lnTo>
                    <a:pt x="321" y="699"/>
                  </a:lnTo>
                  <a:lnTo>
                    <a:pt x="321" y="697"/>
                  </a:lnTo>
                  <a:lnTo>
                    <a:pt x="322" y="697"/>
                  </a:lnTo>
                  <a:lnTo>
                    <a:pt x="321" y="697"/>
                  </a:lnTo>
                  <a:lnTo>
                    <a:pt x="321" y="699"/>
                  </a:lnTo>
                  <a:lnTo>
                    <a:pt x="322" y="699"/>
                  </a:lnTo>
                  <a:lnTo>
                    <a:pt x="321" y="701"/>
                  </a:lnTo>
                  <a:lnTo>
                    <a:pt x="322" y="701"/>
                  </a:lnTo>
                  <a:lnTo>
                    <a:pt x="317" y="702"/>
                  </a:lnTo>
                  <a:lnTo>
                    <a:pt x="310" y="697"/>
                  </a:lnTo>
                  <a:lnTo>
                    <a:pt x="319" y="692"/>
                  </a:lnTo>
                  <a:lnTo>
                    <a:pt x="321" y="689"/>
                  </a:lnTo>
                  <a:lnTo>
                    <a:pt x="319" y="692"/>
                  </a:lnTo>
                  <a:lnTo>
                    <a:pt x="317" y="690"/>
                  </a:lnTo>
                  <a:lnTo>
                    <a:pt x="319" y="692"/>
                  </a:lnTo>
                  <a:lnTo>
                    <a:pt x="310" y="694"/>
                  </a:lnTo>
                  <a:lnTo>
                    <a:pt x="312" y="692"/>
                  </a:lnTo>
                  <a:lnTo>
                    <a:pt x="310" y="692"/>
                  </a:lnTo>
                  <a:lnTo>
                    <a:pt x="309" y="694"/>
                  </a:lnTo>
                  <a:lnTo>
                    <a:pt x="307" y="692"/>
                  </a:lnTo>
                  <a:lnTo>
                    <a:pt x="305" y="692"/>
                  </a:lnTo>
                  <a:lnTo>
                    <a:pt x="305" y="690"/>
                  </a:lnTo>
                  <a:lnTo>
                    <a:pt x="305" y="689"/>
                  </a:lnTo>
                  <a:lnTo>
                    <a:pt x="305" y="690"/>
                  </a:lnTo>
                  <a:lnTo>
                    <a:pt x="304" y="687"/>
                  </a:lnTo>
                  <a:lnTo>
                    <a:pt x="302" y="689"/>
                  </a:lnTo>
                  <a:lnTo>
                    <a:pt x="295" y="689"/>
                  </a:lnTo>
                  <a:lnTo>
                    <a:pt x="293" y="687"/>
                  </a:lnTo>
                  <a:lnTo>
                    <a:pt x="295" y="685"/>
                  </a:lnTo>
                  <a:lnTo>
                    <a:pt x="293" y="685"/>
                  </a:lnTo>
                  <a:lnTo>
                    <a:pt x="292" y="685"/>
                  </a:lnTo>
                  <a:lnTo>
                    <a:pt x="290" y="694"/>
                  </a:lnTo>
                  <a:lnTo>
                    <a:pt x="283" y="690"/>
                  </a:lnTo>
                  <a:lnTo>
                    <a:pt x="281" y="685"/>
                  </a:lnTo>
                  <a:lnTo>
                    <a:pt x="278" y="689"/>
                  </a:lnTo>
                  <a:lnTo>
                    <a:pt x="278" y="687"/>
                  </a:lnTo>
                  <a:lnTo>
                    <a:pt x="275" y="689"/>
                  </a:lnTo>
                  <a:lnTo>
                    <a:pt x="276" y="689"/>
                  </a:lnTo>
                  <a:lnTo>
                    <a:pt x="268" y="685"/>
                  </a:lnTo>
                  <a:lnTo>
                    <a:pt x="268" y="684"/>
                  </a:lnTo>
                  <a:lnTo>
                    <a:pt x="264" y="684"/>
                  </a:lnTo>
                  <a:lnTo>
                    <a:pt x="264" y="682"/>
                  </a:lnTo>
                  <a:lnTo>
                    <a:pt x="261" y="680"/>
                  </a:lnTo>
                  <a:lnTo>
                    <a:pt x="263" y="678"/>
                  </a:lnTo>
                  <a:lnTo>
                    <a:pt x="263" y="677"/>
                  </a:lnTo>
                  <a:lnTo>
                    <a:pt x="261" y="678"/>
                  </a:lnTo>
                  <a:lnTo>
                    <a:pt x="259" y="680"/>
                  </a:lnTo>
                  <a:lnTo>
                    <a:pt x="256" y="678"/>
                  </a:lnTo>
                  <a:lnTo>
                    <a:pt x="254" y="675"/>
                  </a:lnTo>
                  <a:lnTo>
                    <a:pt x="252" y="677"/>
                  </a:lnTo>
                  <a:lnTo>
                    <a:pt x="249" y="675"/>
                  </a:lnTo>
                  <a:lnTo>
                    <a:pt x="251" y="673"/>
                  </a:lnTo>
                  <a:lnTo>
                    <a:pt x="247" y="673"/>
                  </a:lnTo>
                  <a:lnTo>
                    <a:pt x="242" y="670"/>
                  </a:lnTo>
                  <a:lnTo>
                    <a:pt x="239" y="670"/>
                  </a:lnTo>
                  <a:lnTo>
                    <a:pt x="239" y="668"/>
                  </a:lnTo>
                  <a:lnTo>
                    <a:pt x="235" y="670"/>
                  </a:lnTo>
                  <a:lnTo>
                    <a:pt x="228" y="670"/>
                  </a:lnTo>
                  <a:lnTo>
                    <a:pt x="225" y="667"/>
                  </a:lnTo>
                  <a:lnTo>
                    <a:pt x="225" y="668"/>
                  </a:lnTo>
                  <a:lnTo>
                    <a:pt x="217" y="665"/>
                  </a:lnTo>
                  <a:lnTo>
                    <a:pt x="220" y="660"/>
                  </a:lnTo>
                  <a:lnTo>
                    <a:pt x="217" y="661"/>
                  </a:lnTo>
                  <a:lnTo>
                    <a:pt x="215" y="663"/>
                  </a:lnTo>
                  <a:lnTo>
                    <a:pt x="213" y="663"/>
                  </a:lnTo>
                  <a:lnTo>
                    <a:pt x="215" y="665"/>
                  </a:lnTo>
                  <a:lnTo>
                    <a:pt x="210" y="660"/>
                  </a:lnTo>
                  <a:lnTo>
                    <a:pt x="206" y="660"/>
                  </a:lnTo>
                  <a:lnTo>
                    <a:pt x="208" y="656"/>
                  </a:lnTo>
                  <a:lnTo>
                    <a:pt x="205" y="660"/>
                  </a:lnTo>
                  <a:lnTo>
                    <a:pt x="199" y="655"/>
                  </a:lnTo>
                  <a:lnTo>
                    <a:pt x="203" y="656"/>
                  </a:lnTo>
                  <a:lnTo>
                    <a:pt x="201" y="655"/>
                  </a:lnTo>
                  <a:lnTo>
                    <a:pt x="196" y="653"/>
                  </a:lnTo>
                  <a:lnTo>
                    <a:pt x="194" y="651"/>
                  </a:lnTo>
                  <a:lnTo>
                    <a:pt x="189" y="648"/>
                  </a:lnTo>
                  <a:lnTo>
                    <a:pt x="182" y="648"/>
                  </a:lnTo>
                  <a:lnTo>
                    <a:pt x="176" y="648"/>
                  </a:lnTo>
                  <a:lnTo>
                    <a:pt x="172" y="648"/>
                  </a:lnTo>
                  <a:lnTo>
                    <a:pt x="167" y="649"/>
                  </a:lnTo>
                  <a:lnTo>
                    <a:pt x="165" y="648"/>
                  </a:lnTo>
                  <a:lnTo>
                    <a:pt x="165" y="649"/>
                  </a:lnTo>
                  <a:lnTo>
                    <a:pt x="160" y="648"/>
                  </a:lnTo>
                  <a:lnTo>
                    <a:pt x="152" y="646"/>
                  </a:lnTo>
                  <a:lnTo>
                    <a:pt x="145" y="644"/>
                  </a:lnTo>
                  <a:lnTo>
                    <a:pt x="136" y="643"/>
                  </a:lnTo>
                  <a:lnTo>
                    <a:pt x="131" y="643"/>
                  </a:lnTo>
                  <a:lnTo>
                    <a:pt x="131" y="641"/>
                  </a:lnTo>
                  <a:lnTo>
                    <a:pt x="123" y="643"/>
                  </a:lnTo>
                  <a:lnTo>
                    <a:pt x="124" y="641"/>
                  </a:lnTo>
                  <a:lnTo>
                    <a:pt x="123" y="641"/>
                  </a:lnTo>
                  <a:lnTo>
                    <a:pt x="121" y="643"/>
                  </a:lnTo>
                  <a:lnTo>
                    <a:pt x="116" y="643"/>
                  </a:lnTo>
                  <a:lnTo>
                    <a:pt x="106" y="646"/>
                  </a:lnTo>
                  <a:lnTo>
                    <a:pt x="106" y="644"/>
                  </a:lnTo>
                  <a:lnTo>
                    <a:pt x="106" y="646"/>
                  </a:lnTo>
                  <a:lnTo>
                    <a:pt x="104" y="644"/>
                  </a:lnTo>
                  <a:lnTo>
                    <a:pt x="95" y="639"/>
                  </a:lnTo>
                  <a:lnTo>
                    <a:pt x="95" y="637"/>
                  </a:lnTo>
                  <a:lnTo>
                    <a:pt x="95" y="639"/>
                  </a:lnTo>
                  <a:lnTo>
                    <a:pt x="92" y="639"/>
                  </a:lnTo>
                  <a:lnTo>
                    <a:pt x="88" y="636"/>
                  </a:lnTo>
                  <a:lnTo>
                    <a:pt x="90" y="634"/>
                  </a:lnTo>
                  <a:lnTo>
                    <a:pt x="85" y="634"/>
                  </a:lnTo>
                  <a:lnTo>
                    <a:pt x="83" y="631"/>
                  </a:lnTo>
                  <a:lnTo>
                    <a:pt x="83" y="632"/>
                  </a:lnTo>
                  <a:lnTo>
                    <a:pt x="75" y="627"/>
                  </a:lnTo>
                  <a:lnTo>
                    <a:pt x="73" y="626"/>
                  </a:lnTo>
                  <a:lnTo>
                    <a:pt x="78" y="629"/>
                  </a:lnTo>
                  <a:lnTo>
                    <a:pt x="82" y="629"/>
                  </a:lnTo>
                  <a:lnTo>
                    <a:pt x="78" y="629"/>
                  </a:lnTo>
                  <a:lnTo>
                    <a:pt x="73" y="624"/>
                  </a:lnTo>
                  <a:lnTo>
                    <a:pt x="73" y="626"/>
                  </a:lnTo>
                  <a:lnTo>
                    <a:pt x="68" y="620"/>
                  </a:lnTo>
                  <a:lnTo>
                    <a:pt x="59" y="620"/>
                  </a:lnTo>
                  <a:lnTo>
                    <a:pt x="59" y="617"/>
                  </a:lnTo>
                  <a:lnTo>
                    <a:pt x="56" y="619"/>
                  </a:lnTo>
                  <a:lnTo>
                    <a:pt x="51" y="614"/>
                  </a:lnTo>
                  <a:close/>
                  <a:moveTo>
                    <a:pt x="275" y="263"/>
                  </a:moveTo>
                  <a:lnTo>
                    <a:pt x="276" y="263"/>
                  </a:lnTo>
                  <a:lnTo>
                    <a:pt x="276" y="269"/>
                  </a:lnTo>
                  <a:lnTo>
                    <a:pt x="275" y="263"/>
                  </a:lnTo>
                  <a:close/>
                  <a:moveTo>
                    <a:pt x="252" y="267"/>
                  </a:moveTo>
                  <a:lnTo>
                    <a:pt x="252" y="263"/>
                  </a:lnTo>
                  <a:lnTo>
                    <a:pt x="254" y="262"/>
                  </a:lnTo>
                  <a:lnTo>
                    <a:pt x="252" y="267"/>
                  </a:lnTo>
                  <a:close/>
                  <a:moveTo>
                    <a:pt x="275" y="258"/>
                  </a:moveTo>
                  <a:lnTo>
                    <a:pt x="276" y="258"/>
                  </a:lnTo>
                  <a:lnTo>
                    <a:pt x="276" y="260"/>
                  </a:lnTo>
                  <a:lnTo>
                    <a:pt x="275" y="260"/>
                  </a:lnTo>
                  <a:lnTo>
                    <a:pt x="275" y="258"/>
                  </a:lnTo>
                  <a:close/>
                  <a:moveTo>
                    <a:pt x="230" y="258"/>
                  </a:moveTo>
                  <a:lnTo>
                    <a:pt x="228" y="262"/>
                  </a:lnTo>
                  <a:lnTo>
                    <a:pt x="225" y="260"/>
                  </a:lnTo>
                  <a:lnTo>
                    <a:pt x="230" y="258"/>
                  </a:lnTo>
                  <a:close/>
                  <a:moveTo>
                    <a:pt x="266" y="258"/>
                  </a:moveTo>
                  <a:lnTo>
                    <a:pt x="268" y="260"/>
                  </a:lnTo>
                  <a:lnTo>
                    <a:pt x="263" y="258"/>
                  </a:lnTo>
                  <a:lnTo>
                    <a:pt x="266" y="258"/>
                  </a:lnTo>
                  <a:close/>
                  <a:moveTo>
                    <a:pt x="242" y="257"/>
                  </a:moveTo>
                  <a:lnTo>
                    <a:pt x="244" y="258"/>
                  </a:lnTo>
                  <a:lnTo>
                    <a:pt x="242" y="258"/>
                  </a:lnTo>
                  <a:lnTo>
                    <a:pt x="239" y="260"/>
                  </a:lnTo>
                  <a:lnTo>
                    <a:pt x="242" y="257"/>
                  </a:lnTo>
                  <a:close/>
                  <a:moveTo>
                    <a:pt x="257" y="258"/>
                  </a:moveTo>
                  <a:lnTo>
                    <a:pt x="254" y="257"/>
                  </a:lnTo>
                  <a:lnTo>
                    <a:pt x="256" y="255"/>
                  </a:lnTo>
                  <a:lnTo>
                    <a:pt x="257" y="258"/>
                  </a:lnTo>
                  <a:close/>
                  <a:moveTo>
                    <a:pt x="275" y="253"/>
                  </a:moveTo>
                  <a:lnTo>
                    <a:pt x="276" y="257"/>
                  </a:lnTo>
                  <a:lnTo>
                    <a:pt x="275" y="258"/>
                  </a:lnTo>
                  <a:lnTo>
                    <a:pt x="273" y="255"/>
                  </a:lnTo>
                  <a:lnTo>
                    <a:pt x="275" y="253"/>
                  </a:lnTo>
                  <a:close/>
                  <a:moveTo>
                    <a:pt x="278" y="248"/>
                  </a:moveTo>
                  <a:lnTo>
                    <a:pt x="276" y="250"/>
                  </a:lnTo>
                  <a:lnTo>
                    <a:pt x="275" y="251"/>
                  </a:lnTo>
                  <a:lnTo>
                    <a:pt x="275" y="250"/>
                  </a:lnTo>
                  <a:lnTo>
                    <a:pt x="276" y="250"/>
                  </a:lnTo>
                  <a:lnTo>
                    <a:pt x="275" y="246"/>
                  </a:lnTo>
                  <a:lnTo>
                    <a:pt x="278" y="248"/>
                  </a:lnTo>
                  <a:close/>
                  <a:moveTo>
                    <a:pt x="77" y="236"/>
                  </a:moveTo>
                  <a:lnTo>
                    <a:pt x="77" y="231"/>
                  </a:lnTo>
                  <a:lnTo>
                    <a:pt x="78" y="233"/>
                  </a:lnTo>
                  <a:lnTo>
                    <a:pt x="77" y="236"/>
                  </a:lnTo>
                  <a:close/>
                  <a:moveTo>
                    <a:pt x="66" y="222"/>
                  </a:moveTo>
                  <a:lnTo>
                    <a:pt x="71" y="222"/>
                  </a:lnTo>
                  <a:lnTo>
                    <a:pt x="77" y="228"/>
                  </a:lnTo>
                  <a:lnTo>
                    <a:pt x="77" y="231"/>
                  </a:lnTo>
                  <a:lnTo>
                    <a:pt x="75" y="233"/>
                  </a:lnTo>
                  <a:lnTo>
                    <a:pt x="75" y="240"/>
                  </a:lnTo>
                  <a:lnTo>
                    <a:pt x="78" y="236"/>
                  </a:lnTo>
                  <a:lnTo>
                    <a:pt x="78" y="233"/>
                  </a:lnTo>
                  <a:lnTo>
                    <a:pt x="82" y="233"/>
                  </a:lnTo>
                  <a:lnTo>
                    <a:pt x="82" y="240"/>
                  </a:lnTo>
                  <a:lnTo>
                    <a:pt x="78" y="246"/>
                  </a:lnTo>
                  <a:lnTo>
                    <a:pt x="70" y="246"/>
                  </a:lnTo>
                  <a:lnTo>
                    <a:pt x="66" y="246"/>
                  </a:lnTo>
                  <a:lnTo>
                    <a:pt x="63" y="243"/>
                  </a:lnTo>
                  <a:lnTo>
                    <a:pt x="65" y="241"/>
                  </a:lnTo>
                  <a:lnTo>
                    <a:pt x="63" y="241"/>
                  </a:lnTo>
                  <a:lnTo>
                    <a:pt x="59" y="234"/>
                  </a:lnTo>
                  <a:lnTo>
                    <a:pt x="58" y="231"/>
                  </a:lnTo>
                  <a:lnTo>
                    <a:pt x="61" y="228"/>
                  </a:lnTo>
                  <a:lnTo>
                    <a:pt x="58" y="228"/>
                  </a:lnTo>
                  <a:lnTo>
                    <a:pt x="59" y="226"/>
                  </a:lnTo>
                  <a:lnTo>
                    <a:pt x="65" y="222"/>
                  </a:lnTo>
                  <a:lnTo>
                    <a:pt x="66" y="222"/>
                  </a:lnTo>
                  <a:close/>
                  <a:moveTo>
                    <a:pt x="143" y="224"/>
                  </a:moveTo>
                  <a:lnTo>
                    <a:pt x="145" y="226"/>
                  </a:lnTo>
                  <a:lnTo>
                    <a:pt x="143" y="226"/>
                  </a:lnTo>
                  <a:lnTo>
                    <a:pt x="141" y="222"/>
                  </a:lnTo>
                  <a:lnTo>
                    <a:pt x="143" y="224"/>
                  </a:lnTo>
                  <a:close/>
                  <a:moveTo>
                    <a:pt x="131" y="185"/>
                  </a:moveTo>
                  <a:lnTo>
                    <a:pt x="133" y="188"/>
                  </a:lnTo>
                  <a:lnTo>
                    <a:pt x="136" y="187"/>
                  </a:lnTo>
                  <a:lnTo>
                    <a:pt x="138" y="188"/>
                  </a:lnTo>
                  <a:lnTo>
                    <a:pt x="140" y="188"/>
                  </a:lnTo>
                  <a:lnTo>
                    <a:pt x="141" y="190"/>
                  </a:lnTo>
                  <a:lnTo>
                    <a:pt x="143" y="188"/>
                  </a:lnTo>
                  <a:lnTo>
                    <a:pt x="148" y="192"/>
                  </a:lnTo>
                  <a:lnTo>
                    <a:pt x="150" y="190"/>
                  </a:lnTo>
                  <a:lnTo>
                    <a:pt x="155" y="190"/>
                  </a:lnTo>
                  <a:lnTo>
                    <a:pt x="155" y="195"/>
                  </a:lnTo>
                  <a:lnTo>
                    <a:pt x="158" y="190"/>
                  </a:lnTo>
                  <a:lnTo>
                    <a:pt x="160" y="190"/>
                  </a:lnTo>
                  <a:lnTo>
                    <a:pt x="165" y="193"/>
                  </a:lnTo>
                  <a:lnTo>
                    <a:pt x="165" y="197"/>
                  </a:lnTo>
                  <a:lnTo>
                    <a:pt x="169" y="195"/>
                  </a:lnTo>
                  <a:lnTo>
                    <a:pt x="174" y="199"/>
                  </a:lnTo>
                  <a:lnTo>
                    <a:pt x="176" y="199"/>
                  </a:lnTo>
                  <a:lnTo>
                    <a:pt x="181" y="193"/>
                  </a:lnTo>
                  <a:lnTo>
                    <a:pt x="186" y="195"/>
                  </a:lnTo>
                  <a:lnTo>
                    <a:pt x="193" y="202"/>
                  </a:lnTo>
                  <a:lnTo>
                    <a:pt x="194" y="205"/>
                  </a:lnTo>
                  <a:lnTo>
                    <a:pt x="196" y="205"/>
                  </a:lnTo>
                  <a:lnTo>
                    <a:pt x="199" y="207"/>
                  </a:lnTo>
                  <a:lnTo>
                    <a:pt x="206" y="210"/>
                  </a:lnTo>
                  <a:lnTo>
                    <a:pt x="208" y="214"/>
                  </a:lnTo>
                  <a:lnTo>
                    <a:pt x="210" y="214"/>
                  </a:lnTo>
                  <a:lnTo>
                    <a:pt x="208" y="217"/>
                  </a:lnTo>
                  <a:lnTo>
                    <a:pt x="210" y="217"/>
                  </a:lnTo>
                  <a:lnTo>
                    <a:pt x="215" y="221"/>
                  </a:lnTo>
                  <a:lnTo>
                    <a:pt x="215" y="226"/>
                  </a:lnTo>
                  <a:lnTo>
                    <a:pt x="222" y="229"/>
                  </a:lnTo>
                  <a:lnTo>
                    <a:pt x="223" y="236"/>
                  </a:lnTo>
                  <a:lnTo>
                    <a:pt x="227" y="236"/>
                  </a:lnTo>
                  <a:lnTo>
                    <a:pt x="234" y="233"/>
                  </a:lnTo>
                  <a:lnTo>
                    <a:pt x="239" y="234"/>
                  </a:lnTo>
                  <a:lnTo>
                    <a:pt x="239" y="236"/>
                  </a:lnTo>
                  <a:lnTo>
                    <a:pt x="242" y="240"/>
                  </a:lnTo>
                  <a:lnTo>
                    <a:pt x="247" y="238"/>
                  </a:lnTo>
                  <a:lnTo>
                    <a:pt x="249" y="240"/>
                  </a:lnTo>
                  <a:lnTo>
                    <a:pt x="249" y="241"/>
                  </a:lnTo>
                  <a:lnTo>
                    <a:pt x="240" y="246"/>
                  </a:lnTo>
                  <a:lnTo>
                    <a:pt x="232" y="251"/>
                  </a:lnTo>
                  <a:lnTo>
                    <a:pt x="223" y="251"/>
                  </a:lnTo>
                  <a:lnTo>
                    <a:pt x="222" y="255"/>
                  </a:lnTo>
                  <a:lnTo>
                    <a:pt x="211" y="253"/>
                  </a:lnTo>
                  <a:lnTo>
                    <a:pt x="208" y="248"/>
                  </a:lnTo>
                  <a:lnTo>
                    <a:pt x="203" y="248"/>
                  </a:lnTo>
                  <a:lnTo>
                    <a:pt x="196" y="248"/>
                  </a:lnTo>
                  <a:lnTo>
                    <a:pt x="191" y="251"/>
                  </a:lnTo>
                  <a:lnTo>
                    <a:pt x="186" y="250"/>
                  </a:lnTo>
                  <a:lnTo>
                    <a:pt x="179" y="243"/>
                  </a:lnTo>
                  <a:lnTo>
                    <a:pt x="182" y="241"/>
                  </a:lnTo>
                  <a:lnTo>
                    <a:pt x="182" y="234"/>
                  </a:lnTo>
                  <a:lnTo>
                    <a:pt x="179" y="229"/>
                  </a:lnTo>
                  <a:lnTo>
                    <a:pt x="177" y="222"/>
                  </a:lnTo>
                  <a:lnTo>
                    <a:pt x="176" y="217"/>
                  </a:lnTo>
                  <a:lnTo>
                    <a:pt x="176" y="216"/>
                  </a:lnTo>
                  <a:lnTo>
                    <a:pt x="172" y="207"/>
                  </a:lnTo>
                  <a:lnTo>
                    <a:pt x="169" y="207"/>
                  </a:lnTo>
                  <a:lnTo>
                    <a:pt x="170" y="204"/>
                  </a:lnTo>
                  <a:lnTo>
                    <a:pt x="167" y="207"/>
                  </a:lnTo>
                  <a:lnTo>
                    <a:pt x="165" y="210"/>
                  </a:lnTo>
                  <a:lnTo>
                    <a:pt x="160" y="217"/>
                  </a:lnTo>
                  <a:lnTo>
                    <a:pt x="157" y="212"/>
                  </a:lnTo>
                  <a:lnTo>
                    <a:pt x="152" y="210"/>
                  </a:lnTo>
                  <a:lnTo>
                    <a:pt x="150" y="207"/>
                  </a:lnTo>
                  <a:lnTo>
                    <a:pt x="141" y="202"/>
                  </a:lnTo>
                  <a:lnTo>
                    <a:pt x="141" y="200"/>
                  </a:lnTo>
                  <a:lnTo>
                    <a:pt x="140" y="200"/>
                  </a:lnTo>
                  <a:lnTo>
                    <a:pt x="143" y="207"/>
                  </a:lnTo>
                  <a:lnTo>
                    <a:pt x="145" y="205"/>
                  </a:lnTo>
                  <a:lnTo>
                    <a:pt x="147" y="210"/>
                  </a:lnTo>
                  <a:lnTo>
                    <a:pt x="148" y="210"/>
                  </a:lnTo>
                  <a:lnTo>
                    <a:pt x="148" y="216"/>
                  </a:lnTo>
                  <a:lnTo>
                    <a:pt x="147" y="214"/>
                  </a:lnTo>
                  <a:lnTo>
                    <a:pt x="145" y="212"/>
                  </a:lnTo>
                  <a:lnTo>
                    <a:pt x="145" y="209"/>
                  </a:lnTo>
                  <a:lnTo>
                    <a:pt x="141" y="209"/>
                  </a:lnTo>
                  <a:lnTo>
                    <a:pt x="141" y="207"/>
                  </a:lnTo>
                  <a:lnTo>
                    <a:pt x="135" y="202"/>
                  </a:lnTo>
                  <a:lnTo>
                    <a:pt x="131" y="197"/>
                  </a:lnTo>
                  <a:lnTo>
                    <a:pt x="131" y="193"/>
                  </a:lnTo>
                  <a:lnTo>
                    <a:pt x="126" y="187"/>
                  </a:lnTo>
                  <a:lnTo>
                    <a:pt x="131" y="185"/>
                  </a:lnTo>
                  <a:close/>
                  <a:moveTo>
                    <a:pt x="114" y="158"/>
                  </a:moveTo>
                  <a:lnTo>
                    <a:pt x="118" y="158"/>
                  </a:lnTo>
                  <a:lnTo>
                    <a:pt x="118" y="159"/>
                  </a:lnTo>
                  <a:lnTo>
                    <a:pt x="114" y="159"/>
                  </a:lnTo>
                  <a:lnTo>
                    <a:pt x="114" y="158"/>
                  </a:lnTo>
                  <a:close/>
                  <a:moveTo>
                    <a:pt x="0" y="14"/>
                  </a:moveTo>
                  <a:lnTo>
                    <a:pt x="0" y="12"/>
                  </a:lnTo>
                  <a:lnTo>
                    <a:pt x="0" y="9"/>
                  </a:lnTo>
                  <a:lnTo>
                    <a:pt x="0" y="14"/>
                  </a:lnTo>
                  <a:close/>
                  <a:moveTo>
                    <a:pt x="3" y="0"/>
                  </a:moveTo>
                  <a:lnTo>
                    <a:pt x="5" y="0"/>
                  </a:lnTo>
                  <a:lnTo>
                    <a:pt x="5" y="2"/>
                  </a:lnTo>
                  <a:lnTo>
                    <a:pt x="3" y="2"/>
                  </a:lnTo>
                  <a:lnTo>
                    <a:pt x="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5" name="Freeform 58"/>
            <p:cNvSpPr>
              <a:spLocks noEditPoints="1"/>
            </p:cNvSpPr>
            <p:nvPr/>
          </p:nvSpPr>
          <p:spPr bwMode="gray">
            <a:xfrm>
              <a:off x="5419229" y="4924165"/>
              <a:ext cx="766157" cy="224375"/>
            </a:xfrm>
            <a:custGeom>
              <a:avLst/>
              <a:gdLst>
                <a:gd name="T0" fmla="*/ 407 w 420"/>
                <a:gd name="T1" fmla="*/ 68 h 123"/>
                <a:gd name="T2" fmla="*/ 256 w 420"/>
                <a:gd name="T3" fmla="*/ 63 h 123"/>
                <a:gd name="T4" fmla="*/ 386 w 420"/>
                <a:gd name="T5" fmla="*/ 60 h 123"/>
                <a:gd name="T6" fmla="*/ 116 w 420"/>
                <a:gd name="T7" fmla="*/ 53 h 123"/>
                <a:gd name="T8" fmla="*/ 232 w 420"/>
                <a:gd name="T9" fmla="*/ 54 h 123"/>
                <a:gd name="T10" fmla="*/ 217 w 420"/>
                <a:gd name="T11" fmla="*/ 49 h 123"/>
                <a:gd name="T12" fmla="*/ 127 w 420"/>
                <a:gd name="T13" fmla="*/ 41 h 123"/>
                <a:gd name="T14" fmla="*/ 418 w 420"/>
                <a:gd name="T15" fmla="*/ 37 h 123"/>
                <a:gd name="T16" fmla="*/ 147 w 420"/>
                <a:gd name="T17" fmla="*/ 36 h 123"/>
                <a:gd name="T18" fmla="*/ 28 w 420"/>
                <a:gd name="T19" fmla="*/ 32 h 123"/>
                <a:gd name="T20" fmla="*/ 104 w 420"/>
                <a:gd name="T21" fmla="*/ 24 h 123"/>
                <a:gd name="T22" fmla="*/ 99 w 420"/>
                <a:gd name="T23" fmla="*/ 24 h 123"/>
                <a:gd name="T24" fmla="*/ 96 w 420"/>
                <a:gd name="T25" fmla="*/ 61 h 123"/>
                <a:gd name="T26" fmla="*/ 82 w 420"/>
                <a:gd name="T27" fmla="*/ 92 h 123"/>
                <a:gd name="T28" fmla="*/ 89 w 420"/>
                <a:gd name="T29" fmla="*/ 95 h 123"/>
                <a:gd name="T30" fmla="*/ 77 w 420"/>
                <a:gd name="T31" fmla="*/ 87 h 123"/>
                <a:gd name="T32" fmla="*/ 67 w 420"/>
                <a:gd name="T33" fmla="*/ 97 h 123"/>
                <a:gd name="T34" fmla="*/ 48 w 420"/>
                <a:gd name="T35" fmla="*/ 97 h 123"/>
                <a:gd name="T36" fmla="*/ 29 w 420"/>
                <a:gd name="T37" fmla="*/ 92 h 123"/>
                <a:gd name="T38" fmla="*/ 9 w 420"/>
                <a:gd name="T39" fmla="*/ 89 h 123"/>
                <a:gd name="T40" fmla="*/ 17 w 420"/>
                <a:gd name="T41" fmla="*/ 77 h 123"/>
                <a:gd name="T42" fmla="*/ 29 w 420"/>
                <a:gd name="T43" fmla="*/ 70 h 123"/>
                <a:gd name="T44" fmla="*/ 36 w 420"/>
                <a:gd name="T45" fmla="*/ 34 h 123"/>
                <a:gd name="T46" fmla="*/ 220 w 420"/>
                <a:gd name="T47" fmla="*/ 13 h 123"/>
                <a:gd name="T48" fmla="*/ 208 w 420"/>
                <a:gd name="T49" fmla="*/ 7 h 123"/>
                <a:gd name="T50" fmla="*/ 395 w 420"/>
                <a:gd name="T51" fmla="*/ 12 h 123"/>
                <a:gd name="T52" fmla="*/ 232 w 420"/>
                <a:gd name="T53" fmla="*/ 3 h 123"/>
                <a:gd name="T54" fmla="*/ 280 w 420"/>
                <a:gd name="T55" fmla="*/ 19 h 123"/>
                <a:gd name="T56" fmla="*/ 308 w 420"/>
                <a:gd name="T57" fmla="*/ 29 h 123"/>
                <a:gd name="T58" fmla="*/ 343 w 420"/>
                <a:gd name="T59" fmla="*/ 36 h 123"/>
                <a:gd name="T60" fmla="*/ 345 w 420"/>
                <a:gd name="T61" fmla="*/ 46 h 123"/>
                <a:gd name="T62" fmla="*/ 367 w 420"/>
                <a:gd name="T63" fmla="*/ 24 h 123"/>
                <a:gd name="T64" fmla="*/ 384 w 420"/>
                <a:gd name="T65" fmla="*/ 46 h 123"/>
                <a:gd name="T66" fmla="*/ 384 w 420"/>
                <a:gd name="T67" fmla="*/ 61 h 123"/>
                <a:gd name="T68" fmla="*/ 401 w 420"/>
                <a:gd name="T69" fmla="*/ 56 h 123"/>
                <a:gd name="T70" fmla="*/ 401 w 420"/>
                <a:gd name="T71" fmla="*/ 73 h 123"/>
                <a:gd name="T72" fmla="*/ 369 w 420"/>
                <a:gd name="T73" fmla="*/ 70 h 123"/>
                <a:gd name="T74" fmla="*/ 343 w 420"/>
                <a:gd name="T75" fmla="*/ 78 h 123"/>
                <a:gd name="T76" fmla="*/ 364 w 420"/>
                <a:gd name="T77" fmla="*/ 90 h 123"/>
                <a:gd name="T78" fmla="*/ 326 w 420"/>
                <a:gd name="T79" fmla="*/ 90 h 123"/>
                <a:gd name="T80" fmla="*/ 313 w 420"/>
                <a:gd name="T81" fmla="*/ 70 h 123"/>
                <a:gd name="T82" fmla="*/ 302 w 420"/>
                <a:gd name="T83" fmla="*/ 72 h 123"/>
                <a:gd name="T84" fmla="*/ 270 w 420"/>
                <a:gd name="T85" fmla="*/ 90 h 123"/>
                <a:gd name="T86" fmla="*/ 229 w 420"/>
                <a:gd name="T87" fmla="*/ 99 h 123"/>
                <a:gd name="T88" fmla="*/ 185 w 420"/>
                <a:gd name="T89" fmla="*/ 116 h 123"/>
                <a:gd name="T90" fmla="*/ 133 w 420"/>
                <a:gd name="T91" fmla="*/ 116 h 123"/>
                <a:gd name="T92" fmla="*/ 111 w 420"/>
                <a:gd name="T93" fmla="*/ 101 h 123"/>
                <a:gd name="T94" fmla="*/ 116 w 420"/>
                <a:gd name="T95" fmla="*/ 82 h 123"/>
                <a:gd name="T96" fmla="*/ 120 w 420"/>
                <a:gd name="T97" fmla="*/ 51 h 123"/>
                <a:gd name="T98" fmla="*/ 154 w 420"/>
                <a:gd name="T99" fmla="*/ 34 h 123"/>
                <a:gd name="T100" fmla="*/ 198 w 420"/>
                <a:gd name="T101" fmla="*/ 39 h 123"/>
                <a:gd name="T102" fmla="*/ 215 w 420"/>
                <a:gd name="T103" fmla="*/ 53 h 123"/>
                <a:gd name="T104" fmla="*/ 231 w 420"/>
                <a:gd name="T105" fmla="*/ 66 h 123"/>
                <a:gd name="T106" fmla="*/ 249 w 420"/>
                <a:gd name="T107" fmla="*/ 78 h 123"/>
                <a:gd name="T108" fmla="*/ 285 w 420"/>
                <a:gd name="T109" fmla="*/ 70 h 123"/>
                <a:gd name="T110" fmla="*/ 290 w 420"/>
                <a:gd name="T111" fmla="*/ 60 h 123"/>
                <a:gd name="T112" fmla="*/ 258 w 420"/>
                <a:gd name="T113" fmla="*/ 44 h 123"/>
                <a:gd name="T114" fmla="*/ 231 w 420"/>
                <a:gd name="T115"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0" h="123">
                  <a:moveTo>
                    <a:pt x="12" y="78"/>
                  </a:moveTo>
                  <a:lnTo>
                    <a:pt x="14" y="80"/>
                  </a:lnTo>
                  <a:lnTo>
                    <a:pt x="10" y="78"/>
                  </a:lnTo>
                  <a:lnTo>
                    <a:pt x="12" y="77"/>
                  </a:lnTo>
                  <a:lnTo>
                    <a:pt x="12" y="78"/>
                  </a:lnTo>
                  <a:close/>
                  <a:moveTo>
                    <a:pt x="407" y="68"/>
                  </a:moveTo>
                  <a:lnTo>
                    <a:pt x="408" y="68"/>
                  </a:lnTo>
                  <a:lnTo>
                    <a:pt x="407" y="72"/>
                  </a:lnTo>
                  <a:lnTo>
                    <a:pt x="405" y="70"/>
                  </a:lnTo>
                  <a:lnTo>
                    <a:pt x="407" y="68"/>
                  </a:lnTo>
                  <a:close/>
                  <a:moveTo>
                    <a:pt x="256" y="63"/>
                  </a:moveTo>
                  <a:lnTo>
                    <a:pt x="260" y="65"/>
                  </a:lnTo>
                  <a:lnTo>
                    <a:pt x="261" y="65"/>
                  </a:lnTo>
                  <a:lnTo>
                    <a:pt x="261" y="72"/>
                  </a:lnTo>
                  <a:lnTo>
                    <a:pt x="258" y="72"/>
                  </a:lnTo>
                  <a:lnTo>
                    <a:pt x="260" y="66"/>
                  </a:lnTo>
                  <a:lnTo>
                    <a:pt x="255" y="68"/>
                  </a:lnTo>
                  <a:lnTo>
                    <a:pt x="258" y="66"/>
                  </a:lnTo>
                  <a:lnTo>
                    <a:pt x="255" y="65"/>
                  </a:lnTo>
                  <a:lnTo>
                    <a:pt x="256" y="63"/>
                  </a:lnTo>
                  <a:lnTo>
                    <a:pt x="255" y="63"/>
                  </a:lnTo>
                  <a:lnTo>
                    <a:pt x="256" y="63"/>
                  </a:lnTo>
                  <a:close/>
                  <a:moveTo>
                    <a:pt x="241" y="58"/>
                  </a:moveTo>
                  <a:lnTo>
                    <a:pt x="241" y="60"/>
                  </a:lnTo>
                  <a:lnTo>
                    <a:pt x="241" y="58"/>
                  </a:lnTo>
                  <a:close/>
                  <a:moveTo>
                    <a:pt x="403" y="58"/>
                  </a:moveTo>
                  <a:lnTo>
                    <a:pt x="403" y="60"/>
                  </a:lnTo>
                  <a:lnTo>
                    <a:pt x="403" y="58"/>
                  </a:lnTo>
                  <a:close/>
                  <a:moveTo>
                    <a:pt x="386" y="56"/>
                  </a:moveTo>
                  <a:lnTo>
                    <a:pt x="386" y="60"/>
                  </a:lnTo>
                  <a:lnTo>
                    <a:pt x="386" y="56"/>
                  </a:lnTo>
                  <a:close/>
                  <a:moveTo>
                    <a:pt x="234" y="54"/>
                  </a:moveTo>
                  <a:lnTo>
                    <a:pt x="236" y="54"/>
                  </a:lnTo>
                  <a:lnTo>
                    <a:pt x="236" y="56"/>
                  </a:lnTo>
                  <a:lnTo>
                    <a:pt x="234" y="56"/>
                  </a:lnTo>
                  <a:lnTo>
                    <a:pt x="234" y="54"/>
                  </a:lnTo>
                  <a:close/>
                  <a:moveTo>
                    <a:pt x="116" y="53"/>
                  </a:moveTo>
                  <a:lnTo>
                    <a:pt x="113" y="56"/>
                  </a:lnTo>
                  <a:lnTo>
                    <a:pt x="113" y="54"/>
                  </a:lnTo>
                  <a:lnTo>
                    <a:pt x="116" y="53"/>
                  </a:lnTo>
                  <a:close/>
                  <a:moveTo>
                    <a:pt x="121" y="49"/>
                  </a:moveTo>
                  <a:lnTo>
                    <a:pt x="125" y="49"/>
                  </a:lnTo>
                  <a:lnTo>
                    <a:pt x="123" y="51"/>
                  </a:lnTo>
                  <a:lnTo>
                    <a:pt x="121" y="51"/>
                  </a:lnTo>
                  <a:lnTo>
                    <a:pt x="121" y="49"/>
                  </a:lnTo>
                  <a:close/>
                  <a:moveTo>
                    <a:pt x="227" y="46"/>
                  </a:moveTo>
                  <a:lnTo>
                    <a:pt x="229" y="49"/>
                  </a:lnTo>
                  <a:lnTo>
                    <a:pt x="231" y="49"/>
                  </a:lnTo>
                  <a:lnTo>
                    <a:pt x="229" y="53"/>
                  </a:lnTo>
                  <a:lnTo>
                    <a:pt x="232" y="54"/>
                  </a:lnTo>
                  <a:lnTo>
                    <a:pt x="232" y="58"/>
                  </a:lnTo>
                  <a:lnTo>
                    <a:pt x="226" y="53"/>
                  </a:lnTo>
                  <a:lnTo>
                    <a:pt x="226" y="48"/>
                  </a:lnTo>
                  <a:lnTo>
                    <a:pt x="227" y="46"/>
                  </a:lnTo>
                  <a:close/>
                  <a:moveTo>
                    <a:pt x="219" y="43"/>
                  </a:moveTo>
                  <a:lnTo>
                    <a:pt x="222" y="44"/>
                  </a:lnTo>
                  <a:lnTo>
                    <a:pt x="222" y="51"/>
                  </a:lnTo>
                  <a:lnTo>
                    <a:pt x="220" y="51"/>
                  </a:lnTo>
                  <a:lnTo>
                    <a:pt x="219" y="53"/>
                  </a:lnTo>
                  <a:lnTo>
                    <a:pt x="217" y="49"/>
                  </a:lnTo>
                  <a:lnTo>
                    <a:pt x="219" y="49"/>
                  </a:lnTo>
                  <a:lnTo>
                    <a:pt x="217" y="48"/>
                  </a:lnTo>
                  <a:lnTo>
                    <a:pt x="219" y="48"/>
                  </a:lnTo>
                  <a:lnTo>
                    <a:pt x="217" y="46"/>
                  </a:lnTo>
                  <a:lnTo>
                    <a:pt x="219" y="43"/>
                  </a:lnTo>
                  <a:close/>
                  <a:moveTo>
                    <a:pt x="135" y="39"/>
                  </a:moveTo>
                  <a:lnTo>
                    <a:pt x="135" y="43"/>
                  </a:lnTo>
                  <a:lnTo>
                    <a:pt x="125" y="43"/>
                  </a:lnTo>
                  <a:lnTo>
                    <a:pt x="121" y="43"/>
                  </a:lnTo>
                  <a:lnTo>
                    <a:pt x="127" y="41"/>
                  </a:lnTo>
                  <a:lnTo>
                    <a:pt x="132" y="41"/>
                  </a:lnTo>
                  <a:lnTo>
                    <a:pt x="135" y="39"/>
                  </a:lnTo>
                  <a:close/>
                  <a:moveTo>
                    <a:pt x="219" y="39"/>
                  </a:moveTo>
                  <a:lnTo>
                    <a:pt x="220" y="39"/>
                  </a:lnTo>
                  <a:lnTo>
                    <a:pt x="220" y="43"/>
                  </a:lnTo>
                  <a:lnTo>
                    <a:pt x="219" y="43"/>
                  </a:lnTo>
                  <a:lnTo>
                    <a:pt x="219" y="39"/>
                  </a:lnTo>
                  <a:close/>
                  <a:moveTo>
                    <a:pt x="413" y="37"/>
                  </a:moveTo>
                  <a:lnTo>
                    <a:pt x="415" y="39"/>
                  </a:lnTo>
                  <a:lnTo>
                    <a:pt x="418" y="37"/>
                  </a:lnTo>
                  <a:lnTo>
                    <a:pt x="420" y="41"/>
                  </a:lnTo>
                  <a:lnTo>
                    <a:pt x="418" y="41"/>
                  </a:lnTo>
                  <a:lnTo>
                    <a:pt x="418" y="44"/>
                  </a:lnTo>
                  <a:lnTo>
                    <a:pt x="417" y="41"/>
                  </a:lnTo>
                  <a:lnTo>
                    <a:pt x="413" y="46"/>
                  </a:lnTo>
                  <a:lnTo>
                    <a:pt x="413" y="43"/>
                  </a:lnTo>
                  <a:lnTo>
                    <a:pt x="412" y="41"/>
                  </a:lnTo>
                  <a:lnTo>
                    <a:pt x="412" y="37"/>
                  </a:lnTo>
                  <a:lnTo>
                    <a:pt x="413" y="37"/>
                  </a:lnTo>
                  <a:close/>
                  <a:moveTo>
                    <a:pt x="147" y="36"/>
                  </a:moveTo>
                  <a:lnTo>
                    <a:pt x="144" y="39"/>
                  </a:lnTo>
                  <a:lnTo>
                    <a:pt x="139" y="41"/>
                  </a:lnTo>
                  <a:lnTo>
                    <a:pt x="140" y="37"/>
                  </a:lnTo>
                  <a:lnTo>
                    <a:pt x="144" y="37"/>
                  </a:lnTo>
                  <a:lnTo>
                    <a:pt x="145" y="36"/>
                  </a:lnTo>
                  <a:lnTo>
                    <a:pt x="147" y="36"/>
                  </a:lnTo>
                  <a:close/>
                  <a:moveTo>
                    <a:pt x="28" y="31"/>
                  </a:moveTo>
                  <a:lnTo>
                    <a:pt x="29" y="31"/>
                  </a:lnTo>
                  <a:lnTo>
                    <a:pt x="29" y="32"/>
                  </a:lnTo>
                  <a:lnTo>
                    <a:pt x="28" y="32"/>
                  </a:lnTo>
                  <a:lnTo>
                    <a:pt x="28" y="31"/>
                  </a:lnTo>
                  <a:close/>
                  <a:moveTo>
                    <a:pt x="26" y="31"/>
                  </a:moveTo>
                  <a:lnTo>
                    <a:pt x="26" y="32"/>
                  </a:lnTo>
                  <a:lnTo>
                    <a:pt x="26" y="31"/>
                  </a:lnTo>
                  <a:close/>
                  <a:moveTo>
                    <a:pt x="109" y="29"/>
                  </a:moveTo>
                  <a:lnTo>
                    <a:pt x="109" y="31"/>
                  </a:lnTo>
                  <a:lnTo>
                    <a:pt x="106" y="27"/>
                  </a:lnTo>
                  <a:lnTo>
                    <a:pt x="108" y="25"/>
                  </a:lnTo>
                  <a:lnTo>
                    <a:pt x="109" y="29"/>
                  </a:lnTo>
                  <a:close/>
                  <a:moveTo>
                    <a:pt x="104" y="24"/>
                  </a:moveTo>
                  <a:lnTo>
                    <a:pt x="108" y="24"/>
                  </a:lnTo>
                  <a:lnTo>
                    <a:pt x="108" y="25"/>
                  </a:lnTo>
                  <a:lnTo>
                    <a:pt x="104" y="25"/>
                  </a:lnTo>
                  <a:lnTo>
                    <a:pt x="104" y="24"/>
                  </a:lnTo>
                  <a:close/>
                  <a:moveTo>
                    <a:pt x="67" y="15"/>
                  </a:moveTo>
                  <a:lnTo>
                    <a:pt x="77" y="17"/>
                  </a:lnTo>
                  <a:lnTo>
                    <a:pt x="82" y="20"/>
                  </a:lnTo>
                  <a:lnTo>
                    <a:pt x="86" y="20"/>
                  </a:lnTo>
                  <a:lnTo>
                    <a:pt x="94" y="22"/>
                  </a:lnTo>
                  <a:lnTo>
                    <a:pt x="99" y="24"/>
                  </a:lnTo>
                  <a:lnTo>
                    <a:pt x="108" y="31"/>
                  </a:lnTo>
                  <a:lnTo>
                    <a:pt x="108" y="34"/>
                  </a:lnTo>
                  <a:lnTo>
                    <a:pt x="106" y="43"/>
                  </a:lnTo>
                  <a:lnTo>
                    <a:pt x="101" y="48"/>
                  </a:lnTo>
                  <a:lnTo>
                    <a:pt x="101" y="49"/>
                  </a:lnTo>
                  <a:lnTo>
                    <a:pt x="103" y="48"/>
                  </a:lnTo>
                  <a:lnTo>
                    <a:pt x="103" y="49"/>
                  </a:lnTo>
                  <a:lnTo>
                    <a:pt x="101" y="53"/>
                  </a:lnTo>
                  <a:lnTo>
                    <a:pt x="101" y="56"/>
                  </a:lnTo>
                  <a:lnTo>
                    <a:pt x="96" y="61"/>
                  </a:lnTo>
                  <a:lnTo>
                    <a:pt x="96" y="65"/>
                  </a:lnTo>
                  <a:lnTo>
                    <a:pt x="91" y="70"/>
                  </a:lnTo>
                  <a:lnTo>
                    <a:pt x="87" y="77"/>
                  </a:lnTo>
                  <a:lnTo>
                    <a:pt x="87" y="80"/>
                  </a:lnTo>
                  <a:lnTo>
                    <a:pt x="82" y="82"/>
                  </a:lnTo>
                  <a:lnTo>
                    <a:pt x="80" y="85"/>
                  </a:lnTo>
                  <a:lnTo>
                    <a:pt x="79" y="87"/>
                  </a:lnTo>
                  <a:lnTo>
                    <a:pt x="80" y="87"/>
                  </a:lnTo>
                  <a:lnTo>
                    <a:pt x="80" y="90"/>
                  </a:lnTo>
                  <a:lnTo>
                    <a:pt x="82" y="92"/>
                  </a:lnTo>
                  <a:lnTo>
                    <a:pt x="82" y="89"/>
                  </a:lnTo>
                  <a:lnTo>
                    <a:pt x="84" y="90"/>
                  </a:lnTo>
                  <a:lnTo>
                    <a:pt x="84" y="89"/>
                  </a:lnTo>
                  <a:lnTo>
                    <a:pt x="86" y="90"/>
                  </a:lnTo>
                  <a:lnTo>
                    <a:pt x="86" y="94"/>
                  </a:lnTo>
                  <a:lnTo>
                    <a:pt x="86" y="92"/>
                  </a:lnTo>
                  <a:lnTo>
                    <a:pt x="89" y="92"/>
                  </a:lnTo>
                  <a:lnTo>
                    <a:pt x="89" y="94"/>
                  </a:lnTo>
                  <a:lnTo>
                    <a:pt x="92" y="92"/>
                  </a:lnTo>
                  <a:lnTo>
                    <a:pt x="89" y="95"/>
                  </a:lnTo>
                  <a:lnTo>
                    <a:pt x="82" y="99"/>
                  </a:lnTo>
                  <a:lnTo>
                    <a:pt x="84" y="97"/>
                  </a:lnTo>
                  <a:lnTo>
                    <a:pt x="82" y="94"/>
                  </a:lnTo>
                  <a:lnTo>
                    <a:pt x="80" y="99"/>
                  </a:lnTo>
                  <a:lnTo>
                    <a:pt x="79" y="97"/>
                  </a:lnTo>
                  <a:lnTo>
                    <a:pt x="80" y="99"/>
                  </a:lnTo>
                  <a:lnTo>
                    <a:pt x="74" y="99"/>
                  </a:lnTo>
                  <a:lnTo>
                    <a:pt x="72" y="99"/>
                  </a:lnTo>
                  <a:lnTo>
                    <a:pt x="77" y="89"/>
                  </a:lnTo>
                  <a:lnTo>
                    <a:pt x="77" y="87"/>
                  </a:lnTo>
                  <a:lnTo>
                    <a:pt x="74" y="90"/>
                  </a:lnTo>
                  <a:lnTo>
                    <a:pt x="72" y="89"/>
                  </a:lnTo>
                  <a:lnTo>
                    <a:pt x="70" y="92"/>
                  </a:lnTo>
                  <a:lnTo>
                    <a:pt x="69" y="92"/>
                  </a:lnTo>
                  <a:lnTo>
                    <a:pt x="67" y="92"/>
                  </a:lnTo>
                  <a:lnTo>
                    <a:pt x="70" y="97"/>
                  </a:lnTo>
                  <a:lnTo>
                    <a:pt x="69" y="104"/>
                  </a:lnTo>
                  <a:lnTo>
                    <a:pt x="67" y="104"/>
                  </a:lnTo>
                  <a:lnTo>
                    <a:pt x="65" y="101"/>
                  </a:lnTo>
                  <a:lnTo>
                    <a:pt x="67" y="97"/>
                  </a:lnTo>
                  <a:lnTo>
                    <a:pt x="63" y="99"/>
                  </a:lnTo>
                  <a:lnTo>
                    <a:pt x="62" y="97"/>
                  </a:lnTo>
                  <a:lnTo>
                    <a:pt x="62" y="101"/>
                  </a:lnTo>
                  <a:lnTo>
                    <a:pt x="60" y="97"/>
                  </a:lnTo>
                  <a:lnTo>
                    <a:pt x="60" y="99"/>
                  </a:lnTo>
                  <a:lnTo>
                    <a:pt x="55" y="95"/>
                  </a:lnTo>
                  <a:lnTo>
                    <a:pt x="55" y="99"/>
                  </a:lnTo>
                  <a:lnTo>
                    <a:pt x="51" y="97"/>
                  </a:lnTo>
                  <a:lnTo>
                    <a:pt x="50" y="99"/>
                  </a:lnTo>
                  <a:lnTo>
                    <a:pt x="48" y="97"/>
                  </a:lnTo>
                  <a:lnTo>
                    <a:pt x="46" y="99"/>
                  </a:lnTo>
                  <a:lnTo>
                    <a:pt x="46" y="97"/>
                  </a:lnTo>
                  <a:lnTo>
                    <a:pt x="45" y="99"/>
                  </a:lnTo>
                  <a:lnTo>
                    <a:pt x="41" y="97"/>
                  </a:lnTo>
                  <a:lnTo>
                    <a:pt x="39" y="92"/>
                  </a:lnTo>
                  <a:lnTo>
                    <a:pt x="31" y="94"/>
                  </a:lnTo>
                  <a:lnTo>
                    <a:pt x="31" y="97"/>
                  </a:lnTo>
                  <a:lnTo>
                    <a:pt x="28" y="95"/>
                  </a:lnTo>
                  <a:lnTo>
                    <a:pt x="26" y="94"/>
                  </a:lnTo>
                  <a:lnTo>
                    <a:pt x="29" y="92"/>
                  </a:lnTo>
                  <a:lnTo>
                    <a:pt x="28" y="90"/>
                  </a:lnTo>
                  <a:lnTo>
                    <a:pt x="22" y="92"/>
                  </a:lnTo>
                  <a:lnTo>
                    <a:pt x="24" y="95"/>
                  </a:lnTo>
                  <a:lnTo>
                    <a:pt x="22" y="97"/>
                  </a:lnTo>
                  <a:lnTo>
                    <a:pt x="24" y="97"/>
                  </a:lnTo>
                  <a:lnTo>
                    <a:pt x="22" y="97"/>
                  </a:lnTo>
                  <a:lnTo>
                    <a:pt x="16" y="94"/>
                  </a:lnTo>
                  <a:lnTo>
                    <a:pt x="14" y="89"/>
                  </a:lnTo>
                  <a:lnTo>
                    <a:pt x="12" y="90"/>
                  </a:lnTo>
                  <a:lnTo>
                    <a:pt x="9" y="89"/>
                  </a:lnTo>
                  <a:lnTo>
                    <a:pt x="0" y="87"/>
                  </a:lnTo>
                  <a:lnTo>
                    <a:pt x="0" y="80"/>
                  </a:lnTo>
                  <a:lnTo>
                    <a:pt x="4" y="75"/>
                  </a:lnTo>
                  <a:lnTo>
                    <a:pt x="5" y="75"/>
                  </a:lnTo>
                  <a:lnTo>
                    <a:pt x="7" y="80"/>
                  </a:lnTo>
                  <a:lnTo>
                    <a:pt x="9" y="78"/>
                  </a:lnTo>
                  <a:lnTo>
                    <a:pt x="9" y="80"/>
                  </a:lnTo>
                  <a:lnTo>
                    <a:pt x="10" y="82"/>
                  </a:lnTo>
                  <a:lnTo>
                    <a:pt x="14" y="80"/>
                  </a:lnTo>
                  <a:lnTo>
                    <a:pt x="17" y="77"/>
                  </a:lnTo>
                  <a:lnTo>
                    <a:pt x="21" y="77"/>
                  </a:lnTo>
                  <a:lnTo>
                    <a:pt x="22" y="78"/>
                  </a:lnTo>
                  <a:lnTo>
                    <a:pt x="26" y="75"/>
                  </a:lnTo>
                  <a:lnTo>
                    <a:pt x="28" y="77"/>
                  </a:lnTo>
                  <a:lnTo>
                    <a:pt x="26" y="80"/>
                  </a:lnTo>
                  <a:lnTo>
                    <a:pt x="29" y="82"/>
                  </a:lnTo>
                  <a:lnTo>
                    <a:pt x="28" y="80"/>
                  </a:lnTo>
                  <a:lnTo>
                    <a:pt x="31" y="77"/>
                  </a:lnTo>
                  <a:lnTo>
                    <a:pt x="28" y="77"/>
                  </a:lnTo>
                  <a:lnTo>
                    <a:pt x="29" y="70"/>
                  </a:lnTo>
                  <a:lnTo>
                    <a:pt x="29" y="68"/>
                  </a:lnTo>
                  <a:lnTo>
                    <a:pt x="31" y="63"/>
                  </a:lnTo>
                  <a:lnTo>
                    <a:pt x="29" y="56"/>
                  </a:lnTo>
                  <a:lnTo>
                    <a:pt x="29" y="51"/>
                  </a:lnTo>
                  <a:lnTo>
                    <a:pt x="26" y="48"/>
                  </a:lnTo>
                  <a:lnTo>
                    <a:pt x="26" y="39"/>
                  </a:lnTo>
                  <a:lnTo>
                    <a:pt x="29" y="37"/>
                  </a:lnTo>
                  <a:lnTo>
                    <a:pt x="34" y="36"/>
                  </a:lnTo>
                  <a:lnTo>
                    <a:pt x="34" y="32"/>
                  </a:lnTo>
                  <a:lnTo>
                    <a:pt x="36" y="34"/>
                  </a:lnTo>
                  <a:lnTo>
                    <a:pt x="43" y="31"/>
                  </a:lnTo>
                  <a:lnTo>
                    <a:pt x="45" y="25"/>
                  </a:lnTo>
                  <a:lnTo>
                    <a:pt x="51" y="20"/>
                  </a:lnTo>
                  <a:lnTo>
                    <a:pt x="57" y="19"/>
                  </a:lnTo>
                  <a:lnTo>
                    <a:pt x="62" y="15"/>
                  </a:lnTo>
                  <a:lnTo>
                    <a:pt x="67" y="15"/>
                  </a:lnTo>
                  <a:close/>
                  <a:moveTo>
                    <a:pt x="212" y="7"/>
                  </a:moveTo>
                  <a:lnTo>
                    <a:pt x="220" y="7"/>
                  </a:lnTo>
                  <a:lnTo>
                    <a:pt x="224" y="10"/>
                  </a:lnTo>
                  <a:lnTo>
                    <a:pt x="220" y="13"/>
                  </a:lnTo>
                  <a:lnTo>
                    <a:pt x="215" y="17"/>
                  </a:lnTo>
                  <a:lnTo>
                    <a:pt x="214" y="20"/>
                  </a:lnTo>
                  <a:lnTo>
                    <a:pt x="212" y="22"/>
                  </a:lnTo>
                  <a:lnTo>
                    <a:pt x="210" y="29"/>
                  </a:lnTo>
                  <a:lnTo>
                    <a:pt x="203" y="36"/>
                  </a:lnTo>
                  <a:lnTo>
                    <a:pt x="198" y="32"/>
                  </a:lnTo>
                  <a:lnTo>
                    <a:pt x="202" y="22"/>
                  </a:lnTo>
                  <a:lnTo>
                    <a:pt x="198" y="20"/>
                  </a:lnTo>
                  <a:lnTo>
                    <a:pt x="198" y="12"/>
                  </a:lnTo>
                  <a:lnTo>
                    <a:pt x="208" y="7"/>
                  </a:lnTo>
                  <a:lnTo>
                    <a:pt x="212" y="7"/>
                  </a:lnTo>
                  <a:close/>
                  <a:moveTo>
                    <a:pt x="190" y="5"/>
                  </a:moveTo>
                  <a:lnTo>
                    <a:pt x="191" y="5"/>
                  </a:lnTo>
                  <a:lnTo>
                    <a:pt x="186" y="7"/>
                  </a:lnTo>
                  <a:lnTo>
                    <a:pt x="186" y="8"/>
                  </a:lnTo>
                  <a:lnTo>
                    <a:pt x="183" y="8"/>
                  </a:lnTo>
                  <a:lnTo>
                    <a:pt x="190" y="5"/>
                  </a:lnTo>
                  <a:close/>
                  <a:moveTo>
                    <a:pt x="388" y="5"/>
                  </a:moveTo>
                  <a:lnTo>
                    <a:pt x="391" y="5"/>
                  </a:lnTo>
                  <a:lnTo>
                    <a:pt x="395" y="12"/>
                  </a:lnTo>
                  <a:lnTo>
                    <a:pt x="395" y="17"/>
                  </a:lnTo>
                  <a:lnTo>
                    <a:pt x="391" y="20"/>
                  </a:lnTo>
                  <a:lnTo>
                    <a:pt x="386" y="20"/>
                  </a:lnTo>
                  <a:lnTo>
                    <a:pt x="381" y="17"/>
                  </a:lnTo>
                  <a:lnTo>
                    <a:pt x="381" y="12"/>
                  </a:lnTo>
                  <a:lnTo>
                    <a:pt x="383" y="8"/>
                  </a:lnTo>
                  <a:lnTo>
                    <a:pt x="388" y="5"/>
                  </a:lnTo>
                  <a:close/>
                  <a:moveTo>
                    <a:pt x="229" y="2"/>
                  </a:moveTo>
                  <a:lnTo>
                    <a:pt x="232" y="2"/>
                  </a:lnTo>
                  <a:lnTo>
                    <a:pt x="232" y="3"/>
                  </a:lnTo>
                  <a:lnTo>
                    <a:pt x="229" y="3"/>
                  </a:lnTo>
                  <a:lnTo>
                    <a:pt x="229" y="2"/>
                  </a:lnTo>
                  <a:close/>
                  <a:moveTo>
                    <a:pt x="255" y="0"/>
                  </a:moveTo>
                  <a:lnTo>
                    <a:pt x="256" y="2"/>
                  </a:lnTo>
                  <a:lnTo>
                    <a:pt x="261" y="0"/>
                  </a:lnTo>
                  <a:lnTo>
                    <a:pt x="267" y="2"/>
                  </a:lnTo>
                  <a:lnTo>
                    <a:pt x="270" y="2"/>
                  </a:lnTo>
                  <a:lnTo>
                    <a:pt x="278" y="5"/>
                  </a:lnTo>
                  <a:lnTo>
                    <a:pt x="278" y="13"/>
                  </a:lnTo>
                  <a:lnTo>
                    <a:pt x="280" y="19"/>
                  </a:lnTo>
                  <a:lnTo>
                    <a:pt x="287" y="24"/>
                  </a:lnTo>
                  <a:lnTo>
                    <a:pt x="289" y="29"/>
                  </a:lnTo>
                  <a:lnTo>
                    <a:pt x="292" y="31"/>
                  </a:lnTo>
                  <a:lnTo>
                    <a:pt x="294" y="29"/>
                  </a:lnTo>
                  <a:lnTo>
                    <a:pt x="294" y="32"/>
                  </a:lnTo>
                  <a:lnTo>
                    <a:pt x="299" y="34"/>
                  </a:lnTo>
                  <a:lnTo>
                    <a:pt x="301" y="32"/>
                  </a:lnTo>
                  <a:lnTo>
                    <a:pt x="301" y="31"/>
                  </a:lnTo>
                  <a:lnTo>
                    <a:pt x="304" y="31"/>
                  </a:lnTo>
                  <a:lnTo>
                    <a:pt x="308" y="29"/>
                  </a:lnTo>
                  <a:lnTo>
                    <a:pt x="308" y="25"/>
                  </a:lnTo>
                  <a:lnTo>
                    <a:pt x="313" y="22"/>
                  </a:lnTo>
                  <a:lnTo>
                    <a:pt x="316" y="19"/>
                  </a:lnTo>
                  <a:lnTo>
                    <a:pt x="319" y="19"/>
                  </a:lnTo>
                  <a:lnTo>
                    <a:pt x="323" y="20"/>
                  </a:lnTo>
                  <a:lnTo>
                    <a:pt x="331" y="20"/>
                  </a:lnTo>
                  <a:lnTo>
                    <a:pt x="338" y="24"/>
                  </a:lnTo>
                  <a:lnTo>
                    <a:pt x="343" y="31"/>
                  </a:lnTo>
                  <a:lnTo>
                    <a:pt x="343" y="34"/>
                  </a:lnTo>
                  <a:lnTo>
                    <a:pt x="343" y="36"/>
                  </a:lnTo>
                  <a:lnTo>
                    <a:pt x="343" y="37"/>
                  </a:lnTo>
                  <a:lnTo>
                    <a:pt x="342" y="39"/>
                  </a:lnTo>
                  <a:lnTo>
                    <a:pt x="343" y="44"/>
                  </a:lnTo>
                  <a:lnTo>
                    <a:pt x="340" y="48"/>
                  </a:lnTo>
                  <a:lnTo>
                    <a:pt x="342" y="51"/>
                  </a:lnTo>
                  <a:lnTo>
                    <a:pt x="338" y="54"/>
                  </a:lnTo>
                  <a:lnTo>
                    <a:pt x="342" y="54"/>
                  </a:lnTo>
                  <a:lnTo>
                    <a:pt x="342" y="51"/>
                  </a:lnTo>
                  <a:lnTo>
                    <a:pt x="345" y="49"/>
                  </a:lnTo>
                  <a:lnTo>
                    <a:pt x="345" y="46"/>
                  </a:lnTo>
                  <a:lnTo>
                    <a:pt x="347" y="44"/>
                  </a:lnTo>
                  <a:lnTo>
                    <a:pt x="345" y="44"/>
                  </a:lnTo>
                  <a:lnTo>
                    <a:pt x="347" y="41"/>
                  </a:lnTo>
                  <a:lnTo>
                    <a:pt x="343" y="39"/>
                  </a:lnTo>
                  <a:lnTo>
                    <a:pt x="345" y="37"/>
                  </a:lnTo>
                  <a:lnTo>
                    <a:pt x="345" y="36"/>
                  </a:lnTo>
                  <a:lnTo>
                    <a:pt x="348" y="31"/>
                  </a:lnTo>
                  <a:lnTo>
                    <a:pt x="352" y="25"/>
                  </a:lnTo>
                  <a:lnTo>
                    <a:pt x="359" y="22"/>
                  </a:lnTo>
                  <a:lnTo>
                    <a:pt x="367" y="24"/>
                  </a:lnTo>
                  <a:lnTo>
                    <a:pt x="376" y="25"/>
                  </a:lnTo>
                  <a:lnTo>
                    <a:pt x="381" y="25"/>
                  </a:lnTo>
                  <a:lnTo>
                    <a:pt x="379" y="34"/>
                  </a:lnTo>
                  <a:lnTo>
                    <a:pt x="383" y="37"/>
                  </a:lnTo>
                  <a:lnTo>
                    <a:pt x="384" y="43"/>
                  </a:lnTo>
                  <a:lnTo>
                    <a:pt x="386" y="41"/>
                  </a:lnTo>
                  <a:lnTo>
                    <a:pt x="384" y="44"/>
                  </a:lnTo>
                  <a:lnTo>
                    <a:pt x="386" y="43"/>
                  </a:lnTo>
                  <a:lnTo>
                    <a:pt x="386" y="44"/>
                  </a:lnTo>
                  <a:lnTo>
                    <a:pt x="384" y="46"/>
                  </a:lnTo>
                  <a:lnTo>
                    <a:pt x="386" y="46"/>
                  </a:lnTo>
                  <a:lnTo>
                    <a:pt x="384" y="49"/>
                  </a:lnTo>
                  <a:lnTo>
                    <a:pt x="386" y="51"/>
                  </a:lnTo>
                  <a:lnTo>
                    <a:pt x="383" y="53"/>
                  </a:lnTo>
                  <a:lnTo>
                    <a:pt x="383" y="56"/>
                  </a:lnTo>
                  <a:lnTo>
                    <a:pt x="381" y="58"/>
                  </a:lnTo>
                  <a:lnTo>
                    <a:pt x="383" y="60"/>
                  </a:lnTo>
                  <a:lnTo>
                    <a:pt x="381" y="58"/>
                  </a:lnTo>
                  <a:lnTo>
                    <a:pt x="383" y="58"/>
                  </a:lnTo>
                  <a:lnTo>
                    <a:pt x="384" y="61"/>
                  </a:lnTo>
                  <a:lnTo>
                    <a:pt x="384" y="65"/>
                  </a:lnTo>
                  <a:lnTo>
                    <a:pt x="389" y="66"/>
                  </a:lnTo>
                  <a:lnTo>
                    <a:pt x="391" y="65"/>
                  </a:lnTo>
                  <a:lnTo>
                    <a:pt x="395" y="65"/>
                  </a:lnTo>
                  <a:lnTo>
                    <a:pt x="393" y="61"/>
                  </a:lnTo>
                  <a:lnTo>
                    <a:pt x="396" y="61"/>
                  </a:lnTo>
                  <a:lnTo>
                    <a:pt x="398" y="60"/>
                  </a:lnTo>
                  <a:lnTo>
                    <a:pt x="398" y="58"/>
                  </a:lnTo>
                  <a:lnTo>
                    <a:pt x="400" y="56"/>
                  </a:lnTo>
                  <a:lnTo>
                    <a:pt x="401" y="56"/>
                  </a:lnTo>
                  <a:lnTo>
                    <a:pt x="400" y="58"/>
                  </a:lnTo>
                  <a:lnTo>
                    <a:pt x="401" y="60"/>
                  </a:lnTo>
                  <a:lnTo>
                    <a:pt x="403" y="63"/>
                  </a:lnTo>
                  <a:lnTo>
                    <a:pt x="401" y="63"/>
                  </a:lnTo>
                  <a:lnTo>
                    <a:pt x="401" y="65"/>
                  </a:lnTo>
                  <a:lnTo>
                    <a:pt x="400" y="65"/>
                  </a:lnTo>
                  <a:lnTo>
                    <a:pt x="398" y="65"/>
                  </a:lnTo>
                  <a:lnTo>
                    <a:pt x="400" y="66"/>
                  </a:lnTo>
                  <a:lnTo>
                    <a:pt x="398" y="70"/>
                  </a:lnTo>
                  <a:lnTo>
                    <a:pt x="401" y="73"/>
                  </a:lnTo>
                  <a:lnTo>
                    <a:pt x="398" y="75"/>
                  </a:lnTo>
                  <a:lnTo>
                    <a:pt x="400" y="77"/>
                  </a:lnTo>
                  <a:lnTo>
                    <a:pt x="396" y="77"/>
                  </a:lnTo>
                  <a:lnTo>
                    <a:pt x="396" y="80"/>
                  </a:lnTo>
                  <a:lnTo>
                    <a:pt x="393" y="77"/>
                  </a:lnTo>
                  <a:lnTo>
                    <a:pt x="391" y="80"/>
                  </a:lnTo>
                  <a:lnTo>
                    <a:pt x="384" y="77"/>
                  </a:lnTo>
                  <a:lnTo>
                    <a:pt x="376" y="78"/>
                  </a:lnTo>
                  <a:lnTo>
                    <a:pt x="374" y="75"/>
                  </a:lnTo>
                  <a:lnTo>
                    <a:pt x="369" y="70"/>
                  </a:lnTo>
                  <a:lnTo>
                    <a:pt x="366" y="72"/>
                  </a:lnTo>
                  <a:lnTo>
                    <a:pt x="366" y="73"/>
                  </a:lnTo>
                  <a:lnTo>
                    <a:pt x="367" y="73"/>
                  </a:lnTo>
                  <a:lnTo>
                    <a:pt x="362" y="77"/>
                  </a:lnTo>
                  <a:lnTo>
                    <a:pt x="357" y="73"/>
                  </a:lnTo>
                  <a:lnTo>
                    <a:pt x="354" y="73"/>
                  </a:lnTo>
                  <a:lnTo>
                    <a:pt x="354" y="75"/>
                  </a:lnTo>
                  <a:lnTo>
                    <a:pt x="352" y="72"/>
                  </a:lnTo>
                  <a:lnTo>
                    <a:pt x="347" y="78"/>
                  </a:lnTo>
                  <a:lnTo>
                    <a:pt x="343" y="78"/>
                  </a:lnTo>
                  <a:lnTo>
                    <a:pt x="347" y="80"/>
                  </a:lnTo>
                  <a:lnTo>
                    <a:pt x="347" y="82"/>
                  </a:lnTo>
                  <a:lnTo>
                    <a:pt x="350" y="80"/>
                  </a:lnTo>
                  <a:lnTo>
                    <a:pt x="360" y="82"/>
                  </a:lnTo>
                  <a:lnTo>
                    <a:pt x="369" y="80"/>
                  </a:lnTo>
                  <a:lnTo>
                    <a:pt x="371" y="84"/>
                  </a:lnTo>
                  <a:lnTo>
                    <a:pt x="374" y="84"/>
                  </a:lnTo>
                  <a:lnTo>
                    <a:pt x="374" y="87"/>
                  </a:lnTo>
                  <a:lnTo>
                    <a:pt x="372" y="89"/>
                  </a:lnTo>
                  <a:lnTo>
                    <a:pt x="364" y="90"/>
                  </a:lnTo>
                  <a:lnTo>
                    <a:pt x="362" y="89"/>
                  </a:lnTo>
                  <a:lnTo>
                    <a:pt x="360" y="90"/>
                  </a:lnTo>
                  <a:lnTo>
                    <a:pt x="357" y="87"/>
                  </a:lnTo>
                  <a:lnTo>
                    <a:pt x="354" y="87"/>
                  </a:lnTo>
                  <a:lnTo>
                    <a:pt x="350" y="85"/>
                  </a:lnTo>
                  <a:lnTo>
                    <a:pt x="348" y="85"/>
                  </a:lnTo>
                  <a:lnTo>
                    <a:pt x="347" y="84"/>
                  </a:lnTo>
                  <a:lnTo>
                    <a:pt x="337" y="87"/>
                  </a:lnTo>
                  <a:lnTo>
                    <a:pt x="333" y="90"/>
                  </a:lnTo>
                  <a:lnTo>
                    <a:pt x="326" y="90"/>
                  </a:lnTo>
                  <a:lnTo>
                    <a:pt x="323" y="94"/>
                  </a:lnTo>
                  <a:lnTo>
                    <a:pt x="316" y="95"/>
                  </a:lnTo>
                  <a:lnTo>
                    <a:pt x="308" y="92"/>
                  </a:lnTo>
                  <a:lnTo>
                    <a:pt x="306" y="87"/>
                  </a:lnTo>
                  <a:lnTo>
                    <a:pt x="306" y="84"/>
                  </a:lnTo>
                  <a:lnTo>
                    <a:pt x="304" y="82"/>
                  </a:lnTo>
                  <a:lnTo>
                    <a:pt x="309" y="80"/>
                  </a:lnTo>
                  <a:lnTo>
                    <a:pt x="311" y="75"/>
                  </a:lnTo>
                  <a:lnTo>
                    <a:pt x="311" y="72"/>
                  </a:lnTo>
                  <a:lnTo>
                    <a:pt x="313" y="70"/>
                  </a:lnTo>
                  <a:lnTo>
                    <a:pt x="311" y="68"/>
                  </a:lnTo>
                  <a:lnTo>
                    <a:pt x="311" y="63"/>
                  </a:lnTo>
                  <a:lnTo>
                    <a:pt x="308" y="63"/>
                  </a:lnTo>
                  <a:lnTo>
                    <a:pt x="309" y="61"/>
                  </a:lnTo>
                  <a:lnTo>
                    <a:pt x="308" y="60"/>
                  </a:lnTo>
                  <a:lnTo>
                    <a:pt x="309" y="61"/>
                  </a:lnTo>
                  <a:lnTo>
                    <a:pt x="306" y="65"/>
                  </a:lnTo>
                  <a:lnTo>
                    <a:pt x="309" y="70"/>
                  </a:lnTo>
                  <a:lnTo>
                    <a:pt x="306" y="72"/>
                  </a:lnTo>
                  <a:lnTo>
                    <a:pt x="302" y="72"/>
                  </a:lnTo>
                  <a:lnTo>
                    <a:pt x="299" y="77"/>
                  </a:lnTo>
                  <a:lnTo>
                    <a:pt x="294" y="78"/>
                  </a:lnTo>
                  <a:lnTo>
                    <a:pt x="294" y="82"/>
                  </a:lnTo>
                  <a:lnTo>
                    <a:pt x="290" y="82"/>
                  </a:lnTo>
                  <a:lnTo>
                    <a:pt x="290" y="85"/>
                  </a:lnTo>
                  <a:lnTo>
                    <a:pt x="287" y="85"/>
                  </a:lnTo>
                  <a:lnTo>
                    <a:pt x="282" y="92"/>
                  </a:lnTo>
                  <a:lnTo>
                    <a:pt x="275" y="94"/>
                  </a:lnTo>
                  <a:lnTo>
                    <a:pt x="272" y="92"/>
                  </a:lnTo>
                  <a:lnTo>
                    <a:pt x="270" y="90"/>
                  </a:lnTo>
                  <a:lnTo>
                    <a:pt x="265" y="92"/>
                  </a:lnTo>
                  <a:lnTo>
                    <a:pt x="261" y="92"/>
                  </a:lnTo>
                  <a:lnTo>
                    <a:pt x="258" y="97"/>
                  </a:lnTo>
                  <a:lnTo>
                    <a:pt x="255" y="97"/>
                  </a:lnTo>
                  <a:lnTo>
                    <a:pt x="253" y="97"/>
                  </a:lnTo>
                  <a:lnTo>
                    <a:pt x="246" y="102"/>
                  </a:lnTo>
                  <a:lnTo>
                    <a:pt x="241" y="101"/>
                  </a:lnTo>
                  <a:lnTo>
                    <a:pt x="238" y="97"/>
                  </a:lnTo>
                  <a:lnTo>
                    <a:pt x="232" y="101"/>
                  </a:lnTo>
                  <a:lnTo>
                    <a:pt x="229" y="99"/>
                  </a:lnTo>
                  <a:lnTo>
                    <a:pt x="224" y="99"/>
                  </a:lnTo>
                  <a:lnTo>
                    <a:pt x="220" y="102"/>
                  </a:lnTo>
                  <a:lnTo>
                    <a:pt x="214" y="106"/>
                  </a:lnTo>
                  <a:lnTo>
                    <a:pt x="212" y="107"/>
                  </a:lnTo>
                  <a:lnTo>
                    <a:pt x="207" y="109"/>
                  </a:lnTo>
                  <a:lnTo>
                    <a:pt x="205" y="109"/>
                  </a:lnTo>
                  <a:lnTo>
                    <a:pt x="200" y="111"/>
                  </a:lnTo>
                  <a:lnTo>
                    <a:pt x="195" y="113"/>
                  </a:lnTo>
                  <a:lnTo>
                    <a:pt x="190" y="114"/>
                  </a:lnTo>
                  <a:lnTo>
                    <a:pt x="185" y="116"/>
                  </a:lnTo>
                  <a:lnTo>
                    <a:pt x="181" y="114"/>
                  </a:lnTo>
                  <a:lnTo>
                    <a:pt x="179" y="116"/>
                  </a:lnTo>
                  <a:lnTo>
                    <a:pt x="173" y="114"/>
                  </a:lnTo>
                  <a:lnTo>
                    <a:pt x="164" y="111"/>
                  </a:lnTo>
                  <a:lnTo>
                    <a:pt x="161" y="113"/>
                  </a:lnTo>
                  <a:lnTo>
                    <a:pt x="157" y="119"/>
                  </a:lnTo>
                  <a:lnTo>
                    <a:pt x="147" y="121"/>
                  </a:lnTo>
                  <a:lnTo>
                    <a:pt x="144" y="121"/>
                  </a:lnTo>
                  <a:lnTo>
                    <a:pt x="142" y="123"/>
                  </a:lnTo>
                  <a:lnTo>
                    <a:pt x="133" y="116"/>
                  </a:lnTo>
                  <a:lnTo>
                    <a:pt x="125" y="116"/>
                  </a:lnTo>
                  <a:lnTo>
                    <a:pt x="121" y="114"/>
                  </a:lnTo>
                  <a:lnTo>
                    <a:pt x="115" y="113"/>
                  </a:lnTo>
                  <a:lnTo>
                    <a:pt x="108" y="109"/>
                  </a:lnTo>
                  <a:lnTo>
                    <a:pt x="109" y="106"/>
                  </a:lnTo>
                  <a:lnTo>
                    <a:pt x="108" y="106"/>
                  </a:lnTo>
                  <a:lnTo>
                    <a:pt x="106" y="104"/>
                  </a:lnTo>
                  <a:lnTo>
                    <a:pt x="109" y="104"/>
                  </a:lnTo>
                  <a:lnTo>
                    <a:pt x="109" y="101"/>
                  </a:lnTo>
                  <a:lnTo>
                    <a:pt x="111" y="101"/>
                  </a:lnTo>
                  <a:lnTo>
                    <a:pt x="108" y="99"/>
                  </a:lnTo>
                  <a:lnTo>
                    <a:pt x="109" y="95"/>
                  </a:lnTo>
                  <a:lnTo>
                    <a:pt x="111" y="95"/>
                  </a:lnTo>
                  <a:lnTo>
                    <a:pt x="109" y="94"/>
                  </a:lnTo>
                  <a:lnTo>
                    <a:pt x="113" y="92"/>
                  </a:lnTo>
                  <a:lnTo>
                    <a:pt x="113" y="89"/>
                  </a:lnTo>
                  <a:lnTo>
                    <a:pt x="115" y="87"/>
                  </a:lnTo>
                  <a:lnTo>
                    <a:pt x="118" y="89"/>
                  </a:lnTo>
                  <a:lnTo>
                    <a:pt x="118" y="87"/>
                  </a:lnTo>
                  <a:lnTo>
                    <a:pt x="116" y="82"/>
                  </a:lnTo>
                  <a:lnTo>
                    <a:pt x="115" y="82"/>
                  </a:lnTo>
                  <a:lnTo>
                    <a:pt x="116" y="80"/>
                  </a:lnTo>
                  <a:lnTo>
                    <a:pt x="113" y="77"/>
                  </a:lnTo>
                  <a:lnTo>
                    <a:pt x="115" y="75"/>
                  </a:lnTo>
                  <a:lnTo>
                    <a:pt x="115" y="70"/>
                  </a:lnTo>
                  <a:lnTo>
                    <a:pt x="111" y="68"/>
                  </a:lnTo>
                  <a:lnTo>
                    <a:pt x="113" y="66"/>
                  </a:lnTo>
                  <a:lnTo>
                    <a:pt x="116" y="60"/>
                  </a:lnTo>
                  <a:lnTo>
                    <a:pt x="121" y="56"/>
                  </a:lnTo>
                  <a:lnTo>
                    <a:pt x="120" y="51"/>
                  </a:lnTo>
                  <a:lnTo>
                    <a:pt x="123" y="54"/>
                  </a:lnTo>
                  <a:lnTo>
                    <a:pt x="132" y="53"/>
                  </a:lnTo>
                  <a:lnTo>
                    <a:pt x="133" y="51"/>
                  </a:lnTo>
                  <a:lnTo>
                    <a:pt x="135" y="51"/>
                  </a:lnTo>
                  <a:lnTo>
                    <a:pt x="140" y="46"/>
                  </a:lnTo>
                  <a:lnTo>
                    <a:pt x="142" y="49"/>
                  </a:lnTo>
                  <a:lnTo>
                    <a:pt x="145" y="43"/>
                  </a:lnTo>
                  <a:lnTo>
                    <a:pt x="152" y="39"/>
                  </a:lnTo>
                  <a:lnTo>
                    <a:pt x="152" y="37"/>
                  </a:lnTo>
                  <a:lnTo>
                    <a:pt x="154" y="34"/>
                  </a:lnTo>
                  <a:lnTo>
                    <a:pt x="159" y="34"/>
                  </a:lnTo>
                  <a:lnTo>
                    <a:pt x="161" y="32"/>
                  </a:lnTo>
                  <a:lnTo>
                    <a:pt x="166" y="37"/>
                  </a:lnTo>
                  <a:lnTo>
                    <a:pt x="169" y="37"/>
                  </a:lnTo>
                  <a:lnTo>
                    <a:pt x="171" y="39"/>
                  </a:lnTo>
                  <a:lnTo>
                    <a:pt x="181" y="43"/>
                  </a:lnTo>
                  <a:lnTo>
                    <a:pt x="188" y="46"/>
                  </a:lnTo>
                  <a:lnTo>
                    <a:pt x="193" y="39"/>
                  </a:lnTo>
                  <a:lnTo>
                    <a:pt x="193" y="36"/>
                  </a:lnTo>
                  <a:lnTo>
                    <a:pt x="198" y="39"/>
                  </a:lnTo>
                  <a:lnTo>
                    <a:pt x="208" y="37"/>
                  </a:lnTo>
                  <a:lnTo>
                    <a:pt x="210" y="41"/>
                  </a:lnTo>
                  <a:lnTo>
                    <a:pt x="208" y="44"/>
                  </a:lnTo>
                  <a:lnTo>
                    <a:pt x="210" y="49"/>
                  </a:lnTo>
                  <a:lnTo>
                    <a:pt x="212" y="49"/>
                  </a:lnTo>
                  <a:lnTo>
                    <a:pt x="210" y="41"/>
                  </a:lnTo>
                  <a:lnTo>
                    <a:pt x="212" y="41"/>
                  </a:lnTo>
                  <a:lnTo>
                    <a:pt x="215" y="43"/>
                  </a:lnTo>
                  <a:lnTo>
                    <a:pt x="217" y="44"/>
                  </a:lnTo>
                  <a:lnTo>
                    <a:pt x="215" y="53"/>
                  </a:lnTo>
                  <a:lnTo>
                    <a:pt x="217" y="56"/>
                  </a:lnTo>
                  <a:lnTo>
                    <a:pt x="224" y="58"/>
                  </a:lnTo>
                  <a:lnTo>
                    <a:pt x="226" y="56"/>
                  </a:lnTo>
                  <a:lnTo>
                    <a:pt x="229" y="56"/>
                  </a:lnTo>
                  <a:lnTo>
                    <a:pt x="227" y="60"/>
                  </a:lnTo>
                  <a:lnTo>
                    <a:pt x="231" y="60"/>
                  </a:lnTo>
                  <a:lnTo>
                    <a:pt x="232" y="61"/>
                  </a:lnTo>
                  <a:lnTo>
                    <a:pt x="231" y="65"/>
                  </a:lnTo>
                  <a:lnTo>
                    <a:pt x="234" y="65"/>
                  </a:lnTo>
                  <a:lnTo>
                    <a:pt x="231" y="66"/>
                  </a:lnTo>
                  <a:lnTo>
                    <a:pt x="231" y="68"/>
                  </a:lnTo>
                  <a:lnTo>
                    <a:pt x="232" y="68"/>
                  </a:lnTo>
                  <a:lnTo>
                    <a:pt x="232" y="73"/>
                  </a:lnTo>
                  <a:lnTo>
                    <a:pt x="238" y="77"/>
                  </a:lnTo>
                  <a:lnTo>
                    <a:pt x="241" y="75"/>
                  </a:lnTo>
                  <a:lnTo>
                    <a:pt x="243" y="75"/>
                  </a:lnTo>
                  <a:lnTo>
                    <a:pt x="244" y="73"/>
                  </a:lnTo>
                  <a:lnTo>
                    <a:pt x="248" y="73"/>
                  </a:lnTo>
                  <a:lnTo>
                    <a:pt x="248" y="75"/>
                  </a:lnTo>
                  <a:lnTo>
                    <a:pt x="249" y="78"/>
                  </a:lnTo>
                  <a:lnTo>
                    <a:pt x="251" y="75"/>
                  </a:lnTo>
                  <a:lnTo>
                    <a:pt x="255" y="77"/>
                  </a:lnTo>
                  <a:lnTo>
                    <a:pt x="255" y="78"/>
                  </a:lnTo>
                  <a:lnTo>
                    <a:pt x="256" y="78"/>
                  </a:lnTo>
                  <a:lnTo>
                    <a:pt x="260" y="75"/>
                  </a:lnTo>
                  <a:lnTo>
                    <a:pt x="261" y="75"/>
                  </a:lnTo>
                  <a:lnTo>
                    <a:pt x="265" y="70"/>
                  </a:lnTo>
                  <a:lnTo>
                    <a:pt x="270" y="68"/>
                  </a:lnTo>
                  <a:lnTo>
                    <a:pt x="277" y="66"/>
                  </a:lnTo>
                  <a:lnTo>
                    <a:pt x="285" y="70"/>
                  </a:lnTo>
                  <a:lnTo>
                    <a:pt x="287" y="68"/>
                  </a:lnTo>
                  <a:lnTo>
                    <a:pt x="287" y="66"/>
                  </a:lnTo>
                  <a:lnTo>
                    <a:pt x="290" y="68"/>
                  </a:lnTo>
                  <a:lnTo>
                    <a:pt x="290" y="66"/>
                  </a:lnTo>
                  <a:lnTo>
                    <a:pt x="292" y="68"/>
                  </a:lnTo>
                  <a:lnTo>
                    <a:pt x="292" y="66"/>
                  </a:lnTo>
                  <a:lnTo>
                    <a:pt x="294" y="66"/>
                  </a:lnTo>
                  <a:lnTo>
                    <a:pt x="296" y="65"/>
                  </a:lnTo>
                  <a:lnTo>
                    <a:pt x="294" y="60"/>
                  </a:lnTo>
                  <a:lnTo>
                    <a:pt x="290" y="60"/>
                  </a:lnTo>
                  <a:lnTo>
                    <a:pt x="289" y="54"/>
                  </a:lnTo>
                  <a:lnTo>
                    <a:pt x="285" y="54"/>
                  </a:lnTo>
                  <a:lnTo>
                    <a:pt x="284" y="58"/>
                  </a:lnTo>
                  <a:lnTo>
                    <a:pt x="282" y="53"/>
                  </a:lnTo>
                  <a:lnTo>
                    <a:pt x="277" y="51"/>
                  </a:lnTo>
                  <a:lnTo>
                    <a:pt x="277" y="48"/>
                  </a:lnTo>
                  <a:lnTo>
                    <a:pt x="273" y="49"/>
                  </a:lnTo>
                  <a:lnTo>
                    <a:pt x="270" y="43"/>
                  </a:lnTo>
                  <a:lnTo>
                    <a:pt x="263" y="44"/>
                  </a:lnTo>
                  <a:lnTo>
                    <a:pt x="258" y="44"/>
                  </a:lnTo>
                  <a:lnTo>
                    <a:pt x="256" y="43"/>
                  </a:lnTo>
                  <a:lnTo>
                    <a:pt x="249" y="39"/>
                  </a:lnTo>
                  <a:lnTo>
                    <a:pt x="243" y="34"/>
                  </a:lnTo>
                  <a:lnTo>
                    <a:pt x="239" y="34"/>
                  </a:lnTo>
                  <a:lnTo>
                    <a:pt x="239" y="31"/>
                  </a:lnTo>
                  <a:lnTo>
                    <a:pt x="232" y="24"/>
                  </a:lnTo>
                  <a:lnTo>
                    <a:pt x="224" y="17"/>
                  </a:lnTo>
                  <a:lnTo>
                    <a:pt x="226" y="15"/>
                  </a:lnTo>
                  <a:lnTo>
                    <a:pt x="227" y="7"/>
                  </a:lnTo>
                  <a:lnTo>
                    <a:pt x="231" y="8"/>
                  </a:lnTo>
                  <a:lnTo>
                    <a:pt x="236" y="3"/>
                  </a:lnTo>
                  <a:lnTo>
                    <a:pt x="241" y="5"/>
                  </a:lnTo>
                  <a:lnTo>
                    <a:pt x="246" y="2"/>
                  </a:lnTo>
                  <a:lnTo>
                    <a:pt x="255"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6" name="Freeform 59"/>
            <p:cNvSpPr>
              <a:spLocks noEditPoints="1"/>
            </p:cNvSpPr>
            <p:nvPr/>
          </p:nvSpPr>
          <p:spPr bwMode="gray">
            <a:xfrm>
              <a:off x="5118238" y="4916868"/>
              <a:ext cx="277276" cy="171473"/>
            </a:xfrm>
            <a:custGeom>
              <a:avLst/>
              <a:gdLst>
                <a:gd name="T0" fmla="*/ 123 w 152"/>
                <a:gd name="T1" fmla="*/ 76 h 94"/>
                <a:gd name="T2" fmla="*/ 119 w 152"/>
                <a:gd name="T3" fmla="*/ 79 h 94"/>
                <a:gd name="T4" fmla="*/ 128 w 152"/>
                <a:gd name="T5" fmla="*/ 74 h 94"/>
                <a:gd name="T6" fmla="*/ 138 w 152"/>
                <a:gd name="T7" fmla="*/ 81 h 94"/>
                <a:gd name="T8" fmla="*/ 141 w 152"/>
                <a:gd name="T9" fmla="*/ 86 h 94"/>
                <a:gd name="T10" fmla="*/ 129 w 152"/>
                <a:gd name="T11" fmla="*/ 89 h 94"/>
                <a:gd name="T12" fmla="*/ 121 w 152"/>
                <a:gd name="T13" fmla="*/ 82 h 94"/>
                <a:gd name="T14" fmla="*/ 128 w 152"/>
                <a:gd name="T15" fmla="*/ 74 h 94"/>
                <a:gd name="T16" fmla="*/ 123 w 152"/>
                <a:gd name="T17" fmla="*/ 74 h 94"/>
                <a:gd name="T18" fmla="*/ 121 w 152"/>
                <a:gd name="T19" fmla="*/ 72 h 94"/>
                <a:gd name="T20" fmla="*/ 99 w 152"/>
                <a:gd name="T21" fmla="*/ 4 h 94"/>
                <a:gd name="T22" fmla="*/ 107 w 152"/>
                <a:gd name="T23" fmla="*/ 7 h 94"/>
                <a:gd name="T24" fmla="*/ 114 w 152"/>
                <a:gd name="T25" fmla="*/ 9 h 94"/>
                <a:gd name="T26" fmla="*/ 126 w 152"/>
                <a:gd name="T27" fmla="*/ 16 h 94"/>
                <a:gd name="T28" fmla="*/ 138 w 152"/>
                <a:gd name="T29" fmla="*/ 26 h 94"/>
                <a:gd name="T30" fmla="*/ 143 w 152"/>
                <a:gd name="T31" fmla="*/ 31 h 94"/>
                <a:gd name="T32" fmla="*/ 152 w 152"/>
                <a:gd name="T33" fmla="*/ 41 h 94"/>
                <a:gd name="T34" fmla="*/ 143 w 152"/>
                <a:gd name="T35" fmla="*/ 48 h 94"/>
                <a:gd name="T36" fmla="*/ 136 w 152"/>
                <a:gd name="T37" fmla="*/ 55 h 94"/>
                <a:gd name="T38" fmla="*/ 128 w 152"/>
                <a:gd name="T39" fmla="*/ 55 h 94"/>
                <a:gd name="T40" fmla="*/ 119 w 152"/>
                <a:gd name="T41" fmla="*/ 62 h 94"/>
                <a:gd name="T42" fmla="*/ 104 w 152"/>
                <a:gd name="T43" fmla="*/ 67 h 94"/>
                <a:gd name="T44" fmla="*/ 99 w 152"/>
                <a:gd name="T45" fmla="*/ 77 h 94"/>
                <a:gd name="T46" fmla="*/ 97 w 152"/>
                <a:gd name="T47" fmla="*/ 81 h 94"/>
                <a:gd name="T48" fmla="*/ 97 w 152"/>
                <a:gd name="T49" fmla="*/ 81 h 94"/>
                <a:gd name="T50" fmla="*/ 94 w 152"/>
                <a:gd name="T51" fmla="*/ 82 h 94"/>
                <a:gd name="T52" fmla="*/ 88 w 152"/>
                <a:gd name="T53" fmla="*/ 82 h 94"/>
                <a:gd name="T54" fmla="*/ 92 w 152"/>
                <a:gd name="T55" fmla="*/ 88 h 94"/>
                <a:gd name="T56" fmla="*/ 95 w 152"/>
                <a:gd name="T57" fmla="*/ 89 h 94"/>
                <a:gd name="T58" fmla="*/ 88 w 152"/>
                <a:gd name="T59" fmla="*/ 94 h 94"/>
                <a:gd name="T60" fmla="*/ 76 w 152"/>
                <a:gd name="T61" fmla="*/ 94 h 94"/>
                <a:gd name="T62" fmla="*/ 83 w 152"/>
                <a:gd name="T63" fmla="*/ 86 h 94"/>
                <a:gd name="T64" fmla="*/ 87 w 152"/>
                <a:gd name="T65" fmla="*/ 84 h 94"/>
                <a:gd name="T66" fmla="*/ 87 w 152"/>
                <a:gd name="T67" fmla="*/ 79 h 94"/>
                <a:gd name="T68" fmla="*/ 80 w 152"/>
                <a:gd name="T69" fmla="*/ 70 h 94"/>
                <a:gd name="T70" fmla="*/ 66 w 152"/>
                <a:gd name="T71" fmla="*/ 57 h 94"/>
                <a:gd name="T72" fmla="*/ 49 w 152"/>
                <a:gd name="T73" fmla="*/ 45 h 94"/>
                <a:gd name="T74" fmla="*/ 44 w 152"/>
                <a:gd name="T75" fmla="*/ 43 h 94"/>
                <a:gd name="T76" fmla="*/ 30 w 152"/>
                <a:gd name="T77" fmla="*/ 41 h 94"/>
                <a:gd name="T78" fmla="*/ 20 w 152"/>
                <a:gd name="T79" fmla="*/ 41 h 94"/>
                <a:gd name="T80" fmla="*/ 17 w 152"/>
                <a:gd name="T81" fmla="*/ 41 h 94"/>
                <a:gd name="T82" fmla="*/ 10 w 152"/>
                <a:gd name="T83" fmla="*/ 33 h 94"/>
                <a:gd name="T84" fmla="*/ 5 w 152"/>
                <a:gd name="T85" fmla="*/ 26 h 94"/>
                <a:gd name="T86" fmla="*/ 0 w 152"/>
                <a:gd name="T87" fmla="*/ 12 h 94"/>
                <a:gd name="T88" fmla="*/ 3 w 152"/>
                <a:gd name="T89" fmla="*/ 12 h 94"/>
                <a:gd name="T90" fmla="*/ 0 w 152"/>
                <a:gd name="T91" fmla="*/ 7 h 94"/>
                <a:gd name="T92" fmla="*/ 6 w 152"/>
                <a:gd name="T93" fmla="*/ 4 h 94"/>
                <a:gd name="T94" fmla="*/ 10 w 152"/>
                <a:gd name="T95" fmla="*/ 12 h 94"/>
                <a:gd name="T96" fmla="*/ 15 w 152"/>
                <a:gd name="T97" fmla="*/ 11 h 94"/>
                <a:gd name="T98" fmla="*/ 18 w 152"/>
                <a:gd name="T99" fmla="*/ 7 h 94"/>
                <a:gd name="T100" fmla="*/ 22 w 152"/>
                <a:gd name="T101" fmla="*/ 7 h 94"/>
                <a:gd name="T102" fmla="*/ 30 w 152"/>
                <a:gd name="T103" fmla="*/ 11 h 94"/>
                <a:gd name="T104" fmla="*/ 34 w 152"/>
                <a:gd name="T105" fmla="*/ 11 h 94"/>
                <a:gd name="T106" fmla="*/ 46 w 152"/>
                <a:gd name="T107" fmla="*/ 16 h 94"/>
                <a:gd name="T108" fmla="*/ 56 w 152"/>
                <a:gd name="T109" fmla="*/ 16 h 94"/>
                <a:gd name="T110" fmla="*/ 68 w 152"/>
                <a:gd name="T111" fmla="*/ 14 h 94"/>
                <a:gd name="T112" fmla="*/ 76 w 152"/>
                <a:gd name="T113" fmla="*/ 6 h 94"/>
                <a:gd name="T114" fmla="*/ 90 w 152"/>
                <a:gd name="T11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94">
                  <a:moveTo>
                    <a:pt x="119" y="76"/>
                  </a:moveTo>
                  <a:lnTo>
                    <a:pt x="123" y="76"/>
                  </a:lnTo>
                  <a:lnTo>
                    <a:pt x="123" y="79"/>
                  </a:lnTo>
                  <a:lnTo>
                    <a:pt x="119" y="79"/>
                  </a:lnTo>
                  <a:lnTo>
                    <a:pt x="119" y="76"/>
                  </a:lnTo>
                  <a:close/>
                  <a:moveTo>
                    <a:pt x="128" y="74"/>
                  </a:moveTo>
                  <a:lnTo>
                    <a:pt x="135" y="74"/>
                  </a:lnTo>
                  <a:lnTo>
                    <a:pt x="138" y="81"/>
                  </a:lnTo>
                  <a:lnTo>
                    <a:pt x="141" y="84"/>
                  </a:lnTo>
                  <a:lnTo>
                    <a:pt x="141" y="86"/>
                  </a:lnTo>
                  <a:lnTo>
                    <a:pt x="138" y="91"/>
                  </a:lnTo>
                  <a:lnTo>
                    <a:pt x="129" y="89"/>
                  </a:lnTo>
                  <a:lnTo>
                    <a:pt x="124" y="82"/>
                  </a:lnTo>
                  <a:lnTo>
                    <a:pt x="121" y="82"/>
                  </a:lnTo>
                  <a:lnTo>
                    <a:pt x="121" y="79"/>
                  </a:lnTo>
                  <a:lnTo>
                    <a:pt x="128" y="74"/>
                  </a:lnTo>
                  <a:close/>
                  <a:moveTo>
                    <a:pt x="121" y="72"/>
                  </a:moveTo>
                  <a:lnTo>
                    <a:pt x="123" y="74"/>
                  </a:lnTo>
                  <a:lnTo>
                    <a:pt x="117" y="76"/>
                  </a:lnTo>
                  <a:lnTo>
                    <a:pt x="121" y="72"/>
                  </a:lnTo>
                  <a:close/>
                  <a:moveTo>
                    <a:pt x="90" y="0"/>
                  </a:moveTo>
                  <a:lnTo>
                    <a:pt x="99" y="4"/>
                  </a:lnTo>
                  <a:lnTo>
                    <a:pt x="102" y="6"/>
                  </a:lnTo>
                  <a:lnTo>
                    <a:pt x="107" y="7"/>
                  </a:lnTo>
                  <a:lnTo>
                    <a:pt x="111" y="9"/>
                  </a:lnTo>
                  <a:lnTo>
                    <a:pt x="114" y="9"/>
                  </a:lnTo>
                  <a:lnTo>
                    <a:pt x="121" y="12"/>
                  </a:lnTo>
                  <a:lnTo>
                    <a:pt x="126" y="16"/>
                  </a:lnTo>
                  <a:lnTo>
                    <a:pt x="135" y="21"/>
                  </a:lnTo>
                  <a:lnTo>
                    <a:pt x="138" y="26"/>
                  </a:lnTo>
                  <a:lnTo>
                    <a:pt x="141" y="29"/>
                  </a:lnTo>
                  <a:lnTo>
                    <a:pt x="143" y="31"/>
                  </a:lnTo>
                  <a:lnTo>
                    <a:pt x="150" y="36"/>
                  </a:lnTo>
                  <a:lnTo>
                    <a:pt x="152" y="41"/>
                  </a:lnTo>
                  <a:lnTo>
                    <a:pt x="148" y="47"/>
                  </a:lnTo>
                  <a:lnTo>
                    <a:pt x="143" y="48"/>
                  </a:lnTo>
                  <a:lnTo>
                    <a:pt x="140" y="53"/>
                  </a:lnTo>
                  <a:lnTo>
                    <a:pt x="136" y="55"/>
                  </a:lnTo>
                  <a:lnTo>
                    <a:pt x="131" y="53"/>
                  </a:lnTo>
                  <a:lnTo>
                    <a:pt x="128" y="55"/>
                  </a:lnTo>
                  <a:lnTo>
                    <a:pt x="128" y="58"/>
                  </a:lnTo>
                  <a:lnTo>
                    <a:pt x="119" y="62"/>
                  </a:lnTo>
                  <a:lnTo>
                    <a:pt x="109" y="64"/>
                  </a:lnTo>
                  <a:lnTo>
                    <a:pt x="104" y="67"/>
                  </a:lnTo>
                  <a:lnTo>
                    <a:pt x="99" y="72"/>
                  </a:lnTo>
                  <a:lnTo>
                    <a:pt x="99" y="77"/>
                  </a:lnTo>
                  <a:lnTo>
                    <a:pt x="94" y="79"/>
                  </a:lnTo>
                  <a:lnTo>
                    <a:pt x="97" y="81"/>
                  </a:lnTo>
                  <a:lnTo>
                    <a:pt x="95" y="81"/>
                  </a:lnTo>
                  <a:lnTo>
                    <a:pt x="97" y="81"/>
                  </a:lnTo>
                  <a:lnTo>
                    <a:pt x="95" y="82"/>
                  </a:lnTo>
                  <a:lnTo>
                    <a:pt x="94" y="82"/>
                  </a:lnTo>
                  <a:lnTo>
                    <a:pt x="94" y="81"/>
                  </a:lnTo>
                  <a:lnTo>
                    <a:pt x="88" y="82"/>
                  </a:lnTo>
                  <a:lnTo>
                    <a:pt x="88" y="84"/>
                  </a:lnTo>
                  <a:lnTo>
                    <a:pt x="92" y="88"/>
                  </a:lnTo>
                  <a:lnTo>
                    <a:pt x="94" y="84"/>
                  </a:lnTo>
                  <a:lnTo>
                    <a:pt x="95" y="89"/>
                  </a:lnTo>
                  <a:lnTo>
                    <a:pt x="94" y="93"/>
                  </a:lnTo>
                  <a:lnTo>
                    <a:pt x="88" y="94"/>
                  </a:lnTo>
                  <a:lnTo>
                    <a:pt x="82" y="94"/>
                  </a:lnTo>
                  <a:lnTo>
                    <a:pt x="76" y="94"/>
                  </a:lnTo>
                  <a:lnTo>
                    <a:pt x="76" y="91"/>
                  </a:lnTo>
                  <a:lnTo>
                    <a:pt x="83" y="86"/>
                  </a:lnTo>
                  <a:lnTo>
                    <a:pt x="87" y="86"/>
                  </a:lnTo>
                  <a:lnTo>
                    <a:pt x="87" y="84"/>
                  </a:lnTo>
                  <a:lnTo>
                    <a:pt x="85" y="82"/>
                  </a:lnTo>
                  <a:lnTo>
                    <a:pt x="87" y="79"/>
                  </a:lnTo>
                  <a:lnTo>
                    <a:pt x="83" y="74"/>
                  </a:lnTo>
                  <a:lnTo>
                    <a:pt x="80" y="70"/>
                  </a:lnTo>
                  <a:lnTo>
                    <a:pt x="75" y="64"/>
                  </a:lnTo>
                  <a:lnTo>
                    <a:pt x="66" y="57"/>
                  </a:lnTo>
                  <a:lnTo>
                    <a:pt x="59" y="50"/>
                  </a:lnTo>
                  <a:lnTo>
                    <a:pt x="49" y="45"/>
                  </a:lnTo>
                  <a:lnTo>
                    <a:pt x="46" y="45"/>
                  </a:lnTo>
                  <a:lnTo>
                    <a:pt x="44" y="43"/>
                  </a:lnTo>
                  <a:lnTo>
                    <a:pt x="35" y="40"/>
                  </a:lnTo>
                  <a:lnTo>
                    <a:pt x="30" y="41"/>
                  </a:lnTo>
                  <a:lnTo>
                    <a:pt x="24" y="41"/>
                  </a:lnTo>
                  <a:lnTo>
                    <a:pt x="20" y="41"/>
                  </a:lnTo>
                  <a:lnTo>
                    <a:pt x="22" y="40"/>
                  </a:lnTo>
                  <a:lnTo>
                    <a:pt x="17" y="41"/>
                  </a:lnTo>
                  <a:lnTo>
                    <a:pt x="13" y="35"/>
                  </a:lnTo>
                  <a:lnTo>
                    <a:pt x="10" y="33"/>
                  </a:lnTo>
                  <a:lnTo>
                    <a:pt x="10" y="29"/>
                  </a:lnTo>
                  <a:lnTo>
                    <a:pt x="5" y="26"/>
                  </a:lnTo>
                  <a:lnTo>
                    <a:pt x="1" y="19"/>
                  </a:lnTo>
                  <a:lnTo>
                    <a:pt x="0" y="12"/>
                  </a:lnTo>
                  <a:lnTo>
                    <a:pt x="1" y="14"/>
                  </a:lnTo>
                  <a:lnTo>
                    <a:pt x="3" y="12"/>
                  </a:lnTo>
                  <a:lnTo>
                    <a:pt x="1" y="12"/>
                  </a:lnTo>
                  <a:lnTo>
                    <a:pt x="0" y="7"/>
                  </a:lnTo>
                  <a:lnTo>
                    <a:pt x="0" y="4"/>
                  </a:lnTo>
                  <a:lnTo>
                    <a:pt x="6" y="4"/>
                  </a:lnTo>
                  <a:lnTo>
                    <a:pt x="10" y="9"/>
                  </a:lnTo>
                  <a:lnTo>
                    <a:pt x="10" y="12"/>
                  </a:lnTo>
                  <a:lnTo>
                    <a:pt x="15" y="9"/>
                  </a:lnTo>
                  <a:lnTo>
                    <a:pt x="15" y="11"/>
                  </a:lnTo>
                  <a:lnTo>
                    <a:pt x="17" y="7"/>
                  </a:lnTo>
                  <a:lnTo>
                    <a:pt x="18" y="7"/>
                  </a:lnTo>
                  <a:lnTo>
                    <a:pt x="18" y="9"/>
                  </a:lnTo>
                  <a:lnTo>
                    <a:pt x="22" y="7"/>
                  </a:lnTo>
                  <a:lnTo>
                    <a:pt x="27" y="11"/>
                  </a:lnTo>
                  <a:lnTo>
                    <a:pt x="30" y="11"/>
                  </a:lnTo>
                  <a:lnTo>
                    <a:pt x="32" y="12"/>
                  </a:lnTo>
                  <a:lnTo>
                    <a:pt x="34" y="11"/>
                  </a:lnTo>
                  <a:lnTo>
                    <a:pt x="37" y="14"/>
                  </a:lnTo>
                  <a:lnTo>
                    <a:pt x="46" y="16"/>
                  </a:lnTo>
                  <a:lnTo>
                    <a:pt x="51" y="17"/>
                  </a:lnTo>
                  <a:lnTo>
                    <a:pt x="56" y="16"/>
                  </a:lnTo>
                  <a:lnTo>
                    <a:pt x="63" y="16"/>
                  </a:lnTo>
                  <a:lnTo>
                    <a:pt x="68" y="14"/>
                  </a:lnTo>
                  <a:lnTo>
                    <a:pt x="73" y="11"/>
                  </a:lnTo>
                  <a:lnTo>
                    <a:pt x="76" y="6"/>
                  </a:lnTo>
                  <a:lnTo>
                    <a:pt x="82" y="2"/>
                  </a:lnTo>
                  <a:lnTo>
                    <a:pt x="9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7" name="Freeform 60"/>
            <p:cNvSpPr>
              <a:spLocks noEditPoints="1"/>
            </p:cNvSpPr>
            <p:nvPr/>
          </p:nvSpPr>
          <p:spPr bwMode="gray">
            <a:xfrm>
              <a:off x="4348433" y="4256514"/>
              <a:ext cx="1171126" cy="820882"/>
            </a:xfrm>
            <a:custGeom>
              <a:avLst/>
              <a:gdLst>
                <a:gd name="T0" fmla="*/ 213 w 642"/>
                <a:gd name="T1" fmla="*/ 407 h 450"/>
                <a:gd name="T2" fmla="*/ 365 w 642"/>
                <a:gd name="T3" fmla="*/ 263 h 450"/>
                <a:gd name="T4" fmla="*/ 444 w 642"/>
                <a:gd name="T5" fmla="*/ 255 h 450"/>
                <a:gd name="T6" fmla="*/ 580 w 642"/>
                <a:gd name="T7" fmla="*/ 257 h 450"/>
                <a:gd name="T8" fmla="*/ 597 w 642"/>
                <a:gd name="T9" fmla="*/ 251 h 450"/>
                <a:gd name="T10" fmla="*/ 379 w 642"/>
                <a:gd name="T11" fmla="*/ 248 h 450"/>
                <a:gd name="T12" fmla="*/ 403 w 642"/>
                <a:gd name="T13" fmla="*/ 246 h 450"/>
                <a:gd name="T14" fmla="*/ 565 w 642"/>
                <a:gd name="T15" fmla="*/ 241 h 450"/>
                <a:gd name="T16" fmla="*/ 548 w 642"/>
                <a:gd name="T17" fmla="*/ 236 h 450"/>
                <a:gd name="T18" fmla="*/ 539 w 642"/>
                <a:gd name="T19" fmla="*/ 231 h 450"/>
                <a:gd name="T20" fmla="*/ 562 w 642"/>
                <a:gd name="T21" fmla="*/ 234 h 450"/>
                <a:gd name="T22" fmla="*/ 586 w 642"/>
                <a:gd name="T23" fmla="*/ 231 h 450"/>
                <a:gd name="T24" fmla="*/ 377 w 642"/>
                <a:gd name="T25" fmla="*/ 226 h 450"/>
                <a:gd name="T26" fmla="*/ 355 w 642"/>
                <a:gd name="T27" fmla="*/ 246 h 450"/>
                <a:gd name="T28" fmla="*/ 312 w 642"/>
                <a:gd name="T29" fmla="*/ 265 h 450"/>
                <a:gd name="T30" fmla="*/ 263 w 642"/>
                <a:gd name="T31" fmla="*/ 263 h 450"/>
                <a:gd name="T32" fmla="*/ 212 w 642"/>
                <a:gd name="T33" fmla="*/ 245 h 450"/>
                <a:gd name="T34" fmla="*/ 265 w 642"/>
                <a:gd name="T35" fmla="*/ 222 h 450"/>
                <a:gd name="T36" fmla="*/ 333 w 642"/>
                <a:gd name="T37" fmla="*/ 221 h 450"/>
                <a:gd name="T38" fmla="*/ 557 w 642"/>
                <a:gd name="T39" fmla="*/ 224 h 450"/>
                <a:gd name="T40" fmla="*/ 539 w 642"/>
                <a:gd name="T41" fmla="*/ 229 h 450"/>
                <a:gd name="T42" fmla="*/ 538 w 642"/>
                <a:gd name="T43" fmla="*/ 233 h 450"/>
                <a:gd name="T44" fmla="*/ 519 w 642"/>
                <a:gd name="T45" fmla="*/ 233 h 450"/>
                <a:gd name="T46" fmla="*/ 516 w 642"/>
                <a:gd name="T47" fmla="*/ 222 h 450"/>
                <a:gd name="T48" fmla="*/ 20 w 642"/>
                <a:gd name="T49" fmla="*/ 357 h 450"/>
                <a:gd name="T50" fmla="*/ 43 w 642"/>
                <a:gd name="T51" fmla="*/ 349 h 450"/>
                <a:gd name="T52" fmla="*/ 34 w 642"/>
                <a:gd name="T53" fmla="*/ 316 h 450"/>
                <a:gd name="T54" fmla="*/ 32 w 642"/>
                <a:gd name="T55" fmla="*/ 267 h 450"/>
                <a:gd name="T56" fmla="*/ 67 w 642"/>
                <a:gd name="T57" fmla="*/ 277 h 450"/>
                <a:gd name="T58" fmla="*/ 70 w 642"/>
                <a:gd name="T59" fmla="*/ 265 h 450"/>
                <a:gd name="T60" fmla="*/ 87 w 642"/>
                <a:gd name="T61" fmla="*/ 243 h 450"/>
                <a:gd name="T62" fmla="*/ 94 w 642"/>
                <a:gd name="T63" fmla="*/ 209 h 450"/>
                <a:gd name="T64" fmla="*/ 135 w 642"/>
                <a:gd name="T65" fmla="*/ 217 h 450"/>
                <a:gd name="T66" fmla="*/ 196 w 642"/>
                <a:gd name="T67" fmla="*/ 221 h 450"/>
                <a:gd name="T68" fmla="*/ 205 w 642"/>
                <a:gd name="T69" fmla="*/ 234 h 450"/>
                <a:gd name="T70" fmla="*/ 215 w 642"/>
                <a:gd name="T71" fmla="*/ 258 h 450"/>
                <a:gd name="T72" fmla="*/ 232 w 642"/>
                <a:gd name="T73" fmla="*/ 292 h 450"/>
                <a:gd name="T74" fmla="*/ 254 w 642"/>
                <a:gd name="T75" fmla="*/ 313 h 450"/>
                <a:gd name="T76" fmla="*/ 292 w 642"/>
                <a:gd name="T77" fmla="*/ 328 h 450"/>
                <a:gd name="T78" fmla="*/ 347 w 642"/>
                <a:gd name="T79" fmla="*/ 323 h 450"/>
                <a:gd name="T80" fmla="*/ 394 w 642"/>
                <a:gd name="T81" fmla="*/ 321 h 450"/>
                <a:gd name="T82" fmla="*/ 422 w 642"/>
                <a:gd name="T83" fmla="*/ 359 h 450"/>
                <a:gd name="T84" fmla="*/ 415 w 642"/>
                <a:gd name="T85" fmla="*/ 409 h 450"/>
                <a:gd name="T86" fmla="*/ 439 w 642"/>
                <a:gd name="T87" fmla="*/ 448 h 450"/>
                <a:gd name="T88" fmla="*/ 403 w 642"/>
                <a:gd name="T89" fmla="*/ 427 h 450"/>
                <a:gd name="T90" fmla="*/ 370 w 642"/>
                <a:gd name="T91" fmla="*/ 426 h 450"/>
                <a:gd name="T92" fmla="*/ 355 w 642"/>
                <a:gd name="T93" fmla="*/ 422 h 450"/>
                <a:gd name="T94" fmla="*/ 336 w 642"/>
                <a:gd name="T95" fmla="*/ 414 h 450"/>
                <a:gd name="T96" fmla="*/ 307 w 642"/>
                <a:gd name="T97" fmla="*/ 400 h 450"/>
                <a:gd name="T98" fmla="*/ 242 w 642"/>
                <a:gd name="T99" fmla="*/ 402 h 450"/>
                <a:gd name="T100" fmla="*/ 225 w 642"/>
                <a:gd name="T101" fmla="*/ 403 h 450"/>
                <a:gd name="T102" fmla="*/ 176 w 642"/>
                <a:gd name="T103" fmla="*/ 400 h 450"/>
                <a:gd name="T104" fmla="*/ 147 w 642"/>
                <a:gd name="T105" fmla="*/ 395 h 450"/>
                <a:gd name="T106" fmla="*/ 106 w 642"/>
                <a:gd name="T107" fmla="*/ 386 h 450"/>
                <a:gd name="T108" fmla="*/ 97 w 642"/>
                <a:gd name="T109" fmla="*/ 400 h 450"/>
                <a:gd name="T110" fmla="*/ 79 w 642"/>
                <a:gd name="T111" fmla="*/ 397 h 450"/>
                <a:gd name="T112" fmla="*/ 61 w 642"/>
                <a:gd name="T113" fmla="*/ 388 h 450"/>
                <a:gd name="T114" fmla="*/ 29 w 642"/>
                <a:gd name="T115" fmla="*/ 390 h 450"/>
                <a:gd name="T116" fmla="*/ 0 w 642"/>
                <a:gd name="T117" fmla="*/ 381 h 450"/>
                <a:gd name="T118" fmla="*/ 207 w 642"/>
                <a:gd name="T119" fmla="*/ 98 h 450"/>
                <a:gd name="T120" fmla="*/ 422 w 642"/>
                <a:gd name="T121" fmla="*/ 60 h 450"/>
                <a:gd name="T122" fmla="*/ 423 w 642"/>
                <a:gd name="T123" fmla="*/ 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450">
                  <a:moveTo>
                    <a:pt x="287" y="409"/>
                  </a:moveTo>
                  <a:lnTo>
                    <a:pt x="297" y="410"/>
                  </a:lnTo>
                  <a:lnTo>
                    <a:pt x="299" y="412"/>
                  </a:lnTo>
                  <a:lnTo>
                    <a:pt x="300" y="412"/>
                  </a:lnTo>
                  <a:lnTo>
                    <a:pt x="299" y="415"/>
                  </a:lnTo>
                  <a:lnTo>
                    <a:pt x="287" y="415"/>
                  </a:lnTo>
                  <a:lnTo>
                    <a:pt x="285" y="415"/>
                  </a:lnTo>
                  <a:lnTo>
                    <a:pt x="282" y="414"/>
                  </a:lnTo>
                  <a:lnTo>
                    <a:pt x="285" y="409"/>
                  </a:lnTo>
                  <a:lnTo>
                    <a:pt x="287" y="409"/>
                  </a:lnTo>
                  <a:close/>
                  <a:moveTo>
                    <a:pt x="213" y="407"/>
                  </a:moveTo>
                  <a:lnTo>
                    <a:pt x="215" y="407"/>
                  </a:lnTo>
                  <a:lnTo>
                    <a:pt x="215" y="410"/>
                  </a:lnTo>
                  <a:lnTo>
                    <a:pt x="212" y="410"/>
                  </a:lnTo>
                  <a:lnTo>
                    <a:pt x="213" y="407"/>
                  </a:lnTo>
                  <a:close/>
                  <a:moveTo>
                    <a:pt x="343" y="260"/>
                  </a:moveTo>
                  <a:lnTo>
                    <a:pt x="348" y="262"/>
                  </a:lnTo>
                  <a:lnTo>
                    <a:pt x="347" y="263"/>
                  </a:lnTo>
                  <a:lnTo>
                    <a:pt x="341" y="262"/>
                  </a:lnTo>
                  <a:lnTo>
                    <a:pt x="343" y="260"/>
                  </a:lnTo>
                  <a:close/>
                  <a:moveTo>
                    <a:pt x="362" y="257"/>
                  </a:moveTo>
                  <a:lnTo>
                    <a:pt x="365" y="263"/>
                  </a:lnTo>
                  <a:lnTo>
                    <a:pt x="362" y="260"/>
                  </a:lnTo>
                  <a:lnTo>
                    <a:pt x="357" y="260"/>
                  </a:lnTo>
                  <a:lnTo>
                    <a:pt x="357" y="258"/>
                  </a:lnTo>
                  <a:lnTo>
                    <a:pt x="362" y="257"/>
                  </a:lnTo>
                  <a:close/>
                  <a:moveTo>
                    <a:pt x="452" y="255"/>
                  </a:moveTo>
                  <a:lnTo>
                    <a:pt x="449" y="255"/>
                  </a:lnTo>
                  <a:lnTo>
                    <a:pt x="451" y="255"/>
                  </a:lnTo>
                  <a:lnTo>
                    <a:pt x="452" y="255"/>
                  </a:lnTo>
                  <a:close/>
                  <a:moveTo>
                    <a:pt x="440" y="251"/>
                  </a:moveTo>
                  <a:lnTo>
                    <a:pt x="444" y="251"/>
                  </a:lnTo>
                  <a:lnTo>
                    <a:pt x="444" y="255"/>
                  </a:lnTo>
                  <a:lnTo>
                    <a:pt x="442" y="255"/>
                  </a:lnTo>
                  <a:lnTo>
                    <a:pt x="437" y="253"/>
                  </a:lnTo>
                  <a:lnTo>
                    <a:pt x="428" y="255"/>
                  </a:lnTo>
                  <a:lnTo>
                    <a:pt x="427" y="253"/>
                  </a:lnTo>
                  <a:lnTo>
                    <a:pt x="434" y="251"/>
                  </a:lnTo>
                  <a:lnTo>
                    <a:pt x="440" y="251"/>
                  </a:lnTo>
                  <a:close/>
                  <a:moveTo>
                    <a:pt x="599" y="248"/>
                  </a:moveTo>
                  <a:lnTo>
                    <a:pt x="597" y="258"/>
                  </a:lnTo>
                  <a:lnTo>
                    <a:pt x="596" y="260"/>
                  </a:lnTo>
                  <a:lnTo>
                    <a:pt x="589" y="260"/>
                  </a:lnTo>
                  <a:lnTo>
                    <a:pt x="580" y="257"/>
                  </a:lnTo>
                  <a:lnTo>
                    <a:pt x="579" y="253"/>
                  </a:lnTo>
                  <a:lnTo>
                    <a:pt x="582" y="250"/>
                  </a:lnTo>
                  <a:lnTo>
                    <a:pt x="582" y="253"/>
                  </a:lnTo>
                  <a:lnTo>
                    <a:pt x="584" y="248"/>
                  </a:lnTo>
                  <a:lnTo>
                    <a:pt x="587" y="253"/>
                  </a:lnTo>
                  <a:lnTo>
                    <a:pt x="596" y="255"/>
                  </a:lnTo>
                  <a:lnTo>
                    <a:pt x="597" y="253"/>
                  </a:lnTo>
                  <a:lnTo>
                    <a:pt x="596" y="255"/>
                  </a:lnTo>
                  <a:lnTo>
                    <a:pt x="594" y="251"/>
                  </a:lnTo>
                  <a:lnTo>
                    <a:pt x="596" y="250"/>
                  </a:lnTo>
                  <a:lnTo>
                    <a:pt x="597" y="251"/>
                  </a:lnTo>
                  <a:lnTo>
                    <a:pt x="597" y="248"/>
                  </a:lnTo>
                  <a:lnTo>
                    <a:pt x="599" y="248"/>
                  </a:lnTo>
                  <a:close/>
                  <a:moveTo>
                    <a:pt x="572" y="243"/>
                  </a:moveTo>
                  <a:lnTo>
                    <a:pt x="575" y="243"/>
                  </a:lnTo>
                  <a:lnTo>
                    <a:pt x="575" y="245"/>
                  </a:lnTo>
                  <a:lnTo>
                    <a:pt x="572" y="245"/>
                  </a:lnTo>
                  <a:lnTo>
                    <a:pt x="572" y="243"/>
                  </a:lnTo>
                  <a:close/>
                  <a:moveTo>
                    <a:pt x="365" y="243"/>
                  </a:moveTo>
                  <a:lnTo>
                    <a:pt x="369" y="245"/>
                  </a:lnTo>
                  <a:lnTo>
                    <a:pt x="377" y="245"/>
                  </a:lnTo>
                  <a:lnTo>
                    <a:pt x="379" y="248"/>
                  </a:lnTo>
                  <a:lnTo>
                    <a:pt x="369" y="248"/>
                  </a:lnTo>
                  <a:lnTo>
                    <a:pt x="364" y="246"/>
                  </a:lnTo>
                  <a:lnTo>
                    <a:pt x="364" y="243"/>
                  </a:lnTo>
                  <a:lnTo>
                    <a:pt x="365" y="243"/>
                  </a:lnTo>
                  <a:close/>
                  <a:moveTo>
                    <a:pt x="411" y="243"/>
                  </a:moveTo>
                  <a:lnTo>
                    <a:pt x="415" y="246"/>
                  </a:lnTo>
                  <a:lnTo>
                    <a:pt x="420" y="255"/>
                  </a:lnTo>
                  <a:lnTo>
                    <a:pt x="417" y="257"/>
                  </a:lnTo>
                  <a:lnTo>
                    <a:pt x="408" y="255"/>
                  </a:lnTo>
                  <a:lnTo>
                    <a:pt x="405" y="248"/>
                  </a:lnTo>
                  <a:lnTo>
                    <a:pt x="403" y="246"/>
                  </a:lnTo>
                  <a:lnTo>
                    <a:pt x="406" y="243"/>
                  </a:lnTo>
                  <a:lnTo>
                    <a:pt x="411" y="243"/>
                  </a:lnTo>
                  <a:close/>
                  <a:moveTo>
                    <a:pt x="568" y="241"/>
                  </a:moveTo>
                  <a:lnTo>
                    <a:pt x="570" y="241"/>
                  </a:lnTo>
                  <a:lnTo>
                    <a:pt x="570" y="243"/>
                  </a:lnTo>
                  <a:lnTo>
                    <a:pt x="568" y="243"/>
                  </a:lnTo>
                  <a:lnTo>
                    <a:pt x="568" y="241"/>
                  </a:lnTo>
                  <a:close/>
                  <a:moveTo>
                    <a:pt x="567" y="241"/>
                  </a:moveTo>
                  <a:lnTo>
                    <a:pt x="565" y="243"/>
                  </a:lnTo>
                  <a:lnTo>
                    <a:pt x="563" y="243"/>
                  </a:lnTo>
                  <a:lnTo>
                    <a:pt x="565" y="241"/>
                  </a:lnTo>
                  <a:lnTo>
                    <a:pt x="562" y="241"/>
                  </a:lnTo>
                  <a:lnTo>
                    <a:pt x="562" y="239"/>
                  </a:lnTo>
                  <a:lnTo>
                    <a:pt x="567" y="241"/>
                  </a:lnTo>
                  <a:close/>
                  <a:moveTo>
                    <a:pt x="555" y="234"/>
                  </a:moveTo>
                  <a:lnTo>
                    <a:pt x="555" y="236"/>
                  </a:lnTo>
                  <a:lnTo>
                    <a:pt x="557" y="238"/>
                  </a:lnTo>
                  <a:lnTo>
                    <a:pt x="553" y="239"/>
                  </a:lnTo>
                  <a:lnTo>
                    <a:pt x="551" y="238"/>
                  </a:lnTo>
                  <a:lnTo>
                    <a:pt x="555" y="234"/>
                  </a:lnTo>
                  <a:close/>
                  <a:moveTo>
                    <a:pt x="546" y="233"/>
                  </a:moveTo>
                  <a:lnTo>
                    <a:pt x="548" y="236"/>
                  </a:lnTo>
                  <a:lnTo>
                    <a:pt x="541" y="234"/>
                  </a:lnTo>
                  <a:lnTo>
                    <a:pt x="541" y="233"/>
                  </a:lnTo>
                  <a:lnTo>
                    <a:pt x="546" y="233"/>
                  </a:lnTo>
                  <a:close/>
                  <a:moveTo>
                    <a:pt x="393" y="236"/>
                  </a:moveTo>
                  <a:lnTo>
                    <a:pt x="391" y="236"/>
                  </a:lnTo>
                  <a:lnTo>
                    <a:pt x="393" y="231"/>
                  </a:lnTo>
                  <a:lnTo>
                    <a:pt x="393" y="233"/>
                  </a:lnTo>
                  <a:lnTo>
                    <a:pt x="393" y="236"/>
                  </a:lnTo>
                  <a:close/>
                  <a:moveTo>
                    <a:pt x="539" y="231"/>
                  </a:moveTo>
                  <a:lnTo>
                    <a:pt x="539" y="233"/>
                  </a:lnTo>
                  <a:lnTo>
                    <a:pt x="539" y="231"/>
                  </a:lnTo>
                  <a:close/>
                  <a:moveTo>
                    <a:pt x="601" y="229"/>
                  </a:moveTo>
                  <a:lnTo>
                    <a:pt x="603" y="231"/>
                  </a:lnTo>
                  <a:lnTo>
                    <a:pt x="597" y="231"/>
                  </a:lnTo>
                  <a:lnTo>
                    <a:pt x="601" y="229"/>
                  </a:lnTo>
                  <a:close/>
                  <a:moveTo>
                    <a:pt x="562" y="229"/>
                  </a:moveTo>
                  <a:lnTo>
                    <a:pt x="568" y="231"/>
                  </a:lnTo>
                  <a:lnTo>
                    <a:pt x="570" y="234"/>
                  </a:lnTo>
                  <a:lnTo>
                    <a:pt x="572" y="236"/>
                  </a:lnTo>
                  <a:lnTo>
                    <a:pt x="568" y="234"/>
                  </a:lnTo>
                  <a:lnTo>
                    <a:pt x="567" y="236"/>
                  </a:lnTo>
                  <a:lnTo>
                    <a:pt x="562" y="234"/>
                  </a:lnTo>
                  <a:lnTo>
                    <a:pt x="562" y="233"/>
                  </a:lnTo>
                  <a:lnTo>
                    <a:pt x="558" y="231"/>
                  </a:lnTo>
                  <a:lnTo>
                    <a:pt x="560" y="231"/>
                  </a:lnTo>
                  <a:lnTo>
                    <a:pt x="560" y="227"/>
                  </a:lnTo>
                  <a:lnTo>
                    <a:pt x="562" y="229"/>
                  </a:lnTo>
                  <a:close/>
                  <a:moveTo>
                    <a:pt x="596" y="227"/>
                  </a:moveTo>
                  <a:lnTo>
                    <a:pt x="596" y="231"/>
                  </a:lnTo>
                  <a:lnTo>
                    <a:pt x="596" y="227"/>
                  </a:lnTo>
                  <a:close/>
                  <a:moveTo>
                    <a:pt x="584" y="229"/>
                  </a:moveTo>
                  <a:lnTo>
                    <a:pt x="586" y="229"/>
                  </a:lnTo>
                  <a:lnTo>
                    <a:pt x="586" y="231"/>
                  </a:lnTo>
                  <a:lnTo>
                    <a:pt x="584" y="231"/>
                  </a:lnTo>
                  <a:lnTo>
                    <a:pt x="584" y="229"/>
                  </a:lnTo>
                  <a:close/>
                  <a:moveTo>
                    <a:pt x="640" y="227"/>
                  </a:moveTo>
                  <a:lnTo>
                    <a:pt x="642" y="227"/>
                  </a:lnTo>
                  <a:lnTo>
                    <a:pt x="638" y="229"/>
                  </a:lnTo>
                  <a:lnTo>
                    <a:pt x="642" y="227"/>
                  </a:lnTo>
                  <a:lnTo>
                    <a:pt x="640" y="227"/>
                  </a:lnTo>
                  <a:close/>
                  <a:moveTo>
                    <a:pt x="360" y="219"/>
                  </a:moveTo>
                  <a:lnTo>
                    <a:pt x="367" y="221"/>
                  </a:lnTo>
                  <a:lnTo>
                    <a:pt x="370" y="222"/>
                  </a:lnTo>
                  <a:lnTo>
                    <a:pt x="377" y="226"/>
                  </a:lnTo>
                  <a:lnTo>
                    <a:pt x="382" y="227"/>
                  </a:lnTo>
                  <a:lnTo>
                    <a:pt x="386" y="233"/>
                  </a:lnTo>
                  <a:lnTo>
                    <a:pt x="382" y="233"/>
                  </a:lnTo>
                  <a:lnTo>
                    <a:pt x="377" y="236"/>
                  </a:lnTo>
                  <a:lnTo>
                    <a:pt x="367" y="238"/>
                  </a:lnTo>
                  <a:lnTo>
                    <a:pt x="364" y="239"/>
                  </a:lnTo>
                  <a:lnTo>
                    <a:pt x="360" y="238"/>
                  </a:lnTo>
                  <a:lnTo>
                    <a:pt x="365" y="241"/>
                  </a:lnTo>
                  <a:lnTo>
                    <a:pt x="364" y="243"/>
                  </a:lnTo>
                  <a:lnTo>
                    <a:pt x="360" y="241"/>
                  </a:lnTo>
                  <a:lnTo>
                    <a:pt x="355" y="246"/>
                  </a:lnTo>
                  <a:lnTo>
                    <a:pt x="357" y="248"/>
                  </a:lnTo>
                  <a:lnTo>
                    <a:pt x="358" y="251"/>
                  </a:lnTo>
                  <a:lnTo>
                    <a:pt x="348" y="251"/>
                  </a:lnTo>
                  <a:lnTo>
                    <a:pt x="347" y="250"/>
                  </a:lnTo>
                  <a:lnTo>
                    <a:pt x="340" y="250"/>
                  </a:lnTo>
                  <a:lnTo>
                    <a:pt x="333" y="248"/>
                  </a:lnTo>
                  <a:lnTo>
                    <a:pt x="329" y="251"/>
                  </a:lnTo>
                  <a:lnTo>
                    <a:pt x="323" y="251"/>
                  </a:lnTo>
                  <a:lnTo>
                    <a:pt x="319" y="255"/>
                  </a:lnTo>
                  <a:lnTo>
                    <a:pt x="318" y="263"/>
                  </a:lnTo>
                  <a:lnTo>
                    <a:pt x="312" y="265"/>
                  </a:lnTo>
                  <a:lnTo>
                    <a:pt x="311" y="263"/>
                  </a:lnTo>
                  <a:lnTo>
                    <a:pt x="307" y="262"/>
                  </a:lnTo>
                  <a:lnTo>
                    <a:pt x="302" y="262"/>
                  </a:lnTo>
                  <a:lnTo>
                    <a:pt x="294" y="262"/>
                  </a:lnTo>
                  <a:lnTo>
                    <a:pt x="290" y="262"/>
                  </a:lnTo>
                  <a:lnTo>
                    <a:pt x="282" y="262"/>
                  </a:lnTo>
                  <a:lnTo>
                    <a:pt x="271" y="263"/>
                  </a:lnTo>
                  <a:lnTo>
                    <a:pt x="270" y="260"/>
                  </a:lnTo>
                  <a:lnTo>
                    <a:pt x="268" y="262"/>
                  </a:lnTo>
                  <a:lnTo>
                    <a:pt x="270" y="262"/>
                  </a:lnTo>
                  <a:lnTo>
                    <a:pt x="263" y="263"/>
                  </a:lnTo>
                  <a:lnTo>
                    <a:pt x="259" y="262"/>
                  </a:lnTo>
                  <a:lnTo>
                    <a:pt x="253" y="260"/>
                  </a:lnTo>
                  <a:lnTo>
                    <a:pt x="248" y="260"/>
                  </a:lnTo>
                  <a:lnTo>
                    <a:pt x="239" y="257"/>
                  </a:lnTo>
                  <a:lnTo>
                    <a:pt x="236" y="255"/>
                  </a:lnTo>
                  <a:lnTo>
                    <a:pt x="224" y="255"/>
                  </a:lnTo>
                  <a:lnTo>
                    <a:pt x="219" y="257"/>
                  </a:lnTo>
                  <a:lnTo>
                    <a:pt x="213" y="253"/>
                  </a:lnTo>
                  <a:lnTo>
                    <a:pt x="215" y="246"/>
                  </a:lnTo>
                  <a:lnTo>
                    <a:pt x="213" y="246"/>
                  </a:lnTo>
                  <a:lnTo>
                    <a:pt x="212" y="245"/>
                  </a:lnTo>
                  <a:lnTo>
                    <a:pt x="213" y="239"/>
                  </a:lnTo>
                  <a:lnTo>
                    <a:pt x="219" y="239"/>
                  </a:lnTo>
                  <a:lnTo>
                    <a:pt x="224" y="236"/>
                  </a:lnTo>
                  <a:lnTo>
                    <a:pt x="230" y="227"/>
                  </a:lnTo>
                  <a:lnTo>
                    <a:pt x="230" y="224"/>
                  </a:lnTo>
                  <a:lnTo>
                    <a:pt x="232" y="226"/>
                  </a:lnTo>
                  <a:lnTo>
                    <a:pt x="236" y="222"/>
                  </a:lnTo>
                  <a:lnTo>
                    <a:pt x="237" y="222"/>
                  </a:lnTo>
                  <a:lnTo>
                    <a:pt x="248" y="222"/>
                  </a:lnTo>
                  <a:lnTo>
                    <a:pt x="256" y="221"/>
                  </a:lnTo>
                  <a:lnTo>
                    <a:pt x="265" y="222"/>
                  </a:lnTo>
                  <a:lnTo>
                    <a:pt x="266" y="222"/>
                  </a:lnTo>
                  <a:lnTo>
                    <a:pt x="275" y="222"/>
                  </a:lnTo>
                  <a:lnTo>
                    <a:pt x="278" y="222"/>
                  </a:lnTo>
                  <a:lnTo>
                    <a:pt x="288" y="222"/>
                  </a:lnTo>
                  <a:lnTo>
                    <a:pt x="290" y="222"/>
                  </a:lnTo>
                  <a:lnTo>
                    <a:pt x="294" y="222"/>
                  </a:lnTo>
                  <a:lnTo>
                    <a:pt x="302" y="222"/>
                  </a:lnTo>
                  <a:lnTo>
                    <a:pt x="312" y="222"/>
                  </a:lnTo>
                  <a:lnTo>
                    <a:pt x="323" y="222"/>
                  </a:lnTo>
                  <a:lnTo>
                    <a:pt x="326" y="222"/>
                  </a:lnTo>
                  <a:lnTo>
                    <a:pt x="333" y="221"/>
                  </a:lnTo>
                  <a:lnTo>
                    <a:pt x="338" y="222"/>
                  </a:lnTo>
                  <a:lnTo>
                    <a:pt x="347" y="222"/>
                  </a:lnTo>
                  <a:lnTo>
                    <a:pt x="353" y="221"/>
                  </a:lnTo>
                  <a:lnTo>
                    <a:pt x="360" y="219"/>
                  </a:lnTo>
                  <a:close/>
                  <a:moveTo>
                    <a:pt x="521" y="214"/>
                  </a:moveTo>
                  <a:lnTo>
                    <a:pt x="529" y="216"/>
                  </a:lnTo>
                  <a:lnTo>
                    <a:pt x="538" y="216"/>
                  </a:lnTo>
                  <a:lnTo>
                    <a:pt x="543" y="217"/>
                  </a:lnTo>
                  <a:lnTo>
                    <a:pt x="550" y="221"/>
                  </a:lnTo>
                  <a:lnTo>
                    <a:pt x="553" y="221"/>
                  </a:lnTo>
                  <a:lnTo>
                    <a:pt x="557" y="224"/>
                  </a:lnTo>
                  <a:lnTo>
                    <a:pt x="560" y="227"/>
                  </a:lnTo>
                  <a:lnTo>
                    <a:pt x="557" y="231"/>
                  </a:lnTo>
                  <a:lnTo>
                    <a:pt x="553" y="229"/>
                  </a:lnTo>
                  <a:lnTo>
                    <a:pt x="550" y="229"/>
                  </a:lnTo>
                  <a:lnTo>
                    <a:pt x="550" y="227"/>
                  </a:lnTo>
                  <a:lnTo>
                    <a:pt x="548" y="226"/>
                  </a:lnTo>
                  <a:lnTo>
                    <a:pt x="545" y="227"/>
                  </a:lnTo>
                  <a:lnTo>
                    <a:pt x="545" y="224"/>
                  </a:lnTo>
                  <a:lnTo>
                    <a:pt x="543" y="229"/>
                  </a:lnTo>
                  <a:lnTo>
                    <a:pt x="541" y="226"/>
                  </a:lnTo>
                  <a:lnTo>
                    <a:pt x="539" y="229"/>
                  </a:lnTo>
                  <a:lnTo>
                    <a:pt x="538" y="224"/>
                  </a:lnTo>
                  <a:lnTo>
                    <a:pt x="536" y="226"/>
                  </a:lnTo>
                  <a:lnTo>
                    <a:pt x="536" y="224"/>
                  </a:lnTo>
                  <a:lnTo>
                    <a:pt x="534" y="227"/>
                  </a:lnTo>
                  <a:lnTo>
                    <a:pt x="533" y="226"/>
                  </a:lnTo>
                  <a:lnTo>
                    <a:pt x="531" y="227"/>
                  </a:lnTo>
                  <a:lnTo>
                    <a:pt x="531" y="229"/>
                  </a:lnTo>
                  <a:lnTo>
                    <a:pt x="533" y="227"/>
                  </a:lnTo>
                  <a:lnTo>
                    <a:pt x="534" y="229"/>
                  </a:lnTo>
                  <a:lnTo>
                    <a:pt x="536" y="231"/>
                  </a:lnTo>
                  <a:lnTo>
                    <a:pt x="538" y="233"/>
                  </a:lnTo>
                  <a:lnTo>
                    <a:pt x="536" y="233"/>
                  </a:lnTo>
                  <a:lnTo>
                    <a:pt x="539" y="234"/>
                  </a:lnTo>
                  <a:lnTo>
                    <a:pt x="531" y="234"/>
                  </a:lnTo>
                  <a:lnTo>
                    <a:pt x="527" y="231"/>
                  </a:lnTo>
                  <a:lnTo>
                    <a:pt x="529" y="231"/>
                  </a:lnTo>
                  <a:lnTo>
                    <a:pt x="527" y="229"/>
                  </a:lnTo>
                  <a:lnTo>
                    <a:pt x="527" y="233"/>
                  </a:lnTo>
                  <a:lnTo>
                    <a:pt x="524" y="233"/>
                  </a:lnTo>
                  <a:lnTo>
                    <a:pt x="526" y="234"/>
                  </a:lnTo>
                  <a:lnTo>
                    <a:pt x="526" y="236"/>
                  </a:lnTo>
                  <a:lnTo>
                    <a:pt x="519" y="233"/>
                  </a:lnTo>
                  <a:lnTo>
                    <a:pt x="522" y="233"/>
                  </a:lnTo>
                  <a:lnTo>
                    <a:pt x="521" y="231"/>
                  </a:lnTo>
                  <a:lnTo>
                    <a:pt x="522" y="231"/>
                  </a:lnTo>
                  <a:lnTo>
                    <a:pt x="522" y="227"/>
                  </a:lnTo>
                  <a:lnTo>
                    <a:pt x="521" y="229"/>
                  </a:lnTo>
                  <a:lnTo>
                    <a:pt x="519" y="227"/>
                  </a:lnTo>
                  <a:lnTo>
                    <a:pt x="516" y="229"/>
                  </a:lnTo>
                  <a:lnTo>
                    <a:pt x="514" y="227"/>
                  </a:lnTo>
                  <a:lnTo>
                    <a:pt x="516" y="226"/>
                  </a:lnTo>
                  <a:lnTo>
                    <a:pt x="514" y="226"/>
                  </a:lnTo>
                  <a:lnTo>
                    <a:pt x="516" y="222"/>
                  </a:lnTo>
                  <a:lnTo>
                    <a:pt x="519" y="221"/>
                  </a:lnTo>
                  <a:lnTo>
                    <a:pt x="521" y="219"/>
                  </a:lnTo>
                  <a:lnTo>
                    <a:pt x="517" y="216"/>
                  </a:lnTo>
                  <a:lnTo>
                    <a:pt x="521" y="214"/>
                  </a:lnTo>
                  <a:close/>
                  <a:moveTo>
                    <a:pt x="0" y="381"/>
                  </a:moveTo>
                  <a:lnTo>
                    <a:pt x="0" y="371"/>
                  </a:lnTo>
                  <a:lnTo>
                    <a:pt x="5" y="362"/>
                  </a:lnTo>
                  <a:lnTo>
                    <a:pt x="15" y="366"/>
                  </a:lnTo>
                  <a:lnTo>
                    <a:pt x="20" y="362"/>
                  </a:lnTo>
                  <a:lnTo>
                    <a:pt x="19" y="359"/>
                  </a:lnTo>
                  <a:lnTo>
                    <a:pt x="20" y="357"/>
                  </a:lnTo>
                  <a:lnTo>
                    <a:pt x="22" y="359"/>
                  </a:lnTo>
                  <a:lnTo>
                    <a:pt x="22" y="362"/>
                  </a:lnTo>
                  <a:lnTo>
                    <a:pt x="27" y="362"/>
                  </a:lnTo>
                  <a:lnTo>
                    <a:pt x="27" y="357"/>
                  </a:lnTo>
                  <a:lnTo>
                    <a:pt x="26" y="352"/>
                  </a:lnTo>
                  <a:lnTo>
                    <a:pt x="29" y="350"/>
                  </a:lnTo>
                  <a:lnTo>
                    <a:pt x="29" y="347"/>
                  </a:lnTo>
                  <a:lnTo>
                    <a:pt x="32" y="345"/>
                  </a:lnTo>
                  <a:lnTo>
                    <a:pt x="34" y="347"/>
                  </a:lnTo>
                  <a:lnTo>
                    <a:pt x="38" y="347"/>
                  </a:lnTo>
                  <a:lnTo>
                    <a:pt x="43" y="349"/>
                  </a:lnTo>
                  <a:lnTo>
                    <a:pt x="46" y="344"/>
                  </a:lnTo>
                  <a:lnTo>
                    <a:pt x="48" y="339"/>
                  </a:lnTo>
                  <a:lnTo>
                    <a:pt x="49" y="339"/>
                  </a:lnTo>
                  <a:lnTo>
                    <a:pt x="48" y="332"/>
                  </a:lnTo>
                  <a:lnTo>
                    <a:pt x="46" y="330"/>
                  </a:lnTo>
                  <a:lnTo>
                    <a:pt x="46" y="325"/>
                  </a:lnTo>
                  <a:lnTo>
                    <a:pt x="44" y="323"/>
                  </a:lnTo>
                  <a:lnTo>
                    <a:pt x="41" y="325"/>
                  </a:lnTo>
                  <a:lnTo>
                    <a:pt x="38" y="321"/>
                  </a:lnTo>
                  <a:lnTo>
                    <a:pt x="34" y="321"/>
                  </a:lnTo>
                  <a:lnTo>
                    <a:pt x="34" y="316"/>
                  </a:lnTo>
                  <a:lnTo>
                    <a:pt x="36" y="309"/>
                  </a:lnTo>
                  <a:lnTo>
                    <a:pt x="31" y="303"/>
                  </a:lnTo>
                  <a:lnTo>
                    <a:pt x="31" y="296"/>
                  </a:lnTo>
                  <a:lnTo>
                    <a:pt x="27" y="294"/>
                  </a:lnTo>
                  <a:lnTo>
                    <a:pt x="26" y="286"/>
                  </a:lnTo>
                  <a:lnTo>
                    <a:pt x="29" y="279"/>
                  </a:lnTo>
                  <a:lnTo>
                    <a:pt x="29" y="275"/>
                  </a:lnTo>
                  <a:lnTo>
                    <a:pt x="31" y="274"/>
                  </a:lnTo>
                  <a:lnTo>
                    <a:pt x="27" y="270"/>
                  </a:lnTo>
                  <a:lnTo>
                    <a:pt x="29" y="267"/>
                  </a:lnTo>
                  <a:lnTo>
                    <a:pt x="32" y="267"/>
                  </a:lnTo>
                  <a:lnTo>
                    <a:pt x="38" y="265"/>
                  </a:lnTo>
                  <a:lnTo>
                    <a:pt x="41" y="270"/>
                  </a:lnTo>
                  <a:lnTo>
                    <a:pt x="46" y="270"/>
                  </a:lnTo>
                  <a:lnTo>
                    <a:pt x="53" y="274"/>
                  </a:lnTo>
                  <a:lnTo>
                    <a:pt x="53" y="275"/>
                  </a:lnTo>
                  <a:lnTo>
                    <a:pt x="61" y="277"/>
                  </a:lnTo>
                  <a:lnTo>
                    <a:pt x="67" y="280"/>
                  </a:lnTo>
                  <a:lnTo>
                    <a:pt x="67" y="277"/>
                  </a:lnTo>
                  <a:lnTo>
                    <a:pt x="65" y="279"/>
                  </a:lnTo>
                  <a:lnTo>
                    <a:pt x="65" y="277"/>
                  </a:lnTo>
                  <a:lnTo>
                    <a:pt x="67" y="277"/>
                  </a:lnTo>
                  <a:lnTo>
                    <a:pt x="65" y="275"/>
                  </a:lnTo>
                  <a:lnTo>
                    <a:pt x="67" y="274"/>
                  </a:lnTo>
                  <a:lnTo>
                    <a:pt x="63" y="272"/>
                  </a:lnTo>
                  <a:lnTo>
                    <a:pt x="65" y="270"/>
                  </a:lnTo>
                  <a:lnTo>
                    <a:pt x="65" y="267"/>
                  </a:lnTo>
                  <a:lnTo>
                    <a:pt x="67" y="268"/>
                  </a:lnTo>
                  <a:lnTo>
                    <a:pt x="67" y="265"/>
                  </a:lnTo>
                  <a:lnTo>
                    <a:pt x="67" y="267"/>
                  </a:lnTo>
                  <a:lnTo>
                    <a:pt x="68" y="265"/>
                  </a:lnTo>
                  <a:lnTo>
                    <a:pt x="70" y="267"/>
                  </a:lnTo>
                  <a:lnTo>
                    <a:pt x="70" y="265"/>
                  </a:lnTo>
                  <a:lnTo>
                    <a:pt x="72" y="265"/>
                  </a:lnTo>
                  <a:lnTo>
                    <a:pt x="77" y="262"/>
                  </a:lnTo>
                  <a:lnTo>
                    <a:pt x="80" y="260"/>
                  </a:lnTo>
                  <a:lnTo>
                    <a:pt x="80" y="258"/>
                  </a:lnTo>
                  <a:lnTo>
                    <a:pt x="82" y="258"/>
                  </a:lnTo>
                  <a:lnTo>
                    <a:pt x="82" y="255"/>
                  </a:lnTo>
                  <a:lnTo>
                    <a:pt x="85" y="251"/>
                  </a:lnTo>
                  <a:lnTo>
                    <a:pt x="84" y="251"/>
                  </a:lnTo>
                  <a:lnTo>
                    <a:pt x="87" y="248"/>
                  </a:lnTo>
                  <a:lnTo>
                    <a:pt x="85" y="245"/>
                  </a:lnTo>
                  <a:lnTo>
                    <a:pt x="87" y="243"/>
                  </a:lnTo>
                  <a:lnTo>
                    <a:pt x="85" y="239"/>
                  </a:lnTo>
                  <a:lnTo>
                    <a:pt x="87" y="234"/>
                  </a:lnTo>
                  <a:lnTo>
                    <a:pt x="80" y="229"/>
                  </a:lnTo>
                  <a:lnTo>
                    <a:pt x="82" y="226"/>
                  </a:lnTo>
                  <a:lnTo>
                    <a:pt x="85" y="224"/>
                  </a:lnTo>
                  <a:lnTo>
                    <a:pt x="84" y="222"/>
                  </a:lnTo>
                  <a:lnTo>
                    <a:pt x="85" y="221"/>
                  </a:lnTo>
                  <a:lnTo>
                    <a:pt x="85" y="214"/>
                  </a:lnTo>
                  <a:lnTo>
                    <a:pt x="90" y="214"/>
                  </a:lnTo>
                  <a:lnTo>
                    <a:pt x="92" y="207"/>
                  </a:lnTo>
                  <a:lnTo>
                    <a:pt x="94" y="209"/>
                  </a:lnTo>
                  <a:lnTo>
                    <a:pt x="96" y="205"/>
                  </a:lnTo>
                  <a:lnTo>
                    <a:pt x="97" y="207"/>
                  </a:lnTo>
                  <a:lnTo>
                    <a:pt x="104" y="209"/>
                  </a:lnTo>
                  <a:lnTo>
                    <a:pt x="113" y="212"/>
                  </a:lnTo>
                  <a:lnTo>
                    <a:pt x="118" y="210"/>
                  </a:lnTo>
                  <a:lnTo>
                    <a:pt x="119" y="209"/>
                  </a:lnTo>
                  <a:lnTo>
                    <a:pt x="119" y="210"/>
                  </a:lnTo>
                  <a:lnTo>
                    <a:pt x="128" y="207"/>
                  </a:lnTo>
                  <a:lnTo>
                    <a:pt x="130" y="209"/>
                  </a:lnTo>
                  <a:lnTo>
                    <a:pt x="130" y="210"/>
                  </a:lnTo>
                  <a:lnTo>
                    <a:pt x="135" y="217"/>
                  </a:lnTo>
                  <a:lnTo>
                    <a:pt x="137" y="221"/>
                  </a:lnTo>
                  <a:lnTo>
                    <a:pt x="147" y="224"/>
                  </a:lnTo>
                  <a:lnTo>
                    <a:pt x="152" y="222"/>
                  </a:lnTo>
                  <a:lnTo>
                    <a:pt x="159" y="221"/>
                  </a:lnTo>
                  <a:lnTo>
                    <a:pt x="164" y="221"/>
                  </a:lnTo>
                  <a:lnTo>
                    <a:pt x="171" y="219"/>
                  </a:lnTo>
                  <a:lnTo>
                    <a:pt x="178" y="221"/>
                  </a:lnTo>
                  <a:lnTo>
                    <a:pt x="183" y="219"/>
                  </a:lnTo>
                  <a:lnTo>
                    <a:pt x="188" y="222"/>
                  </a:lnTo>
                  <a:lnTo>
                    <a:pt x="193" y="224"/>
                  </a:lnTo>
                  <a:lnTo>
                    <a:pt x="196" y="221"/>
                  </a:lnTo>
                  <a:lnTo>
                    <a:pt x="195" y="219"/>
                  </a:lnTo>
                  <a:lnTo>
                    <a:pt x="196" y="219"/>
                  </a:lnTo>
                  <a:lnTo>
                    <a:pt x="196" y="216"/>
                  </a:lnTo>
                  <a:lnTo>
                    <a:pt x="200" y="217"/>
                  </a:lnTo>
                  <a:lnTo>
                    <a:pt x="201" y="222"/>
                  </a:lnTo>
                  <a:lnTo>
                    <a:pt x="203" y="222"/>
                  </a:lnTo>
                  <a:lnTo>
                    <a:pt x="205" y="224"/>
                  </a:lnTo>
                  <a:lnTo>
                    <a:pt x="205" y="226"/>
                  </a:lnTo>
                  <a:lnTo>
                    <a:pt x="203" y="224"/>
                  </a:lnTo>
                  <a:lnTo>
                    <a:pt x="203" y="229"/>
                  </a:lnTo>
                  <a:lnTo>
                    <a:pt x="205" y="234"/>
                  </a:lnTo>
                  <a:lnTo>
                    <a:pt x="210" y="238"/>
                  </a:lnTo>
                  <a:lnTo>
                    <a:pt x="210" y="243"/>
                  </a:lnTo>
                  <a:lnTo>
                    <a:pt x="208" y="243"/>
                  </a:lnTo>
                  <a:lnTo>
                    <a:pt x="207" y="250"/>
                  </a:lnTo>
                  <a:lnTo>
                    <a:pt x="207" y="251"/>
                  </a:lnTo>
                  <a:lnTo>
                    <a:pt x="210" y="251"/>
                  </a:lnTo>
                  <a:lnTo>
                    <a:pt x="212" y="255"/>
                  </a:lnTo>
                  <a:lnTo>
                    <a:pt x="210" y="260"/>
                  </a:lnTo>
                  <a:lnTo>
                    <a:pt x="212" y="262"/>
                  </a:lnTo>
                  <a:lnTo>
                    <a:pt x="217" y="263"/>
                  </a:lnTo>
                  <a:lnTo>
                    <a:pt x="215" y="258"/>
                  </a:lnTo>
                  <a:lnTo>
                    <a:pt x="217" y="260"/>
                  </a:lnTo>
                  <a:lnTo>
                    <a:pt x="219" y="260"/>
                  </a:lnTo>
                  <a:lnTo>
                    <a:pt x="219" y="258"/>
                  </a:lnTo>
                  <a:lnTo>
                    <a:pt x="224" y="258"/>
                  </a:lnTo>
                  <a:lnTo>
                    <a:pt x="227" y="267"/>
                  </a:lnTo>
                  <a:lnTo>
                    <a:pt x="232" y="268"/>
                  </a:lnTo>
                  <a:lnTo>
                    <a:pt x="232" y="272"/>
                  </a:lnTo>
                  <a:lnTo>
                    <a:pt x="230" y="277"/>
                  </a:lnTo>
                  <a:lnTo>
                    <a:pt x="232" y="275"/>
                  </a:lnTo>
                  <a:lnTo>
                    <a:pt x="230" y="284"/>
                  </a:lnTo>
                  <a:lnTo>
                    <a:pt x="232" y="292"/>
                  </a:lnTo>
                  <a:lnTo>
                    <a:pt x="229" y="292"/>
                  </a:lnTo>
                  <a:lnTo>
                    <a:pt x="236" y="299"/>
                  </a:lnTo>
                  <a:lnTo>
                    <a:pt x="236" y="304"/>
                  </a:lnTo>
                  <a:lnTo>
                    <a:pt x="234" y="303"/>
                  </a:lnTo>
                  <a:lnTo>
                    <a:pt x="234" y="304"/>
                  </a:lnTo>
                  <a:lnTo>
                    <a:pt x="232" y="304"/>
                  </a:lnTo>
                  <a:lnTo>
                    <a:pt x="236" y="306"/>
                  </a:lnTo>
                  <a:lnTo>
                    <a:pt x="239" y="311"/>
                  </a:lnTo>
                  <a:lnTo>
                    <a:pt x="246" y="311"/>
                  </a:lnTo>
                  <a:lnTo>
                    <a:pt x="249" y="315"/>
                  </a:lnTo>
                  <a:lnTo>
                    <a:pt x="254" y="313"/>
                  </a:lnTo>
                  <a:lnTo>
                    <a:pt x="261" y="320"/>
                  </a:lnTo>
                  <a:lnTo>
                    <a:pt x="263" y="320"/>
                  </a:lnTo>
                  <a:lnTo>
                    <a:pt x="263" y="321"/>
                  </a:lnTo>
                  <a:lnTo>
                    <a:pt x="268" y="323"/>
                  </a:lnTo>
                  <a:lnTo>
                    <a:pt x="271" y="323"/>
                  </a:lnTo>
                  <a:lnTo>
                    <a:pt x="273" y="325"/>
                  </a:lnTo>
                  <a:lnTo>
                    <a:pt x="277" y="323"/>
                  </a:lnTo>
                  <a:lnTo>
                    <a:pt x="282" y="325"/>
                  </a:lnTo>
                  <a:lnTo>
                    <a:pt x="285" y="330"/>
                  </a:lnTo>
                  <a:lnTo>
                    <a:pt x="287" y="327"/>
                  </a:lnTo>
                  <a:lnTo>
                    <a:pt x="292" y="328"/>
                  </a:lnTo>
                  <a:lnTo>
                    <a:pt x="297" y="323"/>
                  </a:lnTo>
                  <a:lnTo>
                    <a:pt x="304" y="323"/>
                  </a:lnTo>
                  <a:lnTo>
                    <a:pt x="309" y="320"/>
                  </a:lnTo>
                  <a:lnTo>
                    <a:pt x="316" y="321"/>
                  </a:lnTo>
                  <a:lnTo>
                    <a:pt x="319" y="320"/>
                  </a:lnTo>
                  <a:lnTo>
                    <a:pt x="324" y="321"/>
                  </a:lnTo>
                  <a:lnTo>
                    <a:pt x="328" y="321"/>
                  </a:lnTo>
                  <a:lnTo>
                    <a:pt x="331" y="323"/>
                  </a:lnTo>
                  <a:lnTo>
                    <a:pt x="336" y="320"/>
                  </a:lnTo>
                  <a:lnTo>
                    <a:pt x="341" y="323"/>
                  </a:lnTo>
                  <a:lnTo>
                    <a:pt x="347" y="323"/>
                  </a:lnTo>
                  <a:lnTo>
                    <a:pt x="352" y="318"/>
                  </a:lnTo>
                  <a:lnTo>
                    <a:pt x="355" y="316"/>
                  </a:lnTo>
                  <a:lnTo>
                    <a:pt x="362" y="320"/>
                  </a:lnTo>
                  <a:lnTo>
                    <a:pt x="364" y="316"/>
                  </a:lnTo>
                  <a:lnTo>
                    <a:pt x="365" y="316"/>
                  </a:lnTo>
                  <a:lnTo>
                    <a:pt x="367" y="313"/>
                  </a:lnTo>
                  <a:lnTo>
                    <a:pt x="374" y="308"/>
                  </a:lnTo>
                  <a:lnTo>
                    <a:pt x="377" y="311"/>
                  </a:lnTo>
                  <a:lnTo>
                    <a:pt x="382" y="320"/>
                  </a:lnTo>
                  <a:lnTo>
                    <a:pt x="394" y="320"/>
                  </a:lnTo>
                  <a:lnTo>
                    <a:pt x="394" y="321"/>
                  </a:lnTo>
                  <a:lnTo>
                    <a:pt x="399" y="320"/>
                  </a:lnTo>
                  <a:lnTo>
                    <a:pt x="406" y="325"/>
                  </a:lnTo>
                  <a:lnTo>
                    <a:pt x="410" y="327"/>
                  </a:lnTo>
                  <a:lnTo>
                    <a:pt x="415" y="325"/>
                  </a:lnTo>
                  <a:lnTo>
                    <a:pt x="423" y="330"/>
                  </a:lnTo>
                  <a:lnTo>
                    <a:pt x="427" y="335"/>
                  </a:lnTo>
                  <a:lnTo>
                    <a:pt x="425" y="342"/>
                  </a:lnTo>
                  <a:lnTo>
                    <a:pt x="420" y="345"/>
                  </a:lnTo>
                  <a:lnTo>
                    <a:pt x="422" y="356"/>
                  </a:lnTo>
                  <a:lnTo>
                    <a:pt x="422" y="357"/>
                  </a:lnTo>
                  <a:lnTo>
                    <a:pt x="422" y="359"/>
                  </a:lnTo>
                  <a:lnTo>
                    <a:pt x="422" y="362"/>
                  </a:lnTo>
                  <a:lnTo>
                    <a:pt x="418" y="369"/>
                  </a:lnTo>
                  <a:lnTo>
                    <a:pt x="415" y="379"/>
                  </a:lnTo>
                  <a:lnTo>
                    <a:pt x="417" y="383"/>
                  </a:lnTo>
                  <a:lnTo>
                    <a:pt x="413" y="388"/>
                  </a:lnTo>
                  <a:lnTo>
                    <a:pt x="413" y="395"/>
                  </a:lnTo>
                  <a:lnTo>
                    <a:pt x="410" y="405"/>
                  </a:lnTo>
                  <a:lnTo>
                    <a:pt x="413" y="414"/>
                  </a:lnTo>
                  <a:lnTo>
                    <a:pt x="411" y="419"/>
                  </a:lnTo>
                  <a:lnTo>
                    <a:pt x="415" y="419"/>
                  </a:lnTo>
                  <a:lnTo>
                    <a:pt x="415" y="409"/>
                  </a:lnTo>
                  <a:lnTo>
                    <a:pt x="417" y="409"/>
                  </a:lnTo>
                  <a:lnTo>
                    <a:pt x="418" y="417"/>
                  </a:lnTo>
                  <a:lnTo>
                    <a:pt x="418" y="424"/>
                  </a:lnTo>
                  <a:lnTo>
                    <a:pt x="422" y="431"/>
                  </a:lnTo>
                  <a:lnTo>
                    <a:pt x="423" y="432"/>
                  </a:lnTo>
                  <a:lnTo>
                    <a:pt x="427" y="429"/>
                  </a:lnTo>
                  <a:lnTo>
                    <a:pt x="430" y="432"/>
                  </a:lnTo>
                  <a:lnTo>
                    <a:pt x="437" y="434"/>
                  </a:lnTo>
                  <a:lnTo>
                    <a:pt x="442" y="441"/>
                  </a:lnTo>
                  <a:lnTo>
                    <a:pt x="440" y="444"/>
                  </a:lnTo>
                  <a:lnTo>
                    <a:pt x="439" y="448"/>
                  </a:lnTo>
                  <a:lnTo>
                    <a:pt x="434" y="450"/>
                  </a:lnTo>
                  <a:lnTo>
                    <a:pt x="430" y="448"/>
                  </a:lnTo>
                  <a:lnTo>
                    <a:pt x="423" y="446"/>
                  </a:lnTo>
                  <a:lnTo>
                    <a:pt x="413" y="444"/>
                  </a:lnTo>
                  <a:lnTo>
                    <a:pt x="411" y="444"/>
                  </a:lnTo>
                  <a:lnTo>
                    <a:pt x="415" y="439"/>
                  </a:lnTo>
                  <a:lnTo>
                    <a:pt x="413" y="436"/>
                  </a:lnTo>
                  <a:lnTo>
                    <a:pt x="408" y="429"/>
                  </a:lnTo>
                  <a:lnTo>
                    <a:pt x="398" y="427"/>
                  </a:lnTo>
                  <a:lnTo>
                    <a:pt x="398" y="426"/>
                  </a:lnTo>
                  <a:lnTo>
                    <a:pt x="403" y="427"/>
                  </a:lnTo>
                  <a:lnTo>
                    <a:pt x="399" y="426"/>
                  </a:lnTo>
                  <a:lnTo>
                    <a:pt x="396" y="427"/>
                  </a:lnTo>
                  <a:lnTo>
                    <a:pt x="396" y="432"/>
                  </a:lnTo>
                  <a:lnTo>
                    <a:pt x="386" y="429"/>
                  </a:lnTo>
                  <a:lnTo>
                    <a:pt x="381" y="429"/>
                  </a:lnTo>
                  <a:lnTo>
                    <a:pt x="379" y="431"/>
                  </a:lnTo>
                  <a:lnTo>
                    <a:pt x="377" y="431"/>
                  </a:lnTo>
                  <a:lnTo>
                    <a:pt x="376" y="432"/>
                  </a:lnTo>
                  <a:lnTo>
                    <a:pt x="374" y="431"/>
                  </a:lnTo>
                  <a:lnTo>
                    <a:pt x="372" y="427"/>
                  </a:lnTo>
                  <a:lnTo>
                    <a:pt x="370" y="426"/>
                  </a:lnTo>
                  <a:lnTo>
                    <a:pt x="369" y="426"/>
                  </a:lnTo>
                  <a:lnTo>
                    <a:pt x="369" y="429"/>
                  </a:lnTo>
                  <a:lnTo>
                    <a:pt x="369" y="427"/>
                  </a:lnTo>
                  <a:lnTo>
                    <a:pt x="365" y="429"/>
                  </a:lnTo>
                  <a:lnTo>
                    <a:pt x="364" y="427"/>
                  </a:lnTo>
                  <a:lnTo>
                    <a:pt x="365" y="426"/>
                  </a:lnTo>
                  <a:lnTo>
                    <a:pt x="365" y="422"/>
                  </a:lnTo>
                  <a:lnTo>
                    <a:pt x="360" y="422"/>
                  </a:lnTo>
                  <a:lnTo>
                    <a:pt x="360" y="424"/>
                  </a:lnTo>
                  <a:lnTo>
                    <a:pt x="358" y="424"/>
                  </a:lnTo>
                  <a:lnTo>
                    <a:pt x="355" y="422"/>
                  </a:lnTo>
                  <a:lnTo>
                    <a:pt x="350" y="422"/>
                  </a:lnTo>
                  <a:lnTo>
                    <a:pt x="350" y="419"/>
                  </a:lnTo>
                  <a:lnTo>
                    <a:pt x="347" y="422"/>
                  </a:lnTo>
                  <a:lnTo>
                    <a:pt x="347" y="415"/>
                  </a:lnTo>
                  <a:lnTo>
                    <a:pt x="345" y="414"/>
                  </a:lnTo>
                  <a:lnTo>
                    <a:pt x="341" y="415"/>
                  </a:lnTo>
                  <a:lnTo>
                    <a:pt x="340" y="417"/>
                  </a:lnTo>
                  <a:lnTo>
                    <a:pt x="338" y="419"/>
                  </a:lnTo>
                  <a:lnTo>
                    <a:pt x="338" y="417"/>
                  </a:lnTo>
                  <a:lnTo>
                    <a:pt x="335" y="419"/>
                  </a:lnTo>
                  <a:lnTo>
                    <a:pt x="336" y="414"/>
                  </a:lnTo>
                  <a:lnTo>
                    <a:pt x="335" y="414"/>
                  </a:lnTo>
                  <a:lnTo>
                    <a:pt x="333" y="415"/>
                  </a:lnTo>
                  <a:lnTo>
                    <a:pt x="331" y="414"/>
                  </a:lnTo>
                  <a:lnTo>
                    <a:pt x="328" y="414"/>
                  </a:lnTo>
                  <a:lnTo>
                    <a:pt x="326" y="410"/>
                  </a:lnTo>
                  <a:lnTo>
                    <a:pt x="323" y="407"/>
                  </a:lnTo>
                  <a:lnTo>
                    <a:pt x="319" y="409"/>
                  </a:lnTo>
                  <a:lnTo>
                    <a:pt x="318" y="407"/>
                  </a:lnTo>
                  <a:lnTo>
                    <a:pt x="316" y="407"/>
                  </a:lnTo>
                  <a:lnTo>
                    <a:pt x="309" y="405"/>
                  </a:lnTo>
                  <a:lnTo>
                    <a:pt x="307" y="400"/>
                  </a:lnTo>
                  <a:lnTo>
                    <a:pt x="300" y="402"/>
                  </a:lnTo>
                  <a:lnTo>
                    <a:pt x="297" y="403"/>
                  </a:lnTo>
                  <a:lnTo>
                    <a:pt x="292" y="397"/>
                  </a:lnTo>
                  <a:lnTo>
                    <a:pt x="287" y="391"/>
                  </a:lnTo>
                  <a:lnTo>
                    <a:pt x="278" y="390"/>
                  </a:lnTo>
                  <a:lnTo>
                    <a:pt x="270" y="390"/>
                  </a:lnTo>
                  <a:lnTo>
                    <a:pt x="265" y="390"/>
                  </a:lnTo>
                  <a:lnTo>
                    <a:pt x="259" y="390"/>
                  </a:lnTo>
                  <a:lnTo>
                    <a:pt x="258" y="391"/>
                  </a:lnTo>
                  <a:lnTo>
                    <a:pt x="248" y="395"/>
                  </a:lnTo>
                  <a:lnTo>
                    <a:pt x="242" y="402"/>
                  </a:lnTo>
                  <a:lnTo>
                    <a:pt x="239" y="403"/>
                  </a:lnTo>
                  <a:lnTo>
                    <a:pt x="237" y="400"/>
                  </a:lnTo>
                  <a:lnTo>
                    <a:pt x="237" y="403"/>
                  </a:lnTo>
                  <a:lnTo>
                    <a:pt x="236" y="403"/>
                  </a:lnTo>
                  <a:lnTo>
                    <a:pt x="234" y="402"/>
                  </a:lnTo>
                  <a:lnTo>
                    <a:pt x="232" y="403"/>
                  </a:lnTo>
                  <a:lnTo>
                    <a:pt x="232" y="400"/>
                  </a:lnTo>
                  <a:lnTo>
                    <a:pt x="230" y="402"/>
                  </a:lnTo>
                  <a:lnTo>
                    <a:pt x="230" y="400"/>
                  </a:lnTo>
                  <a:lnTo>
                    <a:pt x="227" y="403"/>
                  </a:lnTo>
                  <a:lnTo>
                    <a:pt x="225" y="403"/>
                  </a:lnTo>
                  <a:lnTo>
                    <a:pt x="224" y="402"/>
                  </a:lnTo>
                  <a:lnTo>
                    <a:pt x="220" y="407"/>
                  </a:lnTo>
                  <a:lnTo>
                    <a:pt x="215" y="405"/>
                  </a:lnTo>
                  <a:lnTo>
                    <a:pt x="208" y="409"/>
                  </a:lnTo>
                  <a:lnTo>
                    <a:pt x="207" y="407"/>
                  </a:lnTo>
                  <a:lnTo>
                    <a:pt x="205" y="407"/>
                  </a:lnTo>
                  <a:lnTo>
                    <a:pt x="196" y="403"/>
                  </a:lnTo>
                  <a:lnTo>
                    <a:pt x="193" y="403"/>
                  </a:lnTo>
                  <a:lnTo>
                    <a:pt x="184" y="403"/>
                  </a:lnTo>
                  <a:lnTo>
                    <a:pt x="181" y="402"/>
                  </a:lnTo>
                  <a:lnTo>
                    <a:pt x="176" y="400"/>
                  </a:lnTo>
                  <a:lnTo>
                    <a:pt x="174" y="397"/>
                  </a:lnTo>
                  <a:lnTo>
                    <a:pt x="172" y="397"/>
                  </a:lnTo>
                  <a:lnTo>
                    <a:pt x="171" y="395"/>
                  </a:lnTo>
                  <a:lnTo>
                    <a:pt x="169" y="397"/>
                  </a:lnTo>
                  <a:lnTo>
                    <a:pt x="166" y="395"/>
                  </a:lnTo>
                  <a:lnTo>
                    <a:pt x="162" y="397"/>
                  </a:lnTo>
                  <a:lnTo>
                    <a:pt x="157" y="397"/>
                  </a:lnTo>
                  <a:lnTo>
                    <a:pt x="157" y="395"/>
                  </a:lnTo>
                  <a:lnTo>
                    <a:pt x="149" y="395"/>
                  </a:lnTo>
                  <a:lnTo>
                    <a:pt x="149" y="393"/>
                  </a:lnTo>
                  <a:lnTo>
                    <a:pt x="147" y="395"/>
                  </a:lnTo>
                  <a:lnTo>
                    <a:pt x="143" y="393"/>
                  </a:lnTo>
                  <a:lnTo>
                    <a:pt x="135" y="393"/>
                  </a:lnTo>
                  <a:lnTo>
                    <a:pt x="128" y="388"/>
                  </a:lnTo>
                  <a:lnTo>
                    <a:pt x="125" y="388"/>
                  </a:lnTo>
                  <a:lnTo>
                    <a:pt x="123" y="390"/>
                  </a:lnTo>
                  <a:lnTo>
                    <a:pt x="123" y="391"/>
                  </a:lnTo>
                  <a:lnTo>
                    <a:pt x="119" y="391"/>
                  </a:lnTo>
                  <a:lnTo>
                    <a:pt x="111" y="386"/>
                  </a:lnTo>
                  <a:lnTo>
                    <a:pt x="113" y="390"/>
                  </a:lnTo>
                  <a:lnTo>
                    <a:pt x="108" y="388"/>
                  </a:lnTo>
                  <a:lnTo>
                    <a:pt x="106" y="386"/>
                  </a:lnTo>
                  <a:lnTo>
                    <a:pt x="104" y="386"/>
                  </a:lnTo>
                  <a:lnTo>
                    <a:pt x="102" y="393"/>
                  </a:lnTo>
                  <a:lnTo>
                    <a:pt x="104" y="395"/>
                  </a:lnTo>
                  <a:lnTo>
                    <a:pt x="101" y="397"/>
                  </a:lnTo>
                  <a:lnTo>
                    <a:pt x="99" y="395"/>
                  </a:lnTo>
                  <a:lnTo>
                    <a:pt x="101" y="391"/>
                  </a:lnTo>
                  <a:lnTo>
                    <a:pt x="99" y="390"/>
                  </a:lnTo>
                  <a:lnTo>
                    <a:pt x="96" y="390"/>
                  </a:lnTo>
                  <a:lnTo>
                    <a:pt x="97" y="393"/>
                  </a:lnTo>
                  <a:lnTo>
                    <a:pt x="94" y="395"/>
                  </a:lnTo>
                  <a:lnTo>
                    <a:pt x="97" y="400"/>
                  </a:lnTo>
                  <a:lnTo>
                    <a:pt x="96" y="400"/>
                  </a:lnTo>
                  <a:lnTo>
                    <a:pt x="94" y="400"/>
                  </a:lnTo>
                  <a:lnTo>
                    <a:pt x="90" y="398"/>
                  </a:lnTo>
                  <a:lnTo>
                    <a:pt x="89" y="398"/>
                  </a:lnTo>
                  <a:lnTo>
                    <a:pt x="87" y="397"/>
                  </a:lnTo>
                  <a:lnTo>
                    <a:pt x="85" y="398"/>
                  </a:lnTo>
                  <a:lnTo>
                    <a:pt x="87" y="397"/>
                  </a:lnTo>
                  <a:lnTo>
                    <a:pt x="85" y="393"/>
                  </a:lnTo>
                  <a:lnTo>
                    <a:pt x="84" y="397"/>
                  </a:lnTo>
                  <a:lnTo>
                    <a:pt x="82" y="393"/>
                  </a:lnTo>
                  <a:lnTo>
                    <a:pt x="79" y="397"/>
                  </a:lnTo>
                  <a:lnTo>
                    <a:pt x="80" y="393"/>
                  </a:lnTo>
                  <a:lnTo>
                    <a:pt x="77" y="391"/>
                  </a:lnTo>
                  <a:lnTo>
                    <a:pt x="75" y="393"/>
                  </a:lnTo>
                  <a:lnTo>
                    <a:pt x="75" y="395"/>
                  </a:lnTo>
                  <a:lnTo>
                    <a:pt x="68" y="393"/>
                  </a:lnTo>
                  <a:lnTo>
                    <a:pt x="68" y="391"/>
                  </a:lnTo>
                  <a:lnTo>
                    <a:pt x="65" y="393"/>
                  </a:lnTo>
                  <a:lnTo>
                    <a:pt x="65" y="390"/>
                  </a:lnTo>
                  <a:lnTo>
                    <a:pt x="65" y="388"/>
                  </a:lnTo>
                  <a:lnTo>
                    <a:pt x="61" y="386"/>
                  </a:lnTo>
                  <a:lnTo>
                    <a:pt x="61" y="388"/>
                  </a:lnTo>
                  <a:lnTo>
                    <a:pt x="56" y="388"/>
                  </a:lnTo>
                  <a:lnTo>
                    <a:pt x="56" y="386"/>
                  </a:lnTo>
                  <a:lnTo>
                    <a:pt x="49" y="388"/>
                  </a:lnTo>
                  <a:lnTo>
                    <a:pt x="48" y="386"/>
                  </a:lnTo>
                  <a:lnTo>
                    <a:pt x="46" y="386"/>
                  </a:lnTo>
                  <a:lnTo>
                    <a:pt x="46" y="388"/>
                  </a:lnTo>
                  <a:lnTo>
                    <a:pt x="43" y="385"/>
                  </a:lnTo>
                  <a:lnTo>
                    <a:pt x="38" y="388"/>
                  </a:lnTo>
                  <a:lnTo>
                    <a:pt x="38" y="386"/>
                  </a:lnTo>
                  <a:lnTo>
                    <a:pt x="34" y="388"/>
                  </a:lnTo>
                  <a:lnTo>
                    <a:pt x="29" y="390"/>
                  </a:lnTo>
                  <a:lnTo>
                    <a:pt x="27" y="388"/>
                  </a:lnTo>
                  <a:lnTo>
                    <a:pt x="27" y="386"/>
                  </a:lnTo>
                  <a:lnTo>
                    <a:pt x="22" y="385"/>
                  </a:lnTo>
                  <a:lnTo>
                    <a:pt x="24" y="383"/>
                  </a:lnTo>
                  <a:lnTo>
                    <a:pt x="22" y="381"/>
                  </a:lnTo>
                  <a:lnTo>
                    <a:pt x="20" y="381"/>
                  </a:lnTo>
                  <a:lnTo>
                    <a:pt x="20" y="385"/>
                  </a:lnTo>
                  <a:lnTo>
                    <a:pt x="15" y="386"/>
                  </a:lnTo>
                  <a:lnTo>
                    <a:pt x="10" y="386"/>
                  </a:lnTo>
                  <a:lnTo>
                    <a:pt x="7" y="383"/>
                  </a:lnTo>
                  <a:lnTo>
                    <a:pt x="0" y="381"/>
                  </a:lnTo>
                  <a:close/>
                  <a:moveTo>
                    <a:pt x="217" y="84"/>
                  </a:moveTo>
                  <a:lnTo>
                    <a:pt x="219" y="84"/>
                  </a:lnTo>
                  <a:lnTo>
                    <a:pt x="220" y="91"/>
                  </a:lnTo>
                  <a:lnTo>
                    <a:pt x="220" y="96"/>
                  </a:lnTo>
                  <a:lnTo>
                    <a:pt x="219" y="98"/>
                  </a:lnTo>
                  <a:lnTo>
                    <a:pt x="215" y="98"/>
                  </a:lnTo>
                  <a:lnTo>
                    <a:pt x="215" y="99"/>
                  </a:lnTo>
                  <a:lnTo>
                    <a:pt x="213" y="98"/>
                  </a:lnTo>
                  <a:lnTo>
                    <a:pt x="208" y="98"/>
                  </a:lnTo>
                  <a:lnTo>
                    <a:pt x="207" y="99"/>
                  </a:lnTo>
                  <a:lnTo>
                    <a:pt x="207" y="98"/>
                  </a:lnTo>
                  <a:lnTo>
                    <a:pt x="201" y="98"/>
                  </a:lnTo>
                  <a:lnTo>
                    <a:pt x="201" y="96"/>
                  </a:lnTo>
                  <a:lnTo>
                    <a:pt x="200" y="93"/>
                  </a:lnTo>
                  <a:lnTo>
                    <a:pt x="203" y="89"/>
                  </a:lnTo>
                  <a:lnTo>
                    <a:pt x="205" y="87"/>
                  </a:lnTo>
                  <a:lnTo>
                    <a:pt x="207" y="86"/>
                  </a:lnTo>
                  <a:lnTo>
                    <a:pt x="210" y="82"/>
                  </a:lnTo>
                  <a:lnTo>
                    <a:pt x="213" y="84"/>
                  </a:lnTo>
                  <a:lnTo>
                    <a:pt x="215" y="81"/>
                  </a:lnTo>
                  <a:lnTo>
                    <a:pt x="217" y="84"/>
                  </a:lnTo>
                  <a:close/>
                  <a:moveTo>
                    <a:pt x="422" y="60"/>
                  </a:moveTo>
                  <a:lnTo>
                    <a:pt x="422" y="62"/>
                  </a:lnTo>
                  <a:lnTo>
                    <a:pt x="425" y="62"/>
                  </a:lnTo>
                  <a:lnTo>
                    <a:pt x="427" y="64"/>
                  </a:lnTo>
                  <a:lnTo>
                    <a:pt x="423" y="65"/>
                  </a:lnTo>
                  <a:lnTo>
                    <a:pt x="418" y="64"/>
                  </a:lnTo>
                  <a:lnTo>
                    <a:pt x="418" y="60"/>
                  </a:lnTo>
                  <a:lnTo>
                    <a:pt x="422" y="60"/>
                  </a:lnTo>
                  <a:close/>
                  <a:moveTo>
                    <a:pt x="423" y="50"/>
                  </a:moveTo>
                  <a:lnTo>
                    <a:pt x="422" y="50"/>
                  </a:lnTo>
                  <a:lnTo>
                    <a:pt x="422" y="46"/>
                  </a:lnTo>
                  <a:lnTo>
                    <a:pt x="423" y="50"/>
                  </a:lnTo>
                  <a:close/>
                  <a:moveTo>
                    <a:pt x="444" y="7"/>
                  </a:moveTo>
                  <a:lnTo>
                    <a:pt x="442" y="7"/>
                  </a:lnTo>
                  <a:lnTo>
                    <a:pt x="442" y="4"/>
                  </a:lnTo>
                  <a:lnTo>
                    <a:pt x="446" y="0"/>
                  </a:lnTo>
                  <a:lnTo>
                    <a:pt x="444" y="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8" name="Freeform 61"/>
            <p:cNvSpPr>
              <a:spLocks noEditPoints="1"/>
            </p:cNvSpPr>
            <p:nvPr/>
          </p:nvSpPr>
          <p:spPr bwMode="gray">
            <a:xfrm>
              <a:off x="6096000" y="4854846"/>
              <a:ext cx="1362664" cy="707783"/>
            </a:xfrm>
            <a:custGeom>
              <a:avLst/>
              <a:gdLst>
                <a:gd name="T0" fmla="*/ 445 w 747"/>
                <a:gd name="T1" fmla="*/ 367 h 388"/>
                <a:gd name="T2" fmla="*/ 527 w 747"/>
                <a:gd name="T3" fmla="*/ 332 h 388"/>
                <a:gd name="T4" fmla="*/ 510 w 747"/>
                <a:gd name="T5" fmla="*/ 366 h 388"/>
                <a:gd name="T6" fmla="*/ 462 w 747"/>
                <a:gd name="T7" fmla="*/ 378 h 388"/>
                <a:gd name="T8" fmla="*/ 512 w 747"/>
                <a:gd name="T9" fmla="*/ 340 h 388"/>
                <a:gd name="T10" fmla="*/ 350 w 747"/>
                <a:gd name="T11" fmla="*/ 340 h 388"/>
                <a:gd name="T12" fmla="*/ 544 w 747"/>
                <a:gd name="T13" fmla="*/ 289 h 388"/>
                <a:gd name="T14" fmla="*/ 527 w 747"/>
                <a:gd name="T15" fmla="*/ 292 h 388"/>
                <a:gd name="T16" fmla="*/ 182 w 747"/>
                <a:gd name="T17" fmla="*/ 221 h 388"/>
                <a:gd name="T18" fmla="*/ 203 w 747"/>
                <a:gd name="T19" fmla="*/ 294 h 388"/>
                <a:gd name="T20" fmla="*/ 121 w 747"/>
                <a:gd name="T21" fmla="*/ 267 h 388"/>
                <a:gd name="T22" fmla="*/ 76 w 747"/>
                <a:gd name="T23" fmla="*/ 238 h 388"/>
                <a:gd name="T24" fmla="*/ 8 w 747"/>
                <a:gd name="T25" fmla="*/ 222 h 388"/>
                <a:gd name="T26" fmla="*/ 99 w 747"/>
                <a:gd name="T27" fmla="*/ 193 h 388"/>
                <a:gd name="T28" fmla="*/ 746 w 747"/>
                <a:gd name="T29" fmla="*/ 168 h 388"/>
                <a:gd name="T30" fmla="*/ 718 w 747"/>
                <a:gd name="T31" fmla="*/ 229 h 388"/>
                <a:gd name="T32" fmla="*/ 630 w 747"/>
                <a:gd name="T33" fmla="*/ 285 h 388"/>
                <a:gd name="T34" fmla="*/ 558 w 747"/>
                <a:gd name="T35" fmla="*/ 311 h 388"/>
                <a:gd name="T36" fmla="*/ 556 w 747"/>
                <a:gd name="T37" fmla="*/ 272 h 388"/>
                <a:gd name="T38" fmla="*/ 594 w 747"/>
                <a:gd name="T39" fmla="*/ 198 h 388"/>
                <a:gd name="T40" fmla="*/ 650 w 747"/>
                <a:gd name="T41" fmla="*/ 197 h 388"/>
                <a:gd name="T42" fmla="*/ 712 w 747"/>
                <a:gd name="T43" fmla="*/ 144 h 388"/>
                <a:gd name="T44" fmla="*/ 102 w 747"/>
                <a:gd name="T45" fmla="*/ 122 h 388"/>
                <a:gd name="T46" fmla="*/ 88 w 747"/>
                <a:gd name="T47" fmla="*/ 106 h 388"/>
                <a:gd name="T48" fmla="*/ 97 w 747"/>
                <a:gd name="T49" fmla="*/ 118 h 388"/>
                <a:gd name="T50" fmla="*/ 82 w 747"/>
                <a:gd name="T51" fmla="*/ 99 h 388"/>
                <a:gd name="T52" fmla="*/ 640 w 747"/>
                <a:gd name="T53" fmla="*/ 84 h 388"/>
                <a:gd name="T54" fmla="*/ 418 w 747"/>
                <a:gd name="T55" fmla="*/ 81 h 388"/>
                <a:gd name="T56" fmla="*/ 75 w 747"/>
                <a:gd name="T57" fmla="*/ 91 h 388"/>
                <a:gd name="T58" fmla="*/ 54 w 747"/>
                <a:gd name="T59" fmla="*/ 115 h 388"/>
                <a:gd name="T60" fmla="*/ 66 w 747"/>
                <a:gd name="T61" fmla="*/ 81 h 388"/>
                <a:gd name="T62" fmla="*/ 481 w 747"/>
                <a:gd name="T63" fmla="*/ 86 h 388"/>
                <a:gd name="T64" fmla="*/ 583 w 747"/>
                <a:gd name="T65" fmla="*/ 75 h 388"/>
                <a:gd name="T66" fmla="*/ 145 w 747"/>
                <a:gd name="T67" fmla="*/ 67 h 388"/>
                <a:gd name="T68" fmla="*/ 513 w 747"/>
                <a:gd name="T69" fmla="*/ 57 h 388"/>
                <a:gd name="T70" fmla="*/ 508 w 747"/>
                <a:gd name="T71" fmla="*/ 57 h 388"/>
                <a:gd name="T72" fmla="*/ 645 w 747"/>
                <a:gd name="T73" fmla="*/ 48 h 388"/>
                <a:gd name="T74" fmla="*/ 601 w 747"/>
                <a:gd name="T75" fmla="*/ 75 h 388"/>
                <a:gd name="T76" fmla="*/ 590 w 747"/>
                <a:gd name="T77" fmla="*/ 55 h 388"/>
                <a:gd name="T78" fmla="*/ 549 w 747"/>
                <a:gd name="T79" fmla="*/ 94 h 388"/>
                <a:gd name="T80" fmla="*/ 539 w 747"/>
                <a:gd name="T81" fmla="*/ 72 h 388"/>
                <a:gd name="T82" fmla="*/ 556 w 747"/>
                <a:gd name="T83" fmla="*/ 62 h 388"/>
                <a:gd name="T84" fmla="*/ 679 w 747"/>
                <a:gd name="T85" fmla="*/ 51 h 388"/>
                <a:gd name="T86" fmla="*/ 713 w 747"/>
                <a:gd name="T87" fmla="*/ 70 h 388"/>
                <a:gd name="T88" fmla="*/ 674 w 747"/>
                <a:gd name="T89" fmla="*/ 53 h 388"/>
                <a:gd name="T90" fmla="*/ 479 w 747"/>
                <a:gd name="T91" fmla="*/ 40 h 388"/>
                <a:gd name="T92" fmla="*/ 461 w 747"/>
                <a:gd name="T93" fmla="*/ 101 h 388"/>
                <a:gd name="T94" fmla="*/ 368 w 747"/>
                <a:gd name="T95" fmla="*/ 123 h 388"/>
                <a:gd name="T96" fmla="*/ 292 w 747"/>
                <a:gd name="T97" fmla="*/ 125 h 388"/>
                <a:gd name="T98" fmla="*/ 218 w 747"/>
                <a:gd name="T99" fmla="*/ 133 h 388"/>
                <a:gd name="T100" fmla="*/ 135 w 747"/>
                <a:gd name="T101" fmla="*/ 125 h 388"/>
                <a:gd name="T102" fmla="*/ 106 w 747"/>
                <a:gd name="T103" fmla="*/ 99 h 388"/>
                <a:gd name="T104" fmla="*/ 131 w 747"/>
                <a:gd name="T105" fmla="*/ 77 h 388"/>
                <a:gd name="T106" fmla="*/ 160 w 747"/>
                <a:gd name="T107" fmla="*/ 62 h 388"/>
                <a:gd name="T108" fmla="*/ 230 w 747"/>
                <a:gd name="T109" fmla="*/ 70 h 388"/>
                <a:gd name="T110" fmla="*/ 266 w 747"/>
                <a:gd name="T111" fmla="*/ 79 h 388"/>
                <a:gd name="T112" fmla="*/ 315 w 747"/>
                <a:gd name="T113" fmla="*/ 91 h 388"/>
                <a:gd name="T114" fmla="*/ 368 w 747"/>
                <a:gd name="T115" fmla="*/ 82 h 388"/>
                <a:gd name="T116" fmla="*/ 437 w 747"/>
                <a:gd name="T117" fmla="*/ 79 h 388"/>
                <a:gd name="T118" fmla="*/ 462 w 747"/>
                <a:gd name="T119" fmla="*/ 4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388">
                  <a:moveTo>
                    <a:pt x="467" y="383"/>
                  </a:moveTo>
                  <a:lnTo>
                    <a:pt x="469" y="385"/>
                  </a:lnTo>
                  <a:lnTo>
                    <a:pt x="469" y="388"/>
                  </a:lnTo>
                  <a:lnTo>
                    <a:pt x="464" y="383"/>
                  </a:lnTo>
                  <a:lnTo>
                    <a:pt x="467" y="383"/>
                  </a:lnTo>
                  <a:close/>
                  <a:moveTo>
                    <a:pt x="478" y="376"/>
                  </a:moveTo>
                  <a:lnTo>
                    <a:pt x="479" y="378"/>
                  </a:lnTo>
                  <a:lnTo>
                    <a:pt x="478" y="379"/>
                  </a:lnTo>
                  <a:lnTo>
                    <a:pt x="476" y="379"/>
                  </a:lnTo>
                  <a:lnTo>
                    <a:pt x="476" y="376"/>
                  </a:lnTo>
                  <a:lnTo>
                    <a:pt x="478" y="376"/>
                  </a:lnTo>
                  <a:close/>
                  <a:moveTo>
                    <a:pt x="481" y="376"/>
                  </a:moveTo>
                  <a:lnTo>
                    <a:pt x="483" y="376"/>
                  </a:lnTo>
                  <a:lnTo>
                    <a:pt x="483" y="378"/>
                  </a:lnTo>
                  <a:lnTo>
                    <a:pt x="481" y="378"/>
                  </a:lnTo>
                  <a:lnTo>
                    <a:pt x="481" y="376"/>
                  </a:lnTo>
                  <a:close/>
                  <a:moveTo>
                    <a:pt x="444" y="362"/>
                  </a:moveTo>
                  <a:lnTo>
                    <a:pt x="445" y="367"/>
                  </a:lnTo>
                  <a:lnTo>
                    <a:pt x="440" y="364"/>
                  </a:lnTo>
                  <a:lnTo>
                    <a:pt x="444" y="362"/>
                  </a:lnTo>
                  <a:close/>
                  <a:moveTo>
                    <a:pt x="457" y="359"/>
                  </a:moveTo>
                  <a:lnTo>
                    <a:pt x="457" y="361"/>
                  </a:lnTo>
                  <a:lnTo>
                    <a:pt x="454" y="361"/>
                  </a:lnTo>
                  <a:lnTo>
                    <a:pt x="457" y="359"/>
                  </a:lnTo>
                  <a:close/>
                  <a:moveTo>
                    <a:pt x="314" y="338"/>
                  </a:moveTo>
                  <a:lnTo>
                    <a:pt x="321" y="338"/>
                  </a:lnTo>
                  <a:lnTo>
                    <a:pt x="321" y="340"/>
                  </a:lnTo>
                  <a:lnTo>
                    <a:pt x="314" y="344"/>
                  </a:lnTo>
                  <a:lnTo>
                    <a:pt x="307" y="344"/>
                  </a:lnTo>
                  <a:lnTo>
                    <a:pt x="314" y="338"/>
                  </a:lnTo>
                  <a:close/>
                  <a:moveTo>
                    <a:pt x="531" y="320"/>
                  </a:moveTo>
                  <a:lnTo>
                    <a:pt x="534" y="323"/>
                  </a:lnTo>
                  <a:lnTo>
                    <a:pt x="532" y="323"/>
                  </a:lnTo>
                  <a:lnTo>
                    <a:pt x="529" y="325"/>
                  </a:lnTo>
                  <a:lnTo>
                    <a:pt x="532" y="328"/>
                  </a:lnTo>
                  <a:lnTo>
                    <a:pt x="527" y="332"/>
                  </a:lnTo>
                  <a:lnTo>
                    <a:pt x="532" y="328"/>
                  </a:lnTo>
                  <a:lnTo>
                    <a:pt x="532" y="326"/>
                  </a:lnTo>
                  <a:lnTo>
                    <a:pt x="536" y="326"/>
                  </a:lnTo>
                  <a:lnTo>
                    <a:pt x="536" y="328"/>
                  </a:lnTo>
                  <a:lnTo>
                    <a:pt x="529" y="333"/>
                  </a:lnTo>
                  <a:lnTo>
                    <a:pt x="527" y="332"/>
                  </a:lnTo>
                  <a:lnTo>
                    <a:pt x="529" y="335"/>
                  </a:lnTo>
                  <a:lnTo>
                    <a:pt x="525" y="337"/>
                  </a:lnTo>
                  <a:lnTo>
                    <a:pt x="534" y="340"/>
                  </a:lnTo>
                  <a:lnTo>
                    <a:pt x="534" y="345"/>
                  </a:lnTo>
                  <a:lnTo>
                    <a:pt x="532" y="347"/>
                  </a:lnTo>
                  <a:lnTo>
                    <a:pt x="532" y="349"/>
                  </a:lnTo>
                  <a:lnTo>
                    <a:pt x="524" y="349"/>
                  </a:lnTo>
                  <a:lnTo>
                    <a:pt x="519" y="354"/>
                  </a:lnTo>
                  <a:lnTo>
                    <a:pt x="513" y="356"/>
                  </a:lnTo>
                  <a:lnTo>
                    <a:pt x="512" y="357"/>
                  </a:lnTo>
                  <a:lnTo>
                    <a:pt x="512" y="361"/>
                  </a:lnTo>
                  <a:lnTo>
                    <a:pt x="510" y="366"/>
                  </a:lnTo>
                  <a:lnTo>
                    <a:pt x="508" y="366"/>
                  </a:lnTo>
                  <a:lnTo>
                    <a:pt x="507" y="367"/>
                  </a:lnTo>
                  <a:lnTo>
                    <a:pt x="500" y="364"/>
                  </a:lnTo>
                  <a:lnTo>
                    <a:pt x="493" y="369"/>
                  </a:lnTo>
                  <a:lnTo>
                    <a:pt x="491" y="369"/>
                  </a:lnTo>
                  <a:lnTo>
                    <a:pt x="490" y="371"/>
                  </a:lnTo>
                  <a:lnTo>
                    <a:pt x="490" y="369"/>
                  </a:lnTo>
                  <a:lnTo>
                    <a:pt x="479" y="371"/>
                  </a:lnTo>
                  <a:lnTo>
                    <a:pt x="478" y="373"/>
                  </a:lnTo>
                  <a:lnTo>
                    <a:pt x="479" y="376"/>
                  </a:lnTo>
                  <a:lnTo>
                    <a:pt x="478" y="376"/>
                  </a:lnTo>
                  <a:lnTo>
                    <a:pt x="473" y="378"/>
                  </a:lnTo>
                  <a:lnTo>
                    <a:pt x="473" y="376"/>
                  </a:lnTo>
                  <a:lnTo>
                    <a:pt x="471" y="378"/>
                  </a:lnTo>
                  <a:lnTo>
                    <a:pt x="471" y="376"/>
                  </a:lnTo>
                  <a:lnTo>
                    <a:pt x="467" y="376"/>
                  </a:lnTo>
                  <a:lnTo>
                    <a:pt x="464" y="379"/>
                  </a:lnTo>
                  <a:lnTo>
                    <a:pt x="462" y="378"/>
                  </a:lnTo>
                  <a:lnTo>
                    <a:pt x="462" y="369"/>
                  </a:lnTo>
                  <a:lnTo>
                    <a:pt x="459" y="362"/>
                  </a:lnTo>
                  <a:lnTo>
                    <a:pt x="461" y="361"/>
                  </a:lnTo>
                  <a:lnTo>
                    <a:pt x="462" y="359"/>
                  </a:lnTo>
                  <a:lnTo>
                    <a:pt x="464" y="361"/>
                  </a:lnTo>
                  <a:lnTo>
                    <a:pt x="462" y="359"/>
                  </a:lnTo>
                  <a:lnTo>
                    <a:pt x="471" y="357"/>
                  </a:lnTo>
                  <a:lnTo>
                    <a:pt x="476" y="356"/>
                  </a:lnTo>
                  <a:lnTo>
                    <a:pt x="478" y="356"/>
                  </a:lnTo>
                  <a:lnTo>
                    <a:pt x="486" y="354"/>
                  </a:lnTo>
                  <a:lnTo>
                    <a:pt x="488" y="354"/>
                  </a:lnTo>
                  <a:lnTo>
                    <a:pt x="491" y="350"/>
                  </a:lnTo>
                  <a:lnTo>
                    <a:pt x="496" y="347"/>
                  </a:lnTo>
                  <a:lnTo>
                    <a:pt x="498" y="344"/>
                  </a:lnTo>
                  <a:lnTo>
                    <a:pt x="502" y="345"/>
                  </a:lnTo>
                  <a:lnTo>
                    <a:pt x="505" y="344"/>
                  </a:lnTo>
                  <a:lnTo>
                    <a:pt x="507" y="338"/>
                  </a:lnTo>
                  <a:lnTo>
                    <a:pt x="512" y="340"/>
                  </a:lnTo>
                  <a:lnTo>
                    <a:pt x="517" y="338"/>
                  </a:lnTo>
                  <a:lnTo>
                    <a:pt x="520" y="338"/>
                  </a:lnTo>
                  <a:lnTo>
                    <a:pt x="520" y="337"/>
                  </a:lnTo>
                  <a:lnTo>
                    <a:pt x="517" y="337"/>
                  </a:lnTo>
                  <a:lnTo>
                    <a:pt x="513" y="338"/>
                  </a:lnTo>
                  <a:lnTo>
                    <a:pt x="508" y="337"/>
                  </a:lnTo>
                  <a:lnTo>
                    <a:pt x="515" y="330"/>
                  </a:lnTo>
                  <a:lnTo>
                    <a:pt x="519" y="328"/>
                  </a:lnTo>
                  <a:lnTo>
                    <a:pt x="527" y="325"/>
                  </a:lnTo>
                  <a:lnTo>
                    <a:pt x="529" y="318"/>
                  </a:lnTo>
                  <a:lnTo>
                    <a:pt x="531" y="320"/>
                  </a:lnTo>
                  <a:close/>
                  <a:moveTo>
                    <a:pt x="355" y="318"/>
                  </a:moveTo>
                  <a:lnTo>
                    <a:pt x="365" y="320"/>
                  </a:lnTo>
                  <a:lnTo>
                    <a:pt x="365" y="323"/>
                  </a:lnTo>
                  <a:lnTo>
                    <a:pt x="363" y="333"/>
                  </a:lnTo>
                  <a:lnTo>
                    <a:pt x="360" y="333"/>
                  </a:lnTo>
                  <a:lnTo>
                    <a:pt x="351" y="338"/>
                  </a:lnTo>
                  <a:lnTo>
                    <a:pt x="350" y="340"/>
                  </a:lnTo>
                  <a:lnTo>
                    <a:pt x="344" y="342"/>
                  </a:lnTo>
                  <a:lnTo>
                    <a:pt x="339" y="340"/>
                  </a:lnTo>
                  <a:lnTo>
                    <a:pt x="334" y="340"/>
                  </a:lnTo>
                  <a:lnTo>
                    <a:pt x="327" y="337"/>
                  </a:lnTo>
                  <a:lnTo>
                    <a:pt x="336" y="332"/>
                  </a:lnTo>
                  <a:lnTo>
                    <a:pt x="341" y="328"/>
                  </a:lnTo>
                  <a:lnTo>
                    <a:pt x="344" y="326"/>
                  </a:lnTo>
                  <a:lnTo>
                    <a:pt x="346" y="321"/>
                  </a:lnTo>
                  <a:lnTo>
                    <a:pt x="348" y="320"/>
                  </a:lnTo>
                  <a:lnTo>
                    <a:pt x="355" y="318"/>
                  </a:lnTo>
                  <a:close/>
                  <a:moveTo>
                    <a:pt x="152" y="303"/>
                  </a:moveTo>
                  <a:lnTo>
                    <a:pt x="150" y="306"/>
                  </a:lnTo>
                  <a:lnTo>
                    <a:pt x="146" y="304"/>
                  </a:lnTo>
                  <a:lnTo>
                    <a:pt x="152" y="303"/>
                  </a:lnTo>
                  <a:close/>
                  <a:moveTo>
                    <a:pt x="539" y="280"/>
                  </a:moveTo>
                  <a:lnTo>
                    <a:pt x="541" y="285"/>
                  </a:lnTo>
                  <a:lnTo>
                    <a:pt x="544" y="285"/>
                  </a:lnTo>
                  <a:lnTo>
                    <a:pt x="544" y="289"/>
                  </a:lnTo>
                  <a:lnTo>
                    <a:pt x="539" y="291"/>
                  </a:lnTo>
                  <a:lnTo>
                    <a:pt x="536" y="294"/>
                  </a:lnTo>
                  <a:lnTo>
                    <a:pt x="534" y="294"/>
                  </a:lnTo>
                  <a:lnTo>
                    <a:pt x="534" y="292"/>
                  </a:lnTo>
                  <a:lnTo>
                    <a:pt x="531" y="292"/>
                  </a:lnTo>
                  <a:lnTo>
                    <a:pt x="534" y="297"/>
                  </a:lnTo>
                  <a:lnTo>
                    <a:pt x="534" y="303"/>
                  </a:lnTo>
                  <a:lnTo>
                    <a:pt x="532" y="303"/>
                  </a:lnTo>
                  <a:lnTo>
                    <a:pt x="534" y="304"/>
                  </a:lnTo>
                  <a:lnTo>
                    <a:pt x="532" y="308"/>
                  </a:lnTo>
                  <a:lnTo>
                    <a:pt x="531" y="308"/>
                  </a:lnTo>
                  <a:lnTo>
                    <a:pt x="529" y="304"/>
                  </a:lnTo>
                  <a:lnTo>
                    <a:pt x="527" y="303"/>
                  </a:lnTo>
                  <a:lnTo>
                    <a:pt x="525" y="304"/>
                  </a:lnTo>
                  <a:lnTo>
                    <a:pt x="522" y="308"/>
                  </a:lnTo>
                  <a:lnTo>
                    <a:pt x="520" y="299"/>
                  </a:lnTo>
                  <a:lnTo>
                    <a:pt x="524" y="296"/>
                  </a:lnTo>
                  <a:lnTo>
                    <a:pt x="527" y="292"/>
                  </a:lnTo>
                  <a:lnTo>
                    <a:pt x="532" y="282"/>
                  </a:lnTo>
                  <a:lnTo>
                    <a:pt x="539" y="280"/>
                  </a:lnTo>
                  <a:close/>
                  <a:moveTo>
                    <a:pt x="121" y="181"/>
                  </a:moveTo>
                  <a:lnTo>
                    <a:pt x="123" y="185"/>
                  </a:lnTo>
                  <a:lnTo>
                    <a:pt x="128" y="193"/>
                  </a:lnTo>
                  <a:lnTo>
                    <a:pt x="131" y="195"/>
                  </a:lnTo>
                  <a:lnTo>
                    <a:pt x="138" y="204"/>
                  </a:lnTo>
                  <a:lnTo>
                    <a:pt x="143" y="205"/>
                  </a:lnTo>
                  <a:lnTo>
                    <a:pt x="150" y="204"/>
                  </a:lnTo>
                  <a:lnTo>
                    <a:pt x="153" y="205"/>
                  </a:lnTo>
                  <a:lnTo>
                    <a:pt x="155" y="210"/>
                  </a:lnTo>
                  <a:lnTo>
                    <a:pt x="155" y="219"/>
                  </a:lnTo>
                  <a:lnTo>
                    <a:pt x="157" y="224"/>
                  </a:lnTo>
                  <a:lnTo>
                    <a:pt x="164" y="224"/>
                  </a:lnTo>
                  <a:lnTo>
                    <a:pt x="165" y="227"/>
                  </a:lnTo>
                  <a:lnTo>
                    <a:pt x="170" y="224"/>
                  </a:lnTo>
                  <a:lnTo>
                    <a:pt x="174" y="224"/>
                  </a:lnTo>
                  <a:lnTo>
                    <a:pt x="182" y="221"/>
                  </a:lnTo>
                  <a:lnTo>
                    <a:pt x="187" y="229"/>
                  </a:lnTo>
                  <a:lnTo>
                    <a:pt x="193" y="229"/>
                  </a:lnTo>
                  <a:lnTo>
                    <a:pt x="198" y="234"/>
                  </a:lnTo>
                  <a:lnTo>
                    <a:pt x="199" y="239"/>
                  </a:lnTo>
                  <a:lnTo>
                    <a:pt x="201" y="241"/>
                  </a:lnTo>
                  <a:lnTo>
                    <a:pt x="203" y="246"/>
                  </a:lnTo>
                  <a:lnTo>
                    <a:pt x="208" y="255"/>
                  </a:lnTo>
                  <a:lnTo>
                    <a:pt x="216" y="258"/>
                  </a:lnTo>
                  <a:lnTo>
                    <a:pt x="220" y="260"/>
                  </a:lnTo>
                  <a:lnTo>
                    <a:pt x="227" y="268"/>
                  </a:lnTo>
                  <a:lnTo>
                    <a:pt x="228" y="274"/>
                  </a:lnTo>
                  <a:lnTo>
                    <a:pt x="225" y="279"/>
                  </a:lnTo>
                  <a:lnTo>
                    <a:pt x="227" y="277"/>
                  </a:lnTo>
                  <a:lnTo>
                    <a:pt x="223" y="282"/>
                  </a:lnTo>
                  <a:lnTo>
                    <a:pt x="218" y="284"/>
                  </a:lnTo>
                  <a:lnTo>
                    <a:pt x="215" y="289"/>
                  </a:lnTo>
                  <a:lnTo>
                    <a:pt x="208" y="294"/>
                  </a:lnTo>
                  <a:lnTo>
                    <a:pt x="203" y="294"/>
                  </a:lnTo>
                  <a:lnTo>
                    <a:pt x="199" y="297"/>
                  </a:lnTo>
                  <a:lnTo>
                    <a:pt x="191" y="296"/>
                  </a:lnTo>
                  <a:lnTo>
                    <a:pt x="184" y="299"/>
                  </a:lnTo>
                  <a:lnTo>
                    <a:pt x="181" y="304"/>
                  </a:lnTo>
                  <a:lnTo>
                    <a:pt x="174" y="299"/>
                  </a:lnTo>
                  <a:lnTo>
                    <a:pt x="169" y="297"/>
                  </a:lnTo>
                  <a:lnTo>
                    <a:pt x="162" y="297"/>
                  </a:lnTo>
                  <a:lnTo>
                    <a:pt x="155" y="296"/>
                  </a:lnTo>
                  <a:lnTo>
                    <a:pt x="152" y="297"/>
                  </a:lnTo>
                  <a:lnTo>
                    <a:pt x="148" y="294"/>
                  </a:lnTo>
                  <a:lnTo>
                    <a:pt x="146" y="296"/>
                  </a:lnTo>
                  <a:lnTo>
                    <a:pt x="140" y="287"/>
                  </a:lnTo>
                  <a:lnTo>
                    <a:pt x="136" y="289"/>
                  </a:lnTo>
                  <a:lnTo>
                    <a:pt x="131" y="282"/>
                  </a:lnTo>
                  <a:lnTo>
                    <a:pt x="128" y="282"/>
                  </a:lnTo>
                  <a:lnTo>
                    <a:pt x="129" y="277"/>
                  </a:lnTo>
                  <a:lnTo>
                    <a:pt x="126" y="272"/>
                  </a:lnTo>
                  <a:lnTo>
                    <a:pt x="121" y="267"/>
                  </a:lnTo>
                  <a:lnTo>
                    <a:pt x="121" y="263"/>
                  </a:lnTo>
                  <a:lnTo>
                    <a:pt x="116" y="263"/>
                  </a:lnTo>
                  <a:lnTo>
                    <a:pt x="116" y="262"/>
                  </a:lnTo>
                  <a:lnTo>
                    <a:pt x="112" y="262"/>
                  </a:lnTo>
                  <a:lnTo>
                    <a:pt x="109" y="256"/>
                  </a:lnTo>
                  <a:lnTo>
                    <a:pt x="100" y="258"/>
                  </a:lnTo>
                  <a:lnTo>
                    <a:pt x="99" y="255"/>
                  </a:lnTo>
                  <a:lnTo>
                    <a:pt x="90" y="248"/>
                  </a:lnTo>
                  <a:lnTo>
                    <a:pt x="88" y="248"/>
                  </a:lnTo>
                  <a:lnTo>
                    <a:pt x="88" y="246"/>
                  </a:lnTo>
                  <a:lnTo>
                    <a:pt x="90" y="244"/>
                  </a:lnTo>
                  <a:lnTo>
                    <a:pt x="88" y="241"/>
                  </a:lnTo>
                  <a:lnTo>
                    <a:pt x="85" y="239"/>
                  </a:lnTo>
                  <a:lnTo>
                    <a:pt x="85" y="243"/>
                  </a:lnTo>
                  <a:lnTo>
                    <a:pt x="82" y="243"/>
                  </a:lnTo>
                  <a:lnTo>
                    <a:pt x="82" y="238"/>
                  </a:lnTo>
                  <a:lnTo>
                    <a:pt x="78" y="241"/>
                  </a:lnTo>
                  <a:lnTo>
                    <a:pt x="76" y="238"/>
                  </a:lnTo>
                  <a:lnTo>
                    <a:pt x="73" y="239"/>
                  </a:lnTo>
                  <a:lnTo>
                    <a:pt x="73" y="238"/>
                  </a:lnTo>
                  <a:lnTo>
                    <a:pt x="70" y="239"/>
                  </a:lnTo>
                  <a:lnTo>
                    <a:pt x="63" y="236"/>
                  </a:lnTo>
                  <a:lnTo>
                    <a:pt x="58" y="238"/>
                  </a:lnTo>
                  <a:lnTo>
                    <a:pt x="56" y="241"/>
                  </a:lnTo>
                  <a:lnTo>
                    <a:pt x="54" y="243"/>
                  </a:lnTo>
                  <a:lnTo>
                    <a:pt x="49" y="238"/>
                  </a:lnTo>
                  <a:lnTo>
                    <a:pt x="46" y="239"/>
                  </a:lnTo>
                  <a:lnTo>
                    <a:pt x="44" y="236"/>
                  </a:lnTo>
                  <a:lnTo>
                    <a:pt x="34" y="236"/>
                  </a:lnTo>
                  <a:lnTo>
                    <a:pt x="30" y="238"/>
                  </a:lnTo>
                  <a:lnTo>
                    <a:pt x="29" y="236"/>
                  </a:lnTo>
                  <a:lnTo>
                    <a:pt x="22" y="234"/>
                  </a:lnTo>
                  <a:lnTo>
                    <a:pt x="20" y="233"/>
                  </a:lnTo>
                  <a:lnTo>
                    <a:pt x="18" y="233"/>
                  </a:lnTo>
                  <a:lnTo>
                    <a:pt x="10" y="227"/>
                  </a:lnTo>
                  <a:lnTo>
                    <a:pt x="8" y="222"/>
                  </a:lnTo>
                  <a:lnTo>
                    <a:pt x="6" y="222"/>
                  </a:lnTo>
                  <a:lnTo>
                    <a:pt x="5" y="219"/>
                  </a:lnTo>
                  <a:lnTo>
                    <a:pt x="0" y="214"/>
                  </a:lnTo>
                  <a:lnTo>
                    <a:pt x="3" y="205"/>
                  </a:lnTo>
                  <a:lnTo>
                    <a:pt x="12" y="198"/>
                  </a:lnTo>
                  <a:lnTo>
                    <a:pt x="20" y="197"/>
                  </a:lnTo>
                  <a:lnTo>
                    <a:pt x="29" y="192"/>
                  </a:lnTo>
                  <a:lnTo>
                    <a:pt x="30" y="192"/>
                  </a:lnTo>
                  <a:lnTo>
                    <a:pt x="34" y="193"/>
                  </a:lnTo>
                  <a:lnTo>
                    <a:pt x="44" y="190"/>
                  </a:lnTo>
                  <a:lnTo>
                    <a:pt x="47" y="192"/>
                  </a:lnTo>
                  <a:lnTo>
                    <a:pt x="54" y="193"/>
                  </a:lnTo>
                  <a:lnTo>
                    <a:pt x="65" y="190"/>
                  </a:lnTo>
                  <a:lnTo>
                    <a:pt x="73" y="192"/>
                  </a:lnTo>
                  <a:lnTo>
                    <a:pt x="78" y="188"/>
                  </a:lnTo>
                  <a:lnTo>
                    <a:pt x="83" y="188"/>
                  </a:lnTo>
                  <a:lnTo>
                    <a:pt x="90" y="193"/>
                  </a:lnTo>
                  <a:lnTo>
                    <a:pt x="99" y="193"/>
                  </a:lnTo>
                  <a:lnTo>
                    <a:pt x="102" y="195"/>
                  </a:lnTo>
                  <a:lnTo>
                    <a:pt x="109" y="190"/>
                  </a:lnTo>
                  <a:lnTo>
                    <a:pt x="114" y="186"/>
                  </a:lnTo>
                  <a:lnTo>
                    <a:pt x="119" y="180"/>
                  </a:lnTo>
                  <a:lnTo>
                    <a:pt x="121" y="181"/>
                  </a:lnTo>
                  <a:close/>
                  <a:moveTo>
                    <a:pt x="718" y="142"/>
                  </a:moveTo>
                  <a:lnTo>
                    <a:pt x="717" y="151"/>
                  </a:lnTo>
                  <a:lnTo>
                    <a:pt x="720" y="154"/>
                  </a:lnTo>
                  <a:lnTo>
                    <a:pt x="725" y="154"/>
                  </a:lnTo>
                  <a:lnTo>
                    <a:pt x="730" y="151"/>
                  </a:lnTo>
                  <a:lnTo>
                    <a:pt x="734" y="151"/>
                  </a:lnTo>
                  <a:lnTo>
                    <a:pt x="739" y="144"/>
                  </a:lnTo>
                  <a:lnTo>
                    <a:pt x="742" y="147"/>
                  </a:lnTo>
                  <a:lnTo>
                    <a:pt x="747" y="151"/>
                  </a:lnTo>
                  <a:lnTo>
                    <a:pt x="747" y="156"/>
                  </a:lnTo>
                  <a:lnTo>
                    <a:pt x="746" y="161"/>
                  </a:lnTo>
                  <a:lnTo>
                    <a:pt x="747" y="166"/>
                  </a:lnTo>
                  <a:lnTo>
                    <a:pt x="746" y="168"/>
                  </a:lnTo>
                  <a:lnTo>
                    <a:pt x="741" y="168"/>
                  </a:lnTo>
                  <a:lnTo>
                    <a:pt x="737" y="171"/>
                  </a:lnTo>
                  <a:lnTo>
                    <a:pt x="732" y="168"/>
                  </a:lnTo>
                  <a:lnTo>
                    <a:pt x="723" y="168"/>
                  </a:lnTo>
                  <a:lnTo>
                    <a:pt x="722" y="171"/>
                  </a:lnTo>
                  <a:lnTo>
                    <a:pt x="723" y="178"/>
                  </a:lnTo>
                  <a:lnTo>
                    <a:pt x="722" y="181"/>
                  </a:lnTo>
                  <a:lnTo>
                    <a:pt x="725" y="183"/>
                  </a:lnTo>
                  <a:lnTo>
                    <a:pt x="730" y="186"/>
                  </a:lnTo>
                  <a:lnTo>
                    <a:pt x="730" y="190"/>
                  </a:lnTo>
                  <a:lnTo>
                    <a:pt x="734" y="193"/>
                  </a:lnTo>
                  <a:lnTo>
                    <a:pt x="735" y="202"/>
                  </a:lnTo>
                  <a:lnTo>
                    <a:pt x="727" y="209"/>
                  </a:lnTo>
                  <a:lnTo>
                    <a:pt x="723" y="214"/>
                  </a:lnTo>
                  <a:lnTo>
                    <a:pt x="722" y="212"/>
                  </a:lnTo>
                  <a:lnTo>
                    <a:pt x="723" y="215"/>
                  </a:lnTo>
                  <a:lnTo>
                    <a:pt x="722" y="224"/>
                  </a:lnTo>
                  <a:lnTo>
                    <a:pt x="718" y="229"/>
                  </a:lnTo>
                  <a:lnTo>
                    <a:pt x="717" y="227"/>
                  </a:lnTo>
                  <a:lnTo>
                    <a:pt x="708" y="233"/>
                  </a:lnTo>
                  <a:lnTo>
                    <a:pt x="703" y="241"/>
                  </a:lnTo>
                  <a:lnTo>
                    <a:pt x="698" y="244"/>
                  </a:lnTo>
                  <a:lnTo>
                    <a:pt x="696" y="248"/>
                  </a:lnTo>
                  <a:lnTo>
                    <a:pt x="694" y="253"/>
                  </a:lnTo>
                  <a:lnTo>
                    <a:pt x="684" y="256"/>
                  </a:lnTo>
                  <a:lnTo>
                    <a:pt x="682" y="260"/>
                  </a:lnTo>
                  <a:lnTo>
                    <a:pt x="674" y="267"/>
                  </a:lnTo>
                  <a:lnTo>
                    <a:pt x="669" y="268"/>
                  </a:lnTo>
                  <a:lnTo>
                    <a:pt x="667" y="270"/>
                  </a:lnTo>
                  <a:lnTo>
                    <a:pt x="664" y="279"/>
                  </a:lnTo>
                  <a:lnTo>
                    <a:pt x="660" y="282"/>
                  </a:lnTo>
                  <a:lnTo>
                    <a:pt x="652" y="287"/>
                  </a:lnTo>
                  <a:lnTo>
                    <a:pt x="645" y="287"/>
                  </a:lnTo>
                  <a:lnTo>
                    <a:pt x="643" y="287"/>
                  </a:lnTo>
                  <a:lnTo>
                    <a:pt x="635" y="287"/>
                  </a:lnTo>
                  <a:lnTo>
                    <a:pt x="630" y="285"/>
                  </a:lnTo>
                  <a:lnTo>
                    <a:pt x="631" y="285"/>
                  </a:lnTo>
                  <a:lnTo>
                    <a:pt x="630" y="287"/>
                  </a:lnTo>
                  <a:lnTo>
                    <a:pt x="624" y="285"/>
                  </a:lnTo>
                  <a:lnTo>
                    <a:pt x="618" y="287"/>
                  </a:lnTo>
                  <a:lnTo>
                    <a:pt x="619" y="285"/>
                  </a:lnTo>
                  <a:lnTo>
                    <a:pt x="614" y="291"/>
                  </a:lnTo>
                  <a:lnTo>
                    <a:pt x="613" y="294"/>
                  </a:lnTo>
                  <a:lnTo>
                    <a:pt x="607" y="297"/>
                  </a:lnTo>
                  <a:lnTo>
                    <a:pt x="606" y="299"/>
                  </a:lnTo>
                  <a:lnTo>
                    <a:pt x="599" y="299"/>
                  </a:lnTo>
                  <a:lnTo>
                    <a:pt x="597" y="303"/>
                  </a:lnTo>
                  <a:lnTo>
                    <a:pt x="594" y="303"/>
                  </a:lnTo>
                  <a:lnTo>
                    <a:pt x="587" y="308"/>
                  </a:lnTo>
                  <a:lnTo>
                    <a:pt x="580" y="309"/>
                  </a:lnTo>
                  <a:lnTo>
                    <a:pt x="575" y="309"/>
                  </a:lnTo>
                  <a:lnTo>
                    <a:pt x="568" y="311"/>
                  </a:lnTo>
                  <a:lnTo>
                    <a:pt x="563" y="309"/>
                  </a:lnTo>
                  <a:lnTo>
                    <a:pt x="558" y="311"/>
                  </a:lnTo>
                  <a:lnTo>
                    <a:pt x="553" y="306"/>
                  </a:lnTo>
                  <a:lnTo>
                    <a:pt x="549" y="306"/>
                  </a:lnTo>
                  <a:lnTo>
                    <a:pt x="539" y="309"/>
                  </a:lnTo>
                  <a:lnTo>
                    <a:pt x="539" y="306"/>
                  </a:lnTo>
                  <a:lnTo>
                    <a:pt x="544" y="299"/>
                  </a:lnTo>
                  <a:lnTo>
                    <a:pt x="543" y="294"/>
                  </a:lnTo>
                  <a:lnTo>
                    <a:pt x="548" y="292"/>
                  </a:lnTo>
                  <a:lnTo>
                    <a:pt x="548" y="287"/>
                  </a:lnTo>
                  <a:lnTo>
                    <a:pt x="551" y="287"/>
                  </a:lnTo>
                  <a:lnTo>
                    <a:pt x="560" y="284"/>
                  </a:lnTo>
                  <a:lnTo>
                    <a:pt x="561" y="284"/>
                  </a:lnTo>
                  <a:lnTo>
                    <a:pt x="565" y="280"/>
                  </a:lnTo>
                  <a:lnTo>
                    <a:pt x="573" y="279"/>
                  </a:lnTo>
                  <a:lnTo>
                    <a:pt x="577" y="272"/>
                  </a:lnTo>
                  <a:lnTo>
                    <a:pt x="568" y="268"/>
                  </a:lnTo>
                  <a:lnTo>
                    <a:pt x="566" y="270"/>
                  </a:lnTo>
                  <a:lnTo>
                    <a:pt x="563" y="268"/>
                  </a:lnTo>
                  <a:lnTo>
                    <a:pt x="556" y="272"/>
                  </a:lnTo>
                  <a:lnTo>
                    <a:pt x="554" y="268"/>
                  </a:lnTo>
                  <a:lnTo>
                    <a:pt x="554" y="267"/>
                  </a:lnTo>
                  <a:lnTo>
                    <a:pt x="554" y="260"/>
                  </a:lnTo>
                  <a:lnTo>
                    <a:pt x="556" y="255"/>
                  </a:lnTo>
                  <a:lnTo>
                    <a:pt x="561" y="255"/>
                  </a:lnTo>
                  <a:lnTo>
                    <a:pt x="565" y="250"/>
                  </a:lnTo>
                  <a:lnTo>
                    <a:pt x="565" y="243"/>
                  </a:lnTo>
                  <a:lnTo>
                    <a:pt x="561" y="239"/>
                  </a:lnTo>
                  <a:lnTo>
                    <a:pt x="566" y="236"/>
                  </a:lnTo>
                  <a:lnTo>
                    <a:pt x="566" y="233"/>
                  </a:lnTo>
                  <a:lnTo>
                    <a:pt x="566" y="222"/>
                  </a:lnTo>
                  <a:lnTo>
                    <a:pt x="573" y="215"/>
                  </a:lnTo>
                  <a:lnTo>
                    <a:pt x="580" y="212"/>
                  </a:lnTo>
                  <a:lnTo>
                    <a:pt x="580" y="205"/>
                  </a:lnTo>
                  <a:lnTo>
                    <a:pt x="585" y="207"/>
                  </a:lnTo>
                  <a:lnTo>
                    <a:pt x="587" y="204"/>
                  </a:lnTo>
                  <a:lnTo>
                    <a:pt x="590" y="204"/>
                  </a:lnTo>
                  <a:lnTo>
                    <a:pt x="594" y="198"/>
                  </a:lnTo>
                  <a:lnTo>
                    <a:pt x="597" y="197"/>
                  </a:lnTo>
                  <a:lnTo>
                    <a:pt x="602" y="190"/>
                  </a:lnTo>
                  <a:lnTo>
                    <a:pt x="611" y="186"/>
                  </a:lnTo>
                  <a:lnTo>
                    <a:pt x="614" y="193"/>
                  </a:lnTo>
                  <a:lnTo>
                    <a:pt x="618" y="197"/>
                  </a:lnTo>
                  <a:lnTo>
                    <a:pt x="619" y="195"/>
                  </a:lnTo>
                  <a:lnTo>
                    <a:pt x="621" y="198"/>
                  </a:lnTo>
                  <a:lnTo>
                    <a:pt x="624" y="197"/>
                  </a:lnTo>
                  <a:lnTo>
                    <a:pt x="624" y="195"/>
                  </a:lnTo>
                  <a:lnTo>
                    <a:pt x="630" y="192"/>
                  </a:lnTo>
                  <a:lnTo>
                    <a:pt x="633" y="192"/>
                  </a:lnTo>
                  <a:lnTo>
                    <a:pt x="638" y="197"/>
                  </a:lnTo>
                  <a:lnTo>
                    <a:pt x="640" y="202"/>
                  </a:lnTo>
                  <a:lnTo>
                    <a:pt x="638" y="207"/>
                  </a:lnTo>
                  <a:lnTo>
                    <a:pt x="647" y="205"/>
                  </a:lnTo>
                  <a:lnTo>
                    <a:pt x="648" y="202"/>
                  </a:lnTo>
                  <a:lnTo>
                    <a:pt x="648" y="198"/>
                  </a:lnTo>
                  <a:lnTo>
                    <a:pt x="650" y="197"/>
                  </a:lnTo>
                  <a:lnTo>
                    <a:pt x="652" y="195"/>
                  </a:lnTo>
                  <a:lnTo>
                    <a:pt x="650" y="192"/>
                  </a:lnTo>
                  <a:lnTo>
                    <a:pt x="653" y="188"/>
                  </a:lnTo>
                  <a:lnTo>
                    <a:pt x="659" y="186"/>
                  </a:lnTo>
                  <a:lnTo>
                    <a:pt x="659" y="181"/>
                  </a:lnTo>
                  <a:lnTo>
                    <a:pt x="662" y="180"/>
                  </a:lnTo>
                  <a:lnTo>
                    <a:pt x="662" y="173"/>
                  </a:lnTo>
                  <a:lnTo>
                    <a:pt x="664" y="171"/>
                  </a:lnTo>
                  <a:lnTo>
                    <a:pt x="662" y="168"/>
                  </a:lnTo>
                  <a:lnTo>
                    <a:pt x="669" y="169"/>
                  </a:lnTo>
                  <a:lnTo>
                    <a:pt x="669" y="168"/>
                  </a:lnTo>
                  <a:lnTo>
                    <a:pt x="679" y="166"/>
                  </a:lnTo>
                  <a:lnTo>
                    <a:pt x="686" y="161"/>
                  </a:lnTo>
                  <a:lnTo>
                    <a:pt x="689" y="154"/>
                  </a:lnTo>
                  <a:lnTo>
                    <a:pt x="693" y="154"/>
                  </a:lnTo>
                  <a:lnTo>
                    <a:pt x="701" y="149"/>
                  </a:lnTo>
                  <a:lnTo>
                    <a:pt x="708" y="147"/>
                  </a:lnTo>
                  <a:lnTo>
                    <a:pt x="712" y="144"/>
                  </a:lnTo>
                  <a:lnTo>
                    <a:pt x="718" y="142"/>
                  </a:lnTo>
                  <a:close/>
                  <a:moveTo>
                    <a:pt x="164" y="135"/>
                  </a:moveTo>
                  <a:lnTo>
                    <a:pt x="160" y="137"/>
                  </a:lnTo>
                  <a:lnTo>
                    <a:pt x="158" y="135"/>
                  </a:lnTo>
                  <a:lnTo>
                    <a:pt x="162" y="132"/>
                  </a:lnTo>
                  <a:lnTo>
                    <a:pt x="165" y="133"/>
                  </a:lnTo>
                  <a:lnTo>
                    <a:pt x="164" y="135"/>
                  </a:lnTo>
                  <a:close/>
                  <a:moveTo>
                    <a:pt x="310" y="130"/>
                  </a:moveTo>
                  <a:lnTo>
                    <a:pt x="312" y="133"/>
                  </a:lnTo>
                  <a:lnTo>
                    <a:pt x="309" y="135"/>
                  </a:lnTo>
                  <a:lnTo>
                    <a:pt x="309" y="133"/>
                  </a:lnTo>
                  <a:lnTo>
                    <a:pt x="310" y="132"/>
                  </a:lnTo>
                  <a:lnTo>
                    <a:pt x="310" y="130"/>
                  </a:lnTo>
                  <a:close/>
                  <a:moveTo>
                    <a:pt x="102" y="122"/>
                  </a:moveTo>
                  <a:lnTo>
                    <a:pt x="106" y="123"/>
                  </a:lnTo>
                  <a:lnTo>
                    <a:pt x="104" y="127"/>
                  </a:lnTo>
                  <a:lnTo>
                    <a:pt x="100" y="125"/>
                  </a:lnTo>
                  <a:lnTo>
                    <a:pt x="102" y="122"/>
                  </a:lnTo>
                  <a:close/>
                  <a:moveTo>
                    <a:pt x="87" y="122"/>
                  </a:moveTo>
                  <a:lnTo>
                    <a:pt x="88" y="125"/>
                  </a:lnTo>
                  <a:lnTo>
                    <a:pt x="83" y="123"/>
                  </a:lnTo>
                  <a:lnTo>
                    <a:pt x="87" y="122"/>
                  </a:lnTo>
                  <a:close/>
                  <a:moveTo>
                    <a:pt x="59" y="116"/>
                  </a:moveTo>
                  <a:lnTo>
                    <a:pt x="59" y="118"/>
                  </a:lnTo>
                  <a:lnTo>
                    <a:pt x="59" y="116"/>
                  </a:lnTo>
                  <a:close/>
                  <a:moveTo>
                    <a:pt x="80" y="103"/>
                  </a:moveTo>
                  <a:lnTo>
                    <a:pt x="82" y="106"/>
                  </a:lnTo>
                  <a:lnTo>
                    <a:pt x="78" y="106"/>
                  </a:lnTo>
                  <a:lnTo>
                    <a:pt x="75" y="108"/>
                  </a:lnTo>
                  <a:lnTo>
                    <a:pt x="76" y="110"/>
                  </a:lnTo>
                  <a:lnTo>
                    <a:pt x="73" y="108"/>
                  </a:lnTo>
                  <a:lnTo>
                    <a:pt x="73" y="106"/>
                  </a:lnTo>
                  <a:lnTo>
                    <a:pt x="80" y="103"/>
                  </a:lnTo>
                  <a:close/>
                  <a:moveTo>
                    <a:pt x="87" y="101"/>
                  </a:moveTo>
                  <a:lnTo>
                    <a:pt x="88" y="101"/>
                  </a:lnTo>
                  <a:lnTo>
                    <a:pt x="88" y="106"/>
                  </a:lnTo>
                  <a:lnTo>
                    <a:pt x="90" y="110"/>
                  </a:lnTo>
                  <a:lnTo>
                    <a:pt x="90" y="108"/>
                  </a:lnTo>
                  <a:lnTo>
                    <a:pt x="90" y="110"/>
                  </a:lnTo>
                  <a:lnTo>
                    <a:pt x="94" y="108"/>
                  </a:lnTo>
                  <a:lnTo>
                    <a:pt x="92" y="104"/>
                  </a:lnTo>
                  <a:lnTo>
                    <a:pt x="94" y="106"/>
                  </a:lnTo>
                  <a:lnTo>
                    <a:pt x="95" y="101"/>
                  </a:lnTo>
                  <a:lnTo>
                    <a:pt x="99" y="103"/>
                  </a:lnTo>
                  <a:lnTo>
                    <a:pt x="104" y="101"/>
                  </a:lnTo>
                  <a:lnTo>
                    <a:pt x="106" y="103"/>
                  </a:lnTo>
                  <a:lnTo>
                    <a:pt x="104" y="106"/>
                  </a:lnTo>
                  <a:lnTo>
                    <a:pt x="100" y="106"/>
                  </a:lnTo>
                  <a:lnTo>
                    <a:pt x="99" y="111"/>
                  </a:lnTo>
                  <a:lnTo>
                    <a:pt x="95" y="111"/>
                  </a:lnTo>
                  <a:lnTo>
                    <a:pt x="94" y="108"/>
                  </a:lnTo>
                  <a:lnTo>
                    <a:pt x="92" y="113"/>
                  </a:lnTo>
                  <a:lnTo>
                    <a:pt x="95" y="116"/>
                  </a:lnTo>
                  <a:lnTo>
                    <a:pt x="97" y="118"/>
                  </a:lnTo>
                  <a:lnTo>
                    <a:pt x="95" y="118"/>
                  </a:lnTo>
                  <a:lnTo>
                    <a:pt x="97" y="120"/>
                  </a:lnTo>
                  <a:lnTo>
                    <a:pt x="92" y="125"/>
                  </a:lnTo>
                  <a:lnTo>
                    <a:pt x="90" y="125"/>
                  </a:lnTo>
                  <a:lnTo>
                    <a:pt x="87" y="120"/>
                  </a:lnTo>
                  <a:lnTo>
                    <a:pt x="83" y="122"/>
                  </a:lnTo>
                  <a:lnTo>
                    <a:pt x="82" y="118"/>
                  </a:lnTo>
                  <a:lnTo>
                    <a:pt x="82" y="115"/>
                  </a:lnTo>
                  <a:lnTo>
                    <a:pt x="85" y="116"/>
                  </a:lnTo>
                  <a:lnTo>
                    <a:pt x="82" y="115"/>
                  </a:lnTo>
                  <a:lnTo>
                    <a:pt x="85" y="115"/>
                  </a:lnTo>
                  <a:lnTo>
                    <a:pt x="83" y="111"/>
                  </a:lnTo>
                  <a:lnTo>
                    <a:pt x="88" y="111"/>
                  </a:lnTo>
                  <a:lnTo>
                    <a:pt x="87" y="108"/>
                  </a:lnTo>
                  <a:lnTo>
                    <a:pt x="87" y="110"/>
                  </a:lnTo>
                  <a:lnTo>
                    <a:pt x="83" y="110"/>
                  </a:lnTo>
                  <a:lnTo>
                    <a:pt x="85" y="106"/>
                  </a:lnTo>
                  <a:lnTo>
                    <a:pt x="82" y="99"/>
                  </a:lnTo>
                  <a:lnTo>
                    <a:pt x="87" y="101"/>
                  </a:lnTo>
                  <a:close/>
                  <a:moveTo>
                    <a:pt x="94" y="96"/>
                  </a:moveTo>
                  <a:lnTo>
                    <a:pt x="95" y="96"/>
                  </a:lnTo>
                  <a:lnTo>
                    <a:pt x="94" y="96"/>
                  </a:lnTo>
                  <a:close/>
                  <a:moveTo>
                    <a:pt x="88" y="92"/>
                  </a:moveTo>
                  <a:lnTo>
                    <a:pt x="87" y="96"/>
                  </a:lnTo>
                  <a:lnTo>
                    <a:pt x="87" y="91"/>
                  </a:lnTo>
                  <a:lnTo>
                    <a:pt x="88" y="92"/>
                  </a:lnTo>
                  <a:close/>
                  <a:moveTo>
                    <a:pt x="95" y="86"/>
                  </a:moveTo>
                  <a:lnTo>
                    <a:pt x="97" y="86"/>
                  </a:lnTo>
                  <a:lnTo>
                    <a:pt x="97" y="89"/>
                  </a:lnTo>
                  <a:lnTo>
                    <a:pt x="95" y="89"/>
                  </a:lnTo>
                  <a:lnTo>
                    <a:pt x="95" y="86"/>
                  </a:lnTo>
                  <a:close/>
                  <a:moveTo>
                    <a:pt x="640" y="84"/>
                  </a:moveTo>
                  <a:lnTo>
                    <a:pt x="642" y="84"/>
                  </a:lnTo>
                  <a:lnTo>
                    <a:pt x="642" y="86"/>
                  </a:lnTo>
                  <a:lnTo>
                    <a:pt x="640" y="86"/>
                  </a:lnTo>
                  <a:lnTo>
                    <a:pt x="640" y="84"/>
                  </a:lnTo>
                  <a:close/>
                  <a:moveTo>
                    <a:pt x="75" y="82"/>
                  </a:moveTo>
                  <a:lnTo>
                    <a:pt x="76" y="82"/>
                  </a:lnTo>
                  <a:lnTo>
                    <a:pt x="76" y="84"/>
                  </a:lnTo>
                  <a:lnTo>
                    <a:pt x="75" y="84"/>
                  </a:lnTo>
                  <a:lnTo>
                    <a:pt x="75" y="82"/>
                  </a:lnTo>
                  <a:close/>
                  <a:moveTo>
                    <a:pt x="421" y="82"/>
                  </a:moveTo>
                  <a:lnTo>
                    <a:pt x="421" y="84"/>
                  </a:lnTo>
                  <a:lnTo>
                    <a:pt x="418" y="84"/>
                  </a:lnTo>
                  <a:lnTo>
                    <a:pt x="421" y="82"/>
                  </a:lnTo>
                  <a:close/>
                  <a:moveTo>
                    <a:pt x="76" y="81"/>
                  </a:moveTo>
                  <a:lnTo>
                    <a:pt x="78" y="81"/>
                  </a:lnTo>
                  <a:lnTo>
                    <a:pt x="78" y="82"/>
                  </a:lnTo>
                  <a:lnTo>
                    <a:pt x="76" y="82"/>
                  </a:lnTo>
                  <a:lnTo>
                    <a:pt x="76" y="81"/>
                  </a:lnTo>
                  <a:close/>
                  <a:moveTo>
                    <a:pt x="413" y="79"/>
                  </a:moveTo>
                  <a:lnTo>
                    <a:pt x="416" y="81"/>
                  </a:lnTo>
                  <a:lnTo>
                    <a:pt x="418" y="79"/>
                  </a:lnTo>
                  <a:lnTo>
                    <a:pt x="418" y="81"/>
                  </a:lnTo>
                  <a:lnTo>
                    <a:pt x="414" y="87"/>
                  </a:lnTo>
                  <a:lnTo>
                    <a:pt x="409" y="86"/>
                  </a:lnTo>
                  <a:lnTo>
                    <a:pt x="408" y="82"/>
                  </a:lnTo>
                  <a:lnTo>
                    <a:pt x="408" y="79"/>
                  </a:lnTo>
                  <a:lnTo>
                    <a:pt x="413" y="79"/>
                  </a:lnTo>
                  <a:close/>
                  <a:moveTo>
                    <a:pt x="66" y="81"/>
                  </a:moveTo>
                  <a:lnTo>
                    <a:pt x="65" y="84"/>
                  </a:lnTo>
                  <a:lnTo>
                    <a:pt x="66" y="86"/>
                  </a:lnTo>
                  <a:lnTo>
                    <a:pt x="68" y="84"/>
                  </a:lnTo>
                  <a:lnTo>
                    <a:pt x="70" y="86"/>
                  </a:lnTo>
                  <a:lnTo>
                    <a:pt x="71" y="86"/>
                  </a:lnTo>
                  <a:lnTo>
                    <a:pt x="73" y="87"/>
                  </a:lnTo>
                  <a:lnTo>
                    <a:pt x="75" y="84"/>
                  </a:lnTo>
                  <a:lnTo>
                    <a:pt x="75" y="87"/>
                  </a:lnTo>
                  <a:lnTo>
                    <a:pt x="78" y="86"/>
                  </a:lnTo>
                  <a:lnTo>
                    <a:pt x="78" y="92"/>
                  </a:lnTo>
                  <a:lnTo>
                    <a:pt x="76" y="89"/>
                  </a:lnTo>
                  <a:lnTo>
                    <a:pt x="75" y="91"/>
                  </a:lnTo>
                  <a:lnTo>
                    <a:pt x="76" y="98"/>
                  </a:lnTo>
                  <a:lnTo>
                    <a:pt x="78" y="99"/>
                  </a:lnTo>
                  <a:lnTo>
                    <a:pt x="71" y="99"/>
                  </a:lnTo>
                  <a:lnTo>
                    <a:pt x="71" y="98"/>
                  </a:lnTo>
                  <a:lnTo>
                    <a:pt x="70" y="96"/>
                  </a:lnTo>
                  <a:lnTo>
                    <a:pt x="66" y="99"/>
                  </a:lnTo>
                  <a:lnTo>
                    <a:pt x="63" y="99"/>
                  </a:lnTo>
                  <a:lnTo>
                    <a:pt x="65" y="103"/>
                  </a:lnTo>
                  <a:lnTo>
                    <a:pt x="68" y="101"/>
                  </a:lnTo>
                  <a:lnTo>
                    <a:pt x="66" y="106"/>
                  </a:lnTo>
                  <a:lnTo>
                    <a:pt x="63" y="104"/>
                  </a:lnTo>
                  <a:lnTo>
                    <a:pt x="61" y="108"/>
                  </a:lnTo>
                  <a:lnTo>
                    <a:pt x="63" y="111"/>
                  </a:lnTo>
                  <a:lnTo>
                    <a:pt x="63" y="116"/>
                  </a:lnTo>
                  <a:lnTo>
                    <a:pt x="65" y="115"/>
                  </a:lnTo>
                  <a:lnTo>
                    <a:pt x="61" y="118"/>
                  </a:lnTo>
                  <a:lnTo>
                    <a:pt x="58" y="113"/>
                  </a:lnTo>
                  <a:lnTo>
                    <a:pt x="54" y="115"/>
                  </a:lnTo>
                  <a:lnTo>
                    <a:pt x="53" y="113"/>
                  </a:lnTo>
                  <a:lnTo>
                    <a:pt x="58" y="110"/>
                  </a:lnTo>
                  <a:lnTo>
                    <a:pt x="58" y="104"/>
                  </a:lnTo>
                  <a:lnTo>
                    <a:pt x="56" y="101"/>
                  </a:lnTo>
                  <a:lnTo>
                    <a:pt x="54" y="103"/>
                  </a:lnTo>
                  <a:lnTo>
                    <a:pt x="56" y="99"/>
                  </a:lnTo>
                  <a:lnTo>
                    <a:pt x="54" y="98"/>
                  </a:lnTo>
                  <a:lnTo>
                    <a:pt x="56" y="94"/>
                  </a:lnTo>
                  <a:lnTo>
                    <a:pt x="59" y="94"/>
                  </a:lnTo>
                  <a:lnTo>
                    <a:pt x="59" y="91"/>
                  </a:lnTo>
                  <a:lnTo>
                    <a:pt x="61" y="91"/>
                  </a:lnTo>
                  <a:lnTo>
                    <a:pt x="58" y="87"/>
                  </a:lnTo>
                  <a:lnTo>
                    <a:pt x="63" y="86"/>
                  </a:lnTo>
                  <a:lnTo>
                    <a:pt x="59" y="84"/>
                  </a:lnTo>
                  <a:lnTo>
                    <a:pt x="59" y="81"/>
                  </a:lnTo>
                  <a:lnTo>
                    <a:pt x="63" y="81"/>
                  </a:lnTo>
                  <a:lnTo>
                    <a:pt x="63" y="79"/>
                  </a:lnTo>
                  <a:lnTo>
                    <a:pt x="66" y="81"/>
                  </a:lnTo>
                  <a:close/>
                  <a:moveTo>
                    <a:pt x="592" y="79"/>
                  </a:moveTo>
                  <a:lnTo>
                    <a:pt x="594" y="79"/>
                  </a:lnTo>
                  <a:lnTo>
                    <a:pt x="594" y="81"/>
                  </a:lnTo>
                  <a:lnTo>
                    <a:pt x="592" y="81"/>
                  </a:lnTo>
                  <a:lnTo>
                    <a:pt x="592" y="79"/>
                  </a:lnTo>
                  <a:close/>
                  <a:moveTo>
                    <a:pt x="507" y="79"/>
                  </a:moveTo>
                  <a:lnTo>
                    <a:pt x="507" y="81"/>
                  </a:lnTo>
                  <a:lnTo>
                    <a:pt x="505" y="82"/>
                  </a:lnTo>
                  <a:lnTo>
                    <a:pt x="496" y="86"/>
                  </a:lnTo>
                  <a:lnTo>
                    <a:pt x="490" y="84"/>
                  </a:lnTo>
                  <a:lnTo>
                    <a:pt x="484" y="89"/>
                  </a:lnTo>
                  <a:lnTo>
                    <a:pt x="481" y="94"/>
                  </a:lnTo>
                  <a:lnTo>
                    <a:pt x="479" y="99"/>
                  </a:lnTo>
                  <a:lnTo>
                    <a:pt x="476" y="101"/>
                  </a:lnTo>
                  <a:lnTo>
                    <a:pt x="473" y="99"/>
                  </a:lnTo>
                  <a:lnTo>
                    <a:pt x="471" y="98"/>
                  </a:lnTo>
                  <a:lnTo>
                    <a:pt x="473" y="91"/>
                  </a:lnTo>
                  <a:lnTo>
                    <a:pt x="481" y="86"/>
                  </a:lnTo>
                  <a:lnTo>
                    <a:pt x="481" y="82"/>
                  </a:lnTo>
                  <a:lnTo>
                    <a:pt x="484" y="79"/>
                  </a:lnTo>
                  <a:lnTo>
                    <a:pt x="490" y="81"/>
                  </a:lnTo>
                  <a:lnTo>
                    <a:pt x="493" y="79"/>
                  </a:lnTo>
                  <a:lnTo>
                    <a:pt x="502" y="79"/>
                  </a:lnTo>
                  <a:lnTo>
                    <a:pt x="507" y="79"/>
                  </a:lnTo>
                  <a:close/>
                  <a:moveTo>
                    <a:pt x="428" y="77"/>
                  </a:moveTo>
                  <a:lnTo>
                    <a:pt x="430" y="77"/>
                  </a:lnTo>
                  <a:lnTo>
                    <a:pt x="430" y="79"/>
                  </a:lnTo>
                  <a:lnTo>
                    <a:pt x="426" y="79"/>
                  </a:lnTo>
                  <a:lnTo>
                    <a:pt x="428" y="77"/>
                  </a:lnTo>
                  <a:close/>
                  <a:moveTo>
                    <a:pt x="112" y="72"/>
                  </a:moveTo>
                  <a:lnTo>
                    <a:pt x="114" y="72"/>
                  </a:lnTo>
                  <a:lnTo>
                    <a:pt x="112" y="75"/>
                  </a:lnTo>
                  <a:lnTo>
                    <a:pt x="109" y="74"/>
                  </a:lnTo>
                  <a:lnTo>
                    <a:pt x="112" y="72"/>
                  </a:lnTo>
                  <a:close/>
                  <a:moveTo>
                    <a:pt x="587" y="75"/>
                  </a:moveTo>
                  <a:lnTo>
                    <a:pt x="583" y="75"/>
                  </a:lnTo>
                  <a:lnTo>
                    <a:pt x="585" y="70"/>
                  </a:lnTo>
                  <a:lnTo>
                    <a:pt x="587" y="72"/>
                  </a:lnTo>
                  <a:lnTo>
                    <a:pt x="587" y="75"/>
                  </a:lnTo>
                  <a:close/>
                  <a:moveTo>
                    <a:pt x="131" y="69"/>
                  </a:moveTo>
                  <a:lnTo>
                    <a:pt x="133" y="69"/>
                  </a:lnTo>
                  <a:lnTo>
                    <a:pt x="133" y="72"/>
                  </a:lnTo>
                  <a:lnTo>
                    <a:pt x="131" y="72"/>
                  </a:lnTo>
                  <a:lnTo>
                    <a:pt x="131" y="69"/>
                  </a:lnTo>
                  <a:close/>
                  <a:moveTo>
                    <a:pt x="601" y="70"/>
                  </a:moveTo>
                  <a:lnTo>
                    <a:pt x="599" y="74"/>
                  </a:lnTo>
                  <a:lnTo>
                    <a:pt x="595" y="72"/>
                  </a:lnTo>
                  <a:lnTo>
                    <a:pt x="597" y="70"/>
                  </a:lnTo>
                  <a:lnTo>
                    <a:pt x="601" y="70"/>
                  </a:lnTo>
                  <a:close/>
                  <a:moveTo>
                    <a:pt x="406" y="69"/>
                  </a:moveTo>
                  <a:lnTo>
                    <a:pt x="404" y="72"/>
                  </a:lnTo>
                  <a:lnTo>
                    <a:pt x="401" y="72"/>
                  </a:lnTo>
                  <a:lnTo>
                    <a:pt x="406" y="69"/>
                  </a:lnTo>
                  <a:close/>
                  <a:moveTo>
                    <a:pt x="145" y="67"/>
                  </a:moveTo>
                  <a:lnTo>
                    <a:pt x="146" y="69"/>
                  </a:lnTo>
                  <a:lnTo>
                    <a:pt x="143" y="69"/>
                  </a:lnTo>
                  <a:lnTo>
                    <a:pt x="145" y="67"/>
                  </a:lnTo>
                  <a:close/>
                  <a:moveTo>
                    <a:pt x="333" y="62"/>
                  </a:moveTo>
                  <a:lnTo>
                    <a:pt x="336" y="63"/>
                  </a:lnTo>
                  <a:lnTo>
                    <a:pt x="338" y="67"/>
                  </a:lnTo>
                  <a:lnTo>
                    <a:pt x="334" y="70"/>
                  </a:lnTo>
                  <a:lnTo>
                    <a:pt x="329" y="67"/>
                  </a:lnTo>
                  <a:lnTo>
                    <a:pt x="331" y="63"/>
                  </a:lnTo>
                  <a:lnTo>
                    <a:pt x="333" y="62"/>
                  </a:lnTo>
                  <a:close/>
                  <a:moveTo>
                    <a:pt x="650" y="60"/>
                  </a:moveTo>
                  <a:lnTo>
                    <a:pt x="652" y="62"/>
                  </a:lnTo>
                  <a:lnTo>
                    <a:pt x="650" y="65"/>
                  </a:lnTo>
                  <a:lnTo>
                    <a:pt x="647" y="65"/>
                  </a:lnTo>
                  <a:lnTo>
                    <a:pt x="645" y="63"/>
                  </a:lnTo>
                  <a:lnTo>
                    <a:pt x="650" y="60"/>
                  </a:lnTo>
                  <a:close/>
                  <a:moveTo>
                    <a:pt x="513" y="55"/>
                  </a:moveTo>
                  <a:lnTo>
                    <a:pt x="513" y="57"/>
                  </a:lnTo>
                  <a:lnTo>
                    <a:pt x="517" y="55"/>
                  </a:lnTo>
                  <a:lnTo>
                    <a:pt x="519" y="57"/>
                  </a:lnTo>
                  <a:lnTo>
                    <a:pt x="527" y="58"/>
                  </a:lnTo>
                  <a:lnTo>
                    <a:pt x="524" y="63"/>
                  </a:lnTo>
                  <a:lnTo>
                    <a:pt x="524" y="70"/>
                  </a:lnTo>
                  <a:lnTo>
                    <a:pt x="522" y="74"/>
                  </a:lnTo>
                  <a:lnTo>
                    <a:pt x="515" y="75"/>
                  </a:lnTo>
                  <a:lnTo>
                    <a:pt x="508" y="74"/>
                  </a:lnTo>
                  <a:lnTo>
                    <a:pt x="500" y="75"/>
                  </a:lnTo>
                  <a:lnTo>
                    <a:pt x="496" y="75"/>
                  </a:lnTo>
                  <a:lnTo>
                    <a:pt x="495" y="77"/>
                  </a:lnTo>
                  <a:lnTo>
                    <a:pt x="493" y="75"/>
                  </a:lnTo>
                  <a:lnTo>
                    <a:pt x="488" y="77"/>
                  </a:lnTo>
                  <a:lnTo>
                    <a:pt x="488" y="72"/>
                  </a:lnTo>
                  <a:lnTo>
                    <a:pt x="491" y="63"/>
                  </a:lnTo>
                  <a:lnTo>
                    <a:pt x="500" y="58"/>
                  </a:lnTo>
                  <a:lnTo>
                    <a:pt x="505" y="55"/>
                  </a:lnTo>
                  <a:lnTo>
                    <a:pt x="508" y="57"/>
                  </a:lnTo>
                  <a:lnTo>
                    <a:pt x="513" y="55"/>
                  </a:lnTo>
                  <a:close/>
                  <a:moveTo>
                    <a:pt x="616" y="53"/>
                  </a:moveTo>
                  <a:lnTo>
                    <a:pt x="618" y="53"/>
                  </a:lnTo>
                  <a:lnTo>
                    <a:pt x="618" y="55"/>
                  </a:lnTo>
                  <a:lnTo>
                    <a:pt x="616" y="55"/>
                  </a:lnTo>
                  <a:lnTo>
                    <a:pt x="616" y="53"/>
                  </a:lnTo>
                  <a:close/>
                  <a:moveTo>
                    <a:pt x="611" y="53"/>
                  </a:moveTo>
                  <a:lnTo>
                    <a:pt x="613" y="53"/>
                  </a:lnTo>
                  <a:lnTo>
                    <a:pt x="613" y="55"/>
                  </a:lnTo>
                  <a:lnTo>
                    <a:pt x="611" y="55"/>
                  </a:lnTo>
                  <a:lnTo>
                    <a:pt x="611" y="53"/>
                  </a:lnTo>
                  <a:close/>
                  <a:moveTo>
                    <a:pt x="650" y="51"/>
                  </a:moveTo>
                  <a:lnTo>
                    <a:pt x="652" y="51"/>
                  </a:lnTo>
                  <a:lnTo>
                    <a:pt x="652" y="55"/>
                  </a:lnTo>
                  <a:lnTo>
                    <a:pt x="650" y="55"/>
                  </a:lnTo>
                  <a:lnTo>
                    <a:pt x="650" y="51"/>
                  </a:lnTo>
                  <a:close/>
                  <a:moveTo>
                    <a:pt x="642" y="48"/>
                  </a:moveTo>
                  <a:lnTo>
                    <a:pt x="645" y="48"/>
                  </a:lnTo>
                  <a:lnTo>
                    <a:pt x="647" y="51"/>
                  </a:lnTo>
                  <a:lnTo>
                    <a:pt x="643" y="60"/>
                  </a:lnTo>
                  <a:lnTo>
                    <a:pt x="643" y="65"/>
                  </a:lnTo>
                  <a:lnTo>
                    <a:pt x="642" y="69"/>
                  </a:lnTo>
                  <a:lnTo>
                    <a:pt x="636" y="70"/>
                  </a:lnTo>
                  <a:lnTo>
                    <a:pt x="631" y="77"/>
                  </a:lnTo>
                  <a:lnTo>
                    <a:pt x="631" y="82"/>
                  </a:lnTo>
                  <a:lnTo>
                    <a:pt x="630" y="86"/>
                  </a:lnTo>
                  <a:lnTo>
                    <a:pt x="628" y="86"/>
                  </a:lnTo>
                  <a:lnTo>
                    <a:pt x="626" y="89"/>
                  </a:lnTo>
                  <a:lnTo>
                    <a:pt x="623" y="92"/>
                  </a:lnTo>
                  <a:lnTo>
                    <a:pt x="613" y="92"/>
                  </a:lnTo>
                  <a:lnTo>
                    <a:pt x="614" y="86"/>
                  </a:lnTo>
                  <a:lnTo>
                    <a:pt x="611" y="77"/>
                  </a:lnTo>
                  <a:lnTo>
                    <a:pt x="606" y="77"/>
                  </a:lnTo>
                  <a:lnTo>
                    <a:pt x="601" y="82"/>
                  </a:lnTo>
                  <a:lnTo>
                    <a:pt x="597" y="81"/>
                  </a:lnTo>
                  <a:lnTo>
                    <a:pt x="601" y="75"/>
                  </a:lnTo>
                  <a:lnTo>
                    <a:pt x="602" y="69"/>
                  </a:lnTo>
                  <a:lnTo>
                    <a:pt x="607" y="67"/>
                  </a:lnTo>
                  <a:lnTo>
                    <a:pt x="614" y="62"/>
                  </a:lnTo>
                  <a:lnTo>
                    <a:pt x="618" y="65"/>
                  </a:lnTo>
                  <a:lnTo>
                    <a:pt x="618" y="72"/>
                  </a:lnTo>
                  <a:lnTo>
                    <a:pt x="618" y="70"/>
                  </a:lnTo>
                  <a:lnTo>
                    <a:pt x="619" y="74"/>
                  </a:lnTo>
                  <a:lnTo>
                    <a:pt x="621" y="74"/>
                  </a:lnTo>
                  <a:lnTo>
                    <a:pt x="619" y="70"/>
                  </a:lnTo>
                  <a:lnTo>
                    <a:pt x="626" y="65"/>
                  </a:lnTo>
                  <a:lnTo>
                    <a:pt x="630" y="60"/>
                  </a:lnTo>
                  <a:lnTo>
                    <a:pt x="631" y="60"/>
                  </a:lnTo>
                  <a:lnTo>
                    <a:pt x="635" y="53"/>
                  </a:lnTo>
                  <a:lnTo>
                    <a:pt x="636" y="50"/>
                  </a:lnTo>
                  <a:lnTo>
                    <a:pt x="642" y="48"/>
                  </a:lnTo>
                  <a:close/>
                  <a:moveTo>
                    <a:pt x="582" y="48"/>
                  </a:moveTo>
                  <a:lnTo>
                    <a:pt x="589" y="51"/>
                  </a:lnTo>
                  <a:lnTo>
                    <a:pt x="590" y="55"/>
                  </a:lnTo>
                  <a:lnTo>
                    <a:pt x="590" y="53"/>
                  </a:lnTo>
                  <a:lnTo>
                    <a:pt x="595" y="53"/>
                  </a:lnTo>
                  <a:lnTo>
                    <a:pt x="597" y="57"/>
                  </a:lnTo>
                  <a:lnTo>
                    <a:pt x="589" y="60"/>
                  </a:lnTo>
                  <a:lnTo>
                    <a:pt x="587" y="62"/>
                  </a:lnTo>
                  <a:lnTo>
                    <a:pt x="583" y="60"/>
                  </a:lnTo>
                  <a:lnTo>
                    <a:pt x="578" y="62"/>
                  </a:lnTo>
                  <a:lnTo>
                    <a:pt x="575" y="69"/>
                  </a:lnTo>
                  <a:lnTo>
                    <a:pt x="572" y="74"/>
                  </a:lnTo>
                  <a:lnTo>
                    <a:pt x="568" y="79"/>
                  </a:lnTo>
                  <a:lnTo>
                    <a:pt x="565" y="79"/>
                  </a:lnTo>
                  <a:lnTo>
                    <a:pt x="565" y="75"/>
                  </a:lnTo>
                  <a:lnTo>
                    <a:pt x="561" y="75"/>
                  </a:lnTo>
                  <a:lnTo>
                    <a:pt x="560" y="77"/>
                  </a:lnTo>
                  <a:lnTo>
                    <a:pt x="553" y="84"/>
                  </a:lnTo>
                  <a:lnTo>
                    <a:pt x="558" y="91"/>
                  </a:lnTo>
                  <a:lnTo>
                    <a:pt x="553" y="96"/>
                  </a:lnTo>
                  <a:lnTo>
                    <a:pt x="549" y="94"/>
                  </a:lnTo>
                  <a:lnTo>
                    <a:pt x="546" y="89"/>
                  </a:lnTo>
                  <a:lnTo>
                    <a:pt x="541" y="91"/>
                  </a:lnTo>
                  <a:lnTo>
                    <a:pt x="537" y="96"/>
                  </a:lnTo>
                  <a:lnTo>
                    <a:pt x="534" y="98"/>
                  </a:lnTo>
                  <a:lnTo>
                    <a:pt x="529" y="94"/>
                  </a:lnTo>
                  <a:lnTo>
                    <a:pt x="529" y="92"/>
                  </a:lnTo>
                  <a:lnTo>
                    <a:pt x="525" y="91"/>
                  </a:lnTo>
                  <a:lnTo>
                    <a:pt x="522" y="92"/>
                  </a:lnTo>
                  <a:lnTo>
                    <a:pt x="515" y="92"/>
                  </a:lnTo>
                  <a:lnTo>
                    <a:pt x="513" y="94"/>
                  </a:lnTo>
                  <a:lnTo>
                    <a:pt x="513" y="91"/>
                  </a:lnTo>
                  <a:lnTo>
                    <a:pt x="512" y="91"/>
                  </a:lnTo>
                  <a:lnTo>
                    <a:pt x="512" y="89"/>
                  </a:lnTo>
                  <a:lnTo>
                    <a:pt x="515" y="89"/>
                  </a:lnTo>
                  <a:lnTo>
                    <a:pt x="524" y="82"/>
                  </a:lnTo>
                  <a:lnTo>
                    <a:pt x="527" y="75"/>
                  </a:lnTo>
                  <a:lnTo>
                    <a:pt x="534" y="72"/>
                  </a:lnTo>
                  <a:lnTo>
                    <a:pt x="539" y="72"/>
                  </a:lnTo>
                  <a:lnTo>
                    <a:pt x="544" y="67"/>
                  </a:lnTo>
                  <a:lnTo>
                    <a:pt x="537" y="62"/>
                  </a:lnTo>
                  <a:lnTo>
                    <a:pt x="529" y="63"/>
                  </a:lnTo>
                  <a:lnTo>
                    <a:pt x="532" y="58"/>
                  </a:lnTo>
                  <a:lnTo>
                    <a:pt x="536" y="57"/>
                  </a:lnTo>
                  <a:lnTo>
                    <a:pt x="537" y="60"/>
                  </a:lnTo>
                  <a:lnTo>
                    <a:pt x="543" y="60"/>
                  </a:lnTo>
                  <a:lnTo>
                    <a:pt x="546" y="57"/>
                  </a:lnTo>
                  <a:lnTo>
                    <a:pt x="554" y="57"/>
                  </a:lnTo>
                  <a:lnTo>
                    <a:pt x="551" y="63"/>
                  </a:lnTo>
                  <a:lnTo>
                    <a:pt x="548" y="69"/>
                  </a:lnTo>
                  <a:lnTo>
                    <a:pt x="546" y="70"/>
                  </a:lnTo>
                  <a:lnTo>
                    <a:pt x="549" y="69"/>
                  </a:lnTo>
                  <a:lnTo>
                    <a:pt x="554" y="72"/>
                  </a:lnTo>
                  <a:lnTo>
                    <a:pt x="558" y="67"/>
                  </a:lnTo>
                  <a:lnTo>
                    <a:pt x="558" y="65"/>
                  </a:lnTo>
                  <a:lnTo>
                    <a:pt x="556" y="65"/>
                  </a:lnTo>
                  <a:lnTo>
                    <a:pt x="556" y="62"/>
                  </a:lnTo>
                  <a:lnTo>
                    <a:pt x="560" y="62"/>
                  </a:lnTo>
                  <a:lnTo>
                    <a:pt x="560" y="65"/>
                  </a:lnTo>
                  <a:lnTo>
                    <a:pt x="563" y="62"/>
                  </a:lnTo>
                  <a:lnTo>
                    <a:pt x="563" y="57"/>
                  </a:lnTo>
                  <a:lnTo>
                    <a:pt x="560" y="57"/>
                  </a:lnTo>
                  <a:lnTo>
                    <a:pt x="560" y="53"/>
                  </a:lnTo>
                  <a:lnTo>
                    <a:pt x="565" y="53"/>
                  </a:lnTo>
                  <a:lnTo>
                    <a:pt x="566" y="55"/>
                  </a:lnTo>
                  <a:lnTo>
                    <a:pt x="565" y="58"/>
                  </a:lnTo>
                  <a:lnTo>
                    <a:pt x="570" y="58"/>
                  </a:lnTo>
                  <a:lnTo>
                    <a:pt x="573" y="57"/>
                  </a:lnTo>
                  <a:lnTo>
                    <a:pt x="572" y="53"/>
                  </a:lnTo>
                  <a:lnTo>
                    <a:pt x="573" y="53"/>
                  </a:lnTo>
                  <a:lnTo>
                    <a:pt x="582" y="48"/>
                  </a:lnTo>
                  <a:close/>
                  <a:moveTo>
                    <a:pt x="676" y="43"/>
                  </a:moveTo>
                  <a:lnTo>
                    <a:pt x="679" y="43"/>
                  </a:lnTo>
                  <a:lnTo>
                    <a:pt x="677" y="50"/>
                  </a:lnTo>
                  <a:lnTo>
                    <a:pt x="679" y="51"/>
                  </a:lnTo>
                  <a:lnTo>
                    <a:pt x="688" y="46"/>
                  </a:lnTo>
                  <a:lnTo>
                    <a:pt x="696" y="45"/>
                  </a:lnTo>
                  <a:lnTo>
                    <a:pt x="705" y="46"/>
                  </a:lnTo>
                  <a:lnTo>
                    <a:pt x="712" y="46"/>
                  </a:lnTo>
                  <a:lnTo>
                    <a:pt x="717" y="46"/>
                  </a:lnTo>
                  <a:lnTo>
                    <a:pt x="722" y="45"/>
                  </a:lnTo>
                  <a:lnTo>
                    <a:pt x="727" y="46"/>
                  </a:lnTo>
                  <a:lnTo>
                    <a:pt x="732" y="45"/>
                  </a:lnTo>
                  <a:lnTo>
                    <a:pt x="737" y="45"/>
                  </a:lnTo>
                  <a:lnTo>
                    <a:pt x="741" y="48"/>
                  </a:lnTo>
                  <a:lnTo>
                    <a:pt x="744" y="55"/>
                  </a:lnTo>
                  <a:lnTo>
                    <a:pt x="742" y="62"/>
                  </a:lnTo>
                  <a:lnTo>
                    <a:pt x="744" y="65"/>
                  </a:lnTo>
                  <a:lnTo>
                    <a:pt x="741" y="69"/>
                  </a:lnTo>
                  <a:lnTo>
                    <a:pt x="734" y="70"/>
                  </a:lnTo>
                  <a:lnTo>
                    <a:pt x="727" y="70"/>
                  </a:lnTo>
                  <a:lnTo>
                    <a:pt x="723" y="70"/>
                  </a:lnTo>
                  <a:lnTo>
                    <a:pt x="713" y="70"/>
                  </a:lnTo>
                  <a:lnTo>
                    <a:pt x="706" y="74"/>
                  </a:lnTo>
                  <a:lnTo>
                    <a:pt x="701" y="75"/>
                  </a:lnTo>
                  <a:lnTo>
                    <a:pt x="693" y="75"/>
                  </a:lnTo>
                  <a:lnTo>
                    <a:pt x="686" y="74"/>
                  </a:lnTo>
                  <a:lnTo>
                    <a:pt x="677" y="79"/>
                  </a:lnTo>
                  <a:lnTo>
                    <a:pt x="672" y="81"/>
                  </a:lnTo>
                  <a:lnTo>
                    <a:pt x="667" y="77"/>
                  </a:lnTo>
                  <a:lnTo>
                    <a:pt x="659" y="82"/>
                  </a:lnTo>
                  <a:lnTo>
                    <a:pt x="657" y="82"/>
                  </a:lnTo>
                  <a:lnTo>
                    <a:pt x="657" y="79"/>
                  </a:lnTo>
                  <a:lnTo>
                    <a:pt x="650" y="81"/>
                  </a:lnTo>
                  <a:lnTo>
                    <a:pt x="647" y="77"/>
                  </a:lnTo>
                  <a:lnTo>
                    <a:pt x="648" y="74"/>
                  </a:lnTo>
                  <a:lnTo>
                    <a:pt x="655" y="67"/>
                  </a:lnTo>
                  <a:lnTo>
                    <a:pt x="655" y="62"/>
                  </a:lnTo>
                  <a:lnTo>
                    <a:pt x="664" y="58"/>
                  </a:lnTo>
                  <a:lnTo>
                    <a:pt x="667" y="58"/>
                  </a:lnTo>
                  <a:lnTo>
                    <a:pt x="674" y="53"/>
                  </a:lnTo>
                  <a:lnTo>
                    <a:pt x="667" y="53"/>
                  </a:lnTo>
                  <a:lnTo>
                    <a:pt x="667" y="55"/>
                  </a:lnTo>
                  <a:lnTo>
                    <a:pt x="665" y="55"/>
                  </a:lnTo>
                  <a:lnTo>
                    <a:pt x="657" y="60"/>
                  </a:lnTo>
                  <a:lnTo>
                    <a:pt x="655" y="60"/>
                  </a:lnTo>
                  <a:lnTo>
                    <a:pt x="655" y="53"/>
                  </a:lnTo>
                  <a:lnTo>
                    <a:pt x="660" y="45"/>
                  </a:lnTo>
                  <a:lnTo>
                    <a:pt x="664" y="43"/>
                  </a:lnTo>
                  <a:lnTo>
                    <a:pt x="671" y="41"/>
                  </a:lnTo>
                  <a:lnTo>
                    <a:pt x="676" y="43"/>
                  </a:lnTo>
                  <a:close/>
                  <a:moveTo>
                    <a:pt x="380" y="40"/>
                  </a:moveTo>
                  <a:lnTo>
                    <a:pt x="384" y="40"/>
                  </a:lnTo>
                  <a:lnTo>
                    <a:pt x="384" y="41"/>
                  </a:lnTo>
                  <a:lnTo>
                    <a:pt x="380" y="41"/>
                  </a:lnTo>
                  <a:lnTo>
                    <a:pt x="380" y="40"/>
                  </a:lnTo>
                  <a:close/>
                  <a:moveTo>
                    <a:pt x="474" y="36"/>
                  </a:moveTo>
                  <a:lnTo>
                    <a:pt x="474" y="38"/>
                  </a:lnTo>
                  <a:lnTo>
                    <a:pt x="479" y="40"/>
                  </a:lnTo>
                  <a:lnTo>
                    <a:pt x="484" y="43"/>
                  </a:lnTo>
                  <a:lnTo>
                    <a:pt x="484" y="50"/>
                  </a:lnTo>
                  <a:lnTo>
                    <a:pt x="483" y="51"/>
                  </a:lnTo>
                  <a:lnTo>
                    <a:pt x="484" y="53"/>
                  </a:lnTo>
                  <a:lnTo>
                    <a:pt x="486" y="57"/>
                  </a:lnTo>
                  <a:lnTo>
                    <a:pt x="490" y="60"/>
                  </a:lnTo>
                  <a:lnTo>
                    <a:pt x="490" y="65"/>
                  </a:lnTo>
                  <a:lnTo>
                    <a:pt x="483" y="69"/>
                  </a:lnTo>
                  <a:lnTo>
                    <a:pt x="478" y="67"/>
                  </a:lnTo>
                  <a:lnTo>
                    <a:pt x="473" y="74"/>
                  </a:lnTo>
                  <a:lnTo>
                    <a:pt x="474" y="77"/>
                  </a:lnTo>
                  <a:lnTo>
                    <a:pt x="474" y="81"/>
                  </a:lnTo>
                  <a:lnTo>
                    <a:pt x="471" y="82"/>
                  </a:lnTo>
                  <a:lnTo>
                    <a:pt x="461" y="77"/>
                  </a:lnTo>
                  <a:lnTo>
                    <a:pt x="462" y="84"/>
                  </a:lnTo>
                  <a:lnTo>
                    <a:pt x="469" y="92"/>
                  </a:lnTo>
                  <a:lnTo>
                    <a:pt x="467" y="98"/>
                  </a:lnTo>
                  <a:lnTo>
                    <a:pt x="461" y="101"/>
                  </a:lnTo>
                  <a:lnTo>
                    <a:pt x="455" y="99"/>
                  </a:lnTo>
                  <a:lnTo>
                    <a:pt x="454" y="103"/>
                  </a:lnTo>
                  <a:lnTo>
                    <a:pt x="449" y="101"/>
                  </a:lnTo>
                  <a:lnTo>
                    <a:pt x="442" y="106"/>
                  </a:lnTo>
                  <a:lnTo>
                    <a:pt x="433" y="106"/>
                  </a:lnTo>
                  <a:lnTo>
                    <a:pt x="432" y="111"/>
                  </a:lnTo>
                  <a:lnTo>
                    <a:pt x="428" y="113"/>
                  </a:lnTo>
                  <a:lnTo>
                    <a:pt x="421" y="115"/>
                  </a:lnTo>
                  <a:lnTo>
                    <a:pt x="413" y="118"/>
                  </a:lnTo>
                  <a:lnTo>
                    <a:pt x="404" y="116"/>
                  </a:lnTo>
                  <a:lnTo>
                    <a:pt x="401" y="118"/>
                  </a:lnTo>
                  <a:lnTo>
                    <a:pt x="396" y="116"/>
                  </a:lnTo>
                  <a:lnTo>
                    <a:pt x="391" y="116"/>
                  </a:lnTo>
                  <a:lnTo>
                    <a:pt x="389" y="115"/>
                  </a:lnTo>
                  <a:lnTo>
                    <a:pt x="380" y="115"/>
                  </a:lnTo>
                  <a:lnTo>
                    <a:pt x="377" y="116"/>
                  </a:lnTo>
                  <a:lnTo>
                    <a:pt x="370" y="123"/>
                  </a:lnTo>
                  <a:lnTo>
                    <a:pt x="368" y="123"/>
                  </a:lnTo>
                  <a:lnTo>
                    <a:pt x="367" y="123"/>
                  </a:lnTo>
                  <a:lnTo>
                    <a:pt x="358" y="127"/>
                  </a:lnTo>
                  <a:lnTo>
                    <a:pt x="351" y="127"/>
                  </a:lnTo>
                  <a:lnTo>
                    <a:pt x="350" y="128"/>
                  </a:lnTo>
                  <a:lnTo>
                    <a:pt x="341" y="133"/>
                  </a:lnTo>
                  <a:lnTo>
                    <a:pt x="336" y="132"/>
                  </a:lnTo>
                  <a:lnTo>
                    <a:pt x="327" y="128"/>
                  </a:lnTo>
                  <a:lnTo>
                    <a:pt x="327" y="130"/>
                  </a:lnTo>
                  <a:lnTo>
                    <a:pt x="327" y="133"/>
                  </a:lnTo>
                  <a:lnTo>
                    <a:pt x="324" y="135"/>
                  </a:lnTo>
                  <a:lnTo>
                    <a:pt x="322" y="133"/>
                  </a:lnTo>
                  <a:lnTo>
                    <a:pt x="324" y="128"/>
                  </a:lnTo>
                  <a:lnTo>
                    <a:pt x="319" y="123"/>
                  </a:lnTo>
                  <a:lnTo>
                    <a:pt x="312" y="125"/>
                  </a:lnTo>
                  <a:lnTo>
                    <a:pt x="305" y="123"/>
                  </a:lnTo>
                  <a:lnTo>
                    <a:pt x="304" y="123"/>
                  </a:lnTo>
                  <a:lnTo>
                    <a:pt x="295" y="122"/>
                  </a:lnTo>
                  <a:lnTo>
                    <a:pt x="292" y="125"/>
                  </a:lnTo>
                  <a:lnTo>
                    <a:pt x="292" y="133"/>
                  </a:lnTo>
                  <a:lnTo>
                    <a:pt x="288" y="135"/>
                  </a:lnTo>
                  <a:lnTo>
                    <a:pt x="283" y="137"/>
                  </a:lnTo>
                  <a:lnTo>
                    <a:pt x="280" y="133"/>
                  </a:lnTo>
                  <a:lnTo>
                    <a:pt x="278" y="135"/>
                  </a:lnTo>
                  <a:lnTo>
                    <a:pt x="268" y="133"/>
                  </a:lnTo>
                  <a:lnTo>
                    <a:pt x="268" y="135"/>
                  </a:lnTo>
                  <a:lnTo>
                    <a:pt x="264" y="135"/>
                  </a:lnTo>
                  <a:lnTo>
                    <a:pt x="256" y="139"/>
                  </a:lnTo>
                  <a:lnTo>
                    <a:pt x="254" y="140"/>
                  </a:lnTo>
                  <a:lnTo>
                    <a:pt x="251" y="142"/>
                  </a:lnTo>
                  <a:lnTo>
                    <a:pt x="247" y="142"/>
                  </a:lnTo>
                  <a:lnTo>
                    <a:pt x="239" y="139"/>
                  </a:lnTo>
                  <a:lnTo>
                    <a:pt x="232" y="133"/>
                  </a:lnTo>
                  <a:lnTo>
                    <a:pt x="228" y="127"/>
                  </a:lnTo>
                  <a:lnTo>
                    <a:pt x="223" y="128"/>
                  </a:lnTo>
                  <a:lnTo>
                    <a:pt x="222" y="132"/>
                  </a:lnTo>
                  <a:lnTo>
                    <a:pt x="218" y="133"/>
                  </a:lnTo>
                  <a:lnTo>
                    <a:pt x="210" y="132"/>
                  </a:lnTo>
                  <a:lnTo>
                    <a:pt x="205" y="132"/>
                  </a:lnTo>
                  <a:lnTo>
                    <a:pt x="199" y="125"/>
                  </a:lnTo>
                  <a:lnTo>
                    <a:pt x="193" y="125"/>
                  </a:lnTo>
                  <a:lnTo>
                    <a:pt x="187" y="125"/>
                  </a:lnTo>
                  <a:lnTo>
                    <a:pt x="181" y="125"/>
                  </a:lnTo>
                  <a:lnTo>
                    <a:pt x="175" y="127"/>
                  </a:lnTo>
                  <a:lnTo>
                    <a:pt x="172" y="125"/>
                  </a:lnTo>
                  <a:lnTo>
                    <a:pt x="165" y="130"/>
                  </a:lnTo>
                  <a:lnTo>
                    <a:pt x="164" y="128"/>
                  </a:lnTo>
                  <a:lnTo>
                    <a:pt x="162" y="130"/>
                  </a:lnTo>
                  <a:lnTo>
                    <a:pt x="153" y="127"/>
                  </a:lnTo>
                  <a:lnTo>
                    <a:pt x="148" y="122"/>
                  </a:lnTo>
                  <a:lnTo>
                    <a:pt x="143" y="122"/>
                  </a:lnTo>
                  <a:lnTo>
                    <a:pt x="143" y="120"/>
                  </a:lnTo>
                  <a:lnTo>
                    <a:pt x="143" y="122"/>
                  </a:lnTo>
                  <a:lnTo>
                    <a:pt x="145" y="122"/>
                  </a:lnTo>
                  <a:lnTo>
                    <a:pt x="135" y="125"/>
                  </a:lnTo>
                  <a:lnTo>
                    <a:pt x="124" y="127"/>
                  </a:lnTo>
                  <a:lnTo>
                    <a:pt x="121" y="125"/>
                  </a:lnTo>
                  <a:lnTo>
                    <a:pt x="119" y="128"/>
                  </a:lnTo>
                  <a:lnTo>
                    <a:pt x="117" y="128"/>
                  </a:lnTo>
                  <a:lnTo>
                    <a:pt x="119" y="130"/>
                  </a:lnTo>
                  <a:lnTo>
                    <a:pt x="117" y="132"/>
                  </a:lnTo>
                  <a:lnTo>
                    <a:pt x="114" y="130"/>
                  </a:lnTo>
                  <a:lnTo>
                    <a:pt x="116" y="125"/>
                  </a:lnTo>
                  <a:lnTo>
                    <a:pt x="112" y="125"/>
                  </a:lnTo>
                  <a:lnTo>
                    <a:pt x="109" y="123"/>
                  </a:lnTo>
                  <a:lnTo>
                    <a:pt x="107" y="122"/>
                  </a:lnTo>
                  <a:lnTo>
                    <a:pt x="104" y="118"/>
                  </a:lnTo>
                  <a:lnTo>
                    <a:pt x="106" y="118"/>
                  </a:lnTo>
                  <a:lnTo>
                    <a:pt x="104" y="116"/>
                  </a:lnTo>
                  <a:lnTo>
                    <a:pt x="106" y="115"/>
                  </a:lnTo>
                  <a:lnTo>
                    <a:pt x="104" y="110"/>
                  </a:lnTo>
                  <a:lnTo>
                    <a:pt x="106" y="108"/>
                  </a:lnTo>
                  <a:lnTo>
                    <a:pt x="106" y="99"/>
                  </a:lnTo>
                  <a:lnTo>
                    <a:pt x="104" y="98"/>
                  </a:lnTo>
                  <a:lnTo>
                    <a:pt x="107" y="94"/>
                  </a:lnTo>
                  <a:lnTo>
                    <a:pt x="107" y="92"/>
                  </a:lnTo>
                  <a:lnTo>
                    <a:pt x="111" y="91"/>
                  </a:lnTo>
                  <a:lnTo>
                    <a:pt x="114" y="87"/>
                  </a:lnTo>
                  <a:lnTo>
                    <a:pt x="114" y="84"/>
                  </a:lnTo>
                  <a:lnTo>
                    <a:pt x="111" y="79"/>
                  </a:lnTo>
                  <a:lnTo>
                    <a:pt x="114" y="79"/>
                  </a:lnTo>
                  <a:lnTo>
                    <a:pt x="114" y="81"/>
                  </a:lnTo>
                  <a:lnTo>
                    <a:pt x="116" y="81"/>
                  </a:lnTo>
                  <a:lnTo>
                    <a:pt x="114" y="82"/>
                  </a:lnTo>
                  <a:lnTo>
                    <a:pt x="117" y="84"/>
                  </a:lnTo>
                  <a:lnTo>
                    <a:pt x="124" y="81"/>
                  </a:lnTo>
                  <a:lnTo>
                    <a:pt x="124" y="79"/>
                  </a:lnTo>
                  <a:lnTo>
                    <a:pt x="128" y="82"/>
                  </a:lnTo>
                  <a:lnTo>
                    <a:pt x="131" y="81"/>
                  </a:lnTo>
                  <a:lnTo>
                    <a:pt x="128" y="77"/>
                  </a:lnTo>
                  <a:lnTo>
                    <a:pt x="131" y="77"/>
                  </a:lnTo>
                  <a:lnTo>
                    <a:pt x="131" y="74"/>
                  </a:lnTo>
                  <a:lnTo>
                    <a:pt x="135" y="74"/>
                  </a:lnTo>
                  <a:lnTo>
                    <a:pt x="135" y="75"/>
                  </a:lnTo>
                  <a:lnTo>
                    <a:pt x="138" y="72"/>
                  </a:lnTo>
                  <a:lnTo>
                    <a:pt x="135" y="75"/>
                  </a:lnTo>
                  <a:lnTo>
                    <a:pt x="140" y="74"/>
                  </a:lnTo>
                  <a:lnTo>
                    <a:pt x="138" y="77"/>
                  </a:lnTo>
                  <a:lnTo>
                    <a:pt x="140" y="77"/>
                  </a:lnTo>
                  <a:lnTo>
                    <a:pt x="140" y="79"/>
                  </a:lnTo>
                  <a:lnTo>
                    <a:pt x="141" y="81"/>
                  </a:lnTo>
                  <a:lnTo>
                    <a:pt x="143" y="77"/>
                  </a:lnTo>
                  <a:lnTo>
                    <a:pt x="143" y="70"/>
                  </a:lnTo>
                  <a:lnTo>
                    <a:pt x="146" y="70"/>
                  </a:lnTo>
                  <a:lnTo>
                    <a:pt x="146" y="72"/>
                  </a:lnTo>
                  <a:lnTo>
                    <a:pt x="148" y="72"/>
                  </a:lnTo>
                  <a:lnTo>
                    <a:pt x="153" y="63"/>
                  </a:lnTo>
                  <a:lnTo>
                    <a:pt x="157" y="63"/>
                  </a:lnTo>
                  <a:lnTo>
                    <a:pt x="160" y="62"/>
                  </a:lnTo>
                  <a:lnTo>
                    <a:pt x="169" y="60"/>
                  </a:lnTo>
                  <a:lnTo>
                    <a:pt x="172" y="62"/>
                  </a:lnTo>
                  <a:lnTo>
                    <a:pt x="177" y="60"/>
                  </a:lnTo>
                  <a:lnTo>
                    <a:pt x="181" y="57"/>
                  </a:lnTo>
                  <a:lnTo>
                    <a:pt x="184" y="62"/>
                  </a:lnTo>
                  <a:lnTo>
                    <a:pt x="187" y="62"/>
                  </a:lnTo>
                  <a:lnTo>
                    <a:pt x="193" y="60"/>
                  </a:lnTo>
                  <a:lnTo>
                    <a:pt x="196" y="63"/>
                  </a:lnTo>
                  <a:lnTo>
                    <a:pt x="199" y="63"/>
                  </a:lnTo>
                  <a:lnTo>
                    <a:pt x="201" y="60"/>
                  </a:lnTo>
                  <a:lnTo>
                    <a:pt x="199" y="58"/>
                  </a:lnTo>
                  <a:lnTo>
                    <a:pt x="201" y="58"/>
                  </a:lnTo>
                  <a:lnTo>
                    <a:pt x="208" y="62"/>
                  </a:lnTo>
                  <a:lnTo>
                    <a:pt x="210" y="65"/>
                  </a:lnTo>
                  <a:lnTo>
                    <a:pt x="215" y="67"/>
                  </a:lnTo>
                  <a:lnTo>
                    <a:pt x="216" y="69"/>
                  </a:lnTo>
                  <a:lnTo>
                    <a:pt x="225" y="67"/>
                  </a:lnTo>
                  <a:lnTo>
                    <a:pt x="230" y="70"/>
                  </a:lnTo>
                  <a:lnTo>
                    <a:pt x="234" y="69"/>
                  </a:lnTo>
                  <a:lnTo>
                    <a:pt x="235" y="72"/>
                  </a:lnTo>
                  <a:lnTo>
                    <a:pt x="235" y="70"/>
                  </a:lnTo>
                  <a:lnTo>
                    <a:pt x="240" y="69"/>
                  </a:lnTo>
                  <a:lnTo>
                    <a:pt x="242" y="72"/>
                  </a:lnTo>
                  <a:lnTo>
                    <a:pt x="242" y="69"/>
                  </a:lnTo>
                  <a:lnTo>
                    <a:pt x="245" y="69"/>
                  </a:lnTo>
                  <a:lnTo>
                    <a:pt x="245" y="72"/>
                  </a:lnTo>
                  <a:lnTo>
                    <a:pt x="244" y="72"/>
                  </a:lnTo>
                  <a:lnTo>
                    <a:pt x="247" y="74"/>
                  </a:lnTo>
                  <a:lnTo>
                    <a:pt x="247" y="72"/>
                  </a:lnTo>
                  <a:lnTo>
                    <a:pt x="251" y="72"/>
                  </a:lnTo>
                  <a:lnTo>
                    <a:pt x="249" y="74"/>
                  </a:lnTo>
                  <a:lnTo>
                    <a:pt x="252" y="75"/>
                  </a:lnTo>
                  <a:lnTo>
                    <a:pt x="251" y="75"/>
                  </a:lnTo>
                  <a:lnTo>
                    <a:pt x="251" y="77"/>
                  </a:lnTo>
                  <a:lnTo>
                    <a:pt x="256" y="77"/>
                  </a:lnTo>
                  <a:lnTo>
                    <a:pt x="266" y="79"/>
                  </a:lnTo>
                  <a:lnTo>
                    <a:pt x="268" y="81"/>
                  </a:lnTo>
                  <a:lnTo>
                    <a:pt x="271" y="79"/>
                  </a:lnTo>
                  <a:lnTo>
                    <a:pt x="276" y="84"/>
                  </a:lnTo>
                  <a:lnTo>
                    <a:pt x="280" y="82"/>
                  </a:lnTo>
                  <a:lnTo>
                    <a:pt x="285" y="86"/>
                  </a:lnTo>
                  <a:lnTo>
                    <a:pt x="288" y="91"/>
                  </a:lnTo>
                  <a:lnTo>
                    <a:pt x="292" y="94"/>
                  </a:lnTo>
                  <a:lnTo>
                    <a:pt x="297" y="96"/>
                  </a:lnTo>
                  <a:lnTo>
                    <a:pt x="298" y="98"/>
                  </a:lnTo>
                  <a:lnTo>
                    <a:pt x="304" y="94"/>
                  </a:lnTo>
                  <a:lnTo>
                    <a:pt x="305" y="94"/>
                  </a:lnTo>
                  <a:lnTo>
                    <a:pt x="305" y="96"/>
                  </a:lnTo>
                  <a:lnTo>
                    <a:pt x="309" y="96"/>
                  </a:lnTo>
                  <a:lnTo>
                    <a:pt x="309" y="101"/>
                  </a:lnTo>
                  <a:lnTo>
                    <a:pt x="314" y="96"/>
                  </a:lnTo>
                  <a:lnTo>
                    <a:pt x="317" y="96"/>
                  </a:lnTo>
                  <a:lnTo>
                    <a:pt x="315" y="92"/>
                  </a:lnTo>
                  <a:lnTo>
                    <a:pt x="315" y="91"/>
                  </a:lnTo>
                  <a:lnTo>
                    <a:pt x="321" y="94"/>
                  </a:lnTo>
                  <a:lnTo>
                    <a:pt x="321" y="91"/>
                  </a:lnTo>
                  <a:lnTo>
                    <a:pt x="322" y="84"/>
                  </a:lnTo>
                  <a:lnTo>
                    <a:pt x="324" y="84"/>
                  </a:lnTo>
                  <a:lnTo>
                    <a:pt x="324" y="87"/>
                  </a:lnTo>
                  <a:lnTo>
                    <a:pt x="327" y="86"/>
                  </a:lnTo>
                  <a:lnTo>
                    <a:pt x="329" y="89"/>
                  </a:lnTo>
                  <a:lnTo>
                    <a:pt x="336" y="86"/>
                  </a:lnTo>
                  <a:lnTo>
                    <a:pt x="344" y="89"/>
                  </a:lnTo>
                  <a:lnTo>
                    <a:pt x="348" y="87"/>
                  </a:lnTo>
                  <a:lnTo>
                    <a:pt x="350" y="84"/>
                  </a:lnTo>
                  <a:lnTo>
                    <a:pt x="353" y="87"/>
                  </a:lnTo>
                  <a:lnTo>
                    <a:pt x="356" y="87"/>
                  </a:lnTo>
                  <a:lnTo>
                    <a:pt x="363" y="81"/>
                  </a:lnTo>
                  <a:lnTo>
                    <a:pt x="363" y="84"/>
                  </a:lnTo>
                  <a:lnTo>
                    <a:pt x="365" y="81"/>
                  </a:lnTo>
                  <a:lnTo>
                    <a:pt x="370" y="81"/>
                  </a:lnTo>
                  <a:lnTo>
                    <a:pt x="368" y="82"/>
                  </a:lnTo>
                  <a:lnTo>
                    <a:pt x="368" y="91"/>
                  </a:lnTo>
                  <a:lnTo>
                    <a:pt x="375" y="89"/>
                  </a:lnTo>
                  <a:lnTo>
                    <a:pt x="377" y="92"/>
                  </a:lnTo>
                  <a:lnTo>
                    <a:pt x="380" y="91"/>
                  </a:lnTo>
                  <a:lnTo>
                    <a:pt x="387" y="94"/>
                  </a:lnTo>
                  <a:lnTo>
                    <a:pt x="391" y="99"/>
                  </a:lnTo>
                  <a:lnTo>
                    <a:pt x="396" y="103"/>
                  </a:lnTo>
                  <a:lnTo>
                    <a:pt x="403" y="104"/>
                  </a:lnTo>
                  <a:lnTo>
                    <a:pt x="411" y="101"/>
                  </a:lnTo>
                  <a:lnTo>
                    <a:pt x="416" y="101"/>
                  </a:lnTo>
                  <a:lnTo>
                    <a:pt x="421" y="99"/>
                  </a:lnTo>
                  <a:lnTo>
                    <a:pt x="425" y="99"/>
                  </a:lnTo>
                  <a:lnTo>
                    <a:pt x="430" y="92"/>
                  </a:lnTo>
                  <a:lnTo>
                    <a:pt x="430" y="91"/>
                  </a:lnTo>
                  <a:lnTo>
                    <a:pt x="425" y="86"/>
                  </a:lnTo>
                  <a:lnTo>
                    <a:pt x="426" y="84"/>
                  </a:lnTo>
                  <a:lnTo>
                    <a:pt x="433" y="82"/>
                  </a:lnTo>
                  <a:lnTo>
                    <a:pt x="437" y="79"/>
                  </a:lnTo>
                  <a:lnTo>
                    <a:pt x="438" y="77"/>
                  </a:lnTo>
                  <a:lnTo>
                    <a:pt x="438" y="74"/>
                  </a:lnTo>
                  <a:lnTo>
                    <a:pt x="440" y="75"/>
                  </a:lnTo>
                  <a:lnTo>
                    <a:pt x="444" y="74"/>
                  </a:lnTo>
                  <a:lnTo>
                    <a:pt x="447" y="74"/>
                  </a:lnTo>
                  <a:lnTo>
                    <a:pt x="455" y="70"/>
                  </a:lnTo>
                  <a:lnTo>
                    <a:pt x="459" y="70"/>
                  </a:lnTo>
                  <a:lnTo>
                    <a:pt x="464" y="63"/>
                  </a:lnTo>
                  <a:lnTo>
                    <a:pt x="473" y="62"/>
                  </a:lnTo>
                  <a:lnTo>
                    <a:pt x="474" y="60"/>
                  </a:lnTo>
                  <a:lnTo>
                    <a:pt x="478" y="53"/>
                  </a:lnTo>
                  <a:lnTo>
                    <a:pt x="481" y="51"/>
                  </a:lnTo>
                  <a:lnTo>
                    <a:pt x="476" y="48"/>
                  </a:lnTo>
                  <a:lnTo>
                    <a:pt x="466" y="50"/>
                  </a:lnTo>
                  <a:lnTo>
                    <a:pt x="462" y="55"/>
                  </a:lnTo>
                  <a:lnTo>
                    <a:pt x="455" y="53"/>
                  </a:lnTo>
                  <a:lnTo>
                    <a:pt x="462" y="45"/>
                  </a:lnTo>
                  <a:lnTo>
                    <a:pt x="462" y="40"/>
                  </a:lnTo>
                  <a:lnTo>
                    <a:pt x="467" y="40"/>
                  </a:lnTo>
                  <a:lnTo>
                    <a:pt x="469" y="36"/>
                  </a:lnTo>
                  <a:lnTo>
                    <a:pt x="473" y="34"/>
                  </a:lnTo>
                  <a:lnTo>
                    <a:pt x="474" y="36"/>
                  </a:lnTo>
                  <a:close/>
                  <a:moveTo>
                    <a:pt x="558" y="0"/>
                  </a:moveTo>
                  <a:lnTo>
                    <a:pt x="560" y="0"/>
                  </a:lnTo>
                  <a:lnTo>
                    <a:pt x="560" y="4"/>
                  </a:lnTo>
                  <a:lnTo>
                    <a:pt x="556" y="2"/>
                  </a:lnTo>
                  <a:lnTo>
                    <a:pt x="558"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89" name="Freeform 62"/>
            <p:cNvSpPr>
              <a:spLocks noEditPoints="1"/>
            </p:cNvSpPr>
            <p:nvPr/>
          </p:nvSpPr>
          <p:spPr bwMode="gray">
            <a:xfrm>
              <a:off x="7580886" y="3753040"/>
              <a:ext cx="2008425" cy="1227676"/>
            </a:xfrm>
            <a:custGeom>
              <a:avLst/>
              <a:gdLst>
                <a:gd name="T0" fmla="*/ 365 w 1101"/>
                <a:gd name="T1" fmla="*/ 655 h 673"/>
                <a:gd name="T2" fmla="*/ 490 w 1101"/>
                <a:gd name="T3" fmla="*/ 657 h 673"/>
                <a:gd name="T4" fmla="*/ 633 w 1101"/>
                <a:gd name="T5" fmla="*/ 640 h 673"/>
                <a:gd name="T6" fmla="*/ 452 w 1101"/>
                <a:gd name="T7" fmla="*/ 613 h 673"/>
                <a:gd name="T8" fmla="*/ 632 w 1101"/>
                <a:gd name="T9" fmla="*/ 599 h 673"/>
                <a:gd name="T10" fmla="*/ 107 w 1101"/>
                <a:gd name="T11" fmla="*/ 579 h 673"/>
                <a:gd name="T12" fmla="*/ 7 w 1101"/>
                <a:gd name="T13" fmla="*/ 632 h 673"/>
                <a:gd name="T14" fmla="*/ 475 w 1101"/>
                <a:gd name="T15" fmla="*/ 577 h 673"/>
                <a:gd name="T16" fmla="*/ 625 w 1101"/>
                <a:gd name="T17" fmla="*/ 577 h 673"/>
                <a:gd name="T18" fmla="*/ 642 w 1101"/>
                <a:gd name="T19" fmla="*/ 568 h 673"/>
                <a:gd name="T20" fmla="*/ 340 w 1101"/>
                <a:gd name="T21" fmla="*/ 544 h 673"/>
                <a:gd name="T22" fmla="*/ 708 w 1101"/>
                <a:gd name="T23" fmla="*/ 553 h 673"/>
                <a:gd name="T24" fmla="*/ 667 w 1101"/>
                <a:gd name="T25" fmla="*/ 626 h 673"/>
                <a:gd name="T26" fmla="*/ 661 w 1101"/>
                <a:gd name="T27" fmla="*/ 597 h 673"/>
                <a:gd name="T28" fmla="*/ 693 w 1101"/>
                <a:gd name="T29" fmla="*/ 533 h 673"/>
                <a:gd name="T30" fmla="*/ 684 w 1101"/>
                <a:gd name="T31" fmla="*/ 522 h 673"/>
                <a:gd name="T32" fmla="*/ 741 w 1101"/>
                <a:gd name="T33" fmla="*/ 517 h 673"/>
                <a:gd name="T34" fmla="*/ 1070 w 1101"/>
                <a:gd name="T35" fmla="*/ 493 h 673"/>
                <a:gd name="T36" fmla="*/ 1048 w 1101"/>
                <a:gd name="T37" fmla="*/ 473 h 673"/>
                <a:gd name="T38" fmla="*/ 1084 w 1101"/>
                <a:gd name="T39" fmla="*/ 464 h 673"/>
                <a:gd name="T40" fmla="*/ 1062 w 1101"/>
                <a:gd name="T41" fmla="*/ 454 h 673"/>
                <a:gd name="T42" fmla="*/ 1070 w 1101"/>
                <a:gd name="T43" fmla="*/ 457 h 673"/>
                <a:gd name="T44" fmla="*/ 517 w 1101"/>
                <a:gd name="T45" fmla="*/ 430 h 673"/>
                <a:gd name="T46" fmla="*/ 1092 w 1101"/>
                <a:gd name="T47" fmla="*/ 428 h 673"/>
                <a:gd name="T48" fmla="*/ 1041 w 1101"/>
                <a:gd name="T49" fmla="*/ 423 h 673"/>
                <a:gd name="T50" fmla="*/ 1005 w 1101"/>
                <a:gd name="T51" fmla="*/ 411 h 673"/>
                <a:gd name="T52" fmla="*/ 1048 w 1101"/>
                <a:gd name="T53" fmla="*/ 471 h 673"/>
                <a:gd name="T54" fmla="*/ 1004 w 1101"/>
                <a:gd name="T55" fmla="*/ 451 h 673"/>
                <a:gd name="T56" fmla="*/ 1098 w 1101"/>
                <a:gd name="T57" fmla="*/ 410 h 673"/>
                <a:gd name="T58" fmla="*/ 1034 w 1101"/>
                <a:gd name="T59" fmla="*/ 432 h 673"/>
                <a:gd name="T60" fmla="*/ 1070 w 1101"/>
                <a:gd name="T61" fmla="*/ 387 h 673"/>
                <a:gd name="T62" fmla="*/ 1077 w 1101"/>
                <a:gd name="T63" fmla="*/ 428 h 673"/>
                <a:gd name="T64" fmla="*/ 1028 w 1101"/>
                <a:gd name="T65" fmla="*/ 399 h 673"/>
                <a:gd name="T66" fmla="*/ 826 w 1101"/>
                <a:gd name="T67" fmla="*/ 375 h 673"/>
                <a:gd name="T68" fmla="*/ 1021 w 1101"/>
                <a:gd name="T69" fmla="*/ 370 h 673"/>
                <a:gd name="T70" fmla="*/ 773 w 1101"/>
                <a:gd name="T71" fmla="*/ 360 h 673"/>
                <a:gd name="T72" fmla="*/ 845 w 1101"/>
                <a:gd name="T73" fmla="*/ 369 h 673"/>
                <a:gd name="T74" fmla="*/ 785 w 1101"/>
                <a:gd name="T75" fmla="*/ 341 h 673"/>
                <a:gd name="T76" fmla="*/ 1081 w 1101"/>
                <a:gd name="T77" fmla="*/ 353 h 673"/>
                <a:gd name="T78" fmla="*/ 1053 w 1101"/>
                <a:gd name="T79" fmla="*/ 338 h 673"/>
                <a:gd name="T80" fmla="*/ 1065 w 1101"/>
                <a:gd name="T81" fmla="*/ 384 h 673"/>
                <a:gd name="T82" fmla="*/ 1019 w 1101"/>
                <a:gd name="T83" fmla="*/ 358 h 673"/>
                <a:gd name="T84" fmla="*/ 847 w 1101"/>
                <a:gd name="T85" fmla="*/ 336 h 673"/>
                <a:gd name="T86" fmla="*/ 1074 w 1101"/>
                <a:gd name="T87" fmla="*/ 326 h 673"/>
                <a:gd name="T88" fmla="*/ 1057 w 1101"/>
                <a:gd name="T89" fmla="*/ 329 h 673"/>
                <a:gd name="T90" fmla="*/ 1063 w 1101"/>
                <a:gd name="T91" fmla="*/ 310 h 673"/>
                <a:gd name="T92" fmla="*/ 859 w 1101"/>
                <a:gd name="T93" fmla="*/ 374 h 673"/>
                <a:gd name="T94" fmla="*/ 478 w 1101"/>
                <a:gd name="T95" fmla="*/ 217 h 673"/>
                <a:gd name="T96" fmla="*/ 708 w 1101"/>
                <a:gd name="T97" fmla="*/ 201 h 673"/>
                <a:gd name="T98" fmla="*/ 181 w 1101"/>
                <a:gd name="T99" fmla="*/ 138 h 673"/>
                <a:gd name="T100" fmla="*/ 358 w 1101"/>
                <a:gd name="T101" fmla="*/ 97 h 673"/>
                <a:gd name="T102" fmla="*/ 287 w 1101"/>
                <a:gd name="T103" fmla="*/ 128 h 673"/>
                <a:gd name="T104" fmla="*/ 225 w 1101"/>
                <a:gd name="T105" fmla="*/ 73 h 673"/>
                <a:gd name="T106" fmla="*/ 145 w 1101"/>
                <a:gd name="T107" fmla="*/ 47 h 673"/>
                <a:gd name="T108" fmla="*/ 143 w 1101"/>
                <a:gd name="T109" fmla="*/ 126 h 673"/>
                <a:gd name="T110" fmla="*/ 46 w 1101"/>
                <a:gd name="T111" fmla="*/ 49 h 673"/>
                <a:gd name="T112" fmla="*/ 266 w 1101"/>
                <a:gd name="T113" fmla="*/ 25 h 673"/>
                <a:gd name="T114" fmla="*/ 585 w 1101"/>
                <a:gd name="T115" fmla="*/ 47 h 673"/>
                <a:gd name="T116" fmla="*/ 574 w 1101"/>
                <a:gd name="T117" fmla="*/ 117 h 673"/>
                <a:gd name="T118" fmla="*/ 416 w 1101"/>
                <a:gd name="T119" fmla="*/ 76 h 673"/>
                <a:gd name="T120" fmla="*/ 297 w 1101"/>
                <a:gd name="T121" fmla="*/ 56 h 673"/>
                <a:gd name="T122" fmla="*/ 276 w 1101"/>
                <a:gd name="T123" fmla="*/ 41 h 673"/>
                <a:gd name="T124" fmla="*/ 405 w 1101"/>
                <a:gd name="T125" fmla="*/ 2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1" h="673">
                  <a:moveTo>
                    <a:pt x="329" y="669"/>
                  </a:moveTo>
                  <a:lnTo>
                    <a:pt x="331" y="669"/>
                  </a:lnTo>
                  <a:lnTo>
                    <a:pt x="331" y="673"/>
                  </a:lnTo>
                  <a:lnTo>
                    <a:pt x="329" y="673"/>
                  </a:lnTo>
                  <a:lnTo>
                    <a:pt x="329" y="669"/>
                  </a:lnTo>
                  <a:close/>
                  <a:moveTo>
                    <a:pt x="294" y="655"/>
                  </a:moveTo>
                  <a:lnTo>
                    <a:pt x="299" y="657"/>
                  </a:lnTo>
                  <a:lnTo>
                    <a:pt x="299" y="664"/>
                  </a:lnTo>
                  <a:lnTo>
                    <a:pt x="288" y="664"/>
                  </a:lnTo>
                  <a:lnTo>
                    <a:pt x="280" y="662"/>
                  </a:lnTo>
                  <a:lnTo>
                    <a:pt x="282" y="655"/>
                  </a:lnTo>
                  <a:lnTo>
                    <a:pt x="290" y="657"/>
                  </a:lnTo>
                  <a:lnTo>
                    <a:pt x="294" y="655"/>
                  </a:lnTo>
                  <a:close/>
                  <a:moveTo>
                    <a:pt x="375" y="654"/>
                  </a:moveTo>
                  <a:lnTo>
                    <a:pt x="382" y="654"/>
                  </a:lnTo>
                  <a:lnTo>
                    <a:pt x="386" y="654"/>
                  </a:lnTo>
                  <a:lnTo>
                    <a:pt x="394" y="657"/>
                  </a:lnTo>
                  <a:lnTo>
                    <a:pt x="394" y="661"/>
                  </a:lnTo>
                  <a:lnTo>
                    <a:pt x="393" y="662"/>
                  </a:lnTo>
                  <a:lnTo>
                    <a:pt x="386" y="657"/>
                  </a:lnTo>
                  <a:lnTo>
                    <a:pt x="382" y="659"/>
                  </a:lnTo>
                  <a:lnTo>
                    <a:pt x="382" y="661"/>
                  </a:lnTo>
                  <a:lnTo>
                    <a:pt x="375" y="659"/>
                  </a:lnTo>
                  <a:lnTo>
                    <a:pt x="370" y="655"/>
                  </a:lnTo>
                  <a:lnTo>
                    <a:pt x="375" y="654"/>
                  </a:lnTo>
                  <a:close/>
                  <a:moveTo>
                    <a:pt x="353" y="650"/>
                  </a:moveTo>
                  <a:lnTo>
                    <a:pt x="357" y="654"/>
                  </a:lnTo>
                  <a:lnTo>
                    <a:pt x="353" y="654"/>
                  </a:lnTo>
                  <a:lnTo>
                    <a:pt x="353" y="650"/>
                  </a:lnTo>
                  <a:close/>
                  <a:moveTo>
                    <a:pt x="364" y="650"/>
                  </a:moveTo>
                  <a:lnTo>
                    <a:pt x="365" y="650"/>
                  </a:lnTo>
                  <a:lnTo>
                    <a:pt x="367" y="655"/>
                  </a:lnTo>
                  <a:lnTo>
                    <a:pt x="365" y="655"/>
                  </a:lnTo>
                  <a:lnTo>
                    <a:pt x="364" y="652"/>
                  </a:lnTo>
                  <a:lnTo>
                    <a:pt x="362" y="650"/>
                  </a:lnTo>
                  <a:lnTo>
                    <a:pt x="364" y="650"/>
                  </a:lnTo>
                  <a:close/>
                  <a:moveTo>
                    <a:pt x="236" y="650"/>
                  </a:moveTo>
                  <a:lnTo>
                    <a:pt x="241" y="654"/>
                  </a:lnTo>
                  <a:lnTo>
                    <a:pt x="241" y="657"/>
                  </a:lnTo>
                  <a:lnTo>
                    <a:pt x="237" y="657"/>
                  </a:lnTo>
                  <a:lnTo>
                    <a:pt x="229" y="661"/>
                  </a:lnTo>
                  <a:lnTo>
                    <a:pt x="224" y="657"/>
                  </a:lnTo>
                  <a:lnTo>
                    <a:pt x="232" y="650"/>
                  </a:lnTo>
                  <a:lnTo>
                    <a:pt x="236" y="650"/>
                  </a:lnTo>
                  <a:close/>
                  <a:moveTo>
                    <a:pt x="246" y="644"/>
                  </a:moveTo>
                  <a:lnTo>
                    <a:pt x="256" y="645"/>
                  </a:lnTo>
                  <a:lnTo>
                    <a:pt x="259" y="647"/>
                  </a:lnTo>
                  <a:lnTo>
                    <a:pt x="263" y="647"/>
                  </a:lnTo>
                  <a:lnTo>
                    <a:pt x="266" y="649"/>
                  </a:lnTo>
                  <a:lnTo>
                    <a:pt x="275" y="649"/>
                  </a:lnTo>
                  <a:lnTo>
                    <a:pt x="282" y="647"/>
                  </a:lnTo>
                  <a:lnTo>
                    <a:pt x="287" y="650"/>
                  </a:lnTo>
                  <a:lnTo>
                    <a:pt x="280" y="654"/>
                  </a:lnTo>
                  <a:lnTo>
                    <a:pt x="276" y="662"/>
                  </a:lnTo>
                  <a:lnTo>
                    <a:pt x="271" y="662"/>
                  </a:lnTo>
                  <a:lnTo>
                    <a:pt x="266" y="661"/>
                  </a:lnTo>
                  <a:lnTo>
                    <a:pt x="265" y="657"/>
                  </a:lnTo>
                  <a:lnTo>
                    <a:pt x="256" y="657"/>
                  </a:lnTo>
                  <a:lnTo>
                    <a:pt x="247" y="654"/>
                  </a:lnTo>
                  <a:lnTo>
                    <a:pt x="246" y="647"/>
                  </a:lnTo>
                  <a:lnTo>
                    <a:pt x="242" y="645"/>
                  </a:lnTo>
                  <a:lnTo>
                    <a:pt x="246" y="644"/>
                  </a:lnTo>
                  <a:close/>
                  <a:moveTo>
                    <a:pt x="502" y="642"/>
                  </a:moveTo>
                  <a:lnTo>
                    <a:pt x="500" y="647"/>
                  </a:lnTo>
                  <a:lnTo>
                    <a:pt x="497" y="649"/>
                  </a:lnTo>
                  <a:lnTo>
                    <a:pt x="490" y="657"/>
                  </a:lnTo>
                  <a:lnTo>
                    <a:pt x="488" y="657"/>
                  </a:lnTo>
                  <a:lnTo>
                    <a:pt x="492" y="649"/>
                  </a:lnTo>
                  <a:lnTo>
                    <a:pt x="498" y="645"/>
                  </a:lnTo>
                  <a:lnTo>
                    <a:pt x="502" y="642"/>
                  </a:lnTo>
                  <a:close/>
                  <a:moveTo>
                    <a:pt x="633" y="640"/>
                  </a:moveTo>
                  <a:lnTo>
                    <a:pt x="640" y="645"/>
                  </a:lnTo>
                  <a:lnTo>
                    <a:pt x="640" y="647"/>
                  </a:lnTo>
                  <a:lnTo>
                    <a:pt x="638" y="650"/>
                  </a:lnTo>
                  <a:lnTo>
                    <a:pt x="645" y="645"/>
                  </a:lnTo>
                  <a:lnTo>
                    <a:pt x="650" y="645"/>
                  </a:lnTo>
                  <a:lnTo>
                    <a:pt x="647" y="650"/>
                  </a:lnTo>
                  <a:lnTo>
                    <a:pt x="640" y="654"/>
                  </a:lnTo>
                  <a:lnTo>
                    <a:pt x="637" y="655"/>
                  </a:lnTo>
                  <a:lnTo>
                    <a:pt x="635" y="655"/>
                  </a:lnTo>
                  <a:lnTo>
                    <a:pt x="628" y="659"/>
                  </a:lnTo>
                  <a:lnTo>
                    <a:pt x="621" y="659"/>
                  </a:lnTo>
                  <a:lnTo>
                    <a:pt x="616" y="661"/>
                  </a:lnTo>
                  <a:lnTo>
                    <a:pt x="616" y="666"/>
                  </a:lnTo>
                  <a:lnTo>
                    <a:pt x="609" y="669"/>
                  </a:lnTo>
                  <a:lnTo>
                    <a:pt x="608" y="673"/>
                  </a:lnTo>
                  <a:lnTo>
                    <a:pt x="601" y="673"/>
                  </a:lnTo>
                  <a:lnTo>
                    <a:pt x="606" y="667"/>
                  </a:lnTo>
                  <a:lnTo>
                    <a:pt x="608" y="661"/>
                  </a:lnTo>
                  <a:lnTo>
                    <a:pt x="614" y="657"/>
                  </a:lnTo>
                  <a:lnTo>
                    <a:pt x="620" y="657"/>
                  </a:lnTo>
                  <a:lnTo>
                    <a:pt x="621" y="647"/>
                  </a:lnTo>
                  <a:lnTo>
                    <a:pt x="623" y="647"/>
                  </a:lnTo>
                  <a:lnTo>
                    <a:pt x="623" y="649"/>
                  </a:lnTo>
                  <a:lnTo>
                    <a:pt x="630" y="649"/>
                  </a:lnTo>
                  <a:lnTo>
                    <a:pt x="630" y="647"/>
                  </a:lnTo>
                  <a:lnTo>
                    <a:pt x="628" y="647"/>
                  </a:lnTo>
                  <a:lnTo>
                    <a:pt x="628" y="645"/>
                  </a:lnTo>
                  <a:lnTo>
                    <a:pt x="633" y="640"/>
                  </a:lnTo>
                  <a:close/>
                  <a:moveTo>
                    <a:pt x="654" y="640"/>
                  </a:moveTo>
                  <a:lnTo>
                    <a:pt x="654" y="637"/>
                  </a:lnTo>
                  <a:lnTo>
                    <a:pt x="655" y="637"/>
                  </a:lnTo>
                  <a:lnTo>
                    <a:pt x="654" y="640"/>
                  </a:lnTo>
                  <a:close/>
                  <a:moveTo>
                    <a:pt x="664" y="637"/>
                  </a:moveTo>
                  <a:lnTo>
                    <a:pt x="664" y="638"/>
                  </a:lnTo>
                  <a:lnTo>
                    <a:pt x="662" y="638"/>
                  </a:lnTo>
                  <a:lnTo>
                    <a:pt x="664" y="635"/>
                  </a:lnTo>
                  <a:lnTo>
                    <a:pt x="664" y="637"/>
                  </a:lnTo>
                  <a:close/>
                  <a:moveTo>
                    <a:pt x="174" y="633"/>
                  </a:moveTo>
                  <a:lnTo>
                    <a:pt x="176" y="633"/>
                  </a:lnTo>
                  <a:lnTo>
                    <a:pt x="177" y="635"/>
                  </a:lnTo>
                  <a:lnTo>
                    <a:pt x="179" y="644"/>
                  </a:lnTo>
                  <a:lnTo>
                    <a:pt x="169" y="644"/>
                  </a:lnTo>
                  <a:lnTo>
                    <a:pt x="169" y="635"/>
                  </a:lnTo>
                  <a:lnTo>
                    <a:pt x="174" y="633"/>
                  </a:lnTo>
                  <a:close/>
                  <a:moveTo>
                    <a:pt x="640" y="633"/>
                  </a:moveTo>
                  <a:lnTo>
                    <a:pt x="644" y="635"/>
                  </a:lnTo>
                  <a:lnTo>
                    <a:pt x="642" y="637"/>
                  </a:lnTo>
                  <a:lnTo>
                    <a:pt x="640" y="635"/>
                  </a:lnTo>
                  <a:lnTo>
                    <a:pt x="640" y="633"/>
                  </a:lnTo>
                  <a:close/>
                  <a:moveTo>
                    <a:pt x="3" y="630"/>
                  </a:moveTo>
                  <a:lnTo>
                    <a:pt x="3" y="633"/>
                  </a:lnTo>
                  <a:lnTo>
                    <a:pt x="0" y="638"/>
                  </a:lnTo>
                  <a:lnTo>
                    <a:pt x="0" y="628"/>
                  </a:lnTo>
                  <a:lnTo>
                    <a:pt x="0" y="626"/>
                  </a:lnTo>
                  <a:lnTo>
                    <a:pt x="3" y="630"/>
                  </a:lnTo>
                  <a:close/>
                  <a:moveTo>
                    <a:pt x="456" y="615"/>
                  </a:moveTo>
                  <a:lnTo>
                    <a:pt x="459" y="620"/>
                  </a:lnTo>
                  <a:lnTo>
                    <a:pt x="456" y="625"/>
                  </a:lnTo>
                  <a:lnTo>
                    <a:pt x="452" y="623"/>
                  </a:lnTo>
                  <a:lnTo>
                    <a:pt x="454" y="616"/>
                  </a:lnTo>
                  <a:lnTo>
                    <a:pt x="452" y="613"/>
                  </a:lnTo>
                  <a:lnTo>
                    <a:pt x="456" y="615"/>
                  </a:lnTo>
                  <a:close/>
                  <a:moveTo>
                    <a:pt x="473" y="606"/>
                  </a:moveTo>
                  <a:lnTo>
                    <a:pt x="478" y="606"/>
                  </a:lnTo>
                  <a:lnTo>
                    <a:pt x="485" y="609"/>
                  </a:lnTo>
                  <a:lnTo>
                    <a:pt x="490" y="609"/>
                  </a:lnTo>
                  <a:lnTo>
                    <a:pt x="493" y="613"/>
                  </a:lnTo>
                  <a:lnTo>
                    <a:pt x="492" y="616"/>
                  </a:lnTo>
                  <a:lnTo>
                    <a:pt x="495" y="620"/>
                  </a:lnTo>
                  <a:lnTo>
                    <a:pt x="490" y="626"/>
                  </a:lnTo>
                  <a:lnTo>
                    <a:pt x="486" y="637"/>
                  </a:lnTo>
                  <a:lnTo>
                    <a:pt x="481" y="638"/>
                  </a:lnTo>
                  <a:lnTo>
                    <a:pt x="475" y="637"/>
                  </a:lnTo>
                  <a:lnTo>
                    <a:pt x="469" y="628"/>
                  </a:lnTo>
                  <a:lnTo>
                    <a:pt x="464" y="623"/>
                  </a:lnTo>
                  <a:lnTo>
                    <a:pt x="463" y="621"/>
                  </a:lnTo>
                  <a:lnTo>
                    <a:pt x="461" y="620"/>
                  </a:lnTo>
                  <a:lnTo>
                    <a:pt x="463" y="609"/>
                  </a:lnTo>
                  <a:lnTo>
                    <a:pt x="466" y="608"/>
                  </a:lnTo>
                  <a:lnTo>
                    <a:pt x="473" y="606"/>
                  </a:lnTo>
                  <a:close/>
                  <a:moveTo>
                    <a:pt x="519" y="601"/>
                  </a:moveTo>
                  <a:lnTo>
                    <a:pt x="522" y="603"/>
                  </a:lnTo>
                  <a:lnTo>
                    <a:pt x="521" y="606"/>
                  </a:lnTo>
                  <a:lnTo>
                    <a:pt x="517" y="603"/>
                  </a:lnTo>
                  <a:lnTo>
                    <a:pt x="514" y="603"/>
                  </a:lnTo>
                  <a:lnTo>
                    <a:pt x="515" y="601"/>
                  </a:lnTo>
                  <a:lnTo>
                    <a:pt x="519" y="601"/>
                  </a:lnTo>
                  <a:close/>
                  <a:moveTo>
                    <a:pt x="625" y="601"/>
                  </a:moveTo>
                  <a:lnTo>
                    <a:pt x="623" y="604"/>
                  </a:lnTo>
                  <a:lnTo>
                    <a:pt x="623" y="601"/>
                  </a:lnTo>
                  <a:lnTo>
                    <a:pt x="625" y="601"/>
                  </a:lnTo>
                  <a:close/>
                  <a:moveTo>
                    <a:pt x="632" y="599"/>
                  </a:moveTo>
                  <a:lnTo>
                    <a:pt x="632" y="603"/>
                  </a:lnTo>
                  <a:lnTo>
                    <a:pt x="632" y="599"/>
                  </a:lnTo>
                  <a:close/>
                  <a:moveTo>
                    <a:pt x="642" y="599"/>
                  </a:moveTo>
                  <a:lnTo>
                    <a:pt x="642" y="601"/>
                  </a:lnTo>
                  <a:lnTo>
                    <a:pt x="640" y="601"/>
                  </a:lnTo>
                  <a:lnTo>
                    <a:pt x="640" y="603"/>
                  </a:lnTo>
                  <a:lnTo>
                    <a:pt x="638" y="603"/>
                  </a:lnTo>
                  <a:lnTo>
                    <a:pt x="638" y="601"/>
                  </a:lnTo>
                  <a:lnTo>
                    <a:pt x="642" y="599"/>
                  </a:lnTo>
                  <a:close/>
                  <a:moveTo>
                    <a:pt x="514" y="599"/>
                  </a:moveTo>
                  <a:lnTo>
                    <a:pt x="514" y="601"/>
                  </a:lnTo>
                  <a:lnTo>
                    <a:pt x="510" y="601"/>
                  </a:lnTo>
                  <a:lnTo>
                    <a:pt x="510" y="597"/>
                  </a:lnTo>
                  <a:lnTo>
                    <a:pt x="510" y="596"/>
                  </a:lnTo>
                  <a:lnTo>
                    <a:pt x="514" y="599"/>
                  </a:lnTo>
                  <a:close/>
                  <a:moveTo>
                    <a:pt x="22" y="591"/>
                  </a:moveTo>
                  <a:lnTo>
                    <a:pt x="26" y="591"/>
                  </a:lnTo>
                  <a:lnTo>
                    <a:pt x="26" y="592"/>
                  </a:lnTo>
                  <a:lnTo>
                    <a:pt x="22" y="592"/>
                  </a:lnTo>
                  <a:lnTo>
                    <a:pt x="22" y="591"/>
                  </a:lnTo>
                  <a:close/>
                  <a:moveTo>
                    <a:pt x="642" y="587"/>
                  </a:moveTo>
                  <a:lnTo>
                    <a:pt x="645" y="587"/>
                  </a:lnTo>
                  <a:lnTo>
                    <a:pt x="644" y="594"/>
                  </a:lnTo>
                  <a:lnTo>
                    <a:pt x="638" y="596"/>
                  </a:lnTo>
                  <a:lnTo>
                    <a:pt x="638" y="592"/>
                  </a:lnTo>
                  <a:lnTo>
                    <a:pt x="635" y="594"/>
                  </a:lnTo>
                  <a:lnTo>
                    <a:pt x="633" y="596"/>
                  </a:lnTo>
                  <a:lnTo>
                    <a:pt x="635" y="597"/>
                  </a:lnTo>
                  <a:lnTo>
                    <a:pt x="626" y="601"/>
                  </a:lnTo>
                  <a:lnTo>
                    <a:pt x="626" y="592"/>
                  </a:lnTo>
                  <a:lnTo>
                    <a:pt x="637" y="591"/>
                  </a:lnTo>
                  <a:lnTo>
                    <a:pt x="637" y="592"/>
                  </a:lnTo>
                  <a:lnTo>
                    <a:pt x="638" y="589"/>
                  </a:lnTo>
                  <a:lnTo>
                    <a:pt x="642" y="587"/>
                  </a:lnTo>
                  <a:close/>
                  <a:moveTo>
                    <a:pt x="107" y="579"/>
                  </a:moveTo>
                  <a:lnTo>
                    <a:pt x="109" y="584"/>
                  </a:lnTo>
                  <a:lnTo>
                    <a:pt x="114" y="585"/>
                  </a:lnTo>
                  <a:lnTo>
                    <a:pt x="119" y="591"/>
                  </a:lnTo>
                  <a:lnTo>
                    <a:pt x="130" y="591"/>
                  </a:lnTo>
                  <a:lnTo>
                    <a:pt x="130" y="592"/>
                  </a:lnTo>
                  <a:lnTo>
                    <a:pt x="133" y="599"/>
                  </a:lnTo>
                  <a:lnTo>
                    <a:pt x="131" y="603"/>
                  </a:lnTo>
                  <a:lnTo>
                    <a:pt x="130" y="601"/>
                  </a:lnTo>
                  <a:lnTo>
                    <a:pt x="119" y="601"/>
                  </a:lnTo>
                  <a:lnTo>
                    <a:pt x="116" y="601"/>
                  </a:lnTo>
                  <a:lnTo>
                    <a:pt x="111" y="604"/>
                  </a:lnTo>
                  <a:lnTo>
                    <a:pt x="107" y="606"/>
                  </a:lnTo>
                  <a:lnTo>
                    <a:pt x="101" y="609"/>
                  </a:lnTo>
                  <a:lnTo>
                    <a:pt x="96" y="615"/>
                  </a:lnTo>
                  <a:lnTo>
                    <a:pt x="92" y="621"/>
                  </a:lnTo>
                  <a:lnTo>
                    <a:pt x="89" y="628"/>
                  </a:lnTo>
                  <a:lnTo>
                    <a:pt x="84" y="623"/>
                  </a:lnTo>
                  <a:lnTo>
                    <a:pt x="77" y="623"/>
                  </a:lnTo>
                  <a:lnTo>
                    <a:pt x="72" y="621"/>
                  </a:lnTo>
                  <a:lnTo>
                    <a:pt x="61" y="621"/>
                  </a:lnTo>
                  <a:lnTo>
                    <a:pt x="60" y="623"/>
                  </a:lnTo>
                  <a:lnTo>
                    <a:pt x="53" y="623"/>
                  </a:lnTo>
                  <a:lnTo>
                    <a:pt x="48" y="618"/>
                  </a:lnTo>
                  <a:lnTo>
                    <a:pt x="41" y="618"/>
                  </a:lnTo>
                  <a:lnTo>
                    <a:pt x="32" y="620"/>
                  </a:lnTo>
                  <a:lnTo>
                    <a:pt x="31" y="621"/>
                  </a:lnTo>
                  <a:lnTo>
                    <a:pt x="26" y="621"/>
                  </a:lnTo>
                  <a:lnTo>
                    <a:pt x="24" y="625"/>
                  </a:lnTo>
                  <a:lnTo>
                    <a:pt x="19" y="625"/>
                  </a:lnTo>
                  <a:lnTo>
                    <a:pt x="17" y="628"/>
                  </a:lnTo>
                  <a:lnTo>
                    <a:pt x="10" y="630"/>
                  </a:lnTo>
                  <a:lnTo>
                    <a:pt x="8" y="633"/>
                  </a:lnTo>
                  <a:lnTo>
                    <a:pt x="7" y="632"/>
                  </a:lnTo>
                  <a:lnTo>
                    <a:pt x="10" y="626"/>
                  </a:lnTo>
                  <a:lnTo>
                    <a:pt x="12" y="621"/>
                  </a:lnTo>
                  <a:lnTo>
                    <a:pt x="10" y="615"/>
                  </a:lnTo>
                  <a:lnTo>
                    <a:pt x="17" y="609"/>
                  </a:lnTo>
                  <a:lnTo>
                    <a:pt x="17" y="603"/>
                  </a:lnTo>
                  <a:lnTo>
                    <a:pt x="22" y="601"/>
                  </a:lnTo>
                  <a:lnTo>
                    <a:pt x="27" y="591"/>
                  </a:lnTo>
                  <a:lnTo>
                    <a:pt x="31" y="591"/>
                  </a:lnTo>
                  <a:lnTo>
                    <a:pt x="32" y="592"/>
                  </a:lnTo>
                  <a:lnTo>
                    <a:pt x="34" y="592"/>
                  </a:lnTo>
                  <a:lnTo>
                    <a:pt x="37" y="596"/>
                  </a:lnTo>
                  <a:lnTo>
                    <a:pt x="39" y="594"/>
                  </a:lnTo>
                  <a:lnTo>
                    <a:pt x="41" y="596"/>
                  </a:lnTo>
                  <a:lnTo>
                    <a:pt x="44" y="596"/>
                  </a:lnTo>
                  <a:lnTo>
                    <a:pt x="49" y="597"/>
                  </a:lnTo>
                  <a:lnTo>
                    <a:pt x="55" y="599"/>
                  </a:lnTo>
                  <a:lnTo>
                    <a:pt x="61" y="594"/>
                  </a:lnTo>
                  <a:lnTo>
                    <a:pt x="72" y="594"/>
                  </a:lnTo>
                  <a:lnTo>
                    <a:pt x="77" y="591"/>
                  </a:lnTo>
                  <a:lnTo>
                    <a:pt x="78" y="587"/>
                  </a:lnTo>
                  <a:lnTo>
                    <a:pt x="82" y="585"/>
                  </a:lnTo>
                  <a:lnTo>
                    <a:pt x="85" y="587"/>
                  </a:lnTo>
                  <a:lnTo>
                    <a:pt x="89" y="582"/>
                  </a:lnTo>
                  <a:lnTo>
                    <a:pt x="97" y="580"/>
                  </a:lnTo>
                  <a:lnTo>
                    <a:pt x="104" y="580"/>
                  </a:lnTo>
                  <a:lnTo>
                    <a:pt x="107" y="579"/>
                  </a:lnTo>
                  <a:close/>
                  <a:moveTo>
                    <a:pt x="225" y="582"/>
                  </a:moveTo>
                  <a:lnTo>
                    <a:pt x="227" y="584"/>
                  </a:lnTo>
                  <a:lnTo>
                    <a:pt x="224" y="585"/>
                  </a:lnTo>
                  <a:lnTo>
                    <a:pt x="224" y="577"/>
                  </a:lnTo>
                  <a:lnTo>
                    <a:pt x="225" y="582"/>
                  </a:lnTo>
                  <a:close/>
                  <a:moveTo>
                    <a:pt x="473" y="575"/>
                  </a:moveTo>
                  <a:lnTo>
                    <a:pt x="475" y="577"/>
                  </a:lnTo>
                  <a:lnTo>
                    <a:pt x="478" y="577"/>
                  </a:lnTo>
                  <a:lnTo>
                    <a:pt x="478" y="580"/>
                  </a:lnTo>
                  <a:lnTo>
                    <a:pt x="475" y="580"/>
                  </a:lnTo>
                  <a:lnTo>
                    <a:pt x="471" y="579"/>
                  </a:lnTo>
                  <a:lnTo>
                    <a:pt x="473" y="575"/>
                  </a:lnTo>
                  <a:close/>
                  <a:moveTo>
                    <a:pt x="217" y="575"/>
                  </a:moveTo>
                  <a:lnTo>
                    <a:pt x="218" y="575"/>
                  </a:lnTo>
                  <a:lnTo>
                    <a:pt x="218" y="577"/>
                  </a:lnTo>
                  <a:lnTo>
                    <a:pt x="217" y="577"/>
                  </a:lnTo>
                  <a:lnTo>
                    <a:pt x="217" y="575"/>
                  </a:lnTo>
                  <a:close/>
                  <a:moveTo>
                    <a:pt x="647" y="574"/>
                  </a:moveTo>
                  <a:lnTo>
                    <a:pt x="649" y="574"/>
                  </a:lnTo>
                  <a:lnTo>
                    <a:pt x="649" y="577"/>
                  </a:lnTo>
                  <a:lnTo>
                    <a:pt x="647" y="577"/>
                  </a:lnTo>
                  <a:lnTo>
                    <a:pt x="647" y="574"/>
                  </a:lnTo>
                  <a:close/>
                  <a:moveTo>
                    <a:pt x="186" y="572"/>
                  </a:moveTo>
                  <a:lnTo>
                    <a:pt x="188" y="572"/>
                  </a:lnTo>
                  <a:lnTo>
                    <a:pt x="188" y="575"/>
                  </a:lnTo>
                  <a:lnTo>
                    <a:pt x="186" y="575"/>
                  </a:lnTo>
                  <a:lnTo>
                    <a:pt x="186" y="572"/>
                  </a:lnTo>
                  <a:close/>
                  <a:moveTo>
                    <a:pt x="614" y="570"/>
                  </a:moveTo>
                  <a:lnTo>
                    <a:pt x="616" y="574"/>
                  </a:lnTo>
                  <a:lnTo>
                    <a:pt x="618" y="574"/>
                  </a:lnTo>
                  <a:lnTo>
                    <a:pt x="623" y="575"/>
                  </a:lnTo>
                  <a:lnTo>
                    <a:pt x="628" y="572"/>
                  </a:lnTo>
                  <a:lnTo>
                    <a:pt x="630" y="574"/>
                  </a:lnTo>
                  <a:lnTo>
                    <a:pt x="628" y="574"/>
                  </a:lnTo>
                  <a:lnTo>
                    <a:pt x="628" y="575"/>
                  </a:lnTo>
                  <a:lnTo>
                    <a:pt x="630" y="575"/>
                  </a:lnTo>
                  <a:lnTo>
                    <a:pt x="630" y="577"/>
                  </a:lnTo>
                  <a:lnTo>
                    <a:pt x="625" y="577"/>
                  </a:lnTo>
                  <a:lnTo>
                    <a:pt x="628" y="579"/>
                  </a:lnTo>
                  <a:lnTo>
                    <a:pt x="625" y="577"/>
                  </a:lnTo>
                  <a:lnTo>
                    <a:pt x="623" y="580"/>
                  </a:lnTo>
                  <a:lnTo>
                    <a:pt x="618" y="580"/>
                  </a:lnTo>
                  <a:lnTo>
                    <a:pt x="611" y="577"/>
                  </a:lnTo>
                  <a:lnTo>
                    <a:pt x="613" y="577"/>
                  </a:lnTo>
                  <a:lnTo>
                    <a:pt x="611" y="572"/>
                  </a:lnTo>
                  <a:lnTo>
                    <a:pt x="614" y="570"/>
                  </a:lnTo>
                  <a:close/>
                  <a:moveTo>
                    <a:pt x="198" y="570"/>
                  </a:moveTo>
                  <a:lnTo>
                    <a:pt x="198" y="572"/>
                  </a:lnTo>
                  <a:lnTo>
                    <a:pt x="201" y="570"/>
                  </a:lnTo>
                  <a:lnTo>
                    <a:pt x="206" y="574"/>
                  </a:lnTo>
                  <a:lnTo>
                    <a:pt x="212" y="574"/>
                  </a:lnTo>
                  <a:lnTo>
                    <a:pt x="212" y="577"/>
                  </a:lnTo>
                  <a:lnTo>
                    <a:pt x="208" y="582"/>
                  </a:lnTo>
                  <a:lnTo>
                    <a:pt x="201" y="584"/>
                  </a:lnTo>
                  <a:lnTo>
                    <a:pt x="200" y="589"/>
                  </a:lnTo>
                  <a:lnTo>
                    <a:pt x="196" y="591"/>
                  </a:lnTo>
                  <a:lnTo>
                    <a:pt x="193" y="589"/>
                  </a:lnTo>
                  <a:lnTo>
                    <a:pt x="191" y="585"/>
                  </a:lnTo>
                  <a:lnTo>
                    <a:pt x="196" y="582"/>
                  </a:lnTo>
                  <a:lnTo>
                    <a:pt x="195" y="575"/>
                  </a:lnTo>
                  <a:lnTo>
                    <a:pt x="196" y="572"/>
                  </a:lnTo>
                  <a:lnTo>
                    <a:pt x="198" y="570"/>
                  </a:lnTo>
                  <a:close/>
                  <a:moveTo>
                    <a:pt x="608" y="568"/>
                  </a:moveTo>
                  <a:lnTo>
                    <a:pt x="611" y="568"/>
                  </a:lnTo>
                  <a:lnTo>
                    <a:pt x="611" y="572"/>
                  </a:lnTo>
                  <a:lnTo>
                    <a:pt x="608" y="572"/>
                  </a:lnTo>
                  <a:lnTo>
                    <a:pt x="608" y="568"/>
                  </a:lnTo>
                  <a:close/>
                  <a:moveTo>
                    <a:pt x="650" y="560"/>
                  </a:moveTo>
                  <a:lnTo>
                    <a:pt x="652" y="562"/>
                  </a:lnTo>
                  <a:lnTo>
                    <a:pt x="647" y="565"/>
                  </a:lnTo>
                  <a:lnTo>
                    <a:pt x="647" y="567"/>
                  </a:lnTo>
                  <a:lnTo>
                    <a:pt x="642" y="570"/>
                  </a:lnTo>
                  <a:lnTo>
                    <a:pt x="642" y="568"/>
                  </a:lnTo>
                  <a:lnTo>
                    <a:pt x="638" y="574"/>
                  </a:lnTo>
                  <a:lnTo>
                    <a:pt x="635" y="574"/>
                  </a:lnTo>
                  <a:lnTo>
                    <a:pt x="638" y="572"/>
                  </a:lnTo>
                  <a:lnTo>
                    <a:pt x="638" y="570"/>
                  </a:lnTo>
                  <a:lnTo>
                    <a:pt x="632" y="572"/>
                  </a:lnTo>
                  <a:lnTo>
                    <a:pt x="626" y="570"/>
                  </a:lnTo>
                  <a:lnTo>
                    <a:pt x="630" y="563"/>
                  </a:lnTo>
                  <a:lnTo>
                    <a:pt x="635" y="562"/>
                  </a:lnTo>
                  <a:lnTo>
                    <a:pt x="642" y="562"/>
                  </a:lnTo>
                  <a:lnTo>
                    <a:pt x="650" y="560"/>
                  </a:lnTo>
                  <a:close/>
                  <a:moveTo>
                    <a:pt x="669" y="558"/>
                  </a:moveTo>
                  <a:lnTo>
                    <a:pt x="671" y="558"/>
                  </a:lnTo>
                  <a:lnTo>
                    <a:pt x="671" y="562"/>
                  </a:lnTo>
                  <a:lnTo>
                    <a:pt x="669" y="562"/>
                  </a:lnTo>
                  <a:lnTo>
                    <a:pt x="669" y="558"/>
                  </a:lnTo>
                  <a:close/>
                  <a:moveTo>
                    <a:pt x="340" y="553"/>
                  </a:moveTo>
                  <a:lnTo>
                    <a:pt x="341" y="555"/>
                  </a:lnTo>
                  <a:lnTo>
                    <a:pt x="340" y="556"/>
                  </a:lnTo>
                  <a:lnTo>
                    <a:pt x="338" y="556"/>
                  </a:lnTo>
                  <a:lnTo>
                    <a:pt x="340" y="553"/>
                  </a:lnTo>
                  <a:close/>
                  <a:moveTo>
                    <a:pt x="662" y="550"/>
                  </a:moveTo>
                  <a:lnTo>
                    <a:pt x="667" y="551"/>
                  </a:lnTo>
                  <a:lnTo>
                    <a:pt x="662" y="555"/>
                  </a:lnTo>
                  <a:lnTo>
                    <a:pt x="664" y="556"/>
                  </a:lnTo>
                  <a:lnTo>
                    <a:pt x="655" y="555"/>
                  </a:lnTo>
                  <a:lnTo>
                    <a:pt x="659" y="553"/>
                  </a:lnTo>
                  <a:lnTo>
                    <a:pt x="659" y="551"/>
                  </a:lnTo>
                  <a:lnTo>
                    <a:pt x="661" y="551"/>
                  </a:lnTo>
                  <a:lnTo>
                    <a:pt x="661" y="550"/>
                  </a:lnTo>
                  <a:lnTo>
                    <a:pt x="662" y="548"/>
                  </a:lnTo>
                  <a:lnTo>
                    <a:pt x="662" y="550"/>
                  </a:lnTo>
                  <a:close/>
                  <a:moveTo>
                    <a:pt x="340" y="550"/>
                  </a:moveTo>
                  <a:lnTo>
                    <a:pt x="340" y="544"/>
                  </a:lnTo>
                  <a:lnTo>
                    <a:pt x="341" y="546"/>
                  </a:lnTo>
                  <a:lnTo>
                    <a:pt x="340" y="550"/>
                  </a:lnTo>
                  <a:close/>
                  <a:moveTo>
                    <a:pt x="679" y="541"/>
                  </a:moveTo>
                  <a:lnTo>
                    <a:pt x="679" y="543"/>
                  </a:lnTo>
                  <a:lnTo>
                    <a:pt x="679" y="541"/>
                  </a:lnTo>
                  <a:close/>
                  <a:moveTo>
                    <a:pt x="679" y="538"/>
                  </a:moveTo>
                  <a:lnTo>
                    <a:pt x="679" y="539"/>
                  </a:lnTo>
                  <a:lnTo>
                    <a:pt x="679" y="538"/>
                  </a:lnTo>
                  <a:lnTo>
                    <a:pt x="678" y="541"/>
                  </a:lnTo>
                  <a:lnTo>
                    <a:pt x="674" y="539"/>
                  </a:lnTo>
                  <a:lnTo>
                    <a:pt x="678" y="538"/>
                  </a:lnTo>
                  <a:lnTo>
                    <a:pt x="678" y="536"/>
                  </a:lnTo>
                  <a:lnTo>
                    <a:pt x="679" y="538"/>
                  </a:lnTo>
                  <a:close/>
                  <a:moveTo>
                    <a:pt x="690" y="531"/>
                  </a:moveTo>
                  <a:lnTo>
                    <a:pt x="690" y="536"/>
                  </a:lnTo>
                  <a:lnTo>
                    <a:pt x="686" y="536"/>
                  </a:lnTo>
                  <a:lnTo>
                    <a:pt x="690" y="531"/>
                  </a:lnTo>
                  <a:close/>
                  <a:moveTo>
                    <a:pt x="710" y="526"/>
                  </a:moveTo>
                  <a:lnTo>
                    <a:pt x="710" y="529"/>
                  </a:lnTo>
                  <a:lnTo>
                    <a:pt x="708" y="533"/>
                  </a:lnTo>
                  <a:lnTo>
                    <a:pt x="713" y="533"/>
                  </a:lnTo>
                  <a:lnTo>
                    <a:pt x="713" y="529"/>
                  </a:lnTo>
                  <a:lnTo>
                    <a:pt x="717" y="529"/>
                  </a:lnTo>
                  <a:lnTo>
                    <a:pt x="713" y="531"/>
                  </a:lnTo>
                  <a:lnTo>
                    <a:pt x="717" y="531"/>
                  </a:lnTo>
                  <a:lnTo>
                    <a:pt x="717" y="534"/>
                  </a:lnTo>
                  <a:lnTo>
                    <a:pt x="720" y="538"/>
                  </a:lnTo>
                  <a:lnTo>
                    <a:pt x="717" y="539"/>
                  </a:lnTo>
                  <a:lnTo>
                    <a:pt x="710" y="539"/>
                  </a:lnTo>
                  <a:lnTo>
                    <a:pt x="707" y="543"/>
                  </a:lnTo>
                  <a:lnTo>
                    <a:pt x="708" y="548"/>
                  </a:lnTo>
                  <a:lnTo>
                    <a:pt x="710" y="551"/>
                  </a:lnTo>
                  <a:lnTo>
                    <a:pt x="708" y="553"/>
                  </a:lnTo>
                  <a:lnTo>
                    <a:pt x="713" y="556"/>
                  </a:lnTo>
                  <a:lnTo>
                    <a:pt x="712" y="558"/>
                  </a:lnTo>
                  <a:lnTo>
                    <a:pt x="708" y="558"/>
                  </a:lnTo>
                  <a:lnTo>
                    <a:pt x="710" y="560"/>
                  </a:lnTo>
                  <a:lnTo>
                    <a:pt x="710" y="563"/>
                  </a:lnTo>
                  <a:lnTo>
                    <a:pt x="715" y="562"/>
                  </a:lnTo>
                  <a:lnTo>
                    <a:pt x="712" y="565"/>
                  </a:lnTo>
                  <a:lnTo>
                    <a:pt x="712" y="570"/>
                  </a:lnTo>
                  <a:lnTo>
                    <a:pt x="708" y="572"/>
                  </a:lnTo>
                  <a:lnTo>
                    <a:pt x="710" y="574"/>
                  </a:lnTo>
                  <a:lnTo>
                    <a:pt x="710" y="577"/>
                  </a:lnTo>
                  <a:lnTo>
                    <a:pt x="707" y="584"/>
                  </a:lnTo>
                  <a:lnTo>
                    <a:pt x="705" y="589"/>
                  </a:lnTo>
                  <a:lnTo>
                    <a:pt x="703" y="589"/>
                  </a:lnTo>
                  <a:lnTo>
                    <a:pt x="700" y="591"/>
                  </a:lnTo>
                  <a:lnTo>
                    <a:pt x="696" y="597"/>
                  </a:lnTo>
                  <a:lnTo>
                    <a:pt x="688" y="599"/>
                  </a:lnTo>
                  <a:lnTo>
                    <a:pt x="688" y="606"/>
                  </a:lnTo>
                  <a:lnTo>
                    <a:pt x="684" y="604"/>
                  </a:lnTo>
                  <a:lnTo>
                    <a:pt x="686" y="608"/>
                  </a:lnTo>
                  <a:lnTo>
                    <a:pt x="683" y="609"/>
                  </a:lnTo>
                  <a:lnTo>
                    <a:pt x="674" y="616"/>
                  </a:lnTo>
                  <a:lnTo>
                    <a:pt x="674" y="618"/>
                  </a:lnTo>
                  <a:lnTo>
                    <a:pt x="676" y="618"/>
                  </a:lnTo>
                  <a:lnTo>
                    <a:pt x="674" y="621"/>
                  </a:lnTo>
                  <a:lnTo>
                    <a:pt x="671" y="620"/>
                  </a:lnTo>
                  <a:lnTo>
                    <a:pt x="669" y="623"/>
                  </a:lnTo>
                  <a:lnTo>
                    <a:pt x="673" y="623"/>
                  </a:lnTo>
                  <a:lnTo>
                    <a:pt x="669" y="626"/>
                  </a:lnTo>
                  <a:lnTo>
                    <a:pt x="671" y="630"/>
                  </a:lnTo>
                  <a:lnTo>
                    <a:pt x="666" y="635"/>
                  </a:lnTo>
                  <a:lnTo>
                    <a:pt x="664" y="632"/>
                  </a:lnTo>
                  <a:lnTo>
                    <a:pt x="667" y="626"/>
                  </a:lnTo>
                  <a:lnTo>
                    <a:pt x="666" y="621"/>
                  </a:lnTo>
                  <a:lnTo>
                    <a:pt x="664" y="623"/>
                  </a:lnTo>
                  <a:lnTo>
                    <a:pt x="662" y="626"/>
                  </a:lnTo>
                  <a:lnTo>
                    <a:pt x="657" y="632"/>
                  </a:lnTo>
                  <a:lnTo>
                    <a:pt x="652" y="630"/>
                  </a:lnTo>
                  <a:lnTo>
                    <a:pt x="642" y="632"/>
                  </a:lnTo>
                  <a:lnTo>
                    <a:pt x="645" y="620"/>
                  </a:lnTo>
                  <a:lnTo>
                    <a:pt x="642" y="615"/>
                  </a:lnTo>
                  <a:lnTo>
                    <a:pt x="642" y="616"/>
                  </a:lnTo>
                  <a:lnTo>
                    <a:pt x="642" y="618"/>
                  </a:lnTo>
                  <a:lnTo>
                    <a:pt x="640" y="618"/>
                  </a:lnTo>
                  <a:lnTo>
                    <a:pt x="640" y="613"/>
                  </a:lnTo>
                  <a:lnTo>
                    <a:pt x="644" y="609"/>
                  </a:lnTo>
                  <a:lnTo>
                    <a:pt x="647" y="611"/>
                  </a:lnTo>
                  <a:lnTo>
                    <a:pt x="649" y="609"/>
                  </a:lnTo>
                  <a:lnTo>
                    <a:pt x="647" y="608"/>
                  </a:lnTo>
                  <a:lnTo>
                    <a:pt x="644" y="606"/>
                  </a:lnTo>
                  <a:lnTo>
                    <a:pt x="647" y="606"/>
                  </a:lnTo>
                  <a:lnTo>
                    <a:pt x="644" y="606"/>
                  </a:lnTo>
                  <a:lnTo>
                    <a:pt x="649" y="604"/>
                  </a:lnTo>
                  <a:lnTo>
                    <a:pt x="647" y="604"/>
                  </a:lnTo>
                  <a:lnTo>
                    <a:pt x="649" y="601"/>
                  </a:lnTo>
                  <a:lnTo>
                    <a:pt x="647" y="599"/>
                  </a:lnTo>
                  <a:lnTo>
                    <a:pt x="644" y="603"/>
                  </a:lnTo>
                  <a:lnTo>
                    <a:pt x="645" y="599"/>
                  </a:lnTo>
                  <a:lnTo>
                    <a:pt x="644" y="597"/>
                  </a:lnTo>
                  <a:lnTo>
                    <a:pt x="644" y="601"/>
                  </a:lnTo>
                  <a:lnTo>
                    <a:pt x="644" y="596"/>
                  </a:lnTo>
                  <a:lnTo>
                    <a:pt x="645" y="592"/>
                  </a:lnTo>
                  <a:lnTo>
                    <a:pt x="650" y="597"/>
                  </a:lnTo>
                  <a:lnTo>
                    <a:pt x="659" y="597"/>
                  </a:lnTo>
                  <a:lnTo>
                    <a:pt x="661" y="599"/>
                  </a:lnTo>
                  <a:lnTo>
                    <a:pt x="661" y="597"/>
                  </a:lnTo>
                  <a:lnTo>
                    <a:pt x="664" y="596"/>
                  </a:lnTo>
                  <a:lnTo>
                    <a:pt x="659" y="597"/>
                  </a:lnTo>
                  <a:lnTo>
                    <a:pt x="655" y="596"/>
                  </a:lnTo>
                  <a:lnTo>
                    <a:pt x="652" y="596"/>
                  </a:lnTo>
                  <a:lnTo>
                    <a:pt x="649" y="592"/>
                  </a:lnTo>
                  <a:lnTo>
                    <a:pt x="654" y="589"/>
                  </a:lnTo>
                  <a:lnTo>
                    <a:pt x="652" y="589"/>
                  </a:lnTo>
                  <a:lnTo>
                    <a:pt x="652" y="584"/>
                  </a:lnTo>
                  <a:lnTo>
                    <a:pt x="655" y="582"/>
                  </a:lnTo>
                  <a:lnTo>
                    <a:pt x="654" y="584"/>
                  </a:lnTo>
                  <a:lnTo>
                    <a:pt x="652" y="582"/>
                  </a:lnTo>
                  <a:lnTo>
                    <a:pt x="657" y="575"/>
                  </a:lnTo>
                  <a:lnTo>
                    <a:pt x="659" y="568"/>
                  </a:lnTo>
                  <a:lnTo>
                    <a:pt x="667" y="563"/>
                  </a:lnTo>
                  <a:lnTo>
                    <a:pt x="667" y="565"/>
                  </a:lnTo>
                  <a:lnTo>
                    <a:pt x="669" y="562"/>
                  </a:lnTo>
                  <a:lnTo>
                    <a:pt x="673" y="565"/>
                  </a:lnTo>
                  <a:lnTo>
                    <a:pt x="674" y="558"/>
                  </a:lnTo>
                  <a:lnTo>
                    <a:pt x="676" y="560"/>
                  </a:lnTo>
                  <a:lnTo>
                    <a:pt x="678" y="558"/>
                  </a:lnTo>
                  <a:lnTo>
                    <a:pt x="674" y="556"/>
                  </a:lnTo>
                  <a:lnTo>
                    <a:pt x="678" y="555"/>
                  </a:lnTo>
                  <a:lnTo>
                    <a:pt x="676" y="553"/>
                  </a:lnTo>
                  <a:lnTo>
                    <a:pt x="678" y="553"/>
                  </a:lnTo>
                  <a:lnTo>
                    <a:pt x="683" y="551"/>
                  </a:lnTo>
                  <a:lnTo>
                    <a:pt x="684" y="553"/>
                  </a:lnTo>
                  <a:lnTo>
                    <a:pt x="683" y="550"/>
                  </a:lnTo>
                  <a:lnTo>
                    <a:pt x="684" y="544"/>
                  </a:lnTo>
                  <a:lnTo>
                    <a:pt x="686" y="546"/>
                  </a:lnTo>
                  <a:lnTo>
                    <a:pt x="690" y="539"/>
                  </a:lnTo>
                  <a:lnTo>
                    <a:pt x="691" y="539"/>
                  </a:lnTo>
                  <a:lnTo>
                    <a:pt x="695" y="538"/>
                  </a:lnTo>
                  <a:lnTo>
                    <a:pt x="693" y="533"/>
                  </a:lnTo>
                  <a:lnTo>
                    <a:pt x="695" y="529"/>
                  </a:lnTo>
                  <a:lnTo>
                    <a:pt x="700" y="529"/>
                  </a:lnTo>
                  <a:lnTo>
                    <a:pt x="702" y="526"/>
                  </a:lnTo>
                  <a:lnTo>
                    <a:pt x="703" y="527"/>
                  </a:lnTo>
                  <a:lnTo>
                    <a:pt x="703" y="526"/>
                  </a:lnTo>
                  <a:lnTo>
                    <a:pt x="710" y="526"/>
                  </a:lnTo>
                  <a:close/>
                  <a:moveTo>
                    <a:pt x="741" y="524"/>
                  </a:moveTo>
                  <a:lnTo>
                    <a:pt x="746" y="531"/>
                  </a:lnTo>
                  <a:lnTo>
                    <a:pt x="748" y="533"/>
                  </a:lnTo>
                  <a:lnTo>
                    <a:pt x="748" y="536"/>
                  </a:lnTo>
                  <a:lnTo>
                    <a:pt x="749" y="538"/>
                  </a:lnTo>
                  <a:lnTo>
                    <a:pt x="746" y="541"/>
                  </a:lnTo>
                  <a:lnTo>
                    <a:pt x="741" y="539"/>
                  </a:lnTo>
                  <a:lnTo>
                    <a:pt x="739" y="534"/>
                  </a:lnTo>
                  <a:lnTo>
                    <a:pt x="736" y="531"/>
                  </a:lnTo>
                  <a:lnTo>
                    <a:pt x="729" y="531"/>
                  </a:lnTo>
                  <a:lnTo>
                    <a:pt x="729" y="533"/>
                  </a:lnTo>
                  <a:lnTo>
                    <a:pt x="725" y="531"/>
                  </a:lnTo>
                  <a:lnTo>
                    <a:pt x="722" y="533"/>
                  </a:lnTo>
                  <a:lnTo>
                    <a:pt x="719" y="533"/>
                  </a:lnTo>
                  <a:lnTo>
                    <a:pt x="717" y="529"/>
                  </a:lnTo>
                  <a:lnTo>
                    <a:pt x="717" y="527"/>
                  </a:lnTo>
                  <a:lnTo>
                    <a:pt x="722" y="526"/>
                  </a:lnTo>
                  <a:lnTo>
                    <a:pt x="731" y="526"/>
                  </a:lnTo>
                  <a:lnTo>
                    <a:pt x="741" y="524"/>
                  </a:lnTo>
                  <a:close/>
                  <a:moveTo>
                    <a:pt x="686" y="526"/>
                  </a:moveTo>
                  <a:lnTo>
                    <a:pt x="684" y="527"/>
                  </a:lnTo>
                  <a:lnTo>
                    <a:pt x="683" y="527"/>
                  </a:lnTo>
                  <a:lnTo>
                    <a:pt x="684" y="522"/>
                  </a:lnTo>
                  <a:lnTo>
                    <a:pt x="686" y="526"/>
                  </a:lnTo>
                  <a:close/>
                  <a:moveTo>
                    <a:pt x="683" y="521"/>
                  </a:moveTo>
                  <a:lnTo>
                    <a:pt x="684" y="521"/>
                  </a:lnTo>
                  <a:lnTo>
                    <a:pt x="684" y="522"/>
                  </a:lnTo>
                  <a:lnTo>
                    <a:pt x="683" y="522"/>
                  </a:lnTo>
                  <a:lnTo>
                    <a:pt x="683" y="521"/>
                  </a:lnTo>
                  <a:close/>
                  <a:moveTo>
                    <a:pt x="1050" y="521"/>
                  </a:moveTo>
                  <a:lnTo>
                    <a:pt x="1053" y="521"/>
                  </a:lnTo>
                  <a:lnTo>
                    <a:pt x="1053" y="524"/>
                  </a:lnTo>
                  <a:lnTo>
                    <a:pt x="1046" y="522"/>
                  </a:lnTo>
                  <a:lnTo>
                    <a:pt x="1048" y="519"/>
                  </a:lnTo>
                  <a:lnTo>
                    <a:pt x="1050" y="521"/>
                  </a:lnTo>
                  <a:close/>
                  <a:moveTo>
                    <a:pt x="346" y="519"/>
                  </a:moveTo>
                  <a:lnTo>
                    <a:pt x="352" y="522"/>
                  </a:lnTo>
                  <a:lnTo>
                    <a:pt x="357" y="524"/>
                  </a:lnTo>
                  <a:lnTo>
                    <a:pt x="357" y="526"/>
                  </a:lnTo>
                  <a:lnTo>
                    <a:pt x="355" y="527"/>
                  </a:lnTo>
                  <a:lnTo>
                    <a:pt x="352" y="527"/>
                  </a:lnTo>
                  <a:lnTo>
                    <a:pt x="353" y="531"/>
                  </a:lnTo>
                  <a:lnTo>
                    <a:pt x="355" y="531"/>
                  </a:lnTo>
                  <a:lnTo>
                    <a:pt x="350" y="538"/>
                  </a:lnTo>
                  <a:lnTo>
                    <a:pt x="348" y="538"/>
                  </a:lnTo>
                  <a:lnTo>
                    <a:pt x="340" y="531"/>
                  </a:lnTo>
                  <a:lnTo>
                    <a:pt x="338" y="531"/>
                  </a:lnTo>
                  <a:lnTo>
                    <a:pt x="336" y="527"/>
                  </a:lnTo>
                  <a:lnTo>
                    <a:pt x="338" y="524"/>
                  </a:lnTo>
                  <a:lnTo>
                    <a:pt x="345" y="519"/>
                  </a:lnTo>
                  <a:lnTo>
                    <a:pt x="346" y="519"/>
                  </a:lnTo>
                  <a:close/>
                  <a:moveTo>
                    <a:pt x="1070" y="512"/>
                  </a:moveTo>
                  <a:lnTo>
                    <a:pt x="1072" y="512"/>
                  </a:lnTo>
                  <a:lnTo>
                    <a:pt x="1072" y="514"/>
                  </a:lnTo>
                  <a:lnTo>
                    <a:pt x="1070" y="514"/>
                  </a:lnTo>
                  <a:lnTo>
                    <a:pt x="1070" y="512"/>
                  </a:lnTo>
                  <a:close/>
                  <a:moveTo>
                    <a:pt x="751" y="510"/>
                  </a:moveTo>
                  <a:lnTo>
                    <a:pt x="746" y="517"/>
                  </a:lnTo>
                  <a:lnTo>
                    <a:pt x="741" y="521"/>
                  </a:lnTo>
                  <a:lnTo>
                    <a:pt x="741" y="517"/>
                  </a:lnTo>
                  <a:lnTo>
                    <a:pt x="748" y="512"/>
                  </a:lnTo>
                  <a:lnTo>
                    <a:pt x="751" y="510"/>
                  </a:lnTo>
                  <a:close/>
                  <a:moveTo>
                    <a:pt x="411" y="505"/>
                  </a:moveTo>
                  <a:lnTo>
                    <a:pt x="411" y="509"/>
                  </a:lnTo>
                  <a:lnTo>
                    <a:pt x="408" y="510"/>
                  </a:lnTo>
                  <a:lnTo>
                    <a:pt x="408" y="507"/>
                  </a:lnTo>
                  <a:lnTo>
                    <a:pt x="411" y="505"/>
                  </a:lnTo>
                  <a:close/>
                  <a:moveTo>
                    <a:pt x="1051" y="503"/>
                  </a:moveTo>
                  <a:lnTo>
                    <a:pt x="1053" y="505"/>
                  </a:lnTo>
                  <a:lnTo>
                    <a:pt x="1050" y="505"/>
                  </a:lnTo>
                  <a:lnTo>
                    <a:pt x="1050" y="503"/>
                  </a:lnTo>
                  <a:lnTo>
                    <a:pt x="1051" y="503"/>
                  </a:lnTo>
                  <a:close/>
                  <a:moveTo>
                    <a:pt x="1053" y="500"/>
                  </a:moveTo>
                  <a:lnTo>
                    <a:pt x="1057" y="500"/>
                  </a:lnTo>
                  <a:lnTo>
                    <a:pt x="1057" y="502"/>
                  </a:lnTo>
                  <a:lnTo>
                    <a:pt x="1053" y="502"/>
                  </a:lnTo>
                  <a:lnTo>
                    <a:pt x="1053" y="500"/>
                  </a:lnTo>
                  <a:close/>
                  <a:moveTo>
                    <a:pt x="691" y="495"/>
                  </a:moveTo>
                  <a:lnTo>
                    <a:pt x="693" y="497"/>
                  </a:lnTo>
                  <a:lnTo>
                    <a:pt x="693" y="498"/>
                  </a:lnTo>
                  <a:lnTo>
                    <a:pt x="690" y="502"/>
                  </a:lnTo>
                  <a:lnTo>
                    <a:pt x="688" y="502"/>
                  </a:lnTo>
                  <a:lnTo>
                    <a:pt x="688" y="497"/>
                  </a:lnTo>
                  <a:lnTo>
                    <a:pt x="691" y="495"/>
                  </a:lnTo>
                  <a:close/>
                  <a:moveTo>
                    <a:pt x="1081" y="497"/>
                  </a:moveTo>
                  <a:lnTo>
                    <a:pt x="1075" y="497"/>
                  </a:lnTo>
                  <a:lnTo>
                    <a:pt x="1074" y="495"/>
                  </a:lnTo>
                  <a:lnTo>
                    <a:pt x="1075" y="497"/>
                  </a:lnTo>
                  <a:lnTo>
                    <a:pt x="1081" y="495"/>
                  </a:lnTo>
                  <a:lnTo>
                    <a:pt x="1081" y="497"/>
                  </a:lnTo>
                  <a:lnTo>
                    <a:pt x="1082" y="493"/>
                  </a:lnTo>
                  <a:lnTo>
                    <a:pt x="1081" y="497"/>
                  </a:lnTo>
                  <a:close/>
                  <a:moveTo>
                    <a:pt x="1070" y="493"/>
                  </a:moveTo>
                  <a:lnTo>
                    <a:pt x="1072" y="495"/>
                  </a:lnTo>
                  <a:lnTo>
                    <a:pt x="1063" y="500"/>
                  </a:lnTo>
                  <a:lnTo>
                    <a:pt x="1060" y="498"/>
                  </a:lnTo>
                  <a:lnTo>
                    <a:pt x="1062" y="497"/>
                  </a:lnTo>
                  <a:lnTo>
                    <a:pt x="1063" y="498"/>
                  </a:lnTo>
                  <a:lnTo>
                    <a:pt x="1067" y="493"/>
                  </a:lnTo>
                  <a:lnTo>
                    <a:pt x="1069" y="495"/>
                  </a:lnTo>
                  <a:lnTo>
                    <a:pt x="1070" y="493"/>
                  </a:lnTo>
                  <a:close/>
                  <a:moveTo>
                    <a:pt x="696" y="488"/>
                  </a:moveTo>
                  <a:lnTo>
                    <a:pt x="695" y="492"/>
                  </a:lnTo>
                  <a:lnTo>
                    <a:pt x="693" y="492"/>
                  </a:lnTo>
                  <a:lnTo>
                    <a:pt x="696" y="488"/>
                  </a:lnTo>
                  <a:close/>
                  <a:moveTo>
                    <a:pt x="1057" y="481"/>
                  </a:moveTo>
                  <a:lnTo>
                    <a:pt x="1057" y="483"/>
                  </a:lnTo>
                  <a:lnTo>
                    <a:pt x="1055" y="485"/>
                  </a:lnTo>
                  <a:lnTo>
                    <a:pt x="1051" y="485"/>
                  </a:lnTo>
                  <a:lnTo>
                    <a:pt x="1053" y="483"/>
                  </a:lnTo>
                  <a:lnTo>
                    <a:pt x="1055" y="483"/>
                  </a:lnTo>
                  <a:lnTo>
                    <a:pt x="1055" y="481"/>
                  </a:lnTo>
                  <a:lnTo>
                    <a:pt x="1057" y="481"/>
                  </a:lnTo>
                  <a:close/>
                  <a:moveTo>
                    <a:pt x="457" y="478"/>
                  </a:moveTo>
                  <a:lnTo>
                    <a:pt x="456" y="481"/>
                  </a:lnTo>
                  <a:lnTo>
                    <a:pt x="454" y="483"/>
                  </a:lnTo>
                  <a:lnTo>
                    <a:pt x="452" y="481"/>
                  </a:lnTo>
                  <a:lnTo>
                    <a:pt x="452" y="483"/>
                  </a:lnTo>
                  <a:lnTo>
                    <a:pt x="451" y="481"/>
                  </a:lnTo>
                  <a:lnTo>
                    <a:pt x="452" y="478"/>
                  </a:lnTo>
                  <a:lnTo>
                    <a:pt x="457" y="478"/>
                  </a:lnTo>
                  <a:close/>
                  <a:moveTo>
                    <a:pt x="1051" y="476"/>
                  </a:moveTo>
                  <a:lnTo>
                    <a:pt x="1055" y="481"/>
                  </a:lnTo>
                  <a:lnTo>
                    <a:pt x="1048" y="483"/>
                  </a:lnTo>
                  <a:lnTo>
                    <a:pt x="1051" y="476"/>
                  </a:lnTo>
                  <a:close/>
                  <a:moveTo>
                    <a:pt x="1048" y="473"/>
                  </a:moveTo>
                  <a:lnTo>
                    <a:pt x="1050" y="473"/>
                  </a:lnTo>
                  <a:lnTo>
                    <a:pt x="1050" y="476"/>
                  </a:lnTo>
                  <a:lnTo>
                    <a:pt x="1048" y="476"/>
                  </a:lnTo>
                  <a:lnTo>
                    <a:pt x="1048" y="473"/>
                  </a:lnTo>
                  <a:close/>
                  <a:moveTo>
                    <a:pt x="703" y="473"/>
                  </a:moveTo>
                  <a:lnTo>
                    <a:pt x="707" y="473"/>
                  </a:lnTo>
                  <a:lnTo>
                    <a:pt x="707" y="476"/>
                  </a:lnTo>
                  <a:lnTo>
                    <a:pt x="703" y="480"/>
                  </a:lnTo>
                  <a:lnTo>
                    <a:pt x="700" y="478"/>
                  </a:lnTo>
                  <a:lnTo>
                    <a:pt x="698" y="481"/>
                  </a:lnTo>
                  <a:lnTo>
                    <a:pt x="700" y="483"/>
                  </a:lnTo>
                  <a:lnTo>
                    <a:pt x="703" y="481"/>
                  </a:lnTo>
                  <a:lnTo>
                    <a:pt x="702" y="485"/>
                  </a:lnTo>
                  <a:lnTo>
                    <a:pt x="695" y="488"/>
                  </a:lnTo>
                  <a:lnTo>
                    <a:pt x="695" y="481"/>
                  </a:lnTo>
                  <a:lnTo>
                    <a:pt x="700" y="476"/>
                  </a:lnTo>
                  <a:lnTo>
                    <a:pt x="700" y="473"/>
                  </a:lnTo>
                  <a:lnTo>
                    <a:pt x="703" y="473"/>
                  </a:lnTo>
                  <a:close/>
                  <a:moveTo>
                    <a:pt x="1055" y="474"/>
                  </a:moveTo>
                  <a:lnTo>
                    <a:pt x="1053" y="476"/>
                  </a:lnTo>
                  <a:lnTo>
                    <a:pt x="1051" y="476"/>
                  </a:lnTo>
                  <a:lnTo>
                    <a:pt x="1050" y="476"/>
                  </a:lnTo>
                  <a:lnTo>
                    <a:pt x="1051" y="474"/>
                  </a:lnTo>
                  <a:lnTo>
                    <a:pt x="1050" y="476"/>
                  </a:lnTo>
                  <a:lnTo>
                    <a:pt x="1051" y="471"/>
                  </a:lnTo>
                  <a:lnTo>
                    <a:pt x="1055" y="474"/>
                  </a:lnTo>
                  <a:close/>
                  <a:moveTo>
                    <a:pt x="1084" y="464"/>
                  </a:moveTo>
                  <a:lnTo>
                    <a:pt x="1087" y="468"/>
                  </a:lnTo>
                  <a:lnTo>
                    <a:pt x="1086" y="468"/>
                  </a:lnTo>
                  <a:lnTo>
                    <a:pt x="1082" y="468"/>
                  </a:lnTo>
                  <a:lnTo>
                    <a:pt x="1082" y="466"/>
                  </a:lnTo>
                  <a:lnTo>
                    <a:pt x="1082" y="464"/>
                  </a:lnTo>
                  <a:lnTo>
                    <a:pt x="1084" y="464"/>
                  </a:lnTo>
                  <a:close/>
                  <a:moveTo>
                    <a:pt x="1062" y="464"/>
                  </a:moveTo>
                  <a:lnTo>
                    <a:pt x="1063" y="464"/>
                  </a:lnTo>
                  <a:lnTo>
                    <a:pt x="1063" y="468"/>
                  </a:lnTo>
                  <a:lnTo>
                    <a:pt x="1062" y="468"/>
                  </a:lnTo>
                  <a:lnTo>
                    <a:pt x="1062" y="464"/>
                  </a:lnTo>
                  <a:close/>
                  <a:moveTo>
                    <a:pt x="1075" y="461"/>
                  </a:moveTo>
                  <a:lnTo>
                    <a:pt x="1082" y="466"/>
                  </a:lnTo>
                  <a:lnTo>
                    <a:pt x="1079" y="469"/>
                  </a:lnTo>
                  <a:lnTo>
                    <a:pt x="1079" y="476"/>
                  </a:lnTo>
                  <a:lnTo>
                    <a:pt x="1075" y="478"/>
                  </a:lnTo>
                  <a:lnTo>
                    <a:pt x="1077" y="480"/>
                  </a:lnTo>
                  <a:lnTo>
                    <a:pt x="1072" y="485"/>
                  </a:lnTo>
                  <a:lnTo>
                    <a:pt x="1065" y="483"/>
                  </a:lnTo>
                  <a:lnTo>
                    <a:pt x="1067" y="480"/>
                  </a:lnTo>
                  <a:lnTo>
                    <a:pt x="1065" y="476"/>
                  </a:lnTo>
                  <a:lnTo>
                    <a:pt x="1070" y="473"/>
                  </a:lnTo>
                  <a:lnTo>
                    <a:pt x="1074" y="462"/>
                  </a:lnTo>
                  <a:lnTo>
                    <a:pt x="1075" y="461"/>
                  </a:lnTo>
                  <a:close/>
                  <a:moveTo>
                    <a:pt x="1075" y="457"/>
                  </a:moveTo>
                  <a:lnTo>
                    <a:pt x="1079" y="457"/>
                  </a:lnTo>
                  <a:lnTo>
                    <a:pt x="1079" y="461"/>
                  </a:lnTo>
                  <a:lnTo>
                    <a:pt x="1075" y="461"/>
                  </a:lnTo>
                  <a:lnTo>
                    <a:pt x="1075" y="457"/>
                  </a:lnTo>
                  <a:close/>
                  <a:moveTo>
                    <a:pt x="1017" y="454"/>
                  </a:moveTo>
                  <a:lnTo>
                    <a:pt x="1019" y="454"/>
                  </a:lnTo>
                  <a:lnTo>
                    <a:pt x="1019" y="457"/>
                  </a:lnTo>
                  <a:lnTo>
                    <a:pt x="1017" y="457"/>
                  </a:lnTo>
                  <a:lnTo>
                    <a:pt x="1017" y="454"/>
                  </a:lnTo>
                  <a:close/>
                  <a:moveTo>
                    <a:pt x="1060" y="457"/>
                  </a:moveTo>
                  <a:lnTo>
                    <a:pt x="1058" y="457"/>
                  </a:lnTo>
                  <a:lnTo>
                    <a:pt x="1060" y="456"/>
                  </a:lnTo>
                  <a:lnTo>
                    <a:pt x="1060" y="452"/>
                  </a:lnTo>
                  <a:lnTo>
                    <a:pt x="1062" y="454"/>
                  </a:lnTo>
                  <a:lnTo>
                    <a:pt x="1060" y="457"/>
                  </a:lnTo>
                  <a:close/>
                  <a:moveTo>
                    <a:pt x="1091" y="449"/>
                  </a:moveTo>
                  <a:lnTo>
                    <a:pt x="1092" y="451"/>
                  </a:lnTo>
                  <a:lnTo>
                    <a:pt x="1089" y="457"/>
                  </a:lnTo>
                  <a:lnTo>
                    <a:pt x="1087" y="456"/>
                  </a:lnTo>
                  <a:lnTo>
                    <a:pt x="1087" y="457"/>
                  </a:lnTo>
                  <a:lnTo>
                    <a:pt x="1086" y="457"/>
                  </a:lnTo>
                  <a:lnTo>
                    <a:pt x="1084" y="452"/>
                  </a:lnTo>
                  <a:lnTo>
                    <a:pt x="1091" y="449"/>
                  </a:lnTo>
                  <a:close/>
                  <a:moveTo>
                    <a:pt x="1058" y="456"/>
                  </a:moveTo>
                  <a:lnTo>
                    <a:pt x="1062" y="449"/>
                  </a:lnTo>
                  <a:lnTo>
                    <a:pt x="1062" y="451"/>
                  </a:lnTo>
                  <a:lnTo>
                    <a:pt x="1058" y="456"/>
                  </a:lnTo>
                  <a:close/>
                  <a:moveTo>
                    <a:pt x="1048" y="445"/>
                  </a:moveTo>
                  <a:lnTo>
                    <a:pt x="1050" y="445"/>
                  </a:lnTo>
                  <a:lnTo>
                    <a:pt x="1050" y="449"/>
                  </a:lnTo>
                  <a:lnTo>
                    <a:pt x="1048" y="449"/>
                  </a:lnTo>
                  <a:lnTo>
                    <a:pt x="1048" y="445"/>
                  </a:lnTo>
                  <a:close/>
                  <a:moveTo>
                    <a:pt x="1069" y="447"/>
                  </a:moveTo>
                  <a:lnTo>
                    <a:pt x="1067" y="452"/>
                  </a:lnTo>
                  <a:lnTo>
                    <a:pt x="1062" y="454"/>
                  </a:lnTo>
                  <a:lnTo>
                    <a:pt x="1060" y="452"/>
                  </a:lnTo>
                  <a:lnTo>
                    <a:pt x="1062" y="449"/>
                  </a:lnTo>
                  <a:lnTo>
                    <a:pt x="1067" y="445"/>
                  </a:lnTo>
                  <a:lnTo>
                    <a:pt x="1069" y="445"/>
                  </a:lnTo>
                  <a:lnTo>
                    <a:pt x="1069" y="447"/>
                  </a:lnTo>
                  <a:close/>
                  <a:moveTo>
                    <a:pt x="1075" y="445"/>
                  </a:moveTo>
                  <a:lnTo>
                    <a:pt x="1081" y="449"/>
                  </a:lnTo>
                  <a:lnTo>
                    <a:pt x="1082" y="456"/>
                  </a:lnTo>
                  <a:lnTo>
                    <a:pt x="1081" y="457"/>
                  </a:lnTo>
                  <a:lnTo>
                    <a:pt x="1077" y="456"/>
                  </a:lnTo>
                  <a:lnTo>
                    <a:pt x="1074" y="459"/>
                  </a:lnTo>
                  <a:lnTo>
                    <a:pt x="1070" y="457"/>
                  </a:lnTo>
                  <a:lnTo>
                    <a:pt x="1070" y="452"/>
                  </a:lnTo>
                  <a:lnTo>
                    <a:pt x="1069" y="451"/>
                  </a:lnTo>
                  <a:lnTo>
                    <a:pt x="1069" y="449"/>
                  </a:lnTo>
                  <a:lnTo>
                    <a:pt x="1074" y="444"/>
                  </a:lnTo>
                  <a:lnTo>
                    <a:pt x="1075" y="445"/>
                  </a:lnTo>
                  <a:close/>
                  <a:moveTo>
                    <a:pt x="1084" y="435"/>
                  </a:moveTo>
                  <a:lnTo>
                    <a:pt x="1086" y="439"/>
                  </a:lnTo>
                  <a:lnTo>
                    <a:pt x="1084" y="442"/>
                  </a:lnTo>
                  <a:lnTo>
                    <a:pt x="1084" y="435"/>
                  </a:lnTo>
                  <a:close/>
                  <a:moveTo>
                    <a:pt x="1081" y="444"/>
                  </a:moveTo>
                  <a:lnTo>
                    <a:pt x="1079" y="442"/>
                  </a:lnTo>
                  <a:lnTo>
                    <a:pt x="1079" y="437"/>
                  </a:lnTo>
                  <a:lnTo>
                    <a:pt x="1082" y="435"/>
                  </a:lnTo>
                  <a:lnTo>
                    <a:pt x="1082" y="442"/>
                  </a:lnTo>
                  <a:lnTo>
                    <a:pt x="1081" y="444"/>
                  </a:lnTo>
                  <a:close/>
                  <a:moveTo>
                    <a:pt x="1031" y="430"/>
                  </a:moveTo>
                  <a:lnTo>
                    <a:pt x="1031" y="433"/>
                  </a:lnTo>
                  <a:lnTo>
                    <a:pt x="1029" y="435"/>
                  </a:lnTo>
                  <a:lnTo>
                    <a:pt x="1028" y="430"/>
                  </a:lnTo>
                  <a:lnTo>
                    <a:pt x="1029" y="428"/>
                  </a:lnTo>
                  <a:lnTo>
                    <a:pt x="1031" y="430"/>
                  </a:lnTo>
                  <a:close/>
                  <a:moveTo>
                    <a:pt x="1057" y="430"/>
                  </a:moveTo>
                  <a:lnTo>
                    <a:pt x="1057" y="432"/>
                  </a:lnTo>
                  <a:lnTo>
                    <a:pt x="1055" y="430"/>
                  </a:lnTo>
                  <a:lnTo>
                    <a:pt x="1057" y="428"/>
                  </a:lnTo>
                  <a:lnTo>
                    <a:pt x="1057" y="430"/>
                  </a:lnTo>
                  <a:close/>
                  <a:moveTo>
                    <a:pt x="1033" y="427"/>
                  </a:moveTo>
                  <a:lnTo>
                    <a:pt x="1034" y="427"/>
                  </a:lnTo>
                  <a:lnTo>
                    <a:pt x="1034" y="430"/>
                  </a:lnTo>
                  <a:lnTo>
                    <a:pt x="1033" y="430"/>
                  </a:lnTo>
                  <a:lnTo>
                    <a:pt x="1033" y="427"/>
                  </a:lnTo>
                  <a:close/>
                  <a:moveTo>
                    <a:pt x="515" y="428"/>
                  </a:moveTo>
                  <a:lnTo>
                    <a:pt x="517" y="430"/>
                  </a:lnTo>
                  <a:lnTo>
                    <a:pt x="514" y="428"/>
                  </a:lnTo>
                  <a:lnTo>
                    <a:pt x="515" y="428"/>
                  </a:lnTo>
                  <a:close/>
                  <a:moveTo>
                    <a:pt x="1087" y="435"/>
                  </a:moveTo>
                  <a:lnTo>
                    <a:pt x="1086" y="432"/>
                  </a:lnTo>
                  <a:lnTo>
                    <a:pt x="1091" y="427"/>
                  </a:lnTo>
                  <a:lnTo>
                    <a:pt x="1091" y="430"/>
                  </a:lnTo>
                  <a:lnTo>
                    <a:pt x="1087" y="435"/>
                  </a:lnTo>
                  <a:close/>
                  <a:moveTo>
                    <a:pt x="1031" y="428"/>
                  </a:moveTo>
                  <a:lnTo>
                    <a:pt x="1031" y="430"/>
                  </a:lnTo>
                  <a:lnTo>
                    <a:pt x="1029" y="428"/>
                  </a:lnTo>
                  <a:lnTo>
                    <a:pt x="1031" y="427"/>
                  </a:lnTo>
                  <a:lnTo>
                    <a:pt x="1031" y="428"/>
                  </a:lnTo>
                  <a:close/>
                  <a:moveTo>
                    <a:pt x="1029" y="425"/>
                  </a:moveTo>
                  <a:lnTo>
                    <a:pt x="1029" y="428"/>
                  </a:lnTo>
                  <a:lnTo>
                    <a:pt x="1029" y="425"/>
                  </a:lnTo>
                  <a:close/>
                  <a:moveTo>
                    <a:pt x="1096" y="425"/>
                  </a:moveTo>
                  <a:lnTo>
                    <a:pt x="1098" y="428"/>
                  </a:lnTo>
                  <a:lnTo>
                    <a:pt x="1094" y="433"/>
                  </a:lnTo>
                  <a:lnTo>
                    <a:pt x="1098" y="428"/>
                  </a:lnTo>
                  <a:lnTo>
                    <a:pt x="1098" y="427"/>
                  </a:lnTo>
                  <a:lnTo>
                    <a:pt x="1101" y="430"/>
                  </a:lnTo>
                  <a:lnTo>
                    <a:pt x="1099" y="433"/>
                  </a:lnTo>
                  <a:lnTo>
                    <a:pt x="1096" y="439"/>
                  </a:lnTo>
                  <a:lnTo>
                    <a:pt x="1094" y="444"/>
                  </a:lnTo>
                  <a:lnTo>
                    <a:pt x="1092" y="449"/>
                  </a:lnTo>
                  <a:lnTo>
                    <a:pt x="1087" y="445"/>
                  </a:lnTo>
                  <a:lnTo>
                    <a:pt x="1089" y="444"/>
                  </a:lnTo>
                  <a:lnTo>
                    <a:pt x="1087" y="439"/>
                  </a:lnTo>
                  <a:lnTo>
                    <a:pt x="1092" y="430"/>
                  </a:lnTo>
                  <a:lnTo>
                    <a:pt x="1092" y="433"/>
                  </a:lnTo>
                  <a:lnTo>
                    <a:pt x="1094" y="435"/>
                  </a:lnTo>
                  <a:lnTo>
                    <a:pt x="1092" y="433"/>
                  </a:lnTo>
                  <a:lnTo>
                    <a:pt x="1092" y="428"/>
                  </a:lnTo>
                  <a:lnTo>
                    <a:pt x="1094" y="425"/>
                  </a:lnTo>
                  <a:lnTo>
                    <a:pt x="1096" y="425"/>
                  </a:lnTo>
                  <a:close/>
                  <a:moveTo>
                    <a:pt x="1046" y="425"/>
                  </a:moveTo>
                  <a:lnTo>
                    <a:pt x="1048" y="427"/>
                  </a:lnTo>
                  <a:lnTo>
                    <a:pt x="1051" y="428"/>
                  </a:lnTo>
                  <a:lnTo>
                    <a:pt x="1055" y="432"/>
                  </a:lnTo>
                  <a:lnTo>
                    <a:pt x="1055" y="435"/>
                  </a:lnTo>
                  <a:lnTo>
                    <a:pt x="1057" y="432"/>
                  </a:lnTo>
                  <a:lnTo>
                    <a:pt x="1057" y="435"/>
                  </a:lnTo>
                  <a:lnTo>
                    <a:pt x="1063" y="439"/>
                  </a:lnTo>
                  <a:lnTo>
                    <a:pt x="1065" y="445"/>
                  </a:lnTo>
                  <a:lnTo>
                    <a:pt x="1058" y="449"/>
                  </a:lnTo>
                  <a:lnTo>
                    <a:pt x="1060" y="449"/>
                  </a:lnTo>
                  <a:lnTo>
                    <a:pt x="1057" y="456"/>
                  </a:lnTo>
                  <a:lnTo>
                    <a:pt x="1053" y="456"/>
                  </a:lnTo>
                  <a:lnTo>
                    <a:pt x="1051" y="451"/>
                  </a:lnTo>
                  <a:lnTo>
                    <a:pt x="1050" y="451"/>
                  </a:lnTo>
                  <a:lnTo>
                    <a:pt x="1050" y="447"/>
                  </a:lnTo>
                  <a:lnTo>
                    <a:pt x="1050" y="444"/>
                  </a:lnTo>
                  <a:lnTo>
                    <a:pt x="1048" y="445"/>
                  </a:lnTo>
                  <a:lnTo>
                    <a:pt x="1048" y="444"/>
                  </a:lnTo>
                  <a:lnTo>
                    <a:pt x="1046" y="442"/>
                  </a:lnTo>
                  <a:lnTo>
                    <a:pt x="1045" y="444"/>
                  </a:lnTo>
                  <a:lnTo>
                    <a:pt x="1040" y="439"/>
                  </a:lnTo>
                  <a:lnTo>
                    <a:pt x="1036" y="439"/>
                  </a:lnTo>
                  <a:lnTo>
                    <a:pt x="1038" y="437"/>
                  </a:lnTo>
                  <a:lnTo>
                    <a:pt x="1036" y="437"/>
                  </a:lnTo>
                  <a:lnTo>
                    <a:pt x="1034" y="435"/>
                  </a:lnTo>
                  <a:lnTo>
                    <a:pt x="1036" y="430"/>
                  </a:lnTo>
                  <a:lnTo>
                    <a:pt x="1040" y="428"/>
                  </a:lnTo>
                  <a:lnTo>
                    <a:pt x="1041" y="427"/>
                  </a:lnTo>
                  <a:lnTo>
                    <a:pt x="1046" y="425"/>
                  </a:lnTo>
                  <a:close/>
                  <a:moveTo>
                    <a:pt x="1041" y="423"/>
                  </a:moveTo>
                  <a:lnTo>
                    <a:pt x="1043" y="423"/>
                  </a:lnTo>
                  <a:lnTo>
                    <a:pt x="1043" y="425"/>
                  </a:lnTo>
                  <a:lnTo>
                    <a:pt x="1041" y="425"/>
                  </a:lnTo>
                  <a:lnTo>
                    <a:pt x="1041" y="423"/>
                  </a:lnTo>
                  <a:close/>
                  <a:moveTo>
                    <a:pt x="1045" y="423"/>
                  </a:moveTo>
                  <a:lnTo>
                    <a:pt x="1043" y="420"/>
                  </a:lnTo>
                  <a:lnTo>
                    <a:pt x="1045" y="423"/>
                  </a:lnTo>
                  <a:close/>
                  <a:moveTo>
                    <a:pt x="1036" y="418"/>
                  </a:moveTo>
                  <a:lnTo>
                    <a:pt x="1038" y="418"/>
                  </a:lnTo>
                  <a:lnTo>
                    <a:pt x="1038" y="422"/>
                  </a:lnTo>
                  <a:lnTo>
                    <a:pt x="1036" y="422"/>
                  </a:lnTo>
                  <a:lnTo>
                    <a:pt x="1036" y="418"/>
                  </a:lnTo>
                  <a:close/>
                  <a:moveTo>
                    <a:pt x="1045" y="423"/>
                  </a:moveTo>
                  <a:lnTo>
                    <a:pt x="1043" y="423"/>
                  </a:lnTo>
                  <a:lnTo>
                    <a:pt x="1040" y="420"/>
                  </a:lnTo>
                  <a:lnTo>
                    <a:pt x="1041" y="418"/>
                  </a:lnTo>
                  <a:lnTo>
                    <a:pt x="1043" y="420"/>
                  </a:lnTo>
                  <a:lnTo>
                    <a:pt x="1045" y="423"/>
                  </a:lnTo>
                  <a:close/>
                  <a:moveTo>
                    <a:pt x="1031" y="416"/>
                  </a:moveTo>
                  <a:lnTo>
                    <a:pt x="1033" y="416"/>
                  </a:lnTo>
                  <a:lnTo>
                    <a:pt x="1033" y="420"/>
                  </a:lnTo>
                  <a:lnTo>
                    <a:pt x="1031" y="420"/>
                  </a:lnTo>
                  <a:lnTo>
                    <a:pt x="1031" y="416"/>
                  </a:lnTo>
                  <a:close/>
                  <a:moveTo>
                    <a:pt x="1017" y="415"/>
                  </a:moveTo>
                  <a:lnTo>
                    <a:pt x="1019" y="415"/>
                  </a:lnTo>
                  <a:lnTo>
                    <a:pt x="1019" y="416"/>
                  </a:lnTo>
                  <a:lnTo>
                    <a:pt x="1017" y="416"/>
                  </a:lnTo>
                  <a:lnTo>
                    <a:pt x="1017" y="415"/>
                  </a:lnTo>
                  <a:close/>
                  <a:moveTo>
                    <a:pt x="1096" y="415"/>
                  </a:moveTo>
                  <a:lnTo>
                    <a:pt x="1094" y="418"/>
                  </a:lnTo>
                  <a:lnTo>
                    <a:pt x="1094" y="416"/>
                  </a:lnTo>
                  <a:lnTo>
                    <a:pt x="1096" y="415"/>
                  </a:lnTo>
                  <a:close/>
                  <a:moveTo>
                    <a:pt x="1005" y="411"/>
                  </a:moveTo>
                  <a:lnTo>
                    <a:pt x="1009" y="411"/>
                  </a:lnTo>
                  <a:lnTo>
                    <a:pt x="1012" y="416"/>
                  </a:lnTo>
                  <a:lnTo>
                    <a:pt x="1019" y="418"/>
                  </a:lnTo>
                  <a:lnTo>
                    <a:pt x="1024" y="423"/>
                  </a:lnTo>
                  <a:lnTo>
                    <a:pt x="1026" y="427"/>
                  </a:lnTo>
                  <a:lnTo>
                    <a:pt x="1028" y="427"/>
                  </a:lnTo>
                  <a:lnTo>
                    <a:pt x="1029" y="428"/>
                  </a:lnTo>
                  <a:lnTo>
                    <a:pt x="1028" y="430"/>
                  </a:lnTo>
                  <a:lnTo>
                    <a:pt x="1028" y="433"/>
                  </a:lnTo>
                  <a:lnTo>
                    <a:pt x="1028" y="435"/>
                  </a:lnTo>
                  <a:lnTo>
                    <a:pt x="1029" y="433"/>
                  </a:lnTo>
                  <a:lnTo>
                    <a:pt x="1033" y="439"/>
                  </a:lnTo>
                  <a:lnTo>
                    <a:pt x="1031" y="440"/>
                  </a:lnTo>
                  <a:lnTo>
                    <a:pt x="1034" y="439"/>
                  </a:lnTo>
                  <a:lnTo>
                    <a:pt x="1034" y="440"/>
                  </a:lnTo>
                  <a:lnTo>
                    <a:pt x="1036" y="440"/>
                  </a:lnTo>
                  <a:lnTo>
                    <a:pt x="1040" y="439"/>
                  </a:lnTo>
                  <a:lnTo>
                    <a:pt x="1043" y="445"/>
                  </a:lnTo>
                  <a:lnTo>
                    <a:pt x="1046" y="444"/>
                  </a:lnTo>
                  <a:lnTo>
                    <a:pt x="1048" y="451"/>
                  </a:lnTo>
                  <a:lnTo>
                    <a:pt x="1051" y="454"/>
                  </a:lnTo>
                  <a:lnTo>
                    <a:pt x="1050" y="454"/>
                  </a:lnTo>
                  <a:lnTo>
                    <a:pt x="1048" y="457"/>
                  </a:lnTo>
                  <a:lnTo>
                    <a:pt x="1051" y="457"/>
                  </a:lnTo>
                  <a:lnTo>
                    <a:pt x="1050" y="459"/>
                  </a:lnTo>
                  <a:lnTo>
                    <a:pt x="1046" y="459"/>
                  </a:lnTo>
                  <a:lnTo>
                    <a:pt x="1050" y="461"/>
                  </a:lnTo>
                  <a:lnTo>
                    <a:pt x="1053" y="461"/>
                  </a:lnTo>
                  <a:lnTo>
                    <a:pt x="1055" y="461"/>
                  </a:lnTo>
                  <a:lnTo>
                    <a:pt x="1053" y="464"/>
                  </a:lnTo>
                  <a:lnTo>
                    <a:pt x="1051" y="466"/>
                  </a:lnTo>
                  <a:lnTo>
                    <a:pt x="1050" y="469"/>
                  </a:lnTo>
                  <a:lnTo>
                    <a:pt x="1048" y="471"/>
                  </a:lnTo>
                  <a:lnTo>
                    <a:pt x="1046" y="473"/>
                  </a:lnTo>
                  <a:lnTo>
                    <a:pt x="1043" y="469"/>
                  </a:lnTo>
                  <a:lnTo>
                    <a:pt x="1040" y="473"/>
                  </a:lnTo>
                  <a:lnTo>
                    <a:pt x="1043" y="471"/>
                  </a:lnTo>
                  <a:lnTo>
                    <a:pt x="1043" y="473"/>
                  </a:lnTo>
                  <a:lnTo>
                    <a:pt x="1045" y="474"/>
                  </a:lnTo>
                  <a:lnTo>
                    <a:pt x="1038" y="480"/>
                  </a:lnTo>
                  <a:lnTo>
                    <a:pt x="1040" y="481"/>
                  </a:lnTo>
                  <a:lnTo>
                    <a:pt x="1036" y="485"/>
                  </a:lnTo>
                  <a:lnTo>
                    <a:pt x="1034" y="488"/>
                  </a:lnTo>
                  <a:lnTo>
                    <a:pt x="1031" y="488"/>
                  </a:lnTo>
                  <a:lnTo>
                    <a:pt x="1033" y="488"/>
                  </a:lnTo>
                  <a:lnTo>
                    <a:pt x="1033" y="492"/>
                  </a:lnTo>
                  <a:lnTo>
                    <a:pt x="1034" y="488"/>
                  </a:lnTo>
                  <a:lnTo>
                    <a:pt x="1036" y="490"/>
                  </a:lnTo>
                  <a:lnTo>
                    <a:pt x="1031" y="495"/>
                  </a:lnTo>
                  <a:lnTo>
                    <a:pt x="1029" y="495"/>
                  </a:lnTo>
                  <a:lnTo>
                    <a:pt x="1021" y="498"/>
                  </a:lnTo>
                  <a:lnTo>
                    <a:pt x="1017" y="500"/>
                  </a:lnTo>
                  <a:lnTo>
                    <a:pt x="1016" y="500"/>
                  </a:lnTo>
                  <a:lnTo>
                    <a:pt x="1014" y="505"/>
                  </a:lnTo>
                  <a:lnTo>
                    <a:pt x="1011" y="502"/>
                  </a:lnTo>
                  <a:lnTo>
                    <a:pt x="1009" y="495"/>
                  </a:lnTo>
                  <a:lnTo>
                    <a:pt x="1011" y="498"/>
                  </a:lnTo>
                  <a:lnTo>
                    <a:pt x="1011" y="493"/>
                  </a:lnTo>
                  <a:lnTo>
                    <a:pt x="1009" y="495"/>
                  </a:lnTo>
                  <a:lnTo>
                    <a:pt x="1005" y="493"/>
                  </a:lnTo>
                  <a:lnTo>
                    <a:pt x="1002" y="493"/>
                  </a:lnTo>
                  <a:lnTo>
                    <a:pt x="997" y="485"/>
                  </a:lnTo>
                  <a:lnTo>
                    <a:pt x="1002" y="474"/>
                  </a:lnTo>
                  <a:lnTo>
                    <a:pt x="1002" y="464"/>
                  </a:lnTo>
                  <a:lnTo>
                    <a:pt x="1002" y="461"/>
                  </a:lnTo>
                  <a:lnTo>
                    <a:pt x="1004" y="451"/>
                  </a:lnTo>
                  <a:lnTo>
                    <a:pt x="1005" y="445"/>
                  </a:lnTo>
                  <a:lnTo>
                    <a:pt x="1007" y="449"/>
                  </a:lnTo>
                  <a:lnTo>
                    <a:pt x="1012" y="449"/>
                  </a:lnTo>
                  <a:lnTo>
                    <a:pt x="1012" y="452"/>
                  </a:lnTo>
                  <a:lnTo>
                    <a:pt x="1016" y="451"/>
                  </a:lnTo>
                  <a:lnTo>
                    <a:pt x="1016" y="456"/>
                  </a:lnTo>
                  <a:lnTo>
                    <a:pt x="1019" y="461"/>
                  </a:lnTo>
                  <a:lnTo>
                    <a:pt x="1017" y="457"/>
                  </a:lnTo>
                  <a:lnTo>
                    <a:pt x="1019" y="452"/>
                  </a:lnTo>
                  <a:lnTo>
                    <a:pt x="1017" y="452"/>
                  </a:lnTo>
                  <a:lnTo>
                    <a:pt x="1017" y="451"/>
                  </a:lnTo>
                  <a:lnTo>
                    <a:pt x="1016" y="447"/>
                  </a:lnTo>
                  <a:lnTo>
                    <a:pt x="1017" y="445"/>
                  </a:lnTo>
                  <a:lnTo>
                    <a:pt x="1014" y="447"/>
                  </a:lnTo>
                  <a:lnTo>
                    <a:pt x="1017" y="442"/>
                  </a:lnTo>
                  <a:lnTo>
                    <a:pt x="1016" y="442"/>
                  </a:lnTo>
                  <a:lnTo>
                    <a:pt x="1014" y="445"/>
                  </a:lnTo>
                  <a:lnTo>
                    <a:pt x="1009" y="447"/>
                  </a:lnTo>
                  <a:lnTo>
                    <a:pt x="1005" y="442"/>
                  </a:lnTo>
                  <a:lnTo>
                    <a:pt x="1005" y="439"/>
                  </a:lnTo>
                  <a:lnTo>
                    <a:pt x="1007" y="437"/>
                  </a:lnTo>
                  <a:lnTo>
                    <a:pt x="1005" y="437"/>
                  </a:lnTo>
                  <a:lnTo>
                    <a:pt x="1009" y="430"/>
                  </a:lnTo>
                  <a:lnTo>
                    <a:pt x="1005" y="422"/>
                  </a:lnTo>
                  <a:lnTo>
                    <a:pt x="1007" y="420"/>
                  </a:lnTo>
                  <a:lnTo>
                    <a:pt x="1009" y="422"/>
                  </a:lnTo>
                  <a:lnTo>
                    <a:pt x="1007" y="420"/>
                  </a:lnTo>
                  <a:lnTo>
                    <a:pt x="1005" y="420"/>
                  </a:lnTo>
                  <a:lnTo>
                    <a:pt x="1004" y="413"/>
                  </a:lnTo>
                  <a:lnTo>
                    <a:pt x="1005" y="411"/>
                  </a:lnTo>
                  <a:close/>
                  <a:moveTo>
                    <a:pt x="1096" y="408"/>
                  </a:moveTo>
                  <a:lnTo>
                    <a:pt x="1098" y="408"/>
                  </a:lnTo>
                  <a:lnTo>
                    <a:pt x="1098" y="410"/>
                  </a:lnTo>
                  <a:lnTo>
                    <a:pt x="1096" y="410"/>
                  </a:lnTo>
                  <a:lnTo>
                    <a:pt x="1096" y="408"/>
                  </a:lnTo>
                  <a:close/>
                  <a:moveTo>
                    <a:pt x="1024" y="406"/>
                  </a:moveTo>
                  <a:lnTo>
                    <a:pt x="1026" y="406"/>
                  </a:lnTo>
                  <a:lnTo>
                    <a:pt x="1026" y="410"/>
                  </a:lnTo>
                  <a:lnTo>
                    <a:pt x="1024" y="410"/>
                  </a:lnTo>
                  <a:lnTo>
                    <a:pt x="1024" y="406"/>
                  </a:lnTo>
                  <a:close/>
                  <a:moveTo>
                    <a:pt x="1011" y="392"/>
                  </a:moveTo>
                  <a:lnTo>
                    <a:pt x="1012" y="396"/>
                  </a:lnTo>
                  <a:lnTo>
                    <a:pt x="1019" y="394"/>
                  </a:lnTo>
                  <a:lnTo>
                    <a:pt x="1019" y="398"/>
                  </a:lnTo>
                  <a:lnTo>
                    <a:pt x="1021" y="401"/>
                  </a:lnTo>
                  <a:lnTo>
                    <a:pt x="1026" y="398"/>
                  </a:lnTo>
                  <a:lnTo>
                    <a:pt x="1021" y="406"/>
                  </a:lnTo>
                  <a:lnTo>
                    <a:pt x="1024" y="410"/>
                  </a:lnTo>
                  <a:lnTo>
                    <a:pt x="1024" y="413"/>
                  </a:lnTo>
                  <a:lnTo>
                    <a:pt x="1026" y="411"/>
                  </a:lnTo>
                  <a:lnTo>
                    <a:pt x="1028" y="411"/>
                  </a:lnTo>
                  <a:lnTo>
                    <a:pt x="1029" y="415"/>
                  </a:lnTo>
                  <a:lnTo>
                    <a:pt x="1031" y="416"/>
                  </a:lnTo>
                  <a:lnTo>
                    <a:pt x="1031" y="420"/>
                  </a:lnTo>
                  <a:lnTo>
                    <a:pt x="1033" y="418"/>
                  </a:lnTo>
                  <a:lnTo>
                    <a:pt x="1033" y="420"/>
                  </a:lnTo>
                  <a:lnTo>
                    <a:pt x="1034" y="418"/>
                  </a:lnTo>
                  <a:lnTo>
                    <a:pt x="1034" y="420"/>
                  </a:lnTo>
                  <a:lnTo>
                    <a:pt x="1036" y="422"/>
                  </a:lnTo>
                  <a:lnTo>
                    <a:pt x="1038" y="420"/>
                  </a:lnTo>
                  <a:lnTo>
                    <a:pt x="1040" y="423"/>
                  </a:lnTo>
                  <a:lnTo>
                    <a:pt x="1041" y="425"/>
                  </a:lnTo>
                  <a:lnTo>
                    <a:pt x="1043" y="425"/>
                  </a:lnTo>
                  <a:lnTo>
                    <a:pt x="1038" y="428"/>
                  </a:lnTo>
                  <a:lnTo>
                    <a:pt x="1034" y="430"/>
                  </a:lnTo>
                  <a:lnTo>
                    <a:pt x="1034" y="432"/>
                  </a:lnTo>
                  <a:lnTo>
                    <a:pt x="1033" y="432"/>
                  </a:lnTo>
                  <a:lnTo>
                    <a:pt x="1034" y="428"/>
                  </a:lnTo>
                  <a:lnTo>
                    <a:pt x="1034" y="427"/>
                  </a:lnTo>
                  <a:lnTo>
                    <a:pt x="1033" y="430"/>
                  </a:lnTo>
                  <a:lnTo>
                    <a:pt x="1031" y="425"/>
                  </a:lnTo>
                  <a:lnTo>
                    <a:pt x="1026" y="425"/>
                  </a:lnTo>
                  <a:lnTo>
                    <a:pt x="1022" y="420"/>
                  </a:lnTo>
                  <a:lnTo>
                    <a:pt x="1021" y="420"/>
                  </a:lnTo>
                  <a:lnTo>
                    <a:pt x="1019" y="415"/>
                  </a:lnTo>
                  <a:lnTo>
                    <a:pt x="1014" y="415"/>
                  </a:lnTo>
                  <a:lnTo>
                    <a:pt x="1012" y="415"/>
                  </a:lnTo>
                  <a:lnTo>
                    <a:pt x="1012" y="411"/>
                  </a:lnTo>
                  <a:lnTo>
                    <a:pt x="1016" y="410"/>
                  </a:lnTo>
                  <a:lnTo>
                    <a:pt x="1016" y="406"/>
                  </a:lnTo>
                  <a:lnTo>
                    <a:pt x="1014" y="406"/>
                  </a:lnTo>
                  <a:lnTo>
                    <a:pt x="1011" y="408"/>
                  </a:lnTo>
                  <a:lnTo>
                    <a:pt x="1011" y="410"/>
                  </a:lnTo>
                  <a:lnTo>
                    <a:pt x="1007" y="406"/>
                  </a:lnTo>
                  <a:lnTo>
                    <a:pt x="1005" y="404"/>
                  </a:lnTo>
                  <a:lnTo>
                    <a:pt x="1007" y="398"/>
                  </a:lnTo>
                  <a:lnTo>
                    <a:pt x="1011" y="392"/>
                  </a:lnTo>
                  <a:close/>
                  <a:moveTo>
                    <a:pt x="809" y="392"/>
                  </a:moveTo>
                  <a:lnTo>
                    <a:pt x="806" y="396"/>
                  </a:lnTo>
                  <a:lnTo>
                    <a:pt x="804" y="392"/>
                  </a:lnTo>
                  <a:lnTo>
                    <a:pt x="807" y="394"/>
                  </a:lnTo>
                  <a:lnTo>
                    <a:pt x="809" y="391"/>
                  </a:lnTo>
                  <a:lnTo>
                    <a:pt x="809" y="392"/>
                  </a:lnTo>
                  <a:close/>
                  <a:moveTo>
                    <a:pt x="1060" y="384"/>
                  </a:moveTo>
                  <a:lnTo>
                    <a:pt x="1063" y="386"/>
                  </a:lnTo>
                  <a:lnTo>
                    <a:pt x="1060" y="389"/>
                  </a:lnTo>
                  <a:lnTo>
                    <a:pt x="1065" y="384"/>
                  </a:lnTo>
                  <a:lnTo>
                    <a:pt x="1072" y="386"/>
                  </a:lnTo>
                  <a:lnTo>
                    <a:pt x="1070" y="387"/>
                  </a:lnTo>
                  <a:lnTo>
                    <a:pt x="1077" y="392"/>
                  </a:lnTo>
                  <a:lnTo>
                    <a:pt x="1079" y="394"/>
                  </a:lnTo>
                  <a:lnTo>
                    <a:pt x="1074" y="398"/>
                  </a:lnTo>
                  <a:lnTo>
                    <a:pt x="1079" y="394"/>
                  </a:lnTo>
                  <a:lnTo>
                    <a:pt x="1081" y="396"/>
                  </a:lnTo>
                  <a:lnTo>
                    <a:pt x="1081" y="398"/>
                  </a:lnTo>
                  <a:lnTo>
                    <a:pt x="1081" y="396"/>
                  </a:lnTo>
                  <a:lnTo>
                    <a:pt x="1082" y="398"/>
                  </a:lnTo>
                  <a:lnTo>
                    <a:pt x="1084" y="401"/>
                  </a:lnTo>
                  <a:lnTo>
                    <a:pt x="1084" y="403"/>
                  </a:lnTo>
                  <a:lnTo>
                    <a:pt x="1086" y="403"/>
                  </a:lnTo>
                  <a:lnTo>
                    <a:pt x="1082" y="406"/>
                  </a:lnTo>
                  <a:lnTo>
                    <a:pt x="1084" y="408"/>
                  </a:lnTo>
                  <a:lnTo>
                    <a:pt x="1079" y="411"/>
                  </a:lnTo>
                  <a:lnTo>
                    <a:pt x="1079" y="410"/>
                  </a:lnTo>
                  <a:lnTo>
                    <a:pt x="1077" y="411"/>
                  </a:lnTo>
                  <a:lnTo>
                    <a:pt x="1075" y="408"/>
                  </a:lnTo>
                  <a:lnTo>
                    <a:pt x="1077" y="413"/>
                  </a:lnTo>
                  <a:lnTo>
                    <a:pt x="1074" y="415"/>
                  </a:lnTo>
                  <a:lnTo>
                    <a:pt x="1075" y="415"/>
                  </a:lnTo>
                  <a:lnTo>
                    <a:pt x="1084" y="411"/>
                  </a:lnTo>
                  <a:lnTo>
                    <a:pt x="1082" y="420"/>
                  </a:lnTo>
                  <a:lnTo>
                    <a:pt x="1081" y="420"/>
                  </a:lnTo>
                  <a:lnTo>
                    <a:pt x="1082" y="422"/>
                  </a:lnTo>
                  <a:lnTo>
                    <a:pt x="1079" y="423"/>
                  </a:lnTo>
                  <a:lnTo>
                    <a:pt x="1081" y="423"/>
                  </a:lnTo>
                  <a:lnTo>
                    <a:pt x="1079" y="428"/>
                  </a:lnTo>
                  <a:lnTo>
                    <a:pt x="1075" y="428"/>
                  </a:lnTo>
                  <a:lnTo>
                    <a:pt x="1079" y="428"/>
                  </a:lnTo>
                  <a:lnTo>
                    <a:pt x="1075" y="428"/>
                  </a:lnTo>
                  <a:lnTo>
                    <a:pt x="1074" y="427"/>
                  </a:lnTo>
                  <a:lnTo>
                    <a:pt x="1075" y="430"/>
                  </a:lnTo>
                  <a:lnTo>
                    <a:pt x="1077" y="428"/>
                  </a:lnTo>
                  <a:lnTo>
                    <a:pt x="1075" y="430"/>
                  </a:lnTo>
                  <a:lnTo>
                    <a:pt x="1067" y="435"/>
                  </a:lnTo>
                  <a:lnTo>
                    <a:pt x="1067" y="433"/>
                  </a:lnTo>
                  <a:lnTo>
                    <a:pt x="1067" y="437"/>
                  </a:lnTo>
                  <a:lnTo>
                    <a:pt x="1060" y="432"/>
                  </a:lnTo>
                  <a:lnTo>
                    <a:pt x="1060" y="433"/>
                  </a:lnTo>
                  <a:lnTo>
                    <a:pt x="1057" y="433"/>
                  </a:lnTo>
                  <a:lnTo>
                    <a:pt x="1057" y="430"/>
                  </a:lnTo>
                  <a:lnTo>
                    <a:pt x="1058" y="427"/>
                  </a:lnTo>
                  <a:lnTo>
                    <a:pt x="1053" y="430"/>
                  </a:lnTo>
                  <a:lnTo>
                    <a:pt x="1051" y="427"/>
                  </a:lnTo>
                  <a:lnTo>
                    <a:pt x="1053" y="425"/>
                  </a:lnTo>
                  <a:lnTo>
                    <a:pt x="1048" y="427"/>
                  </a:lnTo>
                  <a:lnTo>
                    <a:pt x="1046" y="423"/>
                  </a:lnTo>
                  <a:lnTo>
                    <a:pt x="1048" y="423"/>
                  </a:lnTo>
                  <a:lnTo>
                    <a:pt x="1045" y="423"/>
                  </a:lnTo>
                  <a:lnTo>
                    <a:pt x="1045" y="420"/>
                  </a:lnTo>
                  <a:lnTo>
                    <a:pt x="1046" y="418"/>
                  </a:lnTo>
                  <a:lnTo>
                    <a:pt x="1043" y="418"/>
                  </a:lnTo>
                  <a:lnTo>
                    <a:pt x="1040" y="420"/>
                  </a:lnTo>
                  <a:lnTo>
                    <a:pt x="1038" y="418"/>
                  </a:lnTo>
                  <a:lnTo>
                    <a:pt x="1036" y="420"/>
                  </a:lnTo>
                  <a:lnTo>
                    <a:pt x="1036" y="416"/>
                  </a:lnTo>
                  <a:lnTo>
                    <a:pt x="1033" y="418"/>
                  </a:lnTo>
                  <a:lnTo>
                    <a:pt x="1033" y="416"/>
                  </a:lnTo>
                  <a:lnTo>
                    <a:pt x="1031" y="415"/>
                  </a:lnTo>
                  <a:lnTo>
                    <a:pt x="1029" y="411"/>
                  </a:lnTo>
                  <a:lnTo>
                    <a:pt x="1026" y="410"/>
                  </a:lnTo>
                  <a:lnTo>
                    <a:pt x="1026" y="408"/>
                  </a:lnTo>
                  <a:lnTo>
                    <a:pt x="1026" y="406"/>
                  </a:lnTo>
                  <a:lnTo>
                    <a:pt x="1024" y="404"/>
                  </a:lnTo>
                  <a:lnTo>
                    <a:pt x="1024" y="403"/>
                  </a:lnTo>
                  <a:lnTo>
                    <a:pt x="1028" y="399"/>
                  </a:lnTo>
                  <a:lnTo>
                    <a:pt x="1026" y="398"/>
                  </a:lnTo>
                  <a:lnTo>
                    <a:pt x="1029" y="394"/>
                  </a:lnTo>
                  <a:lnTo>
                    <a:pt x="1031" y="394"/>
                  </a:lnTo>
                  <a:lnTo>
                    <a:pt x="1034" y="398"/>
                  </a:lnTo>
                  <a:lnTo>
                    <a:pt x="1038" y="394"/>
                  </a:lnTo>
                  <a:lnTo>
                    <a:pt x="1043" y="394"/>
                  </a:lnTo>
                  <a:lnTo>
                    <a:pt x="1045" y="392"/>
                  </a:lnTo>
                  <a:lnTo>
                    <a:pt x="1048" y="387"/>
                  </a:lnTo>
                  <a:lnTo>
                    <a:pt x="1051" y="387"/>
                  </a:lnTo>
                  <a:lnTo>
                    <a:pt x="1053" y="386"/>
                  </a:lnTo>
                  <a:lnTo>
                    <a:pt x="1057" y="382"/>
                  </a:lnTo>
                  <a:lnTo>
                    <a:pt x="1060" y="384"/>
                  </a:lnTo>
                  <a:close/>
                  <a:moveTo>
                    <a:pt x="1065" y="381"/>
                  </a:moveTo>
                  <a:lnTo>
                    <a:pt x="1067" y="381"/>
                  </a:lnTo>
                  <a:lnTo>
                    <a:pt x="1067" y="384"/>
                  </a:lnTo>
                  <a:lnTo>
                    <a:pt x="1065" y="384"/>
                  </a:lnTo>
                  <a:lnTo>
                    <a:pt x="1065" y="381"/>
                  </a:lnTo>
                  <a:close/>
                  <a:moveTo>
                    <a:pt x="816" y="382"/>
                  </a:moveTo>
                  <a:lnTo>
                    <a:pt x="814" y="379"/>
                  </a:lnTo>
                  <a:lnTo>
                    <a:pt x="816" y="377"/>
                  </a:lnTo>
                  <a:lnTo>
                    <a:pt x="818" y="381"/>
                  </a:lnTo>
                  <a:lnTo>
                    <a:pt x="816" y="382"/>
                  </a:lnTo>
                  <a:close/>
                  <a:moveTo>
                    <a:pt x="1089" y="375"/>
                  </a:moveTo>
                  <a:lnTo>
                    <a:pt x="1086" y="381"/>
                  </a:lnTo>
                  <a:lnTo>
                    <a:pt x="1086" y="377"/>
                  </a:lnTo>
                  <a:lnTo>
                    <a:pt x="1089" y="375"/>
                  </a:lnTo>
                  <a:close/>
                  <a:moveTo>
                    <a:pt x="818" y="372"/>
                  </a:moveTo>
                  <a:lnTo>
                    <a:pt x="819" y="375"/>
                  </a:lnTo>
                  <a:lnTo>
                    <a:pt x="816" y="374"/>
                  </a:lnTo>
                  <a:lnTo>
                    <a:pt x="818" y="372"/>
                  </a:lnTo>
                  <a:close/>
                  <a:moveTo>
                    <a:pt x="824" y="372"/>
                  </a:moveTo>
                  <a:lnTo>
                    <a:pt x="826" y="372"/>
                  </a:lnTo>
                  <a:lnTo>
                    <a:pt x="826" y="375"/>
                  </a:lnTo>
                  <a:lnTo>
                    <a:pt x="824" y="375"/>
                  </a:lnTo>
                  <a:lnTo>
                    <a:pt x="824" y="372"/>
                  </a:lnTo>
                  <a:close/>
                  <a:moveTo>
                    <a:pt x="821" y="370"/>
                  </a:moveTo>
                  <a:lnTo>
                    <a:pt x="824" y="370"/>
                  </a:lnTo>
                  <a:lnTo>
                    <a:pt x="824" y="372"/>
                  </a:lnTo>
                  <a:lnTo>
                    <a:pt x="821" y="372"/>
                  </a:lnTo>
                  <a:lnTo>
                    <a:pt x="821" y="370"/>
                  </a:lnTo>
                  <a:close/>
                  <a:moveTo>
                    <a:pt x="1087" y="369"/>
                  </a:moveTo>
                  <a:lnTo>
                    <a:pt x="1089" y="369"/>
                  </a:lnTo>
                  <a:lnTo>
                    <a:pt x="1089" y="370"/>
                  </a:lnTo>
                  <a:lnTo>
                    <a:pt x="1084" y="370"/>
                  </a:lnTo>
                  <a:lnTo>
                    <a:pt x="1086" y="369"/>
                  </a:lnTo>
                  <a:lnTo>
                    <a:pt x="1087" y="369"/>
                  </a:lnTo>
                  <a:close/>
                  <a:moveTo>
                    <a:pt x="826" y="367"/>
                  </a:moveTo>
                  <a:lnTo>
                    <a:pt x="828" y="367"/>
                  </a:lnTo>
                  <a:lnTo>
                    <a:pt x="828" y="369"/>
                  </a:lnTo>
                  <a:lnTo>
                    <a:pt x="826" y="369"/>
                  </a:lnTo>
                  <a:lnTo>
                    <a:pt x="826" y="367"/>
                  </a:lnTo>
                  <a:close/>
                  <a:moveTo>
                    <a:pt x="1081" y="365"/>
                  </a:moveTo>
                  <a:lnTo>
                    <a:pt x="1084" y="365"/>
                  </a:lnTo>
                  <a:lnTo>
                    <a:pt x="1084" y="369"/>
                  </a:lnTo>
                  <a:lnTo>
                    <a:pt x="1081" y="369"/>
                  </a:lnTo>
                  <a:lnTo>
                    <a:pt x="1081" y="365"/>
                  </a:lnTo>
                  <a:close/>
                  <a:moveTo>
                    <a:pt x="1086" y="365"/>
                  </a:moveTo>
                  <a:lnTo>
                    <a:pt x="1087" y="365"/>
                  </a:lnTo>
                  <a:lnTo>
                    <a:pt x="1087" y="367"/>
                  </a:lnTo>
                  <a:lnTo>
                    <a:pt x="1086" y="367"/>
                  </a:lnTo>
                  <a:lnTo>
                    <a:pt x="1086" y="365"/>
                  </a:lnTo>
                  <a:close/>
                  <a:moveTo>
                    <a:pt x="1016" y="362"/>
                  </a:moveTo>
                  <a:lnTo>
                    <a:pt x="1021" y="362"/>
                  </a:lnTo>
                  <a:lnTo>
                    <a:pt x="1021" y="363"/>
                  </a:lnTo>
                  <a:lnTo>
                    <a:pt x="1022" y="365"/>
                  </a:lnTo>
                  <a:lnTo>
                    <a:pt x="1021" y="370"/>
                  </a:lnTo>
                  <a:lnTo>
                    <a:pt x="1017" y="372"/>
                  </a:lnTo>
                  <a:lnTo>
                    <a:pt x="1016" y="370"/>
                  </a:lnTo>
                  <a:lnTo>
                    <a:pt x="1016" y="362"/>
                  </a:lnTo>
                  <a:close/>
                  <a:moveTo>
                    <a:pt x="831" y="360"/>
                  </a:moveTo>
                  <a:lnTo>
                    <a:pt x="833" y="360"/>
                  </a:lnTo>
                  <a:lnTo>
                    <a:pt x="833" y="362"/>
                  </a:lnTo>
                  <a:lnTo>
                    <a:pt x="831" y="362"/>
                  </a:lnTo>
                  <a:lnTo>
                    <a:pt x="831" y="360"/>
                  </a:lnTo>
                  <a:close/>
                  <a:moveTo>
                    <a:pt x="847" y="360"/>
                  </a:moveTo>
                  <a:lnTo>
                    <a:pt x="847" y="365"/>
                  </a:lnTo>
                  <a:lnTo>
                    <a:pt x="847" y="360"/>
                  </a:lnTo>
                  <a:close/>
                  <a:moveTo>
                    <a:pt x="1086" y="360"/>
                  </a:moveTo>
                  <a:lnTo>
                    <a:pt x="1089" y="360"/>
                  </a:lnTo>
                  <a:lnTo>
                    <a:pt x="1089" y="362"/>
                  </a:lnTo>
                  <a:lnTo>
                    <a:pt x="1086" y="362"/>
                  </a:lnTo>
                  <a:lnTo>
                    <a:pt x="1086" y="360"/>
                  </a:lnTo>
                  <a:close/>
                  <a:moveTo>
                    <a:pt x="1075" y="358"/>
                  </a:moveTo>
                  <a:lnTo>
                    <a:pt x="1079" y="362"/>
                  </a:lnTo>
                  <a:lnTo>
                    <a:pt x="1081" y="360"/>
                  </a:lnTo>
                  <a:lnTo>
                    <a:pt x="1082" y="365"/>
                  </a:lnTo>
                  <a:lnTo>
                    <a:pt x="1081" y="369"/>
                  </a:lnTo>
                  <a:lnTo>
                    <a:pt x="1075" y="369"/>
                  </a:lnTo>
                  <a:lnTo>
                    <a:pt x="1075" y="365"/>
                  </a:lnTo>
                  <a:lnTo>
                    <a:pt x="1072" y="362"/>
                  </a:lnTo>
                  <a:lnTo>
                    <a:pt x="1072" y="360"/>
                  </a:lnTo>
                  <a:lnTo>
                    <a:pt x="1075" y="358"/>
                  </a:lnTo>
                  <a:close/>
                  <a:moveTo>
                    <a:pt x="848" y="358"/>
                  </a:moveTo>
                  <a:lnTo>
                    <a:pt x="848" y="363"/>
                  </a:lnTo>
                  <a:lnTo>
                    <a:pt x="847" y="358"/>
                  </a:lnTo>
                  <a:lnTo>
                    <a:pt x="848" y="358"/>
                  </a:lnTo>
                  <a:close/>
                  <a:moveTo>
                    <a:pt x="777" y="363"/>
                  </a:moveTo>
                  <a:lnTo>
                    <a:pt x="775" y="363"/>
                  </a:lnTo>
                  <a:lnTo>
                    <a:pt x="773" y="360"/>
                  </a:lnTo>
                  <a:lnTo>
                    <a:pt x="777" y="358"/>
                  </a:lnTo>
                  <a:lnTo>
                    <a:pt x="777" y="363"/>
                  </a:lnTo>
                  <a:close/>
                  <a:moveTo>
                    <a:pt x="785" y="355"/>
                  </a:moveTo>
                  <a:lnTo>
                    <a:pt x="785" y="357"/>
                  </a:lnTo>
                  <a:lnTo>
                    <a:pt x="785" y="355"/>
                  </a:lnTo>
                  <a:close/>
                  <a:moveTo>
                    <a:pt x="840" y="346"/>
                  </a:moveTo>
                  <a:lnTo>
                    <a:pt x="842" y="346"/>
                  </a:lnTo>
                  <a:lnTo>
                    <a:pt x="842" y="350"/>
                  </a:lnTo>
                  <a:lnTo>
                    <a:pt x="840" y="350"/>
                  </a:lnTo>
                  <a:lnTo>
                    <a:pt x="840" y="346"/>
                  </a:lnTo>
                  <a:close/>
                  <a:moveTo>
                    <a:pt x="790" y="343"/>
                  </a:moveTo>
                  <a:lnTo>
                    <a:pt x="794" y="343"/>
                  </a:lnTo>
                  <a:lnTo>
                    <a:pt x="794" y="345"/>
                  </a:lnTo>
                  <a:lnTo>
                    <a:pt x="790" y="345"/>
                  </a:lnTo>
                  <a:lnTo>
                    <a:pt x="790" y="343"/>
                  </a:lnTo>
                  <a:close/>
                  <a:moveTo>
                    <a:pt x="838" y="343"/>
                  </a:moveTo>
                  <a:lnTo>
                    <a:pt x="838" y="350"/>
                  </a:lnTo>
                  <a:lnTo>
                    <a:pt x="836" y="350"/>
                  </a:lnTo>
                  <a:lnTo>
                    <a:pt x="838" y="346"/>
                  </a:lnTo>
                  <a:lnTo>
                    <a:pt x="836" y="350"/>
                  </a:lnTo>
                  <a:lnTo>
                    <a:pt x="840" y="351"/>
                  </a:lnTo>
                  <a:lnTo>
                    <a:pt x="840" y="350"/>
                  </a:lnTo>
                  <a:lnTo>
                    <a:pt x="842" y="350"/>
                  </a:lnTo>
                  <a:lnTo>
                    <a:pt x="842" y="348"/>
                  </a:lnTo>
                  <a:lnTo>
                    <a:pt x="843" y="358"/>
                  </a:lnTo>
                  <a:lnTo>
                    <a:pt x="845" y="362"/>
                  </a:lnTo>
                  <a:lnTo>
                    <a:pt x="845" y="358"/>
                  </a:lnTo>
                  <a:lnTo>
                    <a:pt x="847" y="358"/>
                  </a:lnTo>
                  <a:lnTo>
                    <a:pt x="847" y="360"/>
                  </a:lnTo>
                  <a:lnTo>
                    <a:pt x="845" y="363"/>
                  </a:lnTo>
                  <a:lnTo>
                    <a:pt x="847" y="365"/>
                  </a:lnTo>
                  <a:lnTo>
                    <a:pt x="845" y="365"/>
                  </a:lnTo>
                  <a:lnTo>
                    <a:pt x="845" y="369"/>
                  </a:lnTo>
                  <a:lnTo>
                    <a:pt x="848" y="365"/>
                  </a:lnTo>
                  <a:lnTo>
                    <a:pt x="850" y="367"/>
                  </a:lnTo>
                  <a:lnTo>
                    <a:pt x="850" y="372"/>
                  </a:lnTo>
                  <a:lnTo>
                    <a:pt x="848" y="375"/>
                  </a:lnTo>
                  <a:lnTo>
                    <a:pt x="847" y="384"/>
                  </a:lnTo>
                  <a:lnTo>
                    <a:pt x="840" y="386"/>
                  </a:lnTo>
                  <a:lnTo>
                    <a:pt x="840" y="379"/>
                  </a:lnTo>
                  <a:lnTo>
                    <a:pt x="838" y="379"/>
                  </a:lnTo>
                  <a:lnTo>
                    <a:pt x="838" y="382"/>
                  </a:lnTo>
                  <a:lnTo>
                    <a:pt x="836" y="386"/>
                  </a:lnTo>
                  <a:lnTo>
                    <a:pt x="836" y="381"/>
                  </a:lnTo>
                  <a:lnTo>
                    <a:pt x="833" y="381"/>
                  </a:lnTo>
                  <a:lnTo>
                    <a:pt x="833" y="374"/>
                  </a:lnTo>
                  <a:lnTo>
                    <a:pt x="836" y="372"/>
                  </a:lnTo>
                  <a:lnTo>
                    <a:pt x="833" y="365"/>
                  </a:lnTo>
                  <a:lnTo>
                    <a:pt x="835" y="362"/>
                  </a:lnTo>
                  <a:lnTo>
                    <a:pt x="836" y="362"/>
                  </a:lnTo>
                  <a:lnTo>
                    <a:pt x="838" y="372"/>
                  </a:lnTo>
                  <a:lnTo>
                    <a:pt x="838" y="374"/>
                  </a:lnTo>
                  <a:lnTo>
                    <a:pt x="838" y="370"/>
                  </a:lnTo>
                  <a:lnTo>
                    <a:pt x="836" y="362"/>
                  </a:lnTo>
                  <a:lnTo>
                    <a:pt x="836" y="360"/>
                  </a:lnTo>
                  <a:lnTo>
                    <a:pt x="835" y="362"/>
                  </a:lnTo>
                  <a:lnTo>
                    <a:pt x="835" y="358"/>
                  </a:lnTo>
                  <a:lnTo>
                    <a:pt x="831" y="357"/>
                  </a:lnTo>
                  <a:lnTo>
                    <a:pt x="831" y="351"/>
                  </a:lnTo>
                  <a:lnTo>
                    <a:pt x="830" y="353"/>
                  </a:lnTo>
                  <a:lnTo>
                    <a:pt x="830" y="348"/>
                  </a:lnTo>
                  <a:lnTo>
                    <a:pt x="826" y="343"/>
                  </a:lnTo>
                  <a:lnTo>
                    <a:pt x="833" y="346"/>
                  </a:lnTo>
                  <a:lnTo>
                    <a:pt x="835" y="345"/>
                  </a:lnTo>
                  <a:lnTo>
                    <a:pt x="838" y="343"/>
                  </a:lnTo>
                  <a:close/>
                  <a:moveTo>
                    <a:pt x="785" y="341"/>
                  </a:moveTo>
                  <a:lnTo>
                    <a:pt x="787" y="343"/>
                  </a:lnTo>
                  <a:lnTo>
                    <a:pt x="790" y="343"/>
                  </a:lnTo>
                  <a:lnTo>
                    <a:pt x="790" y="345"/>
                  </a:lnTo>
                  <a:lnTo>
                    <a:pt x="792" y="346"/>
                  </a:lnTo>
                  <a:lnTo>
                    <a:pt x="789" y="350"/>
                  </a:lnTo>
                  <a:lnTo>
                    <a:pt x="787" y="343"/>
                  </a:lnTo>
                  <a:lnTo>
                    <a:pt x="785" y="343"/>
                  </a:lnTo>
                  <a:lnTo>
                    <a:pt x="783" y="341"/>
                  </a:lnTo>
                  <a:lnTo>
                    <a:pt x="785" y="341"/>
                  </a:lnTo>
                  <a:close/>
                  <a:moveTo>
                    <a:pt x="838" y="340"/>
                  </a:moveTo>
                  <a:lnTo>
                    <a:pt x="842" y="340"/>
                  </a:lnTo>
                  <a:lnTo>
                    <a:pt x="842" y="343"/>
                  </a:lnTo>
                  <a:lnTo>
                    <a:pt x="838" y="343"/>
                  </a:lnTo>
                  <a:lnTo>
                    <a:pt x="838" y="340"/>
                  </a:lnTo>
                  <a:close/>
                  <a:moveTo>
                    <a:pt x="753" y="341"/>
                  </a:moveTo>
                  <a:lnTo>
                    <a:pt x="754" y="341"/>
                  </a:lnTo>
                  <a:lnTo>
                    <a:pt x="754" y="343"/>
                  </a:lnTo>
                  <a:lnTo>
                    <a:pt x="753" y="343"/>
                  </a:lnTo>
                  <a:lnTo>
                    <a:pt x="753" y="341"/>
                  </a:lnTo>
                  <a:close/>
                  <a:moveTo>
                    <a:pt x="1060" y="340"/>
                  </a:moveTo>
                  <a:lnTo>
                    <a:pt x="1065" y="340"/>
                  </a:lnTo>
                  <a:lnTo>
                    <a:pt x="1067" y="341"/>
                  </a:lnTo>
                  <a:lnTo>
                    <a:pt x="1069" y="341"/>
                  </a:lnTo>
                  <a:lnTo>
                    <a:pt x="1070" y="343"/>
                  </a:lnTo>
                  <a:lnTo>
                    <a:pt x="1070" y="341"/>
                  </a:lnTo>
                  <a:lnTo>
                    <a:pt x="1072" y="343"/>
                  </a:lnTo>
                  <a:lnTo>
                    <a:pt x="1075" y="341"/>
                  </a:lnTo>
                  <a:lnTo>
                    <a:pt x="1075" y="345"/>
                  </a:lnTo>
                  <a:lnTo>
                    <a:pt x="1079" y="343"/>
                  </a:lnTo>
                  <a:lnTo>
                    <a:pt x="1081" y="346"/>
                  </a:lnTo>
                  <a:lnTo>
                    <a:pt x="1082" y="346"/>
                  </a:lnTo>
                  <a:lnTo>
                    <a:pt x="1084" y="351"/>
                  </a:lnTo>
                  <a:lnTo>
                    <a:pt x="1081" y="353"/>
                  </a:lnTo>
                  <a:lnTo>
                    <a:pt x="1079" y="357"/>
                  </a:lnTo>
                  <a:lnTo>
                    <a:pt x="1081" y="357"/>
                  </a:lnTo>
                  <a:lnTo>
                    <a:pt x="1079" y="360"/>
                  </a:lnTo>
                  <a:lnTo>
                    <a:pt x="1075" y="358"/>
                  </a:lnTo>
                  <a:lnTo>
                    <a:pt x="1072" y="360"/>
                  </a:lnTo>
                  <a:lnTo>
                    <a:pt x="1072" y="358"/>
                  </a:lnTo>
                  <a:lnTo>
                    <a:pt x="1069" y="357"/>
                  </a:lnTo>
                  <a:lnTo>
                    <a:pt x="1067" y="358"/>
                  </a:lnTo>
                  <a:lnTo>
                    <a:pt x="1062" y="350"/>
                  </a:lnTo>
                  <a:lnTo>
                    <a:pt x="1058" y="350"/>
                  </a:lnTo>
                  <a:lnTo>
                    <a:pt x="1057" y="341"/>
                  </a:lnTo>
                  <a:lnTo>
                    <a:pt x="1058" y="340"/>
                  </a:lnTo>
                  <a:lnTo>
                    <a:pt x="1060" y="340"/>
                  </a:lnTo>
                  <a:close/>
                  <a:moveTo>
                    <a:pt x="1033" y="340"/>
                  </a:moveTo>
                  <a:lnTo>
                    <a:pt x="1034" y="341"/>
                  </a:lnTo>
                  <a:lnTo>
                    <a:pt x="1033" y="345"/>
                  </a:lnTo>
                  <a:lnTo>
                    <a:pt x="1028" y="346"/>
                  </a:lnTo>
                  <a:lnTo>
                    <a:pt x="1026" y="350"/>
                  </a:lnTo>
                  <a:lnTo>
                    <a:pt x="1022" y="346"/>
                  </a:lnTo>
                  <a:lnTo>
                    <a:pt x="1022" y="345"/>
                  </a:lnTo>
                  <a:lnTo>
                    <a:pt x="1026" y="345"/>
                  </a:lnTo>
                  <a:lnTo>
                    <a:pt x="1029" y="340"/>
                  </a:lnTo>
                  <a:lnTo>
                    <a:pt x="1033" y="340"/>
                  </a:lnTo>
                  <a:close/>
                  <a:moveTo>
                    <a:pt x="1077" y="338"/>
                  </a:moveTo>
                  <a:lnTo>
                    <a:pt x="1079" y="338"/>
                  </a:lnTo>
                  <a:lnTo>
                    <a:pt x="1079" y="341"/>
                  </a:lnTo>
                  <a:lnTo>
                    <a:pt x="1077" y="341"/>
                  </a:lnTo>
                  <a:lnTo>
                    <a:pt x="1077" y="338"/>
                  </a:lnTo>
                  <a:close/>
                  <a:moveTo>
                    <a:pt x="1050" y="340"/>
                  </a:moveTo>
                  <a:lnTo>
                    <a:pt x="1051" y="341"/>
                  </a:lnTo>
                  <a:lnTo>
                    <a:pt x="1050" y="338"/>
                  </a:lnTo>
                  <a:lnTo>
                    <a:pt x="1053" y="336"/>
                  </a:lnTo>
                  <a:lnTo>
                    <a:pt x="1053" y="338"/>
                  </a:lnTo>
                  <a:lnTo>
                    <a:pt x="1057" y="340"/>
                  </a:lnTo>
                  <a:lnTo>
                    <a:pt x="1057" y="348"/>
                  </a:lnTo>
                  <a:lnTo>
                    <a:pt x="1058" y="350"/>
                  </a:lnTo>
                  <a:lnTo>
                    <a:pt x="1062" y="350"/>
                  </a:lnTo>
                  <a:lnTo>
                    <a:pt x="1067" y="358"/>
                  </a:lnTo>
                  <a:lnTo>
                    <a:pt x="1069" y="357"/>
                  </a:lnTo>
                  <a:lnTo>
                    <a:pt x="1072" y="358"/>
                  </a:lnTo>
                  <a:lnTo>
                    <a:pt x="1070" y="362"/>
                  </a:lnTo>
                  <a:lnTo>
                    <a:pt x="1075" y="365"/>
                  </a:lnTo>
                  <a:lnTo>
                    <a:pt x="1075" y="367"/>
                  </a:lnTo>
                  <a:lnTo>
                    <a:pt x="1075" y="369"/>
                  </a:lnTo>
                  <a:lnTo>
                    <a:pt x="1077" y="370"/>
                  </a:lnTo>
                  <a:lnTo>
                    <a:pt x="1075" y="372"/>
                  </a:lnTo>
                  <a:lnTo>
                    <a:pt x="1079" y="372"/>
                  </a:lnTo>
                  <a:lnTo>
                    <a:pt x="1084" y="374"/>
                  </a:lnTo>
                  <a:lnTo>
                    <a:pt x="1084" y="375"/>
                  </a:lnTo>
                  <a:lnTo>
                    <a:pt x="1084" y="379"/>
                  </a:lnTo>
                  <a:lnTo>
                    <a:pt x="1081" y="379"/>
                  </a:lnTo>
                  <a:lnTo>
                    <a:pt x="1081" y="381"/>
                  </a:lnTo>
                  <a:lnTo>
                    <a:pt x="1079" y="379"/>
                  </a:lnTo>
                  <a:lnTo>
                    <a:pt x="1081" y="377"/>
                  </a:lnTo>
                  <a:lnTo>
                    <a:pt x="1077" y="379"/>
                  </a:lnTo>
                  <a:lnTo>
                    <a:pt x="1077" y="381"/>
                  </a:lnTo>
                  <a:lnTo>
                    <a:pt x="1082" y="384"/>
                  </a:lnTo>
                  <a:lnTo>
                    <a:pt x="1081" y="384"/>
                  </a:lnTo>
                  <a:lnTo>
                    <a:pt x="1082" y="387"/>
                  </a:lnTo>
                  <a:lnTo>
                    <a:pt x="1081" y="389"/>
                  </a:lnTo>
                  <a:lnTo>
                    <a:pt x="1074" y="386"/>
                  </a:lnTo>
                  <a:lnTo>
                    <a:pt x="1072" y="384"/>
                  </a:lnTo>
                  <a:lnTo>
                    <a:pt x="1072" y="382"/>
                  </a:lnTo>
                  <a:lnTo>
                    <a:pt x="1069" y="382"/>
                  </a:lnTo>
                  <a:lnTo>
                    <a:pt x="1069" y="379"/>
                  </a:lnTo>
                  <a:lnTo>
                    <a:pt x="1065" y="384"/>
                  </a:lnTo>
                  <a:lnTo>
                    <a:pt x="1057" y="382"/>
                  </a:lnTo>
                  <a:lnTo>
                    <a:pt x="1053" y="386"/>
                  </a:lnTo>
                  <a:lnTo>
                    <a:pt x="1048" y="387"/>
                  </a:lnTo>
                  <a:lnTo>
                    <a:pt x="1045" y="392"/>
                  </a:lnTo>
                  <a:lnTo>
                    <a:pt x="1043" y="394"/>
                  </a:lnTo>
                  <a:lnTo>
                    <a:pt x="1038" y="394"/>
                  </a:lnTo>
                  <a:lnTo>
                    <a:pt x="1034" y="396"/>
                  </a:lnTo>
                  <a:lnTo>
                    <a:pt x="1031" y="394"/>
                  </a:lnTo>
                  <a:lnTo>
                    <a:pt x="1028" y="394"/>
                  </a:lnTo>
                  <a:lnTo>
                    <a:pt x="1033" y="386"/>
                  </a:lnTo>
                  <a:lnTo>
                    <a:pt x="1028" y="382"/>
                  </a:lnTo>
                  <a:lnTo>
                    <a:pt x="1028" y="379"/>
                  </a:lnTo>
                  <a:lnTo>
                    <a:pt x="1031" y="381"/>
                  </a:lnTo>
                  <a:lnTo>
                    <a:pt x="1033" y="377"/>
                  </a:lnTo>
                  <a:lnTo>
                    <a:pt x="1033" y="375"/>
                  </a:lnTo>
                  <a:lnTo>
                    <a:pt x="1036" y="374"/>
                  </a:lnTo>
                  <a:lnTo>
                    <a:pt x="1038" y="372"/>
                  </a:lnTo>
                  <a:lnTo>
                    <a:pt x="1036" y="370"/>
                  </a:lnTo>
                  <a:lnTo>
                    <a:pt x="1038" y="370"/>
                  </a:lnTo>
                  <a:lnTo>
                    <a:pt x="1036" y="370"/>
                  </a:lnTo>
                  <a:lnTo>
                    <a:pt x="1038" y="367"/>
                  </a:lnTo>
                  <a:lnTo>
                    <a:pt x="1043" y="365"/>
                  </a:lnTo>
                  <a:lnTo>
                    <a:pt x="1045" y="367"/>
                  </a:lnTo>
                  <a:lnTo>
                    <a:pt x="1043" y="365"/>
                  </a:lnTo>
                  <a:lnTo>
                    <a:pt x="1040" y="367"/>
                  </a:lnTo>
                  <a:lnTo>
                    <a:pt x="1036" y="363"/>
                  </a:lnTo>
                  <a:lnTo>
                    <a:pt x="1033" y="367"/>
                  </a:lnTo>
                  <a:lnTo>
                    <a:pt x="1031" y="363"/>
                  </a:lnTo>
                  <a:lnTo>
                    <a:pt x="1029" y="363"/>
                  </a:lnTo>
                  <a:lnTo>
                    <a:pt x="1031" y="362"/>
                  </a:lnTo>
                  <a:lnTo>
                    <a:pt x="1028" y="362"/>
                  </a:lnTo>
                  <a:lnTo>
                    <a:pt x="1024" y="363"/>
                  </a:lnTo>
                  <a:lnTo>
                    <a:pt x="1019" y="358"/>
                  </a:lnTo>
                  <a:lnTo>
                    <a:pt x="1019" y="357"/>
                  </a:lnTo>
                  <a:lnTo>
                    <a:pt x="1022" y="351"/>
                  </a:lnTo>
                  <a:lnTo>
                    <a:pt x="1026" y="353"/>
                  </a:lnTo>
                  <a:lnTo>
                    <a:pt x="1026" y="355"/>
                  </a:lnTo>
                  <a:lnTo>
                    <a:pt x="1028" y="353"/>
                  </a:lnTo>
                  <a:lnTo>
                    <a:pt x="1031" y="358"/>
                  </a:lnTo>
                  <a:lnTo>
                    <a:pt x="1034" y="358"/>
                  </a:lnTo>
                  <a:lnTo>
                    <a:pt x="1036" y="357"/>
                  </a:lnTo>
                  <a:lnTo>
                    <a:pt x="1034" y="353"/>
                  </a:lnTo>
                  <a:lnTo>
                    <a:pt x="1043" y="348"/>
                  </a:lnTo>
                  <a:lnTo>
                    <a:pt x="1045" y="343"/>
                  </a:lnTo>
                  <a:lnTo>
                    <a:pt x="1043" y="343"/>
                  </a:lnTo>
                  <a:lnTo>
                    <a:pt x="1046" y="341"/>
                  </a:lnTo>
                  <a:lnTo>
                    <a:pt x="1046" y="336"/>
                  </a:lnTo>
                  <a:lnTo>
                    <a:pt x="1050" y="340"/>
                  </a:lnTo>
                  <a:close/>
                  <a:moveTo>
                    <a:pt x="842" y="334"/>
                  </a:moveTo>
                  <a:lnTo>
                    <a:pt x="843" y="336"/>
                  </a:lnTo>
                  <a:lnTo>
                    <a:pt x="842" y="338"/>
                  </a:lnTo>
                  <a:lnTo>
                    <a:pt x="838" y="338"/>
                  </a:lnTo>
                  <a:lnTo>
                    <a:pt x="836" y="336"/>
                  </a:lnTo>
                  <a:lnTo>
                    <a:pt x="842" y="334"/>
                  </a:lnTo>
                  <a:close/>
                  <a:moveTo>
                    <a:pt x="848" y="340"/>
                  </a:moveTo>
                  <a:lnTo>
                    <a:pt x="852" y="338"/>
                  </a:lnTo>
                  <a:lnTo>
                    <a:pt x="848" y="345"/>
                  </a:lnTo>
                  <a:lnTo>
                    <a:pt x="852" y="353"/>
                  </a:lnTo>
                  <a:lnTo>
                    <a:pt x="848" y="355"/>
                  </a:lnTo>
                  <a:lnTo>
                    <a:pt x="848" y="350"/>
                  </a:lnTo>
                  <a:lnTo>
                    <a:pt x="847" y="355"/>
                  </a:lnTo>
                  <a:lnTo>
                    <a:pt x="845" y="351"/>
                  </a:lnTo>
                  <a:lnTo>
                    <a:pt x="843" y="353"/>
                  </a:lnTo>
                  <a:lnTo>
                    <a:pt x="842" y="348"/>
                  </a:lnTo>
                  <a:lnTo>
                    <a:pt x="843" y="340"/>
                  </a:lnTo>
                  <a:lnTo>
                    <a:pt x="847" y="336"/>
                  </a:lnTo>
                  <a:lnTo>
                    <a:pt x="850" y="334"/>
                  </a:lnTo>
                  <a:lnTo>
                    <a:pt x="848" y="340"/>
                  </a:lnTo>
                  <a:close/>
                  <a:moveTo>
                    <a:pt x="792" y="334"/>
                  </a:moveTo>
                  <a:lnTo>
                    <a:pt x="795" y="334"/>
                  </a:lnTo>
                  <a:lnTo>
                    <a:pt x="795" y="338"/>
                  </a:lnTo>
                  <a:lnTo>
                    <a:pt x="799" y="336"/>
                  </a:lnTo>
                  <a:lnTo>
                    <a:pt x="799" y="338"/>
                  </a:lnTo>
                  <a:lnTo>
                    <a:pt x="797" y="340"/>
                  </a:lnTo>
                  <a:lnTo>
                    <a:pt x="795" y="341"/>
                  </a:lnTo>
                  <a:lnTo>
                    <a:pt x="792" y="341"/>
                  </a:lnTo>
                  <a:lnTo>
                    <a:pt x="790" y="334"/>
                  </a:lnTo>
                  <a:lnTo>
                    <a:pt x="792" y="334"/>
                  </a:lnTo>
                  <a:close/>
                  <a:moveTo>
                    <a:pt x="1051" y="333"/>
                  </a:moveTo>
                  <a:lnTo>
                    <a:pt x="1055" y="333"/>
                  </a:lnTo>
                  <a:lnTo>
                    <a:pt x="1055" y="334"/>
                  </a:lnTo>
                  <a:lnTo>
                    <a:pt x="1051" y="334"/>
                  </a:lnTo>
                  <a:lnTo>
                    <a:pt x="1051" y="333"/>
                  </a:lnTo>
                  <a:close/>
                  <a:moveTo>
                    <a:pt x="1026" y="329"/>
                  </a:moveTo>
                  <a:lnTo>
                    <a:pt x="1028" y="334"/>
                  </a:lnTo>
                  <a:lnTo>
                    <a:pt x="1024" y="338"/>
                  </a:lnTo>
                  <a:lnTo>
                    <a:pt x="1022" y="331"/>
                  </a:lnTo>
                  <a:lnTo>
                    <a:pt x="1026" y="329"/>
                  </a:lnTo>
                  <a:close/>
                  <a:moveTo>
                    <a:pt x="843" y="333"/>
                  </a:moveTo>
                  <a:lnTo>
                    <a:pt x="843" y="331"/>
                  </a:lnTo>
                  <a:lnTo>
                    <a:pt x="845" y="329"/>
                  </a:lnTo>
                  <a:lnTo>
                    <a:pt x="843" y="333"/>
                  </a:lnTo>
                  <a:close/>
                  <a:moveTo>
                    <a:pt x="1074" y="328"/>
                  </a:moveTo>
                  <a:lnTo>
                    <a:pt x="1074" y="329"/>
                  </a:lnTo>
                  <a:lnTo>
                    <a:pt x="1074" y="328"/>
                  </a:lnTo>
                  <a:close/>
                  <a:moveTo>
                    <a:pt x="1074" y="326"/>
                  </a:moveTo>
                  <a:lnTo>
                    <a:pt x="1072" y="329"/>
                  </a:lnTo>
                  <a:lnTo>
                    <a:pt x="1072" y="324"/>
                  </a:lnTo>
                  <a:lnTo>
                    <a:pt x="1074" y="326"/>
                  </a:lnTo>
                  <a:close/>
                  <a:moveTo>
                    <a:pt x="840" y="324"/>
                  </a:moveTo>
                  <a:lnTo>
                    <a:pt x="840" y="326"/>
                  </a:lnTo>
                  <a:lnTo>
                    <a:pt x="840" y="324"/>
                  </a:lnTo>
                  <a:close/>
                  <a:moveTo>
                    <a:pt x="1051" y="322"/>
                  </a:moveTo>
                  <a:lnTo>
                    <a:pt x="1048" y="328"/>
                  </a:lnTo>
                  <a:lnTo>
                    <a:pt x="1050" y="324"/>
                  </a:lnTo>
                  <a:lnTo>
                    <a:pt x="1051" y="322"/>
                  </a:lnTo>
                  <a:close/>
                  <a:moveTo>
                    <a:pt x="1063" y="322"/>
                  </a:moveTo>
                  <a:lnTo>
                    <a:pt x="1065" y="322"/>
                  </a:lnTo>
                  <a:lnTo>
                    <a:pt x="1065" y="326"/>
                  </a:lnTo>
                  <a:lnTo>
                    <a:pt x="1067" y="324"/>
                  </a:lnTo>
                  <a:lnTo>
                    <a:pt x="1067" y="322"/>
                  </a:lnTo>
                  <a:lnTo>
                    <a:pt x="1070" y="324"/>
                  </a:lnTo>
                  <a:lnTo>
                    <a:pt x="1072" y="331"/>
                  </a:lnTo>
                  <a:lnTo>
                    <a:pt x="1072" y="329"/>
                  </a:lnTo>
                  <a:lnTo>
                    <a:pt x="1075" y="333"/>
                  </a:lnTo>
                  <a:lnTo>
                    <a:pt x="1077" y="333"/>
                  </a:lnTo>
                  <a:lnTo>
                    <a:pt x="1077" y="338"/>
                  </a:lnTo>
                  <a:lnTo>
                    <a:pt x="1074" y="336"/>
                  </a:lnTo>
                  <a:lnTo>
                    <a:pt x="1075" y="340"/>
                  </a:lnTo>
                  <a:lnTo>
                    <a:pt x="1072" y="340"/>
                  </a:lnTo>
                  <a:lnTo>
                    <a:pt x="1070" y="340"/>
                  </a:lnTo>
                  <a:lnTo>
                    <a:pt x="1067" y="341"/>
                  </a:lnTo>
                  <a:lnTo>
                    <a:pt x="1065" y="340"/>
                  </a:lnTo>
                  <a:lnTo>
                    <a:pt x="1058" y="338"/>
                  </a:lnTo>
                  <a:lnTo>
                    <a:pt x="1057" y="340"/>
                  </a:lnTo>
                  <a:lnTo>
                    <a:pt x="1055" y="338"/>
                  </a:lnTo>
                  <a:lnTo>
                    <a:pt x="1053" y="338"/>
                  </a:lnTo>
                  <a:lnTo>
                    <a:pt x="1055" y="333"/>
                  </a:lnTo>
                  <a:lnTo>
                    <a:pt x="1051" y="333"/>
                  </a:lnTo>
                  <a:lnTo>
                    <a:pt x="1051" y="331"/>
                  </a:lnTo>
                  <a:lnTo>
                    <a:pt x="1057" y="331"/>
                  </a:lnTo>
                  <a:lnTo>
                    <a:pt x="1057" y="329"/>
                  </a:lnTo>
                  <a:lnTo>
                    <a:pt x="1051" y="329"/>
                  </a:lnTo>
                  <a:lnTo>
                    <a:pt x="1053" y="328"/>
                  </a:lnTo>
                  <a:lnTo>
                    <a:pt x="1051" y="322"/>
                  </a:lnTo>
                  <a:lnTo>
                    <a:pt x="1055" y="322"/>
                  </a:lnTo>
                  <a:lnTo>
                    <a:pt x="1060" y="326"/>
                  </a:lnTo>
                  <a:lnTo>
                    <a:pt x="1060" y="324"/>
                  </a:lnTo>
                  <a:lnTo>
                    <a:pt x="1062" y="324"/>
                  </a:lnTo>
                  <a:lnTo>
                    <a:pt x="1060" y="322"/>
                  </a:lnTo>
                  <a:lnTo>
                    <a:pt x="1063" y="322"/>
                  </a:lnTo>
                  <a:close/>
                  <a:moveTo>
                    <a:pt x="1070" y="317"/>
                  </a:moveTo>
                  <a:lnTo>
                    <a:pt x="1074" y="317"/>
                  </a:lnTo>
                  <a:lnTo>
                    <a:pt x="1074" y="319"/>
                  </a:lnTo>
                  <a:lnTo>
                    <a:pt x="1070" y="319"/>
                  </a:lnTo>
                  <a:lnTo>
                    <a:pt x="1070" y="317"/>
                  </a:lnTo>
                  <a:close/>
                  <a:moveTo>
                    <a:pt x="1063" y="317"/>
                  </a:moveTo>
                  <a:lnTo>
                    <a:pt x="1067" y="317"/>
                  </a:lnTo>
                  <a:lnTo>
                    <a:pt x="1067" y="321"/>
                  </a:lnTo>
                  <a:lnTo>
                    <a:pt x="1063" y="321"/>
                  </a:lnTo>
                  <a:lnTo>
                    <a:pt x="1063" y="317"/>
                  </a:lnTo>
                  <a:close/>
                  <a:moveTo>
                    <a:pt x="1065" y="314"/>
                  </a:moveTo>
                  <a:lnTo>
                    <a:pt x="1063" y="319"/>
                  </a:lnTo>
                  <a:lnTo>
                    <a:pt x="1060" y="319"/>
                  </a:lnTo>
                  <a:lnTo>
                    <a:pt x="1062" y="316"/>
                  </a:lnTo>
                  <a:lnTo>
                    <a:pt x="1065" y="314"/>
                  </a:lnTo>
                  <a:close/>
                  <a:moveTo>
                    <a:pt x="1063" y="310"/>
                  </a:moveTo>
                  <a:lnTo>
                    <a:pt x="1065" y="314"/>
                  </a:lnTo>
                  <a:lnTo>
                    <a:pt x="1063" y="314"/>
                  </a:lnTo>
                  <a:lnTo>
                    <a:pt x="1058" y="321"/>
                  </a:lnTo>
                  <a:lnTo>
                    <a:pt x="1053" y="319"/>
                  </a:lnTo>
                  <a:lnTo>
                    <a:pt x="1053" y="316"/>
                  </a:lnTo>
                  <a:lnTo>
                    <a:pt x="1060" y="314"/>
                  </a:lnTo>
                  <a:lnTo>
                    <a:pt x="1060" y="310"/>
                  </a:lnTo>
                  <a:lnTo>
                    <a:pt x="1063" y="310"/>
                  </a:lnTo>
                  <a:close/>
                  <a:moveTo>
                    <a:pt x="756" y="309"/>
                  </a:moveTo>
                  <a:lnTo>
                    <a:pt x="754" y="316"/>
                  </a:lnTo>
                  <a:lnTo>
                    <a:pt x="751" y="317"/>
                  </a:lnTo>
                  <a:lnTo>
                    <a:pt x="749" y="316"/>
                  </a:lnTo>
                  <a:lnTo>
                    <a:pt x="751" y="310"/>
                  </a:lnTo>
                  <a:lnTo>
                    <a:pt x="753" y="309"/>
                  </a:lnTo>
                  <a:lnTo>
                    <a:pt x="756" y="309"/>
                  </a:lnTo>
                  <a:close/>
                  <a:moveTo>
                    <a:pt x="893" y="307"/>
                  </a:moveTo>
                  <a:lnTo>
                    <a:pt x="893" y="305"/>
                  </a:lnTo>
                  <a:lnTo>
                    <a:pt x="894" y="307"/>
                  </a:lnTo>
                  <a:lnTo>
                    <a:pt x="896" y="310"/>
                  </a:lnTo>
                  <a:lnTo>
                    <a:pt x="894" y="314"/>
                  </a:lnTo>
                  <a:lnTo>
                    <a:pt x="893" y="319"/>
                  </a:lnTo>
                  <a:lnTo>
                    <a:pt x="891" y="328"/>
                  </a:lnTo>
                  <a:lnTo>
                    <a:pt x="889" y="331"/>
                  </a:lnTo>
                  <a:lnTo>
                    <a:pt x="888" y="340"/>
                  </a:lnTo>
                  <a:lnTo>
                    <a:pt x="882" y="346"/>
                  </a:lnTo>
                  <a:lnTo>
                    <a:pt x="877" y="350"/>
                  </a:lnTo>
                  <a:lnTo>
                    <a:pt x="874" y="353"/>
                  </a:lnTo>
                  <a:lnTo>
                    <a:pt x="869" y="360"/>
                  </a:lnTo>
                  <a:lnTo>
                    <a:pt x="865" y="370"/>
                  </a:lnTo>
                  <a:lnTo>
                    <a:pt x="869" y="374"/>
                  </a:lnTo>
                  <a:lnTo>
                    <a:pt x="867" y="377"/>
                  </a:lnTo>
                  <a:lnTo>
                    <a:pt x="862" y="381"/>
                  </a:lnTo>
                  <a:lnTo>
                    <a:pt x="860" y="386"/>
                  </a:lnTo>
                  <a:lnTo>
                    <a:pt x="857" y="387"/>
                  </a:lnTo>
                  <a:lnTo>
                    <a:pt x="853" y="392"/>
                  </a:lnTo>
                  <a:lnTo>
                    <a:pt x="857" y="384"/>
                  </a:lnTo>
                  <a:lnTo>
                    <a:pt x="857" y="381"/>
                  </a:lnTo>
                  <a:lnTo>
                    <a:pt x="859" y="381"/>
                  </a:lnTo>
                  <a:lnTo>
                    <a:pt x="857" y="377"/>
                  </a:lnTo>
                  <a:lnTo>
                    <a:pt x="859" y="375"/>
                  </a:lnTo>
                  <a:lnTo>
                    <a:pt x="859" y="374"/>
                  </a:lnTo>
                  <a:lnTo>
                    <a:pt x="860" y="374"/>
                  </a:lnTo>
                  <a:lnTo>
                    <a:pt x="859" y="372"/>
                  </a:lnTo>
                  <a:lnTo>
                    <a:pt x="865" y="365"/>
                  </a:lnTo>
                  <a:lnTo>
                    <a:pt x="864" y="363"/>
                  </a:lnTo>
                  <a:lnTo>
                    <a:pt x="865" y="355"/>
                  </a:lnTo>
                  <a:lnTo>
                    <a:pt x="871" y="348"/>
                  </a:lnTo>
                  <a:lnTo>
                    <a:pt x="871" y="350"/>
                  </a:lnTo>
                  <a:lnTo>
                    <a:pt x="874" y="350"/>
                  </a:lnTo>
                  <a:lnTo>
                    <a:pt x="874" y="343"/>
                  </a:lnTo>
                  <a:lnTo>
                    <a:pt x="879" y="334"/>
                  </a:lnTo>
                  <a:lnTo>
                    <a:pt x="879" y="326"/>
                  </a:lnTo>
                  <a:lnTo>
                    <a:pt x="882" y="321"/>
                  </a:lnTo>
                  <a:lnTo>
                    <a:pt x="882" y="317"/>
                  </a:lnTo>
                  <a:lnTo>
                    <a:pt x="884" y="316"/>
                  </a:lnTo>
                  <a:lnTo>
                    <a:pt x="888" y="307"/>
                  </a:lnTo>
                  <a:lnTo>
                    <a:pt x="893" y="304"/>
                  </a:lnTo>
                  <a:lnTo>
                    <a:pt x="893" y="307"/>
                  </a:lnTo>
                  <a:close/>
                  <a:moveTo>
                    <a:pt x="724" y="246"/>
                  </a:moveTo>
                  <a:lnTo>
                    <a:pt x="722" y="235"/>
                  </a:lnTo>
                  <a:lnTo>
                    <a:pt x="725" y="239"/>
                  </a:lnTo>
                  <a:lnTo>
                    <a:pt x="724" y="246"/>
                  </a:lnTo>
                  <a:close/>
                  <a:moveTo>
                    <a:pt x="717" y="223"/>
                  </a:moveTo>
                  <a:lnTo>
                    <a:pt x="720" y="223"/>
                  </a:lnTo>
                  <a:lnTo>
                    <a:pt x="720" y="225"/>
                  </a:lnTo>
                  <a:lnTo>
                    <a:pt x="717" y="225"/>
                  </a:lnTo>
                  <a:lnTo>
                    <a:pt x="717" y="223"/>
                  </a:lnTo>
                  <a:close/>
                  <a:moveTo>
                    <a:pt x="519" y="222"/>
                  </a:moveTo>
                  <a:lnTo>
                    <a:pt x="521" y="222"/>
                  </a:lnTo>
                  <a:lnTo>
                    <a:pt x="521" y="225"/>
                  </a:lnTo>
                  <a:lnTo>
                    <a:pt x="519" y="225"/>
                  </a:lnTo>
                  <a:lnTo>
                    <a:pt x="519" y="222"/>
                  </a:lnTo>
                  <a:close/>
                  <a:moveTo>
                    <a:pt x="476" y="217"/>
                  </a:moveTo>
                  <a:lnTo>
                    <a:pt x="478" y="217"/>
                  </a:lnTo>
                  <a:lnTo>
                    <a:pt x="478" y="218"/>
                  </a:lnTo>
                  <a:lnTo>
                    <a:pt x="476" y="218"/>
                  </a:lnTo>
                  <a:lnTo>
                    <a:pt x="476" y="217"/>
                  </a:lnTo>
                  <a:close/>
                  <a:moveTo>
                    <a:pt x="488" y="213"/>
                  </a:moveTo>
                  <a:lnTo>
                    <a:pt x="490" y="213"/>
                  </a:lnTo>
                  <a:lnTo>
                    <a:pt x="490" y="217"/>
                  </a:lnTo>
                  <a:lnTo>
                    <a:pt x="488" y="217"/>
                  </a:lnTo>
                  <a:lnTo>
                    <a:pt x="488" y="213"/>
                  </a:lnTo>
                  <a:close/>
                  <a:moveTo>
                    <a:pt x="509" y="213"/>
                  </a:moveTo>
                  <a:lnTo>
                    <a:pt x="510" y="218"/>
                  </a:lnTo>
                  <a:lnTo>
                    <a:pt x="507" y="220"/>
                  </a:lnTo>
                  <a:lnTo>
                    <a:pt x="502" y="218"/>
                  </a:lnTo>
                  <a:lnTo>
                    <a:pt x="498" y="218"/>
                  </a:lnTo>
                  <a:lnTo>
                    <a:pt x="500" y="217"/>
                  </a:lnTo>
                  <a:lnTo>
                    <a:pt x="507" y="217"/>
                  </a:lnTo>
                  <a:lnTo>
                    <a:pt x="509" y="213"/>
                  </a:lnTo>
                  <a:close/>
                  <a:moveTo>
                    <a:pt x="502" y="213"/>
                  </a:moveTo>
                  <a:lnTo>
                    <a:pt x="502" y="217"/>
                  </a:lnTo>
                  <a:lnTo>
                    <a:pt x="500" y="215"/>
                  </a:lnTo>
                  <a:lnTo>
                    <a:pt x="502" y="213"/>
                  </a:lnTo>
                  <a:close/>
                  <a:moveTo>
                    <a:pt x="504" y="211"/>
                  </a:moveTo>
                  <a:lnTo>
                    <a:pt x="504" y="213"/>
                  </a:lnTo>
                  <a:lnTo>
                    <a:pt x="504" y="215"/>
                  </a:lnTo>
                  <a:lnTo>
                    <a:pt x="504" y="211"/>
                  </a:lnTo>
                  <a:close/>
                  <a:moveTo>
                    <a:pt x="710" y="205"/>
                  </a:moveTo>
                  <a:lnTo>
                    <a:pt x="717" y="213"/>
                  </a:lnTo>
                  <a:lnTo>
                    <a:pt x="717" y="217"/>
                  </a:lnTo>
                  <a:lnTo>
                    <a:pt x="713" y="215"/>
                  </a:lnTo>
                  <a:lnTo>
                    <a:pt x="710" y="206"/>
                  </a:lnTo>
                  <a:lnTo>
                    <a:pt x="708" y="203"/>
                  </a:lnTo>
                  <a:lnTo>
                    <a:pt x="710" y="205"/>
                  </a:lnTo>
                  <a:close/>
                  <a:moveTo>
                    <a:pt x="705" y="198"/>
                  </a:moveTo>
                  <a:lnTo>
                    <a:pt x="708" y="201"/>
                  </a:lnTo>
                  <a:lnTo>
                    <a:pt x="707" y="201"/>
                  </a:lnTo>
                  <a:lnTo>
                    <a:pt x="705" y="198"/>
                  </a:lnTo>
                  <a:close/>
                  <a:moveTo>
                    <a:pt x="681" y="167"/>
                  </a:moveTo>
                  <a:lnTo>
                    <a:pt x="684" y="172"/>
                  </a:lnTo>
                  <a:lnTo>
                    <a:pt x="681" y="172"/>
                  </a:lnTo>
                  <a:lnTo>
                    <a:pt x="679" y="169"/>
                  </a:lnTo>
                  <a:lnTo>
                    <a:pt x="671" y="167"/>
                  </a:lnTo>
                  <a:lnTo>
                    <a:pt x="667" y="162"/>
                  </a:lnTo>
                  <a:lnTo>
                    <a:pt x="671" y="160"/>
                  </a:lnTo>
                  <a:lnTo>
                    <a:pt x="676" y="165"/>
                  </a:lnTo>
                  <a:lnTo>
                    <a:pt x="681" y="167"/>
                  </a:lnTo>
                  <a:close/>
                  <a:moveTo>
                    <a:pt x="664" y="158"/>
                  </a:moveTo>
                  <a:lnTo>
                    <a:pt x="662" y="157"/>
                  </a:lnTo>
                  <a:lnTo>
                    <a:pt x="661" y="150"/>
                  </a:lnTo>
                  <a:lnTo>
                    <a:pt x="664" y="152"/>
                  </a:lnTo>
                  <a:lnTo>
                    <a:pt x="664" y="158"/>
                  </a:lnTo>
                  <a:close/>
                  <a:moveTo>
                    <a:pt x="686" y="147"/>
                  </a:moveTo>
                  <a:lnTo>
                    <a:pt x="688" y="153"/>
                  </a:lnTo>
                  <a:lnTo>
                    <a:pt x="690" y="157"/>
                  </a:lnTo>
                  <a:lnTo>
                    <a:pt x="690" y="160"/>
                  </a:lnTo>
                  <a:lnTo>
                    <a:pt x="688" y="162"/>
                  </a:lnTo>
                  <a:lnTo>
                    <a:pt x="683" y="157"/>
                  </a:lnTo>
                  <a:lnTo>
                    <a:pt x="679" y="148"/>
                  </a:lnTo>
                  <a:lnTo>
                    <a:pt x="686" y="147"/>
                  </a:lnTo>
                  <a:close/>
                  <a:moveTo>
                    <a:pt x="628" y="136"/>
                  </a:moveTo>
                  <a:lnTo>
                    <a:pt x="630" y="138"/>
                  </a:lnTo>
                  <a:lnTo>
                    <a:pt x="626" y="141"/>
                  </a:lnTo>
                  <a:lnTo>
                    <a:pt x="625" y="140"/>
                  </a:lnTo>
                  <a:lnTo>
                    <a:pt x="628" y="136"/>
                  </a:lnTo>
                  <a:close/>
                  <a:moveTo>
                    <a:pt x="181" y="129"/>
                  </a:moveTo>
                  <a:lnTo>
                    <a:pt x="186" y="135"/>
                  </a:lnTo>
                  <a:lnTo>
                    <a:pt x="184" y="140"/>
                  </a:lnTo>
                  <a:lnTo>
                    <a:pt x="181" y="138"/>
                  </a:lnTo>
                  <a:lnTo>
                    <a:pt x="176" y="138"/>
                  </a:lnTo>
                  <a:lnTo>
                    <a:pt x="174" y="135"/>
                  </a:lnTo>
                  <a:lnTo>
                    <a:pt x="176" y="131"/>
                  </a:lnTo>
                  <a:lnTo>
                    <a:pt x="181" y="129"/>
                  </a:lnTo>
                  <a:close/>
                  <a:moveTo>
                    <a:pt x="370" y="109"/>
                  </a:moveTo>
                  <a:lnTo>
                    <a:pt x="374" y="109"/>
                  </a:lnTo>
                  <a:lnTo>
                    <a:pt x="374" y="112"/>
                  </a:lnTo>
                  <a:lnTo>
                    <a:pt x="370" y="116"/>
                  </a:lnTo>
                  <a:lnTo>
                    <a:pt x="369" y="114"/>
                  </a:lnTo>
                  <a:lnTo>
                    <a:pt x="367" y="112"/>
                  </a:lnTo>
                  <a:lnTo>
                    <a:pt x="367" y="109"/>
                  </a:lnTo>
                  <a:lnTo>
                    <a:pt x="369" y="109"/>
                  </a:lnTo>
                  <a:lnTo>
                    <a:pt x="370" y="109"/>
                  </a:lnTo>
                  <a:close/>
                  <a:moveTo>
                    <a:pt x="350" y="111"/>
                  </a:moveTo>
                  <a:lnTo>
                    <a:pt x="350" y="107"/>
                  </a:lnTo>
                  <a:lnTo>
                    <a:pt x="350" y="109"/>
                  </a:lnTo>
                  <a:lnTo>
                    <a:pt x="350" y="111"/>
                  </a:lnTo>
                  <a:close/>
                  <a:moveTo>
                    <a:pt x="331" y="94"/>
                  </a:moveTo>
                  <a:lnTo>
                    <a:pt x="336" y="94"/>
                  </a:lnTo>
                  <a:lnTo>
                    <a:pt x="343" y="97"/>
                  </a:lnTo>
                  <a:lnTo>
                    <a:pt x="346" y="102"/>
                  </a:lnTo>
                  <a:lnTo>
                    <a:pt x="341" y="106"/>
                  </a:lnTo>
                  <a:lnTo>
                    <a:pt x="338" y="104"/>
                  </a:lnTo>
                  <a:lnTo>
                    <a:pt x="336" y="107"/>
                  </a:lnTo>
                  <a:lnTo>
                    <a:pt x="333" y="106"/>
                  </a:lnTo>
                  <a:lnTo>
                    <a:pt x="326" y="107"/>
                  </a:lnTo>
                  <a:lnTo>
                    <a:pt x="328" y="100"/>
                  </a:lnTo>
                  <a:lnTo>
                    <a:pt x="326" y="95"/>
                  </a:lnTo>
                  <a:lnTo>
                    <a:pt x="331" y="94"/>
                  </a:lnTo>
                  <a:close/>
                  <a:moveTo>
                    <a:pt x="346" y="92"/>
                  </a:moveTo>
                  <a:lnTo>
                    <a:pt x="350" y="92"/>
                  </a:lnTo>
                  <a:lnTo>
                    <a:pt x="353" y="95"/>
                  </a:lnTo>
                  <a:lnTo>
                    <a:pt x="358" y="97"/>
                  </a:lnTo>
                  <a:lnTo>
                    <a:pt x="360" y="92"/>
                  </a:lnTo>
                  <a:lnTo>
                    <a:pt x="362" y="92"/>
                  </a:lnTo>
                  <a:lnTo>
                    <a:pt x="364" y="94"/>
                  </a:lnTo>
                  <a:lnTo>
                    <a:pt x="365" y="104"/>
                  </a:lnTo>
                  <a:lnTo>
                    <a:pt x="365" y="106"/>
                  </a:lnTo>
                  <a:lnTo>
                    <a:pt x="360" y="102"/>
                  </a:lnTo>
                  <a:lnTo>
                    <a:pt x="355" y="100"/>
                  </a:lnTo>
                  <a:lnTo>
                    <a:pt x="357" y="106"/>
                  </a:lnTo>
                  <a:lnTo>
                    <a:pt x="353" y="107"/>
                  </a:lnTo>
                  <a:lnTo>
                    <a:pt x="350" y="104"/>
                  </a:lnTo>
                  <a:lnTo>
                    <a:pt x="352" y="102"/>
                  </a:lnTo>
                  <a:lnTo>
                    <a:pt x="348" y="99"/>
                  </a:lnTo>
                  <a:lnTo>
                    <a:pt x="343" y="95"/>
                  </a:lnTo>
                  <a:lnTo>
                    <a:pt x="346" y="92"/>
                  </a:lnTo>
                  <a:close/>
                  <a:moveTo>
                    <a:pt x="311" y="90"/>
                  </a:moveTo>
                  <a:lnTo>
                    <a:pt x="314" y="94"/>
                  </a:lnTo>
                  <a:lnTo>
                    <a:pt x="317" y="92"/>
                  </a:lnTo>
                  <a:lnTo>
                    <a:pt x="319" y="94"/>
                  </a:lnTo>
                  <a:lnTo>
                    <a:pt x="316" y="100"/>
                  </a:lnTo>
                  <a:lnTo>
                    <a:pt x="316" y="102"/>
                  </a:lnTo>
                  <a:lnTo>
                    <a:pt x="319" y="104"/>
                  </a:lnTo>
                  <a:lnTo>
                    <a:pt x="319" y="107"/>
                  </a:lnTo>
                  <a:lnTo>
                    <a:pt x="317" y="109"/>
                  </a:lnTo>
                  <a:lnTo>
                    <a:pt x="307" y="106"/>
                  </a:lnTo>
                  <a:lnTo>
                    <a:pt x="307" y="107"/>
                  </a:lnTo>
                  <a:lnTo>
                    <a:pt x="312" y="114"/>
                  </a:lnTo>
                  <a:lnTo>
                    <a:pt x="312" y="116"/>
                  </a:lnTo>
                  <a:lnTo>
                    <a:pt x="309" y="116"/>
                  </a:lnTo>
                  <a:lnTo>
                    <a:pt x="309" y="119"/>
                  </a:lnTo>
                  <a:lnTo>
                    <a:pt x="304" y="121"/>
                  </a:lnTo>
                  <a:lnTo>
                    <a:pt x="295" y="123"/>
                  </a:lnTo>
                  <a:lnTo>
                    <a:pt x="295" y="124"/>
                  </a:lnTo>
                  <a:lnTo>
                    <a:pt x="287" y="128"/>
                  </a:lnTo>
                  <a:lnTo>
                    <a:pt x="292" y="123"/>
                  </a:lnTo>
                  <a:lnTo>
                    <a:pt x="295" y="116"/>
                  </a:lnTo>
                  <a:lnTo>
                    <a:pt x="300" y="112"/>
                  </a:lnTo>
                  <a:lnTo>
                    <a:pt x="306" y="109"/>
                  </a:lnTo>
                  <a:lnTo>
                    <a:pt x="304" y="107"/>
                  </a:lnTo>
                  <a:lnTo>
                    <a:pt x="300" y="109"/>
                  </a:lnTo>
                  <a:lnTo>
                    <a:pt x="300" y="111"/>
                  </a:lnTo>
                  <a:lnTo>
                    <a:pt x="290" y="114"/>
                  </a:lnTo>
                  <a:lnTo>
                    <a:pt x="287" y="119"/>
                  </a:lnTo>
                  <a:lnTo>
                    <a:pt x="282" y="119"/>
                  </a:lnTo>
                  <a:lnTo>
                    <a:pt x="276" y="126"/>
                  </a:lnTo>
                  <a:lnTo>
                    <a:pt x="270" y="124"/>
                  </a:lnTo>
                  <a:lnTo>
                    <a:pt x="266" y="117"/>
                  </a:lnTo>
                  <a:lnTo>
                    <a:pt x="268" y="114"/>
                  </a:lnTo>
                  <a:lnTo>
                    <a:pt x="273" y="109"/>
                  </a:lnTo>
                  <a:lnTo>
                    <a:pt x="280" y="102"/>
                  </a:lnTo>
                  <a:lnTo>
                    <a:pt x="287" y="102"/>
                  </a:lnTo>
                  <a:lnTo>
                    <a:pt x="299" y="102"/>
                  </a:lnTo>
                  <a:lnTo>
                    <a:pt x="304" y="94"/>
                  </a:lnTo>
                  <a:lnTo>
                    <a:pt x="311" y="90"/>
                  </a:lnTo>
                  <a:close/>
                  <a:moveTo>
                    <a:pt x="611" y="68"/>
                  </a:moveTo>
                  <a:lnTo>
                    <a:pt x="613" y="70"/>
                  </a:lnTo>
                  <a:lnTo>
                    <a:pt x="613" y="71"/>
                  </a:lnTo>
                  <a:lnTo>
                    <a:pt x="608" y="70"/>
                  </a:lnTo>
                  <a:lnTo>
                    <a:pt x="611" y="68"/>
                  </a:lnTo>
                  <a:close/>
                  <a:moveTo>
                    <a:pt x="225" y="63"/>
                  </a:moveTo>
                  <a:lnTo>
                    <a:pt x="225" y="65"/>
                  </a:lnTo>
                  <a:lnTo>
                    <a:pt x="230" y="68"/>
                  </a:lnTo>
                  <a:lnTo>
                    <a:pt x="232" y="70"/>
                  </a:lnTo>
                  <a:lnTo>
                    <a:pt x="236" y="76"/>
                  </a:lnTo>
                  <a:lnTo>
                    <a:pt x="230" y="76"/>
                  </a:lnTo>
                  <a:lnTo>
                    <a:pt x="229" y="73"/>
                  </a:lnTo>
                  <a:lnTo>
                    <a:pt x="225" y="73"/>
                  </a:lnTo>
                  <a:lnTo>
                    <a:pt x="218" y="71"/>
                  </a:lnTo>
                  <a:lnTo>
                    <a:pt x="217" y="70"/>
                  </a:lnTo>
                  <a:lnTo>
                    <a:pt x="215" y="68"/>
                  </a:lnTo>
                  <a:lnTo>
                    <a:pt x="220" y="66"/>
                  </a:lnTo>
                  <a:lnTo>
                    <a:pt x="220" y="63"/>
                  </a:lnTo>
                  <a:lnTo>
                    <a:pt x="225" y="65"/>
                  </a:lnTo>
                  <a:lnTo>
                    <a:pt x="225" y="63"/>
                  </a:lnTo>
                  <a:close/>
                  <a:moveTo>
                    <a:pt x="222" y="63"/>
                  </a:moveTo>
                  <a:lnTo>
                    <a:pt x="225" y="63"/>
                  </a:lnTo>
                  <a:lnTo>
                    <a:pt x="222" y="63"/>
                  </a:lnTo>
                  <a:close/>
                  <a:moveTo>
                    <a:pt x="39" y="59"/>
                  </a:moveTo>
                  <a:lnTo>
                    <a:pt x="37" y="63"/>
                  </a:lnTo>
                  <a:lnTo>
                    <a:pt x="37" y="59"/>
                  </a:lnTo>
                  <a:lnTo>
                    <a:pt x="39" y="59"/>
                  </a:lnTo>
                  <a:close/>
                  <a:moveTo>
                    <a:pt x="249" y="51"/>
                  </a:moveTo>
                  <a:lnTo>
                    <a:pt x="253" y="54"/>
                  </a:lnTo>
                  <a:lnTo>
                    <a:pt x="253" y="63"/>
                  </a:lnTo>
                  <a:lnTo>
                    <a:pt x="247" y="61"/>
                  </a:lnTo>
                  <a:lnTo>
                    <a:pt x="242" y="63"/>
                  </a:lnTo>
                  <a:lnTo>
                    <a:pt x="234" y="59"/>
                  </a:lnTo>
                  <a:lnTo>
                    <a:pt x="236" y="58"/>
                  </a:lnTo>
                  <a:lnTo>
                    <a:pt x="244" y="51"/>
                  </a:lnTo>
                  <a:lnTo>
                    <a:pt x="249" y="51"/>
                  </a:lnTo>
                  <a:close/>
                  <a:moveTo>
                    <a:pt x="254" y="51"/>
                  </a:moveTo>
                  <a:lnTo>
                    <a:pt x="258" y="51"/>
                  </a:lnTo>
                  <a:lnTo>
                    <a:pt x="254" y="51"/>
                  </a:lnTo>
                  <a:lnTo>
                    <a:pt x="254" y="53"/>
                  </a:lnTo>
                  <a:lnTo>
                    <a:pt x="251" y="51"/>
                  </a:lnTo>
                  <a:lnTo>
                    <a:pt x="254" y="51"/>
                  </a:lnTo>
                  <a:close/>
                  <a:moveTo>
                    <a:pt x="123" y="39"/>
                  </a:moveTo>
                  <a:lnTo>
                    <a:pt x="133" y="39"/>
                  </a:lnTo>
                  <a:lnTo>
                    <a:pt x="142" y="44"/>
                  </a:lnTo>
                  <a:lnTo>
                    <a:pt x="145" y="47"/>
                  </a:lnTo>
                  <a:lnTo>
                    <a:pt x="147" y="47"/>
                  </a:lnTo>
                  <a:lnTo>
                    <a:pt x="150" y="49"/>
                  </a:lnTo>
                  <a:lnTo>
                    <a:pt x="155" y="49"/>
                  </a:lnTo>
                  <a:lnTo>
                    <a:pt x="164" y="54"/>
                  </a:lnTo>
                  <a:lnTo>
                    <a:pt x="171" y="59"/>
                  </a:lnTo>
                  <a:lnTo>
                    <a:pt x="172" y="65"/>
                  </a:lnTo>
                  <a:lnTo>
                    <a:pt x="169" y="66"/>
                  </a:lnTo>
                  <a:lnTo>
                    <a:pt x="167" y="63"/>
                  </a:lnTo>
                  <a:lnTo>
                    <a:pt x="162" y="65"/>
                  </a:lnTo>
                  <a:lnTo>
                    <a:pt x="162" y="71"/>
                  </a:lnTo>
                  <a:lnTo>
                    <a:pt x="164" y="73"/>
                  </a:lnTo>
                  <a:lnTo>
                    <a:pt x="166" y="71"/>
                  </a:lnTo>
                  <a:lnTo>
                    <a:pt x="166" y="76"/>
                  </a:lnTo>
                  <a:lnTo>
                    <a:pt x="174" y="78"/>
                  </a:lnTo>
                  <a:lnTo>
                    <a:pt x="174" y="75"/>
                  </a:lnTo>
                  <a:lnTo>
                    <a:pt x="177" y="73"/>
                  </a:lnTo>
                  <a:lnTo>
                    <a:pt x="179" y="75"/>
                  </a:lnTo>
                  <a:lnTo>
                    <a:pt x="188" y="76"/>
                  </a:lnTo>
                  <a:lnTo>
                    <a:pt x="189" y="78"/>
                  </a:lnTo>
                  <a:lnTo>
                    <a:pt x="188" y="87"/>
                  </a:lnTo>
                  <a:lnTo>
                    <a:pt x="188" y="88"/>
                  </a:lnTo>
                  <a:lnTo>
                    <a:pt x="188" y="97"/>
                  </a:lnTo>
                  <a:lnTo>
                    <a:pt x="186" y="100"/>
                  </a:lnTo>
                  <a:lnTo>
                    <a:pt x="188" y="104"/>
                  </a:lnTo>
                  <a:lnTo>
                    <a:pt x="183" y="111"/>
                  </a:lnTo>
                  <a:lnTo>
                    <a:pt x="179" y="112"/>
                  </a:lnTo>
                  <a:lnTo>
                    <a:pt x="174" y="111"/>
                  </a:lnTo>
                  <a:lnTo>
                    <a:pt x="169" y="114"/>
                  </a:lnTo>
                  <a:lnTo>
                    <a:pt x="164" y="114"/>
                  </a:lnTo>
                  <a:lnTo>
                    <a:pt x="155" y="121"/>
                  </a:lnTo>
                  <a:lnTo>
                    <a:pt x="152" y="123"/>
                  </a:lnTo>
                  <a:lnTo>
                    <a:pt x="152" y="124"/>
                  </a:lnTo>
                  <a:lnTo>
                    <a:pt x="143" y="126"/>
                  </a:lnTo>
                  <a:lnTo>
                    <a:pt x="138" y="126"/>
                  </a:lnTo>
                  <a:lnTo>
                    <a:pt x="131" y="129"/>
                  </a:lnTo>
                  <a:lnTo>
                    <a:pt x="126" y="135"/>
                  </a:lnTo>
                  <a:lnTo>
                    <a:pt x="123" y="133"/>
                  </a:lnTo>
                  <a:lnTo>
                    <a:pt x="119" y="135"/>
                  </a:lnTo>
                  <a:lnTo>
                    <a:pt x="114" y="131"/>
                  </a:lnTo>
                  <a:lnTo>
                    <a:pt x="111" y="131"/>
                  </a:lnTo>
                  <a:lnTo>
                    <a:pt x="104" y="128"/>
                  </a:lnTo>
                  <a:lnTo>
                    <a:pt x="99" y="128"/>
                  </a:lnTo>
                  <a:lnTo>
                    <a:pt x="99" y="126"/>
                  </a:lnTo>
                  <a:lnTo>
                    <a:pt x="97" y="126"/>
                  </a:lnTo>
                  <a:lnTo>
                    <a:pt x="96" y="124"/>
                  </a:lnTo>
                  <a:lnTo>
                    <a:pt x="87" y="119"/>
                  </a:lnTo>
                  <a:lnTo>
                    <a:pt x="85" y="117"/>
                  </a:lnTo>
                  <a:lnTo>
                    <a:pt x="84" y="117"/>
                  </a:lnTo>
                  <a:lnTo>
                    <a:pt x="77" y="114"/>
                  </a:lnTo>
                  <a:lnTo>
                    <a:pt x="72" y="112"/>
                  </a:lnTo>
                  <a:lnTo>
                    <a:pt x="65" y="106"/>
                  </a:lnTo>
                  <a:lnTo>
                    <a:pt x="60" y="106"/>
                  </a:lnTo>
                  <a:lnTo>
                    <a:pt x="56" y="102"/>
                  </a:lnTo>
                  <a:lnTo>
                    <a:pt x="55" y="95"/>
                  </a:lnTo>
                  <a:lnTo>
                    <a:pt x="53" y="92"/>
                  </a:lnTo>
                  <a:lnTo>
                    <a:pt x="46" y="88"/>
                  </a:lnTo>
                  <a:lnTo>
                    <a:pt x="43" y="85"/>
                  </a:lnTo>
                  <a:lnTo>
                    <a:pt x="43" y="80"/>
                  </a:lnTo>
                  <a:lnTo>
                    <a:pt x="37" y="75"/>
                  </a:lnTo>
                  <a:lnTo>
                    <a:pt x="39" y="68"/>
                  </a:lnTo>
                  <a:lnTo>
                    <a:pt x="37" y="66"/>
                  </a:lnTo>
                  <a:lnTo>
                    <a:pt x="39" y="66"/>
                  </a:lnTo>
                  <a:lnTo>
                    <a:pt x="37" y="63"/>
                  </a:lnTo>
                  <a:lnTo>
                    <a:pt x="39" y="61"/>
                  </a:lnTo>
                  <a:lnTo>
                    <a:pt x="39" y="53"/>
                  </a:lnTo>
                  <a:lnTo>
                    <a:pt x="46" y="49"/>
                  </a:lnTo>
                  <a:lnTo>
                    <a:pt x="48" y="46"/>
                  </a:lnTo>
                  <a:lnTo>
                    <a:pt x="55" y="51"/>
                  </a:lnTo>
                  <a:lnTo>
                    <a:pt x="61" y="54"/>
                  </a:lnTo>
                  <a:lnTo>
                    <a:pt x="65" y="54"/>
                  </a:lnTo>
                  <a:lnTo>
                    <a:pt x="65" y="49"/>
                  </a:lnTo>
                  <a:lnTo>
                    <a:pt x="68" y="47"/>
                  </a:lnTo>
                  <a:lnTo>
                    <a:pt x="73" y="42"/>
                  </a:lnTo>
                  <a:lnTo>
                    <a:pt x="78" y="44"/>
                  </a:lnTo>
                  <a:lnTo>
                    <a:pt x="87" y="42"/>
                  </a:lnTo>
                  <a:lnTo>
                    <a:pt x="94" y="42"/>
                  </a:lnTo>
                  <a:lnTo>
                    <a:pt x="99" y="41"/>
                  </a:lnTo>
                  <a:lnTo>
                    <a:pt x="109" y="39"/>
                  </a:lnTo>
                  <a:lnTo>
                    <a:pt x="118" y="41"/>
                  </a:lnTo>
                  <a:lnTo>
                    <a:pt x="123" y="39"/>
                  </a:lnTo>
                  <a:close/>
                  <a:moveTo>
                    <a:pt x="283" y="32"/>
                  </a:moveTo>
                  <a:lnTo>
                    <a:pt x="285" y="32"/>
                  </a:lnTo>
                  <a:lnTo>
                    <a:pt x="285" y="34"/>
                  </a:lnTo>
                  <a:lnTo>
                    <a:pt x="283" y="34"/>
                  </a:lnTo>
                  <a:lnTo>
                    <a:pt x="283" y="32"/>
                  </a:lnTo>
                  <a:close/>
                  <a:moveTo>
                    <a:pt x="268" y="24"/>
                  </a:moveTo>
                  <a:lnTo>
                    <a:pt x="266" y="25"/>
                  </a:lnTo>
                  <a:lnTo>
                    <a:pt x="263" y="27"/>
                  </a:lnTo>
                  <a:lnTo>
                    <a:pt x="265" y="24"/>
                  </a:lnTo>
                  <a:lnTo>
                    <a:pt x="268" y="24"/>
                  </a:lnTo>
                  <a:close/>
                  <a:moveTo>
                    <a:pt x="270" y="22"/>
                  </a:moveTo>
                  <a:lnTo>
                    <a:pt x="276" y="24"/>
                  </a:lnTo>
                  <a:lnTo>
                    <a:pt x="278" y="25"/>
                  </a:lnTo>
                  <a:lnTo>
                    <a:pt x="271" y="32"/>
                  </a:lnTo>
                  <a:lnTo>
                    <a:pt x="266" y="37"/>
                  </a:lnTo>
                  <a:lnTo>
                    <a:pt x="256" y="36"/>
                  </a:lnTo>
                  <a:lnTo>
                    <a:pt x="261" y="34"/>
                  </a:lnTo>
                  <a:lnTo>
                    <a:pt x="263" y="27"/>
                  </a:lnTo>
                  <a:lnTo>
                    <a:pt x="266" y="25"/>
                  </a:lnTo>
                  <a:lnTo>
                    <a:pt x="268" y="24"/>
                  </a:lnTo>
                  <a:lnTo>
                    <a:pt x="270" y="25"/>
                  </a:lnTo>
                  <a:lnTo>
                    <a:pt x="266" y="22"/>
                  </a:lnTo>
                  <a:lnTo>
                    <a:pt x="270" y="22"/>
                  </a:lnTo>
                  <a:close/>
                  <a:moveTo>
                    <a:pt x="463" y="8"/>
                  </a:moveTo>
                  <a:lnTo>
                    <a:pt x="468" y="10"/>
                  </a:lnTo>
                  <a:lnTo>
                    <a:pt x="471" y="8"/>
                  </a:lnTo>
                  <a:lnTo>
                    <a:pt x="473" y="12"/>
                  </a:lnTo>
                  <a:lnTo>
                    <a:pt x="481" y="12"/>
                  </a:lnTo>
                  <a:lnTo>
                    <a:pt x="492" y="15"/>
                  </a:lnTo>
                  <a:lnTo>
                    <a:pt x="495" y="22"/>
                  </a:lnTo>
                  <a:lnTo>
                    <a:pt x="502" y="20"/>
                  </a:lnTo>
                  <a:lnTo>
                    <a:pt x="502" y="22"/>
                  </a:lnTo>
                  <a:lnTo>
                    <a:pt x="502" y="24"/>
                  </a:lnTo>
                  <a:lnTo>
                    <a:pt x="504" y="22"/>
                  </a:lnTo>
                  <a:lnTo>
                    <a:pt x="502" y="22"/>
                  </a:lnTo>
                  <a:lnTo>
                    <a:pt x="505" y="22"/>
                  </a:lnTo>
                  <a:lnTo>
                    <a:pt x="505" y="25"/>
                  </a:lnTo>
                  <a:lnTo>
                    <a:pt x="514" y="29"/>
                  </a:lnTo>
                  <a:lnTo>
                    <a:pt x="517" y="29"/>
                  </a:lnTo>
                  <a:lnTo>
                    <a:pt x="521" y="32"/>
                  </a:lnTo>
                  <a:lnTo>
                    <a:pt x="533" y="32"/>
                  </a:lnTo>
                  <a:lnTo>
                    <a:pt x="536" y="30"/>
                  </a:lnTo>
                  <a:lnTo>
                    <a:pt x="539" y="34"/>
                  </a:lnTo>
                  <a:lnTo>
                    <a:pt x="550" y="29"/>
                  </a:lnTo>
                  <a:lnTo>
                    <a:pt x="558" y="29"/>
                  </a:lnTo>
                  <a:lnTo>
                    <a:pt x="563" y="30"/>
                  </a:lnTo>
                  <a:lnTo>
                    <a:pt x="568" y="36"/>
                  </a:lnTo>
                  <a:lnTo>
                    <a:pt x="570" y="39"/>
                  </a:lnTo>
                  <a:lnTo>
                    <a:pt x="574" y="41"/>
                  </a:lnTo>
                  <a:lnTo>
                    <a:pt x="575" y="44"/>
                  </a:lnTo>
                  <a:lnTo>
                    <a:pt x="580" y="44"/>
                  </a:lnTo>
                  <a:lnTo>
                    <a:pt x="585" y="47"/>
                  </a:lnTo>
                  <a:lnTo>
                    <a:pt x="589" y="51"/>
                  </a:lnTo>
                  <a:lnTo>
                    <a:pt x="592" y="61"/>
                  </a:lnTo>
                  <a:lnTo>
                    <a:pt x="592" y="66"/>
                  </a:lnTo>
                  <a:lnTo>
                    <a:pt x="592" y="71"/>
                  </a:lnTo>
                  <a:lnTo>
                    <a:pt x="596" y="80"/>
                  </a:lnTo>
                  <a:lnTo>
                    <a:pt x="597" y="80"/>
                  </a:lnTo>
                  <a:lnTo>
                    <a:pt x="601" y="80"/>
                  </a:lnTo>
                  <a:lnTo>
                    <a:pt x="603" y="80"/>
                  </a:lnTo>
                  <a:lnTo>
                    <a:pt x="613" y="80"/>
                  </a:lnTo>
                  <a:lnTo>
                    <a:pt x="616" y="87"/>
                  </a:lnTo>
                  <a:lnTo>
                    <a:pt x="616" y="88"/>
                  </a:lnTo>
                  <a:lnTo>
                    <a:pt x="614" y="88"/>
                  </a:lnTo>
                  <a:lnTo>
                    <a:pt x="613" y="90"/>
                  </a:lnTo>
                  <a:lnTo>
                    <a:pt x="614" y="95"/>
                  </a:lnTo>
                  <a:lnTo>
                    <a:pt x="621" y="100"/>
                  </a:lnTo>
                  <a:lnTo>
                    <a:pt x="621" y="104"/>
                  </a:lnTo>
                  <a:lnTo>
                    <a:pt x="621" y="107"/>
                  </a:lnTo>
                  <a:lnTo>
                    <a:pt x="616" y="111"/>
                  </a:lnTo>
                  <a:lnTo>
                    <a:pt x="614" y="116"/>
                  </a:lnTo>
                  <a:lnTo>
                    <a:pt x="616" y="126"/>
                  </a:lnTo>
                  <a:lnTo>
                    <a:pt x="614" y="131"/>
                  </a:lnTo>
                  <a:lnTo>
                    <a:pt x="618" y="136"/>
                  </a:lnTo>
                  <a:lnTo>
                    <a:pt x="611" y="135"/>
                  </a:lnTo>
                  <a:lnTo>
                    <a:pt x="613" y="135"/>
                  </a:lnTo>
                  <a:lnTo>
                    <a:pt x="609" y="133"/>
                  </a:lnTo>
                  <a:lnTo>
                    <a:pt x="608" y="131"/>
                  </a:lnTo>
                  <a:lnTo>
                    <a:pt x="606" y="133"/>
                  </a:lnTo>
                  <a:lnTo>
                    <a:pt x="604" y="131"/>
                  </a:lnTo>
                  <a:lnTo>
                    <a:pt x="603" y="131"/>
                  </a:lnTo>
                  <a:lnTo>
                    <a:pt x="599" y="128"/>
                  </a:lnTo>
                  <a:lnTo>
                    <a:pt x="591" y="126"/>
                  </a:lnTo>
                  <a:lnTo>
                    <a:pt x="584" y="117"/>
                  </a:lnTo>
                  <a:lnTo>
                    <a:pt x="574" y="117"/>
                  </a:lnTo>
                  <a:lnTo>
                    <a:pt x="570" y="111"/>
                  </a:lnTo>
                  <a:lnTo>
                    <a:pt x="567" y="107"/>
                  </a:lnTo>
                  <a:lnTo>
                    <a:pt x="555" y="106"/>
                  </a:lnTo>
                  <a:lnTo>
                    <a:pt x="551" y="102"/>
                  </a:lnTo>
                  <a:lnTo>
                    <a:pt x="546" y="100"/>
                  </a:lnTo>
                  <a:lnTo>
                    <a:pt x="543" y="99"/>
                  </a:lnTo>
                  <a:lnTo>
                    <a:pt x="533" y="95"/>
                  </a:lnTo>
                  <a:lnTo>
                    <a:pt x="527" y="92"/>
                  </a:lnTo>
                  <a:lnTo>
                    <a:pt x="519" y="90"/>
                  </a:lnTo>
                  <a:lnTo>
                    <a:pt x="512" y="83"/>
                  </a:lnTo>
                  <a:lnTo>
                    <a:pt x="512" y="75"/>
                  </a:lnTo>
                  <a:lnTo>
                    <a:pt x="507" y="73"/>
                  </a:lnTo>
                  <a:lnTo>
                    <a:pt x="502" y="73"/>
                  </a:lnTo>
                  <a:lnTo>
                    <a:pt x="493" y="71"/>
                  </a:lnTo>
                  <a:lnTo>
                    <a:pt x="488" y="71"/>
                  </a:lnTo>
                  <a:lnTo>
                    <a:pt x="485" y="70"/>
                  </a:lnTo>
                  <a:lnTo>
                    <a:pt x="478" y="71"/>
                  </a:lnTo>
                  <a:lnTo>
                    <a:pt x="469" y="70"/>
                  </a:lnTo>
                  <a:lnTo>
                    <a:pt x="464" y="68"/>
                  </a:lnTo>
                  <a:lnTo>
                    <a:pt x="463" y="70"/>
                  </a:lnTo>
                  <a:lnTo>
                    <a:pt x="459" y="68"/>
                  </a:lnTo>
                  <a:lnTo>
                    <a:pt x="456" y="71"/>
                  </a:lnTo>
                  <a:lnTo>
                    <a:pt x="463" y="78"/>
                  </a:lnTo>
                  <a:lnTo>
                    <a:pt x="464" y="83"/>
                  </a:lnTo>
                  <a:lnTo>
                    <a:pt x="463" y="87"/>
                  </a:lnTo>
                  <a:lnTo>
                    <a:pt x="461" y="88"/>
                  </a:lnTo>
                  <a:lnTo>
                    <a:pt x="454" y="87"/>
                  </a:lnTo>
                  <a:lnTo>
                    <a:pt x="445" y="82"/>
                  </a:lnTo>
                  <a:lnTo>
                    <a:pt x="439" y="82"/>
                  </a:lnTo>
                  <a:lnTo>
                    <a:pt x="437" y="82"/>
                  </a:lnTo>
                  <a:lnTo>
                    <a:pt x="427" y="82"/>
                  </a:lnTo>
                  <a:lnTo>
                    <a:pt x="420" y="78"/>
                  </a:lnTo>
                  <a:lnTo>
                    <a:pt x="416" y="76"/>
                  </a:lnTo>
                  <a:lnTo>
                    <a:pt x="406" y="73"/>
                  </a:lnTo>
                  <a:lnTo>
                    <a:pt x="405" y="75"/>
                  </a:lnTo>
                  <a:lnTo>
                    <a:pt x="394" y="75"/>
                  </a:lnTo>
                  <a:lnTo>
                    <a:pt x="389" y="75"/>
                  </a:lnTo>
                  <a:lnTo>
                    <a:pt x="386" y="71"/>
                  </a:lnTo>
                  <a:lnTo>
                    <a:pt x="387" y="73"/>
                  </a:lnTo>
                  <a:lnTo>
                    <a:pt x="393" y="66"/>
                  </a:lnTo>
                  <a:lnTo>
                    <a:pt x="393" y="59"/>
                  </a:lnTo>
                  <a:lnTo>
                    <a:pt x="384" y="56"/>
                  </a:lnTo>
                  <a:lnTo>
                    <a:pt x="381" y="58"/>
                  </a:lnTo>
                  <a:lnTo>
                    <a:pt x="377" y="61"/>
                  </a:lnTo>
                  <a:lnTo>
                    <a:pt x="370" y="65"/>
                  </a:lnTo>
                  <a:lnTo>
                    <a:pt x="364" y="70"/>
                  </a:lnTo>
                  <a:lnTo>
                    <a:pt x="358" y="75"/>
                  </a:lnTo>
                  <a:lnTo>
                    <a:pt x="357" y="78"/>
                  </a:lnTo>
                  <a:lnTo>
                    <a:pt x="360" y="82"/>
                  </a:lnTo>
                  <a:lnTo>
                    <a:pt x="358" y="83"/>
                  </a:lnTo>
                  <a:lnTo>
                    <a:pt x="348" y="83"/>
                  </a:lnTo>
                  <a:lnTo>
                    <a:pt x="340" y="87"/>
                  </a:lnTo>
                  <a:lnTo>
                    <a:pt x="333" y="87"/>
                  </a:lnTo>
                  <a:lnTo>
                    <a:pt x="326" y="83"/>
                  </a:lnTo>
                  <a:lnTo>
                    <a:pt x="324" y="80"/>
                  </a:lnTo>
                  <a:lnTo>
                    <a:pt x="317" y="71"/>
                  </a:lnTo>
                  <a:lnTo>
                    <a:pt x="312" y="63"/>
                  </a:lnTo>
                  <a:lnTo>
                    <a:pt x="312" y="59"/>
                  </a:lnTo>
                  <a:lnTo>
                    <a:pt x="309" y="56"/>
                  </a:lnTo>
                  <a:lnTo>
                    <a:pt x="307" y="58"/>
                  </a:lnTo>
                  <a:lnTo>
                    <a:pt x="307" y="56"/>
                  </a:lnTo>
                  <a:lnTo>
                    <a:pt x="304" y="58"/>
                  </a:lnTo>
                  <a:lnTo>
                    <a:pt x="300" y="56"/>
                  </a:lnTo>
                  <a:lnTo>
                    <a:pt x="302" y="58"/>
                  </a:lnTo>
                  <a:lnTo>
                    <a:pt x="299" y="59"/>
                  </a:lnTo>
                  <a:lnTo>
                    <a:pt x="297" y="56"/>
                  </a:lnTo>
                  <a:lnTo>
                    <a:pt x="297" y="54"/>
                  </a:lnTo>
                  <a:lnTo>
                    <a:pt x="295" y="54"/>
                  </a:lnTo>
                  <a:lnTo>
                    <a:pt x="295" y="51"/>
                  </a:lnTo>
                  <a:lnTo>
                    <a:pt x="297" y="53"/>
                  </a:lnTo>
                  <a:lnTo>
                    <a:pt x="297" y="49"/>
                  </a:lnTo>
                  <a:lnTo>
                    <a:pt x="300" y="49"/>
                  </a:lnTo>
                  <a:lnTo>
                    <a:pt x="302" y="47"/>
                  </a:lnTo>
                  <a:lnTo>
                    <a:pt x="300" y="41"/>
                  </a:lnTo>
                  <a:lnTo>
                    <a:pt x="299" y="39"/>
                  </a:lnTo>
                  <a:lnTo>
                    <a:pt x="295" y="41"/>
                  </a:lnTo>
                  <a:lnTo>
                    <a:pt x="288" y="47"/>
                  </a:lnTo>
                  <a:lnTo>
                    <a:pt x="285" y="58"/>
                  </a:lnTo>
                  <a:lnTo>
                    <a:pt x="285" y="59"/>
                  </a:lnTo>
                  <a:lnTo>
                    <a:pt x="285" y="63"/>
                  </a:lnTo>
                  <a:lnTo>
                    <a:pt x="283" y="73"/>
                  </a:lnTo>
                  <a:lnTo>
                    <a:pt x="278" y="78"/>
                  </a:lnTo>
                  <a:lnTo>
                    <a:pt x="275" y="78"/>
                  </a:lnTo>
                  <a:lnTo>
                    <a:pt x="273" y="83"/>
                  </a:lnTo>
                  <a:lnTo>
                    <a:pt x="270" y="88"/>
                  </a:lnTo>
                  <a:lnTo>
                    <a:pt x="271" y="95"/>
                  </a:lnTo>
                  <a:lnTo>
                    <a:pt x="268" y="100"/>
                  </a:lnTo>
                  <a:lnTo>
                    <a:pt x="265" y="90"/>
                  </a:lnTo>
                  <a:lnTo>
                    <a:pt x="268" y="82"/>
                  </a:lnTo>
                  <a:lnTo>
                    <a:pt x="270" y="78"/>
                  </a:lnTo>
                  <a:lnTo>
                    <a:pt x="270" y="75"/>
                  </a:lnTo>
                  <a:lnTo>
                    <a:pt x="268" y="68"/>
                  </a:lnTo>
                  <a:lnTo>
                    <a:pt x="263" y="65"/>
                  </a:lnTo>
                  <a:lnTo>
                    <a:pt x="261" y="54"/>
                  </a:lnTo>
                  <a:lnTo>
                    <a:pt x="258" y="51"/>
                  </a:lnTo>
                  <a:lnTo>
                    <a:pt x="266" y="49"/>
                  </a:lnTo>
                  <a:lnTo>
                    <a:pt x="271" y="44"/>
                  </a:lnTo>
                  <a:lnTo>
                    <a:pt x="275" y="44"/>
                  </a:lnTo>
                  <a:lnTo>
                    <a:pt x="276" y="41"/>
                  </a:lnTo>
                  <a:lnTo>
                    <a:pt x="276" y="42"/>
                  </a:lnTo>
                  <a:lnTo>
                    <a:pt x="278" y="41"/>
                  </a:lnTo>
                  <a:lnTo>
                    <a:pt x="282" y="41"/>
                  </a:lnTo>
                  <a:lnTo>
                    <a:pt x="290" y="39"/>
                  </a:lnTo>
                  <a:lnTo>
                    <a:pt x="288" y="34"/>
                  </a:lnTo>
                  <a:lnTo>
                    <a:pt x="292" y="32"/>
                  </a:lnTo>
                  <a:lnTo>
                    <a:pt x="292" y="29"/>
                  </a:lnTo>
                  <a:lnTo>
                    <a:pt x="287" y="30"/>
                  </a:lnTo>
                  <a:lnTo>
                    <a:pt x="285" y="29"/>
                  </a:lnTo>
                  <a:lnTo>
                    <a:pt x="294" y="24"/>
                  </a:lnTo>
                  <a:lnTo>
                    <a:pt x="294" y="22"/>
                  </a:lnTo>
                  <a:lnTo>
                    <a:pt x="292" y="20"/>
                  </a:lnTo>
                  <a:lnTo>
                    <a:pt x="297" y="18"/>
                  </a:lnTo>
                  <a:lnTo>
                    <a:pt x="297" y="15"/>
                  </a:lnTo>
                  <a:lnTo>
                    <a:pt x="306" y="15"/>
                  </a:lnTo>
                  <a:lnTo>
                    <a:pt x="309" y="17"/>
                  </a:lnTo>
                  <a:lnTo>
                    <a:pt x="319" y="15"/>
                  </a:lnTo>
                  <a:lnTo>
                    <a:pt x="324" y="17"/>
                  </a:lnTo>
                  <a:lnTo>
                    <a:pt x="329" y="13"/>
                  </a:lnTo>
                  <a:lnTo>
                    <a:pt x="335" y="15"/>
                  </a:lnTo>
                  <a:lnTo>
                    <a:pt x="338" y="12"/>
                  </a:lnTo>
                  <a:lnTo>
                    <a:pt x="345" y="15"/>
                  </a:lnTo>
                  <a:lnTo>
                    <a:pt x="352" y="15"/>
                  </a:lnTo>
                  <a:lnTo>
                    <a:pt x="357" y="13"/>
                  </a:lnTo>
                  <a:lnTo>
                    <a:pt x="362" y="15"/>
                  </a:lnTo>
                  <a:lnTo>
                    <a:pt x="367" y="13"/>
                  </a:lnTo>
                  <a:lnTo>
                    <a:pt x="377" y="17"/>
                  </a:lnTo>
                  <a:lnTo>
                    <a:pt x="387" y="13"/>
                  </a:lnTo>
                  <a:lnTo>
                    <a:pt x="393" y="13"/>
                  </a:lnTo>
                  <a:lnTo>
                    <a:pt x="399" y="8"/>
                  </a:lnTo>
                  <a:lnTo>
                    <a:pt x="403" y="8"/>
                  </a:lnTo>
                  <a:lnTo>
                    <a:pt x="406" y="15"/>
                  </a:lnTo>
                  <a:lnTo>
                    <a:pt x="405" y="20"/>
                  </a:lnTo>
                  <a:lnTo>
                    <a:pt x="406" y="18"/>
                  </a:lnTo>
                  <a:lnTo>
                    <a:pt x="406" y="25"/>
                  </a:lnTo>
                  <a:lnTo>
                    <a:pt x="413" y="29"/>
                  </a:lnTo>
                  <a:lnTo>
                    <a:pt x="416" y="25"/>
                  </a:lnTo>
                  <a:lnTo>
                    <a:pt x="420" y="27"/>
                  </a:lnTo>
                  <a:lnTo>
                    <a:pt x="418" y="25"/>
                  </a:lnTo>
                  <a:lnTo>
                    <a:pt x="420" y="22"/>
                  </a:lnTo>
                  <a:lnTo>
                    <a:pt x="423" y="27"/>
                  </a:lnTo>
                  <a:lnTo>
                    <a:pt x="422" y="25"/>
                  </a:lnTo>
                  <a:lnTo>
                    <a:pt x="423" y="22"/>
                  </a:lnTo>
                  <a:lnTo>
                    <a:pt x="428" y="20"/>
                  </a:lnTo>
                  <a:lnTo>
                    <a:pt x="437" y="17"/>
                  </a:lnTo>
                  <a:lnTo>
                    <a:pt x="439" y="15"/>
                  </a:lnTo>
                  <a:lnTo>
                    <a:pt x="442" y="6"/>
                  </a:lnTo>
                  <a:lnTo>
                    <a:pt x="449" y="6"/>
                  </a:lnTo>
                  <a:lnTo>
                    <a:pt x="454" y="6"/>
                  </a:lnTo>
                  <a:lnTo>
                    <a:pt x="459" y="8"/>
                  </a:lnTo>
                  <a:lnTo>
                    <a:pt x="461" y="5"/>
                  </a:lnTo>
                  <a:lnTo>
                    <a:pt x="463" y="8"/>
                  </a:lnTo>
                  <a:close/>
                  <a:moveTo>
                    <a:pt x="394" y="0"/>
                  </a:moveTo>
                  <a:lnTo>
                    <a:pt x="396" y="0"/>
                  </a:lnTo>
                  <a:lnTo>
                    <a:pt x="396" y="1"/>
                  </a:lnTo>
                  <a:lnTo>
                    <a:pt x="394" y="1"/>
                  </a:lnTo>
                  <a:lnTo>
                    <a:pt x="394"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0" name="Freeform 63"/>
            <p:cNvSpPr>
              <a:spLocks noEditPoints="1"/>
            </p:cNvSpPr>
            <p:nvPr/>
          </p:nvSpPr>
          <p:spPr bwMode="gray">
            <a:xfrm>
              <a:off x="8372581" y="2921212"/>
              <a:ext cx="1296994" cy="1176598"/>
            </a:xfrm>
            <a:custGeom>
              <a:avLst/>
              <a:gdLst>
                <a:gd name="T0" fmla="*/ 588 w 711"/>
                <a:gd name="T1" fmla="*/ 608 h 645"/>
                <a:gd name="T2" fmla="*/ 561 w 711"/>
                <a:gd name="T3" fmla="*/ 592 h 645"/>
                <a:gd name="T4" fmla="*/ 411 w 711"/>
                <a:gd name="T5" fmla="*/ 539 h 645"/>
                <a:gd name="T6" fmla="*/ 380 w 711"/>
                <a:gd name="T7" fmla="*/ 444 h 645"/>
                <a:gd name="T8" fmla="*/ 606 w 711"/>
                <a:gd name="T9" fmla="*/ 433 h 645"/>
                <a:gd name="T10" fmla="*/ 546 w 711"/>
                <a:gd name="T11" fmla="*/ 423 h 645"/>
                <a:gd name="T12" fmla="*/ 544 w 711"/>
                <a:gd name="T13" fmla="*/ 411 h 645"/>
                <a:gd name="T14" fmla="*/ 530 w 711"/>
                <a:gd name="T15" fmla="*/ 398 h 645"/>
                <a:gd name="T16" fmla="*/ 551 w 711"/>
                <a:gd name="T17" fmla="*/ 391 h 645"/>
                <a:gd name="T18" fmla="*/ 549 w 711"/>
                <a:gd name="T19" fmla="*/ 391 h 645"/>
                <a:gd name="T20" fmla="*/ 109 w 711"/>
                <a:gd name="T21" fmla="*/ 386 h 645"/>
                <a:gd name="T22" fmla="*/ 133 w 711"/>
                <a:gd name="T23" fmla="*/ 379 h 645"/>
                <a:gd name="T24" fmla="*/ 609 w 711"/>
                <a:gd name="T25" fmla="*/ 367 h 645"/>
                <a:gd name="T26" fmla="*/ 37 w 711"/>
                <a:gd name="T27" fmla="*/ 341 h 645"/>
                <a:gd name="T28" fmla="*/ 129 w 711"/>
                <a:gd name="T29" fmla="*/ 331 h 645"/>
                <a:gd name="T30" fmla="*/ 119 w 711"/>
                <a:gd name="T31" fmla="*/ 370 h 645"/>
                <a:gd name="T32" fmla="*/ 99 w 711"/>
                <a:gd name="T33" fmla="*/ 334 h 645"/>
                <a:gd name="T34" fmla="*/ 244 w 711"/>
                <a:gd name="T35" fmla="*/ 293 h 645"/>
                <a:gd name="T36" fmla="*/ 216 w 711"/>
                <a:gd name="T37" fmla="*/ 275 h 645"/>
                <a:gd name="T38" fmla="*/ 5 w 711"/>
                <a:gd name="T39" fmla="*/ 271 h 645"/>
                <a:gd name="T40" fmla="*/ 51 w 711"/>
                <a:gd name="T41" fmla="*/ 273 h 645"/>
                <a:gd name="T42" fmla="*/ 220 w 711"/>
                <a:gd name="T43" fmla="*/ 247 h 645"/>
                <a:gd name="T44" fmla="*/ 213 w 711"/>
                <a:gd name="T45" fmla="*/ 244 h 645"/>
                <a:gd name="T46" fmla="*/ 165 w 711"/>
                <a:gd name="T47" fmla="*/ 242 h 645"/>
                <a:gd name="T48" fmla="*/ 186 w 711"/>
                <a:gd name="T49" fmla="*/ 220 h 645"/>
                <a:gd name="T50" fmla="*/ 138 w 711"/>
                <a:gd name="T51" fmla="*/ 234 h 645"/>
                <a:gd name="T52" fmla="*/ 180 w 711"/>
                <a:gd name="T53" fmla="*/ 222 h 645"/>
                <a:gd name="T54" fmla="*/ 116 w 711"/>
                <a:gd name="T55" fmla="*/ 196 h 645"/>
                <a:gd name="T56" fmla="*/ 140 w 711"/>
                <a:gd name="T57" fmla="*/ 182 h 645"/>
                <a:gd name="T58" fmla="*/ 674 w 711"/>
                <a:gd name="T59" fmla="*/ 618 h 645"/>
                <a:gd name="T60" fmla="*/ 647 w 711"/>
                <a:gd name="T61" fmla="*/ 603 h 645"/>
                <a:gd name="T62" fmla="*/ 641 w 711"/>
                <a:gd name="T63" fmla="*/ 599 h 645"/>
                <a:gd name="T64" fmla="*/ 573 w 711"/>
                <a:gd name="T65" fmla="*/ 596 h 645"/>
                <a:gd name="T66" fmla="*/ 539 w 711"/>
                <a:gd name="T67" fmla="*/ 575 h 645"/>
                <a:gd name="T68" fmla="*/ 489 w 711"/>
                <a:gd name="T69" fmla="*/ 572 h 645"/>
                <a:gd name="T70" fmla="*/ 409 w 711"/>
                <a:gd name="T71" fmla="*/ 570 h 645"/>
                <a:gd name="T72" fmla="*/ 390 w 711"/>
                <a:gd name="T73" fmla="*/ 507 h 645"/>
                <a:gd name="T74" fmla="*/ 327 w 711"/>
                <a:gd name="T75" fmla="*/ 469 h 645"/>
                <a:gd name="T76" fmla="*/ 372 w 711"/>
                <a:gd name="T77" fmla="*/ 456 h 645"/>
                <a:gd name="T78" fmla="*/ 481 w 711"/>
                <a:gd name="T79" fmla="*/ 425 h 645"/>
                <a:gd name="T80" fmla="*/ 536 w 711"/>
                <a:gd name="T81" fmla="*/ 439 h 645"/>
                <a:gd name="T82" fmla="*/ 554 w 711"/>
                <a:gd name="T83" fmla="*/ 380 h 645"/>
                <a:gd name="T84" fmla="*/ 515 w 711"/>
                <a:gd name="T85" fmla="*/ 394 h 645"/>
                <a:gd name="T86" fmla="*/ 389 w 711"/>
                <a:gd name="T87" fmla="*/ 391 h 645"/>
                <a:gd name="T88" fmla="*/ 322 w 711"/>
                <a:gd name="T89" fmla="*/ 336 h 645"/>
                <a:gd name="T90" fmla="*/ 283 w 711"/>
                <a:gd name="T91" fmla="*/ 302 h 645"/>
                <a:gd name="T92" fmla="*/ 233 w 711"/>
                <a:gd name="T93" fmla="*/ 258 h 645"/>
                <a:gd name="T94" fmla="*/ 288 w 711"/>
                <a:gd name="T95" fmla="*/ 217 h 645"/>
                <a:gd name="T96" fmla="*/ 443 w 711"/>
                <a:gd name="T97" fmla="*/ 187 h 645"/>
                <a:gd name="T98" fmla="*/ 573 w 711"/>
                <a:gd name="T99" fmla="*/ 234 h 645"/>
                <a:gd name="T100" fmla="*/ 575 w 711"/>
                <a:gd name="T101" fmla="*/ 351 h 645"/>
                <a:gd name="T102" fmla="*/ 600 w 711"/>
                <a:gd name="T103" fmla="*/ 439 h 645"/>
                <a:gd name="T104" fmla="*/ 105 w 711"/>
                <a:gd name="T105" fmla="*/ 167 h 645"/>
                <a:gd name="T106" fmla="*/ 126 w 711"/>
                <a:gd name="T107" fmla="*/ 152 h 645"/>
                <a:gd name="T108" fmla="*/ 199 w 711"/>
                <a:gd name="T109" fmla="*/ 136 h 645"/>
                <a:gd name="T110" fmla="*/ 191 w 711"/>
                <a:gd name="T111" fmla="*/ 164 h 645"/>
                <a:gd name="T112" fmla="*/ 194 w 711"/>
                <a:gd name="T113" fmla="*/ 172 h 645"/>
                <a:gd name="T114" fmla="*/ 129 w 711"/>
                <a:gd name="T115" fmla="*/ 160 h 645"/>
                <a:gd name="T116" fmla="*/ 119 w 711"/>
                <a:gd name="T117" fmla="*/ 145 h 645"/>
                <a:gd name="T118" fmla="*/ 172 w 711"/>
                <a:gd name="T119" fmla="*/ 133 h 645"/>
                <a:gd name="T120" fmla="*/ 99 w 711"/>
                <a:gd name="T121" fmla="*/ 111 h 645"/>
                <a:gd name="T122" fmla="*/ 233 w 711"/>
                <a:gd name="T123" fmla="*/ 3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1" h="645">
                  <a:moveTo>
                    <a:pt x="481" y="620"/>
                  </a:moveTo>
                  <a:lnTo>
                    <a:pt x="484" y="621"/>
                  </a:lnTo>
                  <a:lnTo>
                    <a:pt x="486" y="625"/>
                  </a:lnTo>
                  <a:lnTo>
                    <a:pt x="488" y="625"/>
                  </a:lnTo>
                  <a:lnTo>
                    <a:pt x="495" y="630"/>
                  </a:lnTo>
                  <a:lnTo>
                    <a:pt x="505" y="633"/>
                  </a:lnTo>
                  <a:lnTo>
                    <a:pt x="507" y="633"/>
                  </a:lnTo>
                  <a:lnTo>
                    <a:pt x="510" y="638"/>
                  </a:lnTo>
                  <a:lnTo>
                    <a:pt x="517" y="644"/>
                  </a:lnTo>
                  <a:lnTo>
                    <a:pt x="517" y="645"/>
                  </a:lnTo>
                  <a:lnTo>
                    <a:pt x="510" y="640"/>
                  </a:lnTo>
                  <a:lnTo>
                    <a:pt x="507" y="637"/>
                  </a:lnTo>
                  <a:lnTo>
                    <a:pt x="501" y="638"/>
                  </a:lnTo>
                  <a:lnTo>
                    <a:pt x="496" y="638"/>
                  </a:lnTo>
                  <a:lnTo>
                    <a:pt x="491" y="633"/>
                  </a:lnTo>
                  <a:lnTo>
                    <a:pt x="488" y="632"/>
                  </a:lnTo>
                  <a:lnTo>
                    <a:pt x="484" y="630"/>
                  </a:lnTo>
                  <a:lnTo>
                    <a:pt x="481" y="630"/>
                  </a:lnTo>
                  <a:lnTo>
                    <a:pt x="483" y="628"/>
                  </a:lnTo>
                  <a:lnTo>
                    <a:pt x="483" y="626"/>
                  </a:lnTo>
                  <a:lnTo>
                    <a:pt x="479" y="625"/>
                  </a:lnTo>
                  <a:lnTo>
                    <a:pt x="479" y="620"/>
                  </a:lnTo>
                  <a:lnTo>
                    <a:pt x="481" y="620"/>
                  </a:lnTo>
                  <a:close/>
                  <a:moveTo>
                    <a:pt x="633" y="616"/>
                  </a:moveTo>
                  <a:lnTo>
                    <a:pt x="635" y="616"/>
                  </a:lnTo>
                  <a:lnTo>
                    <a:pt x="635" y="618"/>
                  </a:lnTo>
                  <a:lnTo>
                    <a:pt x="633" y="618"/>
                  </a:lnTo>
                  <a:lnTo>
                    <a:pt x="633" y="616"/>
                  </a:lnTo>
                  <a:close/>
                  <a:moveTo>
                    <a:pt x="588" y="608"/>
                  </a:moveTo>
                  <a:lnTo>
                    <a:pt x="592" y="609"/>
                  </a:lnTo>
                  <a:lnTo>
                    <a:pt x="592" y="613"/>
                  </a:lnTo>
                  <a:lnTo>
                    <a:pt x="588" y="613"/>
                  </a:lnTo>
                  <a:lnTo>
                    <a:pt x="588" y="609"/>
                  </a:lnTo>
                  <a:lnTo>
                    <a:pt x="588" y="608"/>
                  </a:lnTo>
                  <a:close/>
                  <a:moveTo>
                    <a:pt x="606" y="606"/>
                  </a:moveTo>
                  <a:lnTo>
                    <a:pt x="614" y="609"/>
                  </a:lnTo>
                  <a:lnTo>
                    <a:pt x="614" y="611"/>
                  </a:lnTo>
                  <a:lnTo>
                    <a:pt x="604" y="611"/>
                  </a:lnTo>
                  <a:lnTo>
                    <a:pt x="607" y="609"/>
                  </a:lnTo>
                  <a:lnTo>
                    <a:pt x="606" y="606"/>
                  </a:lnTo>
                  <a:close/>
                  <a:moveTo>
                    <a:pt x="662" y="603"/>
                  </a:moveTo>
                  <a:lnTo>
                    <a:pt x="664" y="604"/>
                  </a:lnTo>
                  <a:lnTo>
                    <a:pt x="664" y="606"/>
                  </a:lnTo>
                  <a:lnTo>
                    <a:pt x="662" y="606"/>
                  </a:lnTo>
                  <a:lnTo>
                    <a:pt x="660" y="604"/>
                  </a:lnTo>
                  <a:lnTo>
                    <a:pt x="662" y="603"/>
                  </a:lnTo>
                  <a:close/>
                  <a:moveTo>
                    <a:pt x="643" y="601"/>
                  </a:moveTo>
                  <a:lnTo>
                    <a:pt x="650" y="603"/>
                  </a:lnTo>
                  <a:lnTo>
                    <a:pt x="648" y="603"/>
                  </a:lnTo>
                  <a:lnTo>
                    <a:pt x="643" y="604"/>
                  </a:lnTo>
                  <a:lnTo>
                    <a:pt x="643" y="601"/>
                  </a:lnTo>
                  <a:close/>
                  <a:moveTo>
                    <a:pt x="573" y="597"/>
                  </a:moveTo>
                  <a:lnTo>
                    <a:pt x="580" y="606"/>
                  </a:lnTo>
                  <a:lnTo>
                    <a:pt x="580" y="604"/>
                  </a:lnTo>
                  <a:lnTo>
                    <a:pt x="582" y="609"/>
                  </a:lnTo>
                  <a:lnTo>
                    <a:pt x="587" y="611"/>
                  </a:lnTo>
                  <a:lnTo>
                    <a:pt x="583" y="611"/>
                  </a:lnTo>
                  <a:lnTo>
                    <a:pt x="585" y="611"/>
                  </a:lnTo>
                  <a:lnTo>
                    <a:pt x="580" y="609"/>
                  </a:lnTo>
                  <a:lnTo>
                    <a:pt x="582" y="609"/>
                  </a:lnTo>
                  <a:lnTo>
                    <a:pt x="571" y="606"/>
                  </a:lnTo>
                  <a:lnTo>
                    <a:pt x="570" y="601"/>
                  </a:lnTo>
                  <a:lnTo>
                    <a:pt x="566" y="599"/>
                  </a:lnTo>
                  <a:lnTo>
                    <a:pt x="573" y="597"/>
                  </a:lnTo>
                  <a:close/>
                  <a:moveTo>
                    <a:pt x="561" y="589"/>
                  </a:moveTo>
                  <a:lnTo>
                    <a:pt x="565" y="589"/>
                  </a:lnTo>
                  <a:lnTo>
                    <a:pt x="565" y="592"/>
                  </a:lnTo>
                  <a:lnTo>
                    <a:pt x="561" y="592"/>
                  </a:lnTo>
                  <a:lnTo>
                    <a:pt x="561" y="589"/>
                  </a:lnTo>
                  <a:close/>
                  <a:moveTo>
                    <a:pt x="551" y="585"/>
                  </a:moveTo>
                  <a:lnTo>
                    <a:pt x="553" y="589"/>
                  </a:lnTo>
                  <a:lnTo>
                    <a:pt x="551" y="592"/>
                  </a:lnTo>
                  <a:lnTo>
                    <a:pt x="549" y="587"/>
                  </a:lnTo>
                  <a:lnTo>
                    <a:pt x="548" y="582"/>
                  </a:lnTo>
                  <a:lnTo>
                    <a:pt x="546" y="577"/>
                  </a:lnTo>
                  <a:lnTo>
                    <a:pt x="546" y="573"/>
                  </a:lnTo>
                  <a:lnTo>
                    <a:pt x="548" y="575"/>
                  </a:lnTo>
                  <a:lnTo>
                    <a:pt x="551" y="585"/>
                  </a:lnTo>
                  <a:close/>
                  <a:moveTo>
                    <a:pt x="503" y="541"/>
                  </a:moveTo>
                  <a:lnTo>
                    <a:pt x="503" y="543"/>
                  </a:lnTo>
                  <a:lnTo>
                    <a:pt x="500" y="541"/>
                  </a:lnTo>
                  <a:lnTo>
                    <a:pt x="503" y="541"/>
                  </a:lnTo>
                  <a:close/>
                  <a:moveTo>
                    <a:pt x="411" y="544"/>
                  </a:moveTo>
                  <a:lnTo>
                    <a:pt x="411" y="539"/>
                  </a:lnTo>
                  <a:lnTo>
                    <a:pt x="411" y="544"/>
                  </a:lnTo>
                  <a:close/>
                  <a:moveTo>
                    <a:pt x="515" y="538"/>
                  </a:moveTo>
                  <a:lnTo>
                    <a:pt x="517" y="539"/>
                  </a:lnTo>
                  <a:lnTo>
                    <a:pt x="515" y="543"/>
                  </a:lnTo>
                  <a:lnTo>
                    <a:pt x="513" y="539"/>
                  </a:lnTo>
                  <a:lnTo>
                    <a:pt x="515" y="538"/>
                  </a:lnTo>
                  <a:close/>
                  <a:moveTo>
                    <a:pt x="399" y="536"/>
                  </a:moveTo>
                  <a:lnTo>
                    <a:pt x="402" y="538"/>
                  </a:lnTo>
                  <a:lnTo>
                    <a:pt x="404" y="541"/>
                  </a:lnTo>
                  <a:lnTo>
                    <a:pt x="408" y="544"/>
                  </a:lnTo>
                  <a:lnTo>
                    <a:pt x="408" y="548"/>
                  </a:lnTo>
                  <a:lnTo>
                    <a:pt x="404" y="550"/>
                  </a:lnTo>
                  <a:lnTo>
                    <a:pt x="402" y="546"/>
                  </a:lnTo>
                  <a:lnTo>
                    <a:pt x="404" y="543"/>
                  </a:lnTo>
                  <a:lnTo>
                    <a:pt x="397" y="539"/>
                  </a:lnTo>
                  <a:lnTo>
                    <a:pt x="397" y="536"/>
                  </a:lnTo>
                  <a:lnTo>
                    <a:pt x="399" y="536"/>
                  </a:lnTo>
                  <a:close/>
                  <a:moveTo>
                    <a:pt x="411" y="539"/>
                  </a:moveTo>
                  <a:lnTo>
                    <a:pt x="411" y="534"/>
                  </a:lnTo>
                  <a:lnTo>
                    <a:pt x="413" y="538"/>
                  </a:lnTo>
                  <a:lnTo>
                    <a:pt x="411" y="539"/>
                  </a:lnTo>
                  <a:close/>
                  <a:moveTo>
                    <a:pt x="375" y="500"/>
                  </a:moveTo>
                  <a:lnTo>
                    <a:pt x="382" y="502"/>
                  </a:lnTo>
                  <a:lnTo>
                    <a:pt x="387" y="505"/>
                  </a:lnTo>
                  <a:lnTo>
                    <a:pt x="387" y="503"/>
                  </a:lnTo>
                  <a:lnTo>
                    <a:pt x="387" y="505"/>
                  </a:lnTo>
                  <a:lnTo>
                    <a:pt x="379" y="503"/>
                  </a:lnTo>
                  <a:lnTo>
                    <a:pt x="375" y="500"/>
                  </a:lnTo>
                  <a:close/>
                  <a:moveTo>
                    <a:pt x="338" y="485"/>
                  </a:moveTo>
                  <a:lnTo>
                    <a:pt x="339" y="485"/>
                  </a:lnTo>
                  <a:lnTo>
                    <a:pt x="336" y="485"/>
                  </a:lnTo>
                  <a:lnTo>
                    <a:pt x="338" y="485"/>
                  </a:lnTo>
                  <a:close/>
                  <a:moveTo>
                    <a:pt x="343" y="483"/>
                  </a:moveTo>
                  <a:lnTo>
                    <a:pt x="346" y="485"/>
                  </a:lnTo>
                  <a:lnTo>
                    <a:pt x="351" y="485"/>
                  </a:lnTo>
                  <a:lnTo>
                    <a:pt x="358" y="485"/>
                  </a:lnTo>
                  <a:lnTo>
                    <a:pt x="361" y="486"/>
                  </a:lnTo>
                  <a:lnTo>
                    <a:pt x="351" y="485"/>
                  </a:lnTo>
                  <a:lnTo>
                    <a:pt x="344" y="485"/>
                  </a:lnTo>
                  <a:lnTo>
                    <a:pt x="343" y="483"/>
                  </a:lnTo>
                  <a:close/>
                  <a:moveTo>
                    <a:pt x="320" y="480"/>
                  </a:moveTo>
                  <a:lnTo>
                    <a:pt x="324" y="481"/>
                  </a:lnTo>
                  <a:lnTo>
                    <a:pt x="322" y="481"/>
                  </a:lnTo>
                  <a:lnTo>
                    <a:pt x="320" y="480"/>
                  </a:lnTo>
                  <a:close/>
                  <a:moveTo>
                    <a:pt x="389" y="445"/>
                  </a:moveTo>
                  <a:lnTo>
                    <a:pt x="392" y="445"/>
                  </a:lnTo>
                  <a:lnTo>
                    <a:pt x="390" y="445"/>
                  </a:lnTo>
                  <a:lnTo>
                    <a:pt x="390" y="447"/>
                  </a:lnTo>
                  <a:lnTo>
                    <a:pt x="387" y="445"/>
                  </a:lnTo>
                  <a:lnTo>
                    <a:pt x="389" y="445"/>
                  </a:lnTo>
                  <a:close/>
                  <a:moveTo>
                    <a:pt x="379" y="444"/>
                  </a:moveTo>
                  <a:lnTo>
                    <a:pt x="380" y="444"/>
                  </a:lnTo>
                  <a:lnTo>
                    <a:pt x="384" y="444"/>
                  </a:lnTo>
                  <a:lnTo>
                    <a:pt x="384" y="447"/>
                  </a:lnTo>
                  <a:lnTo>
                    <a:pt x="377" y="449"/>
                  </a:lnTo>
                  <a:lnTo>
                    <a:pt x="377" y="445"/>
                  </a:lnTo>
                  <a:lnTo>
                    <a:pt x="375" y="445"/>
                  </a:lnTo>
                  <a:lnTo>
                    <a:pt x="377" y="445"/>
                  </a:lnTo>
                  <a:lnTo>
                    <a:pt x="377" y="444"/>
                  </a:lnTo>
                  <a:lnTo>
                    <a:pt x="379" y="444"/>
                  </a:lnTo>
                  <a:close/>
                  <a:moveTo>
                    <a:pt x="283" y="442"/>
                  </a:moveTo>
                  <a:lnTo>
                    <a:pt x="273" y="447"/>
                  </a:lnTo>
                  <a:lnTo>
                    <a:pt x="274" y="445"/>
                  </a:lnTo>
                  <a:lnTo>
                    <a:pt x="283" y="442"/>
                  </a:lnTo>
                  <a:close/>
                  <a:moveTo>
                    <a:pt x="489" y="447"/>
                  </a:moveTo>
                  <a:lnTo>
                    <a:pt x="489" y="439"/>
                  </a:lnTo>
                  <a:lnTo>
                    <a:pt x="491" y="442"/>
                  </a:lnTo>
                  <a:lnTo>
                    <a:pt x="489" y="442"/>
                  </a:lnTo>
                  <a:lnTo>
                    <a:pt x="489" y="447"/>
                  </a:lnTo>
                  <a:close/>
                  <a:moveTo>
                    <a:pt x="507" y="433"/>
                  </a:moveTo>
                  <a:lnTo>
                    <a:pt x="510" y="435"/>
                  </a:lnTo>
                  <a:lnTo>
                    <a:pt x="508" y="437"/>
                  </a:lnTo>
                  <a:lnTo>
                    <a:pt x="510" y="439"/>
                  </a:lnTo>
                  <a:lnTo>
                    <a:pt x="510" y="440"/>
                  </a:lnTo>
                  <a:lnTo>
                    <a:pt x="507" y="440"/>
                  </a:lnTo>
                  <a:lnTo>
                    <a:pt x="505" y="439"/>
                  </a:lnTo>
                  <a:lnTo>
                    <a:pt x="505" y="435"/>
                  </a:lnTo>
                  <a:lnTo>
                    <a:pt x="507" y="433"/>
                  </a:lnTo>
                  <a:close/>
                  <a:moveTo>
                    <a:pt x="513" y="432"/>
                  </a:moveTo>
                  <a:lnTo>
                    <a:pt x="515" y="433"/>
                  </a:lnTo>
                  <a:lnTo>
                    <a:pt x="512" y="435"/>
                  </a:lnTo>
                  <a:lnTo>
                    <a:pt x="513" y="432"/>
                  </a:lnTo>
                  <a:close/>
                  <a:moveTo>
                    <a:pt x="607" y="432"/>
                  </a:moveTo>
                  <a:lnTo>
                    <a:pt x="609" y="432"/>
                  </a:lnTo>
                  <a:lnTo>
                    <a:pt x="609" y="437"/>
                  </a:lnTo>
                  <a:lnTo>
                    <a:pt x="606" y="433"/>
                  </a:lnTo>
                  <a:lnTo>
                    <a:pt x="606" y="430"/>
                  </a:lnTo>
                  <a:lnTo>
                    <a:pt x="607" y="432"/>
                  </a:lnTo>
                  <a:close/>
                  <a:moveTo>
                    <a:pt x="524" y="430"/>
                  </a:moveTo>
                  <a:lnTo>
                    <a:pt x="522" y="432"/>
                  </a:lnTo>
                  <a:lnTo>
                    <a:pt x="518" y="428"/>
                  </a:lnTo>
                  <a:lnTo>
                    <a:pt x="520" y="427"/>
                  </a:lnTo>
                  <a:lnTo>
                    <a:pt x="524" y="430"/>
                  </a:lnTo>
                  <a:close/>
                  <a:moveTo>
                    <a:pt x="599" y="425"/>
                  </a:moveTo>
                  <a:lnTo>
                    <a:pt x="599" y="428"/>
                  </a:lnTo>
                  <a:lnTo>
                    <a:pt x="599" y="425"/>
                  </a:lnTo>
                  <a:close/>
                  <a:moveTo>
                    <a:pt x="483" y="420"/>
                  </a:moveTo>
                  <a:lnTo>
                    <a:pt x="486" y="421"/>
                  </a:lnTo>
                  <a:lnTo>
                    <a:pt x="486" y="428"/>
                  </a:lnTo>
                  <a:lnTo>
                    <a:pt x="479" y="421"/>
                  </a:lnTo>
                  <a:lnTo>
                    <a:pt x="481" y="418"/>
                  </a:lnTo>
                  <a:lnTo>
                    <a:pt x="483" y="420"/>
                  </a:lnTo>
                  <a:close/>
                  <a:moveTo>
                    <a:pt x="501" y="418"/>
                  </a:moveTo>
                  <a:lnTo>
                    <a:pt x="508" y="421"/>
                  </a:lnTo>
                  <a:lnTo>
                    <a:pt x="508" y="425"/>
                  </a:lnTo>
                  <a:lnTo>
                    <a:pt x="510" y="421"/>
                  </a:lnTo>
                  <a:lnTo>
                    <a:pt x="513" y="423"/>
                  </a:lnTo>
                  <a:lnTo>
                    <a:pt x="515" y="428"/>
                  </a:lnTo>
                  <a:lnTo>
                    <a:pt x="512" y="430"/>
                  </a:lnTo>
                  <a:lnTo>
                    <a:pt x="510" y="430"/>
                  </a:lnTo>
                  <a:lnTo>
                    <a:pt x="510" y="427"/>
                  </a:lnTo>
                  <a:lnTo>
                    <a:pt x="510" y="428"/>
                  </a:lnTo>
                  <a:lnTo>
                    <a:pt x="507" y="427"/>
                  </a:lnTo>
                  <a:lnTo>
                    <a:pt x="508" y="427"/>
                  </a:lnTo>
                  <a:lnTo>
                    <a:pt x="505" y="427"/>
                  </a:lnTo>
                  <a:lnTo>
                    <a:pt x="503" y="421"/>
                  </a:lnTo>
                  <a:lnTo>
                    <a:pt x="500" y="420"/>
                  </a:lnTo>
                  <a:lnTo>
                    <a:pt x="501" y="418"/>
                  </a:lnTo>
                  <a:close/>
                  <a:moveTo>
                    <a:pt x="542" y="416"/>
                  </a:moveTo>
                  <a:lnTo>
                    <a:pt x="546" y="423"/>
                  </a:lnTo>
                  <a:lnTo>
                    <a:pt x="546" y="425"/>
                  </a:lnTo>
                  <a:lnTo>
                    <a:pt x="541" y="421"/>
                  </a:lnTo>
                  <a:lnTo>
                    <a:pt x="539" y="423"/>
                  </a:lnTo>
                  <a:lnTo>
                    <a:pt x="534" y="427"/>
                  </a:lnTo>
                  <a:lnTo>
                    <a:pt x="529" y="421"/>
                  </a:lnTo>
                  <a:lnTo>
                    <a:pt x="530" y="420"/>
                  </a:lnTo>
                  <a:lnTo>
                    <a:pt x="537" y="418"/>
                  </a:lnTo>
                  <a:lnTo>
                    <a:pt x="541" y="416"/>
                  </a:lnTo>
                  <a:lnTo>
                    <a:pt x="542" y="416"/>
                  </a:lnTo>
                  <a:close/>
                  <a:moveTo>
                    <a:pt x="546" y="415"/>
                  </a:moveTo>
                  <a:lnTo>
                    <a:pt x="554" y="416"/>
                  </a:lnTo>
                  <a:lnTo>
                    <a:pt x="556" y="420"/>
                  </a:lnTo>
                  <a:lnTo>
                    <a:pt x="559" y="421"/>
                  </a:lnTo>
                  <a:lnTo>
                    <a:pt x="559" y="425"/>
                  </a:lnTo>
                  <a:lnTo>
                    <a:pt x="556" y="423"/>
                  </a:lnTo>
                  <a:lnTo>
                    <a:pt x="551" y="425"/>
                  </a:lnTo>
                  <a:lnTo>
                    <a:pt x="546" y="421"/>
                  </a:lnTo>
                  <a:lnTo>
                    <a:pt x="542" y="416"/>
                  </a:lnTo>
                  <a:lnTo>
                    <a:pt x="546" y="415"/>
                  </a:lnTo>
                  <a:close/>
                  <a:moveTo>
                    <a:pt x="623" y="410"/>
                  </a:moveTo>
                  <a:lnTo>
                    <a:pt x="626" y="410"/>
                  </a:lnTo>
                  <a:lnTo>
                    <a:pt x="626" y="411"/>
                  </a:lnTo>
                  <a:lnTo>
                    <a:pt x="623" y="411"/>
                  </a:lnTo>
                  <a:lnTo>
                    <a:pt x="623" y="410"/>
                  </a:lnTo>
                  <a:close/>
                  <a:moveTo>
                    <a:pt x="542" y="408"/>
                  </a:moveTo>
                  <a:lnTo>
                    <a:pt x="544" y="410"/>
                  </a:lnTo>
                  <a:lnTo>
                    <a:pt x="539" y="410"/>
                  </a:lnTo>
                  <a:lnTo>
                    <a:pt x="539" y="408"/>
                  </a:lnTo>
                  <a:lnTo>
                    <a:pt x="542" y="408"/>
                  </a:lnTo>
                  <a:close/>
                  <a:moveTo>
                    <a:pt x="556" y="408"/>
                  </a:moveTo>
                  <a:lnTo>
                    <a:pt x="561" y="413"/>
                  </a:lnTo>
                  <a:lnTo>
                    <a:pt x="559" y="415"/>
                  </a:lnTo>
                  <a:lnTo>
                    <a:pt x="553" y="415"/>
                  </a:lnTo>
                  <a:lnTo>
                    <a:pt x="544" y="411"/>
                  </a:lnTo>
                  <a:lnTo>
                    <a:pt x="551" y="408"/>
                  </a:lnTo>
                  <a:lnTo>
                    <a:pt x="556" y="408"/>
                  </a:lnTo>
                  <a:close/>
                  <a:moveTo>
                    <a:pt x="539" y="406"/>
                  </a:moveTo>
                  <a:lnTo>
                    <a:pt x="542" y="406"/>
                  </a:lnTo>
                  <a:lnTo>
                    <a:pt x="542" y="408"/>
                  </a:lnTo>
                  <a:lnTo>
                    <a:pt x="539" y="408"/>
                  </a:lnTo>
                  <a:lnTo>
                    <a:pt x="539" y="406"/>
                  </a:lnTo>
                  <a:close/>
                  <a:moveTo>
                    <a:pt x="629" y="403"/>
                  </a:moveTo>
                  <a:lnTo>
                    <a:pt x="631" y="406"/>
                  </a:lnTo>
                  <a:lnTo>
                    <a:pt x="631" y="411"/>
                  </a:lnTo>
                  <a:lnTo>
                    <a:pt x="633" y="416"/>
                  </a:lnTo>
                  <a:lnTo>
                    <a:pt x="629" y="416"/>
                  </a:lnTo>
                  <a:lnTo>
                    <a:pt x="631" y="418"/>
                  </a:lnTo>
                  <a:lnTo>
                    <a:pt x="629" y="421"/>
                  </a:lnTo>
                  <a:lnTo>
                    <a:pt x="626" y="420"/>
                  </a:lnTo>
                  <a:lnTo>
                    <a:pt x="629" y="418"/>
                  </a:lnTo>
                  <a:lnTo>
                    <a:pt x="623" y="416"/>
                  </a:lnTo>
                  <a:lnTo>
                    <a:pt x="623" y="415"/>
                  </a:lnTo>
                  <a:lnTo>
                    <a:pt x="624" y="415"/>
                  </a:lnTo>
                  <a:lnTo>
                    <a:pt x="623" y="411"/>
                  </a:lnTo>
                  <a:lnTo>
                    <a:pt x="629" y="413"/>
                  </a:lnTo>
                  <a:lnTo>
                    <a:pt x="629" y="410"/>
                  </a:lnTo>
                  <a:lnTo>
                    <a:pt x="628" y="408"/>
                  </a:lnTo>
                  <a:lnTo>
                    <a:pt x="629" y="403"/>
                  </a:lnTo>
                  <a:close/>
                  <a:moveTo>
                    <a:pt x="551" y="401"/>
                  </a:moveTo>
                  <a:lnTo>
                    <a:pt x="554" y="403"/>
                  </a:lnTo>
                  <a:lnTo>
                    <a:pt x="553" y="404"/>
                  </a:lnTo>
                  <a:lnTo>
                    <a:pt x="546" y="403"/>
                  </a:lnTo>
                  <a:lnTo>
                    <a:pt x="551" y="401"/>
                  </a:lnTo>
                  <a:close/>
                  <a:moveTo>
                    <a:pt x="530" y="398"/>
                  </a:moveTo>
                  <a:lnTo>
                    <a:pt x="532" y="399"/>
                  </a:lnTo>
                  <a:lnTo>
                    <a:pt x="529" y="401"/>
                  </a:lnTo>
                  <a:lnTo>
                    <a:pt x="527" y="399"/>
                  </a:lnTo>
                  <a:lnTo>
                    <a:pt x="530" y="398"/>
                  </a:lnTo>
                  <a:close/>
                  <a:moveTo>
                    <a:pt x="155" y="398"/>
                  </a:moveTo>
                  <a:lnTo>
                    <a:pt x="158" y="399"/>
                  </a:lnTo>
                  <a:lnTo>
                    <a:pt x="151" y="398"/>
                  </a:lnTo>
                  <a:lnTo>
                    <a:pt x="155" y="398"/>
                  </a:lnTo>
                  <a:close/>
                  <a:moveTo>
                    <a:pt x="114" y="396"/>
                  </a:moveTo>
                  <a:lnTo>
                    <a:pt x="117" y="396"/>
                  </a:lnTo>
                  <a:lnTo>
                    <a:pt x="114" y="396"/>
                  </a:lnTo>
                  <a:close/>
                  <a:moveTo>
                    <a:pt x="151" y="394"/>
                  </a:moveTo>
                  <a:lnTo>
                    <a:pt x="157" y="394"/>
                  </a:lnTo>
                  <a:lnTo>
                    <a:pt x="155" y="394"/>
                  </a:lnTo>
                  <a:lnTo>
                    <a:pt x="151" y="394"/>
                  </a:lnTo>
                  <a:close/>
                  <a:moveTo>
                    <a:pt x="148" y="394"/>
                  </a:moveTo>
                  <a:lnTo>
                    <a:pt x="146" y="396"/>
                  </a:lnTo>
                  <a:lnTo>
                    <a:pt x="143" y="396"/>
                  </a:lnTo>
                  <a:lnTo>
                    <a:pt x="148" y="394"/>
                  </a:lnTo>
                  <a:close/>
                  <a:moveTo>
                    <a:pt x="513" y="394"/>
                  </a:moveTo>
                  <a:lnTo>
                    <a:pt x="517" y="394"/>
                  </a:lnTo>
                  <a:lnTo>
                    <a:pt x="517" y="396"/>
                  </a:lnTo>
                  <a:lnTo>
                    <a:pt x="513" y="396"/>
                  </a:lnTo>
                  <a:lnTo>
                    <a:pt x="513" y="394"/>
                  </a:lnTo>
                  <a:close/>
                  <a:moveTo>
                    <a:pt x="532" y="394"/>
                  </a:moveTo>
                  <a:lnTo>
                    <a:pt x="532" y="398"/>
                  </a:lnTo>
                  <a:lnTo>
                    <a:pt x="529" y="398"/>
                  </a:lnTo>
                  <a:lnTo>
                    <a:pt x="524" y="399"/>
                  </a:lnTo>
                  <a:lnTo>
                    <a:pt x="532" y="394"/>
                  </a:lnTo>
                  <a:close/>
                  <a:moveTo>
                    <a:pt x="133" y="392"/>
                  </a:moveTo>
                  <a:lnTo>
                    <a:pt x="141" y="394"/>
                  </a:lnTo>
                  <a:lnTo>
                    <a:pt x="133" y="394"/>
                  </a:lnTo>
                  <a:lnTo>
                    <a:pt x="133" y="392"/>
                  </a:lnTo>
                  <a:close/>
                  <a:moveTo>
                    <a:pt x="553" y="391"/>
                  </a:moveTo>
                  <a:lnTo>
                    <a:pt x="554" y="398"/>
                  </a:lnTo>
                  <a:lnTo>
                    <a:pt x="553" y="401"/>
                  </a:lnTo>
                  <a:lnTo>
                    <a:pt x="548" y="398"/>
                  </a:lnTo>
                  <a:lnTo>
                    <a:pt x="551" y="391"/>
                  </a:lnTo>
                  <a:lnTo>
                    <a:pt x="553" y="391"/>
                  </a:lnTo>
                  <a:close/>
                  <a:moveTo>
                    <a:pt x="551" y="391"/>
                  </a:moveTo>
                  <a:lnTo>
                    <a:pt x="548" y="398"/>
                  </a:lnTo>
                  <a:lnTo>
                    <a:pt x="549" y="399"/>
                  </a:lnTo>
                  <a:lnTo>
                    <a:pt x="541" y="403"/>
                  </a:lnTo>
                  <a:lnTo>
                    <a:pt x="537" y="403"/>
                  </a:lnTo>
                  <a:lnTo>
                    <a:pt x="539" y="401"/>
                  </a:lnTo>
                  <a:lnTo>
                    <a:pt x="537" y="401"/>
                  </a:lnTo>
                  <a:lnTo>
                    <a:pt x="536" y="401"/>
                  </a:lnTo>
                  <a:lnTo>
                    <a:pt x="534" y="396"/>
                  </a:lnTo>
                  <a:lnTo>
                    <a:pt x="544" y="392"/>
                  </a:lnTo>
                  <a:lnTo>
                    <a:pt x="546" y="392"/>
                  </a:lnTo>
                  <a:lnTo>
                    <a:pt x="549" y="391"/>
                  </a:lnTo>
                  <a:lnTo>
                    <a:pt x="551" y="391"/>
                  </a:lnTo>
                  <a:close/>
                  <a:moveTo>
                    <a:pt x="112" y="389"/>
                  </a:moveTo>
                  <a:lnTo>
                    <a:pt x="121" y="391"/>
                  </a:lnTo>
                  <a:lnTo>
                    <a:pt x="116" y="392"/>
                  </a:lnTo>
                  <a:lnTo>
                    <a:pt x="117" y="394"/>
                  </a:lnTo>
                  <a:lnTo>
                    <a:pt x="114" y="394"/>
                  </a:lnTo>
                  <a:lnTo>
                    <a:pt x="109" y="391"/>
                  </a:lnTo>
                  <a:lnTo>
                    <a:pt x="112" y="392"/>
                  </a:lnTo>
                  <a:lnTo>
                    <a:pt x="114" y="391"/>
                  </a:lnTo>
                  <a:lnTo>
                    <a:pt x="109" y="391"/>
                  </a:lnTo>
                  <a:lnTo>
                    <a:pt x="112" y="389"/>
                  </a:lnTo>
                  <a:close/>
                  <a:moveTo>
                    <a:pt x="530" y="389"/>
                  </a:moveTo>
                  <a:lnTo>
                    <a:pt x="534" y="389"/>
                  </a:lnTo>
                  <a:lnTo>
                    <a:pt x="532" y="392"/>
                  </a:lnTo>
                  <a:lnTo>
                    <a:pt x="525" y="398"/>
                  </a:lnTo>
                  <a:lnTo>
                    <a:pt x="524" y="396"/>
                  </a:lnTo>
                  <a:lnTo>
                    <a:pt x="527" y="392"/>
                  </a:lnTo>
                  <a:lnTo>
                    <a:pt x="529" y="389"/>
                  </a:lnTo>
                  <a:lnTo>
                    <a:pt x="530" y="389"/>
                  </a:lnTo>
                  <a:close/>
                  <a:moveTo>
                    <a:pt x="548" y="389"/>
                  </a:moveTo>
                  <a:lnTo>
                    <a:pt x="549" y="391"/>
                  </a:lnTo>
                  <a:lnTo>
                    <a:pt x="544" y="392"/>
                  </a:lnTo>
                  <a:lnTo>
                    <a:pt x="546" y="389"/>
                  </a:lnTo>
                  <a:lnTo>
                    <a:pt x="548" y="389"/>
                  </a:lnTo>
                  <a:close/>
                  <a:moveTo>
                    <a:pt x="553" y="389"/>
                  </a:moveTo>
                  <a:lnTo>
                    <a:pt x="554" y="389"/>
                  </a:lnTo>
                  <a:lnTo>
                    <a:pt x="554" y="391"/>
                  </a:lnTo>
                  <a:lnTo>
                    <a:pt x="549" y="391"/>
                  </a:lnTo>
                  <a:lnTo>
                    <a:pt x="553" y="389"/>
                  </a:lnTo>
                  <a:close/>
                  <a:moveTo>
                    <a:pt x="140" y="387"/>
                  </a:moveTo>
                  <a:lnTo>
                    <a:pt x="138" y="389"/>
                  </a:lnTo>
                  <a:lnTo>
                    <a:pt x="136" y="389"/>
                  </a:lnTo>
                  <a:lnTo>
                    <a:pt x="140" y="387"/>
                  </a:lnTo>
                  <a:close/>
                  <a:moveTo>
                    <a:pt x="542" y="387"/>
                  </a:moveTo>
                  <a:lnTo>
                    <a:pt x="546" y="387"/>
                  </a:lnTo>
                  <a:lnTo>
                    <a:pt x="546" y="389"/>
                  </a:lnTo>
                  <a:lnTo>
                    <a:pt x="542" y="389"/>
                  </a:lnTo>
                  <a:lnTo>
                    <a:pt x="542" y="387"/>
                  </a:lnTo>
                  <a:close/>
                  <a:moveTo>
                    <a:pt x="544" y="386"/>
                  </a:moveTo>
                  <a:lnTo>
                    <a:pt x="546" y="386"/>
                  </a:lnTo>
                  <a:lnTo>
                    <a:pt x="542" y="387"/>
                  </a:lnTo>
                  <a:lnTo>
                    <a:pt x="542" y="391"/>
                  </a:lnTo>
                  <a:lnTo>
                    <a:pt x="536" y="391"/>
                  </a:lnTo>
                  <a:lnTo>
                    <a:pt x="541" y="386"/>
                  </a:lnTo>
                  <a:lnTo>
                    <a:pt x="544" y="386"/>
                  </a:lnTo>
                  <a:close/>
                  <a:moveTo>
                    <a:pt x="191" y="386"/>
                  </a:moveTo>
                  <a:lnTo>
                    <a:pt x="192" y="386"/>
                  </a:lnTo>
                  <a:lnTo>
                    <a:pt x="196" y="387"/>
                  </a:lnTo>
                  <a:lnTo>
                    <a:pt x="191" y="386"/>
                  </a:lnTo>
                  <a:close/>
                  <a:moveTo>
                    <a:pt x="138" y="386"/>
                  </a:moveTo>
                  <a:lnTo>
                    <a:pt x="140" y="386"/>
                  </a:lnTo>
                  <a:lnTo>
                    <a:pt x="138" y="386"/>
                  </a:lnTo>
                  <a:close/>
                  <a:moveTo>
                    <a:pt x="109" y="386"/>
                  </a:moveTo>
                  <a:lnTo>
                    <a:pt x="110" y="386"/>
                  </a:lnTo>
                  <a:lnTo>
                    <a:pt x="109" y="386"/>
                  </a:lnTo>
                  <a:close/>
                  <a:moveTo>
                    <a:pt x="107" y="386"/>
                  </a:moveTo>
                  <a:lnTo>
                    <a:pt x="109" y="386"/>
                  </a:lnTo>
                  <a:lnTo>
                    <a:pt x="107" y="386"/>
                  </a:lnTo>
                  <a:lnTo>
                    <a:pt x="104" y="386"/>
                  </a:lnTo>
                  <a:lnTo>
                    <a:pt x="107" y="386"/>
                  </a:lnTo>
                  <a:close/>
                  <a:moveTo>
                    <a:pt x="554" y="384"/>
                  </a:moveTo>
                  <a:lnTo>
                    <a:pt x="554" y="387"/>
                  </a:lnTo>
                  <a:lnTo>
                    <a:pt x="549" y="389"/>
                  </a:lnTo>
                  <a:lnTo>
                    <a:pt x="548" y="387"/>
                  </a:lnTo>
                  <a:lnTo>
                    <a:pt x="548" y="386"/>
                  </a:lnTo>
                  <a:lnTo>
                    <a:pt x="554" y="384"/>
                  </a:lnTo>
                  <a:close/>
                  <a:moveTo>
                    <a:pt x="138" y="384"/>
                  </a:moveTo>
                  <a:lnTo>
                    <a:pt x="143" y="386"/>
                  </a:lnTo>
                  <a:lnTo>
                    <a:pt x="140" y="384"/>
                  </a:lnTo>
                  <a:lnTo>
                    <a:pt x="138" y="384"/>
                  </a:lnTo>
                  <a:close/>
                  <a:moveTo>
                    <a:pt x="134" y="382"/>
                  </a:moveTo>
                  <a:lnTo>
                    <a:pt x="136" y="382"/>
                  </a:lnTo>
                  <a:lnTo>
                    <a:pt x="136" y="384"/>
                  </a:lnTo>
                  <a:lnTo>
                    <a:pt x="134" y="384"/>
                  </a:lnTo>
                  <a:lnTo>
                    <a:pt x="134" y="382"/>
                  </a:lnTo>
                  <a:close/>
                  <a:moveTo>
                    <a:pt x="548" y="380"/>
                  </a:moveTo>
                  <a:lnTo>
                    <a:pt x="551" y="380"/>
                  </a:lnTo>
                  <a:lnTo>
                    <a:pt x="549" y="384"/>
                  </a:lnTo>
                  <a:lnTo>
                    <a:pt x="548" y="382"/>
                  </a:lnTo>
                  <a:lnTo>
                    <a:pt x="546" y="386"/>
                  </a:lnTo>
                  <a:lnTo>
                    <a:pt x="542" y="384"/>
                  </a:lnTo>
                  <a:lnTo>
                    <a:pt x="544" y="380"/>
                  </a:lnTo>
                  <a:lnTo>
                    <a:pt x="548" y="380"/>
                  </a:lnTo>
                  <a:close/>
                  <a:moveTo>
                    <a:pt x="551" y="379"/>
                  </a:moveTo>
                  <a:lnTo>
                    <a:pt x="553" y="379"/>
                  </a:lnTo>
                  <a:lnTo>
                    <a:pt x="553" y="382"/>
                  </a:lnTo>
                  <a:lnTo>
                    <a:pt x="551" y="382"/>
                  </a:lnTo>
                  <a:lnTo>
                    <a:pt x="551" y="379"/>
                  </a:lnTo>
                  <a:close/>
                  <a:moveTo>
                    <a:pt x="133" y="379"/>
                  </a:moveTo>
                  <a:lnTo>
                    <a:pt x="133" y="380"/>
                  </a:lnTo>
                  <a:lnTo>
                    <a:pt x="133" y="379"/>
                  </a:lnTo>
                  <a:close/>
                  <a:moveTo>
                    <a:pt x="138" y="375"/>
                  </a:moveTo>
                  <a:lnTo>
                    <a:pt x="140" y="375"/>
                  </a:lnTo>
                  <a:lnTo>
                    <a:pt x="140" y="377"/>
                  </a:lnTo>
                  <a:lnTo>
                    <a:pt x="133" y="379"/>
                  </a:lnTo>
                  <a:lnTo>
                    <a:pt x="131" y="377"/>
                  </a:lnTo>
                  <a:lnTo>
                    <a:pt x="138" y="375"/>
                  </a:lnTo>
                  <a:close/>
                  <a:moveTo>
                    <a:pt x="650" y="374"/>
                  </a:moveTo>
                  <a:lnTo>
                    <a:pt x="648" y="372"/>
                  </a:lnTo>
                  <a:lnTo>
                    <a:pt x="650" y="370"/>
                  </a:lnTo>
                  <a:lnTo>
                    <a:pt x="650" y="374"/>
                  </a:lnTo>
                  <a:close/>
                  <a:moveTo>
                    <a:pt x="580" y="369"/>
                  </a:moveTo>
                  <a:lnTo>
                    <a:pt x="582" y="374"/>
                  </a:lnTo>
                  <a:lnTo>
                    <a:pt x="580" y="372"/>
                  </a:lnTo>
                  <a:lnTo>
                    <a:pt x="580" y="369"/>
                  </a:lnTo>
                  <a:close/>
                  <a:moveTo>
                    <a:pt x="157" y="369"/>
                  </a:moveTo>
                  <a:lnTo>
                    <a:pt x="160" y="369"/>
                  </a:lnTo>
                  <a:lnTo>
                    <a:pt x="155" y="369"/>
                  </a:lnTo>
                  <a:lnTo>
                    <a:pt x="157" y="369"/>
                  </a:lnTo>
                  <a:close/>
                  <a:moveTo>
                    <a:pt x="609" y="367"/>
                  </a:moveTo>
                  <a:lnTo>
                    <a:pt x="611" y="369"/>
                  </a:lnTo>
                  <a:lnTo>
                    <a:pt x="611" y="375"/>
                  </a:lnTo>
                  <a:lnTo>
                    <a:pt x="611" y="377"/>
                  </a:lnTo>
                  <a:lnTo>
                    <a:pt x="609" y="379"/>
                  </a:lnTo>
                  <a:lnTo>
                    <a:pt x="609" y="380"/>
                  </a:lnTo>
                  <a:lnTo>
                    <a:pt x="604" y="389"/>
                  </a:lnTo>
                  <a:lnTo>
                    <a:pt x="602" y="382"/>
                  </a:lnTo>
                  <a:lnTo>
                    <a:pt x="600" y="380"/>
                  </a:lnTo>
                  <a:lnTo>
                    <a:pt x="602" y="379"/>
                  </a:lnTo>
                  <a:lnTo>
                    <a:pt x="600" y="377"/>
                  </a:lnTo>
                  <a:lnTo>
                    <a:pt x="604" y="374"/>
                  </a:lnTo>
                  <a:lnTo>
                    <a:pt x="606" y="369"/>
                  </a:lnTo>
                  <a:lnTo>
                    <a:pt x="609" y="367"/>
                  </a:lnTo>
                  <a:close/>
                  <a:moveTo>
                    <a:pt x="150" y="367"/>
                  </a:moveTo>
                  <a:lnTo>
                    <a:pt x="155" y="369"/>
                  </a:lnTo>
                  <a:lnTo>
                    <a:pt x="150" y="369"/>
                  </a:lnTo>
                  <a:lnTo>
                    <a:pt x="150" y="367"/>
                  </a:lnTo>
                  <a:close/>
                  <a:moveTo>
                    <a:pt x="140" y="363"/>
                  </a:moveTo>
                  <a:lnTo>
                    <a:pt x="141" y="363"/>
                  </a:lnTo>
                  <a:lnTo>
                    <a:pt x="141" y="365"/>
                  </a:lnTo>
                  <a:lnTo>
                    <a:pt x="140" y="365"/>
                  </a:lnTo>
                  <a:lnTo>
                    <a:pt x="140" y="363"/>
                  </a:lnTo>
                  <a:close/>
                  <a:moveTo>
                    <a:pt x="332" y="363"/>
                  </a:moveTo>
                  <a:lnTo>
                    <a:pt x="334" y="365"/>
                  </a:lnTo>
                  <a:lnTo>
                    <a:pt x="332" y="365"/>
                  </a:lnTo>
                  <a:lnTo>
                    <a:pt x="332" y="369"/>
                  </a:lnTo>
                  <a:lnTo>
                    <a:pt x="331" y="369"/>
                  </a:lnTo>
                  <a:lnTo>
                    <a:pt x="331" y="372"/>
                  </a:lnTo>
                  <a:lnTo>
                    <a:pt x="329" y="363"/>
                  </a:lnTo>
                  <a:lnTo>
                    <a:pt x="332" y="363"/>
                  </a:lnTo>
                  <a:close/>
                  <a:moveTo>
                    <a:pt x="138" y="363"/>
                  </a:moveTo>
                  <a:lnTo>
                    <a:pt x="140" y="367"/>
                  </a:lnTo>
                  <a:lnTo>
                    <a:pt x="136" y="365"/>
                  </a:lnTo>
                  <a:lnTo>
                    <a:pt x="138" y="363"/>
                  </a:lnTo>
                  <a:close/>
                  <a:moveTo>
                    <a:pt x="42" y="345"/>
                  </a:moveTo>
                  <a:lnTo>
                    <a:pt x="42" y="348"/>
                  </a:lnTo>
                  <a:lnTo>
                    <a:pt x="41" y="346"/>
                  </a:lnTo>
                  <a:lnTo>
                    <a:pt x="42" y="345"/>
                  </a:lnTo>
                  <a:close/>
                  <a:moveTo>
                    <a:pt x="39" y="343"/>
                  </a:moveTo>
                  <a:lnTo>
                    <a:pt x="41" y="343"/>
                  </a:lnTo>
                  <a:lnTo>
                    <a:pt x="41" y="346"/>
                  </a:lnTo>
                  <a:lnTo>
                    <a:pt x="39" y="346"/>
                  </a:lnTo>
                  <a:lnTo>
                    <a:pt x="39" y="343"/>
                  </a:lnTo>
                  <a:close/>
                  <a:moveTo>
                    <a:pt x="41" y="341"/>
                  </a:moveTo>
                  <a:lnTo>
                    <a:pt x="41" y="345"/>
                  </a:lnTo>
                  <a:lnTo>
                    <a:pt x="41" y="341"/>
                  </a:lnTo>
                  <a:close/>
                  <a:moveTo>
                    <a:pt x="37" y="341"/>
                  </a:moveTo>
                  <a:lnTo>
                    <a:pt x="39" y="341"/>
                  </a:lnTo>
                  <a:lnTo>
                    <a:pt x="39" y="343"/>
                  </a:lnTo>
                  <a:lnTo>
                    <a:pt x="37" y="343"/>
                  </a:lnTo>
                  <a:lnTo>
                    <a:pt x="37" y="341"/>
                  </a:lnTo>
                  <a:close/>
                  <a:moveTo>
                    <a:pt x="46" y="339"/>
                  </a:moveTo>
                  <a:lnTo>
                    <a:pt x="47" y="339"/>
                  </a:lnTo>
                  <a:lnTo>
                    <a:pt x="47" y="341"/>
                  </a:lnTo>
                  <a:lnTo>
                    <a:pt x="46" y="341"/>
                  </a:lnTo>
                  <a:lnTo>
                    <a:pt x="46" y="339"/>
                  </a:lnTo>
                  <a:close/>
                  <a:moveTo>
                    <a:pt x="590" y="338"/>
                  </a:moveTo>
                  <a:lnTo>
                    <a:pt x="590" y="339"/>
                  </a:lnTo>
                  <a:lnTo>
                    <a:pt x="588" y="345"/>
                  </a:lnTo>
                  <a:lnTo>
                    <a:pt x="588" y="348"/>
                  </a:lnTo>
                  <a:lnTo>
                    <a:pt x="585" y="355"/>
                  </a:lnTo>
                  <a:lnTo>
                    <a:pt x="585" y="357"/>
                  </a:lnTo>
                  <a:lnTo>
                    <a:pt x="585" y="355"/>
                  </a:lnTo>
                  <a:lnTo>
                    <a:pt x="582" y="362"/>
                  </a:lnTo>
                  <a:lnTo>
                    <a:pt x="580" y="357"/>
                  </a:lnTo>
                  <a:lnTo>
                    <a:pt x="578" y="357"/>
                  </a:lnTo>
                  <a:lnTo>
                    <a:pt x="580" y="357"/>
                  </a:lnTo>
                  <a:lnTo>
                    <a:pt x="580" y="348"/>
                  </a:lnTo>
                  <a:lnTo>
                    <a:pt x="583" y="345"/>
                  </a:lnTo>
                  <a:lnTo>
                    <a:pt x="587" y="336"/>
                  </a:lnTo>
                  <a:lnTo>
                    <a:pt x="590" y="338"/>
                  </a:lnTo>
                  <a:close/>
                  <a:moveTo>
                    <a:pt x="56" y="333"/>
                  </a:moveTo>
                  <a:lnTo>
                    <a:pt x="58" y="333"/>
                  </a:lnTo>
                  <a:lnTo>
                    <a:pt x="58" y="334"/>
                  </a:lnTo>
                  <a:lnTo>
                    <a:pt x="56" y="334"/>
                  </a:lnTo>
                  <a:lnTo>
                    <a:pt x="56" y="333"/>
                  </a:lnTo>
                  <a:close/>
                  <a:moveTo>
                    <a:pt x="56" y="333"/>
                  </a:moveTo>
                  <a:lnTo>
                    <a:pt x="56" y="334"/>
                  </a:lnTo>
                  <a:lnTo>
                    <a:pt x="56" y="333"/>
                  </a:lnTo>
                  <a:close/>
                  <a:moveTo>
                    <a:pt x="126" y="329"/>
                  </a:moveTo>
                  <a:lnTo>
                    <a:pt x="129" y="331"/>
                  </a:lnTo>
                  <a:lnTo>
                    <a:pt x="126" y="336"/>
                  </a:lnTo>
                  <a:lnTo>
                    <a:pt x="134" y="341"/>
                  </a:lnTo>
                  <a:lnTo>
                    <a:pt x="134" y="345"/>
                  </a:lnTo>
                  <a:lnTo>
                    <a:pt x="138" y="348"/>
                  </a:lnTo>
                  <a:lnTo>
                    <a:pt x="136" y="348"/>
                  </a:lnTo>
                  <a:lnTo>
                    <a:pt x="134" y="353"/>
                  </a:lnTo>
                  <a:lnTo>
                    <a:pt x="133" y="351"/>
                  </a:lnTo>
                  <a:lnTo>
                    <a:pt x="133" y="357"/>
                  </a:lnTo>
                  <a:lnTo>
                    <a:pt x="131" y="355"/>
                  </a:lnTo>
                  <a:lnTo>
                    <a:pt x="124" y="358"/>
                  </a:lnTo>
                  <a:lnTo>
                    <a:pt x="133" y="363"/>
                  </a:lnTo>
                  <a:lnTo>
                    <a:pt x="134" y="362"/>
                  </a:lnTo>
                  <a:lnTo>
                    <a:pt x="134" y="365"/>
                  </a:lnTo>
                  <a:lnTo>
                    <a:pt x="136" y="363"/>
                  </a:lnTo>
                  <a:lnTo>
                    <a:pt x="136" y="367"/>
                  </a:lnTo>
                  <a:lnTo>
                    <a:pt x="133" y="367"/>
                  </a:lnTo>
                  <a:lnTo>
                    <a:pt x="133" y="365"/>
                  </a:lnTo>
                  <a:lnTo>
                    <a:pt x="129" y="367"/>
                  </a:lnTo>
                  <a:lnTo>
                    <a:pt x="136" y="369"/>
                  </a:lnTo>
                  <a:lnTo>
                    <a:pt x="138" y="369"/>
                  </a:lnTo>
                  <a:lnTo>
                    <a:pt x="141" y="369"/>
                  </a:lnTo>
                  <a:lnTo>
                    <a:pt x="133" y="370"/>
                  </a:lnTo>
                  <a:lnTo>
                    <a:pt x="129" y="374"/>
                  </a:lnTo>
                  <a:lnTo>
                    <a:pt x="129" y="372"/>
                  </a:lnTo>
                  <a:lnTo>
                    <a:pt x="128" y="374"/>
                  </a:lnTo>
                  <a:lnTo>
                    <a:pt x="128" y="372"/>
                  </a:lnTo>
                  <a:lnTo>
                    <a:pt x="131" y="369"/>
                  </a:lnTo>
                  <a:lnTo>
                    <a:pt x="129" y="370"/>
                  </a:lnTo>
                  <a:lnTo>
                    <a:pt x="122" y="367"/>
                  </a:lnTo>
                  <a:lnTo>
                    <a:pt x="122" y="365"/>
                  </a:lnTo>
                  <a:lnTo>
                    <a:pt x="124" y="365"/>
                  </a:lnTo>
                  <a:lnTo>
                    <a:pt x="124" y="363"/>
                  </a:lnTo>
                  <a:lnTo>
                    <a:pt x="122" y="365"/>
                  </a:lnTo>
                  <a:lnTo>
                    <a:pt x="119" y="370"/>
                  </a:lnTo>
                  <a:lnTo>
                    <a:pt x="116" y="370"/>
                  </a:lnTo>
                  <a:lnTo>
                    <a:pt x="117" y="372"/>
                  </a:lnTo>
                  <a:lnTo>
                    <a:pt x="116" y="375"/>
                  </a:lnTo>
                  <a:lnTo>
                    <a:pt x="105" y="375"/>
                  </a:lnTo>
                  <a:lnTo>
                    <a:pt x="104" y="375"/>
                  </a:lnTo>
                  <a:lnTo>
                    <a:pt x="99" y="375"/>
                  </a:lnTo>
                  <a:lnTo>
                    <a:pt x="93" y="374"/>
                  </a:lnTo>
                  <a:lnTo>
                    <a:pt x="97" y="374"/>
                  </a:lnTo>
                  <a:lnTo>
                    <a:pt x="93" y="372"/>
                  </a:lnTo>
                  <a:lnTo>
                    <a:pt x="95" y="370"/>
                  </a:lnTo>
                  <a:lnTo>
                    <a:pt x="85" y="370"/>
                  </a:lnTo>
                  <a:lnTo>
                    <a:pt x="87" y="369"/>
                  </a:lnTo>
                  <a:lnTo>
                    <a:pt x="81" y="370"/>
                  </a:lnTo>
                  <a:lnTo>
                    <a:pt x="81" y="369"/>
                  </a:lnTo>
                  <a:lnTo>
                    <a:pt x="80" y="370"/>
                  </a:lnTo>
                  <a:lnTo>
                    <a:pt x="76" y="369"/>
                  </a:lnTo>
                  <a:lnTo>
                    <a:pt x="66" y="365"/>
                  </a:lnTo>
                  <a:lnTo>
                    <a:pt x="61" y="362"/>
                  </a:lnTo>
                  <a:lnTo>
                    <a:pt x="59" y="362"/>
                  </a:lnTo>
                  <a:lnTo>
                    <a:pt x="51" y="357"/>
                  </a:lnTo>
                  <a:lnTo>
                    <a:pt x="52" y="355"/>
                  </a:lnTo>
                  <a:lnTo>
                    <a:pt x="49" y="353"/>
                  </a:lnTo>
                  <a:lnTo>
                    <a:pt x="54" y="350"/>
                  </a:lnTo>
                  <a:lnTo>
                    <a:pt x="56" y="350"/>
                  </a:lnTo>
                  <a:lnTo>
                    <a:pt x="61" y="348"/>
                  </a:lnTo>
                  <a:lnTo>
                    <a:pt x="68" y="346"/>
                  </a:lnTo>
                  <a:lnTo>
                    <a:pt x="71" y="343"/>
                  </a:lnTo>
                  <a:lnTo>
                    <a:pt x="78" y="341"/>
                  </a:lnTo>
                  <a:lnTo>
                    <a:pt x="80" y="339"/>
                  </a:lnTo>
                  <a:lnTo>
                    <a:pt x="81" y="341"/>
                  </a:lnTo>
                  <a:lnTo>
                    <a:pt x="85" y="338"/>
                  </a:lnTo>
                  <a:lnTo>
                    <a:pt x="90" y="334"/>
                  </a:lnTo>
                  <a:lnTo>
                    <a:pt x="95" y="336"/>
                  </a:lnTo>
                  <a:lnTo>
                    <a:pt x="99" y="334"/>
                  </a:lnTo>
                  <a:lnTo>
                    <a:pt x="107" y="334"/>
                  </a:lnTo>
                  <a:lnTo>
                    <a:pt x="114" y="336"/>
                  </a:lnTo>
                  <a:lnTo>
                    <a:pt x="116" y="334"/>
                  </a:lnTo>
                  <a:lnTo>
                    <a:pt x="114" y="333"/>
                  </a:lnTo>
                  <a:lnTo>
                    <a:pt x="122" y="331"/>
                  </a:lnTo>
                  <a:lnTo>
                    <a:pt x="124" y="329"/>
                  </a:lnTo>
                  <a:lnTo>
                    <a:pt x="126" y="329"/>
                  </a:lnTo>
                  <a:close/>
                  <a:moveTo>
                    <a:pt x="116" y="304"/>
                  </a:moveTo>
                  <a:lnTo>
                    <a:pt x="112" y="307"/>
                  </a:lnTo>
                  <a:lnTo>
                    <a:pt x="109" y="307"/>
                  </a:lnTo>
                  <a:lnTo>
                    <a:pt x="116" y="304"/>
                  </a:lnTo>
                  <a:close/>
                  <a:moveTo>
                    <a:pt x="290" y="300"/>
                  </a:moveTo>
                  <a:lnTo>
                    <a:pt x="291" y="304"/>
                  </a:lnTo>
                  <a:lnTo>
                    <a:pt x="291" y="309"/>
                  </a:lnTo>
                  <a:lnTo>
                    <a:pt x="283" y="314"/>
                  </a:lnTo>
                  <a:lnTo>
                    <a:pt x="279" y="314"/>
                  </a:lnTo>
                  <a:lnTo>
                    <a:pt x="273" y="307"/>
                  </a:lnTo>
                  <a:lnTo>
                    <a:pt x="274" y="304"/>
                  </a:lnTo>
                  <a:lnTo>
                    <a:pt x="281" y="302"/>
                  </a:lnTo>
                  <a:lnTo>
                    <a:pt x="281" y="304"/>
                  </a:lnTo>
                  <a:lnTo>
                    <a:pt x="283" y="304"/>
                  </a:lnTo>
                  <a:lnTo>
                    <a:pt x="285" y="300"/>
                  </a:lnTo>
                  <a:lnTo>
                    <a:pt x="288" y="300"/>
                  </a:lnTo>
                  <a:lnTo>
                    <a:pt x="290" y="300"/>
                  </a:lnTo>
                  <a:close/>
                  <a:moveTo>
                    <a:pt x="201" y="293"/>
                  </a:moveTo>
                  <a:lnTo>
                    <a:pt x="203" y="293"/>
                  </a:lnTo>
                  <a:lnTo>
                    <a:pt x="203" y="295"/>
                  </a:lnTo>
                  <a:lnTo>
                    <a:pt x="201" y="295"/>
                  </a:lnTo>
                  <a:lnTo>
                    <a:pt x="201" y="293"/>
                  </a:lnTo>
                  <a:close/>
                  <a:moveTo>
                    <a:pt x="110" y="292"/>
                  </a:moveTo>
                  <a:lnTo>
                    <a:pt x="112" y="292"/>
                  </a:lnTo>
                  <a:lnTo>
                    <a:pt x="110" y="292"/>
                  </a:lnTo>
                  <a:close/>
                  <a:moveTo>
                    <a:pt x="242" y="290"/>
                  </a:moveTo>
                  <a:lnTo>
                    <a:pt x="244" y="293"/>
                  </a:lnTo>
                  <a:lnTo>
                    <a:pt x="245" y="292"/>
                  </a:lnTo>
                  <a:lnTo>
                    <a:pt x="247" y="297"/>
                  </a:lnTo>
                  <a:lnTo>
                    <a:pt x="242" y="299"/>
                  </a:lnTo>
                  <a:lnTo>
                    <a:pt x="235" y="295"/>
                  </a:lnTo>
                  <a:lnTo>
                    <a:pt x="240" y="293"/>
                  </a:lnTo>
                  <a:lnTo>
                    <a:pt x="242" y="293"/>
                  </a:lnTo>
                  <a:lnTo>
                    <a:pt x="240" y="292"/>
                  </a:lnTo>
                  <a:lnTo>
                    <a:pt x="242" y="290"/>
                  </a:lnTo>
                  <a:close/>
                  <a:moveTo>
                    <a:pt x="218" y="275"/>
                  </a:moveTo>
                  <a:lnTo>
                    <a:pt x="221" y="275"/>
                  </a:lnTo>
                  <a:lnTo>
                    <a:pt x="221" y="276"/>
                  </a:lnTo>
                  <a:lnTo>
                    <a:pt x="218" y="276"/>
                  </a:lnTo>
                  <a:lnTo>
                    <a:pt x="218" y="275"/>
                  </a:lnTo>
                  <a:close/>
                  <a:moveTo>
                    <a:pt x="216" y="275"/>
                  </a:moveTo>
                  <a:lnTo>
                    <a:pt x="218" y="275"/>
                  </a:lnTo>
                  <a:lnTo>
                    <a:pt x="218" y="276"/>
                  </a:lnTo>
                  <a:lnTo>
                    <a:pt x="216" y="276"/>
                  </a:lnTo>
                  <a:lnTo>
                    <a:pt x="216" y="275"/>
                  </a:lnTo>
                  <a:close/>
                  <a:moveTo>
                    <a:pt x="63" y="275"/>
                  </a:moveTo>
                  <a:lnTo>
                    <a:pt x="58" y="276"/>
                  </a:lnTo>
                  <a:lnTo>
                    <a:pt x="63" y="275"/>
                  </a:lnTo>
                  <a:close/>
                  <a:moveTo>
                    <a:pt x="56" y="275"/>
                  </a:moveTo>
                  <a:lnTo>
                    <a:pt x="58" y="275"/>
                  </a:lnTo>
                  <a:lnTo>
                    <a:pt x="58" y="276"/>
                  </a:lnTo>
                  <a:lnTo>
                    <a:pt x="56" y="276"/>
                  </a:lnTo>
                  <a:lnTo>
                    <a:pt x="56" y="275"/>
                  </a:lnTo>
                  <a:close/>
                  <a:moveTo>
                    <a:pt x="210" y="273"/>
                  </a:moveTo>
                  <a:lnTo>
                    <a:pt x="211" y="273"/>
                  </a:lnTo>
                  <a:lnTo>
                    <a:pt x="211" y="276"/>
                  </a:lnTo>
                  <a:lnTo>
                    <a:pt x="210" y="276"/>
                  </a:lnTo>
                  <a:lnTo>
                    <a:pt x="210" y="273"/>
                  </a:lnTo>
                  <a:close/>
                  <a:moveTo>
                    <a:pt x="221" y="273"/>
                  </a:moveTo>
                  <a:lnTo>
                    <a:pt x="220" y="275"/>
                  </a:lnTo>
                  <a:lnTo>
                    <a:pt x="216" y="275"/>
                  </a:lnTo>
                  <a:lnTo>
                    <a:pt x="221" y="273"/>
                  </a:lnTo>
                  <a:close/>
                  <a:moveTo>
                    <a:pt x="208" y="271"/>
                  </a:moveTo>
                  <a:lnTo>
                    <a:pt x="210" y="271"/>
                  </a:lnTo>
                  <a:lnTo>
                    <a:pt x="210" y="275"/>
                  </a:lnTo>
                  <a:lnTo>
                    <a:pt x="208" y="275"/>
                  </a:lnTo>
                  <a:lnTo>
                    <a:pt x="208" y="271"/>
                  </a:lnTo>
                  <a:close/>
                  <a:moveTo>
                    <a:pt x="225" y="273"/>
                  </a:moveTo>
                  <a:lnTo>
                    <a:pt x="223" y="275"/>
                  </a:lnTo>
                  <a:lnTo>
                    <a:pt x="220" y="275"/>
                  </a:lnTo>
                  <a:lnTo>
                    <a:pt x="225" y="273"/>
                  </a:lnTo>
                  <a:close/>
                  <a:moveTo>
                    <a:pt x="221" y="271"/>
                  </a:moveTo>
                  <a:lnTo>
                    <a:pt x="223" y="271"/>
                  </a:lnTo>
                  <a:lnTo>
                    <a:pt x="223" y="273"/>
                  </a:lnTo>
                  <a:lnTo>
                    <a:pt x="221" y="273"/>
                  </a:lnTo>
                  <a:lnTo>
                    <a:pt x="221" y="271"/>
                  </a:lnTo>
                  <a:close/>
                  <a:moveTo>
                    <a:pt x="215" y="269"/>
                  </a:moveTo>
                  <a:lnTo>
                    <a:pt x="216" y="269"/>
                  </a:lnTo>
                  <a:lnTo>
                    <a:pt x="215" y="273"/>
                  </a:lnTo>
                  <a:lnTo>
                    <a:pt x="215" y="269"/>
                  </a:lnTo>
                  <a:close/>
                  <a:moveTo>
                    <a:pt x="20" y="268"/>
                  </a:moveTo>
                  <a:lnTo>
                    <a:pt x="20" y="271"/>
                  </a:lnTo>
                  <a:lnTo>
                    <a:pt x="17" y="271"/>
                  </a:lnTo>
                  <a:lnTo>
                    <a:pt x="17" y="269"/>
                  </a:lnTo>
                  <a:lnTo>
                    <a:pt x="20" y="268"/>
                  </a:lnTo>
                  <a:close/>
                  <a:moveTo>
                    <a:pt x="11" y="268"/>
                  </a:moveTo>
                  <a:lnTo>
                    <a:pt x="10" y="269"/>
                  </a:lnTo>
                  <a:lnTo>
                    <a:pt x="11" y="271"/>
                  </a:lnTo>
                  <a:lnTo>
                    <a:pt x="10" y="271"/>
                  </a:lnTo>
                  <a:lnTo>
                    <a:pt x="8" y="269"/>
                  </a:lnTo>
                  <a:lnTo>
                    <a:pt x="11" y="268"/>
                  </a:lnTo>
                  <a:close/>
                  <a:moveTo>
                    <a:pt x="5" y="268"/>
                  </a:moveTo>
                  <a:lnTo>
                    <a:pt x="8" y="268"/>
                  </a:lnTo>
                  <a:lnTo>
                    <a:pt x="8" y="271"/>
                  </a:lnTo>
                  <a:lnTo>
                    <a:pt x="5" y="271"/>
                  </a:lnTo>
                  <a:lnTo>
                    <a:pt x="5" y="268"/>
                  </a:lnTo>
                  <a:close/>
                  <a:moveTo>
                    <a:pt x="210" y="271"/>
                  </a:moveTo>
                  <a:lnTo>
                    <a:pt x="210" y="269"/>
                  </a:lnTo>
                  <a:lnTo>
                    <a:pt x="211" y="266"/>
                  </a:lnTo>
                  <a:lnTo>
                    <a:pt x="210" y="271"/>
                  </a:lnTo>
                  <a:close/>
                  <a:moveTo>
                    <a:pt x="5" y="266"/>
                  </a:moveTo>
                  <a:lnTo>
                    <a:pt x="6" y="268"/>
                  </a:lnTo>
                  <a:lnTo>
                    <a:pt x="0" y="269"/>
                  </a:lnTo>
                  <a:lnTo>
                    <a:pt x="1" y="268"/>
                  </a:lnTo>
                  <a:lnTo>
                    <a:pt x="5" y="266"/>
                  </a:lnTo>
                  <a:close/>
                  <a:moveTo>
                    <a:pt x="52" y="268"/>
                  </a:moveTo>
                  <a:lnTo>
                    <a:pt x="49" y="273"/>
                  </a:lnTo>
                  <a:lnTo>
                    <a:pt x="47" y="273"/>
                  </a:lnTo>
                  <a:lnTo>
                    <a:pt x="44" y="273"/>
                  </a:lnTo>
                  <a:lnTo>
                    <a:pt x="44" y="269"/>
                  </a:lnTo>
                  <a:lnTo>
                    <a:pt x="47" y="273"/>
                  </a:lnTo>
                  <a:lnTo>
                    <a:pt x="44" y="269"/>
                  </a:lnTo>
                  <a:lnTo>
                    <a:pt x="52" y="268"/>
                  </a:lnTo>
                  <a:close/>
                  <a:moveTo>
                    <a:pt x="71" y="268"/>
                  </a:moveTo>
                  <a:lnTo>
                    <a:pt x="80" y="268"/>
                  </a:lnTo>
                  <a:lnTo>
                    <a:pt x="80" y="269"/>
                  </a:lnTo>
                  <a:lnTo>
                    <a:pt x="75" y="275"/>
                  </a:lnTo>
                  <a:lnTo>
                    <a:pt x="75" y="273"/>
                  </a:lnTo>
                  <a:lnTo>
                    <a:pt x="75" y="271"/>
                  </a:lnTo>
                  <a:lnTo>
                    <a:pt x="68" y="276"/>
                  </a:lnTo>
                  <a:lnTo>
                    <a:pt x="64" y="278"/>
                  </a:lnTo>
                  <a:lnTo>
                    <a:pt x="63" y="276"/>
                  </a:lnTo>
                  <a:lnTo>
                    <a:pt x="66" y="275"/>
                  </a:lnTo>
                  <a:lnTo>
                    <a:pt x="68" y="275"/>
                  </a:lnTo>
                  <a:lnTo>
                    <a:pt x="70" y="271"/>
                  </a:lnTo>
                  <a:lnTo>
                    <a:pt x="61" y="275"/>
                  </a:lnTo>
                  <a:lnTo>
                    <a:pt x="59" y="273"/>
                  </a:lnTo>
                  <a:lnTo>
                    <a:pt x="52" y="275"/>
                  </a:lnTo>
                  <a:lnTo>
                    <a:pt x="51" y="273"/>
                  </a:lnTo>
                  <a:lnTo>
                    <a:pt x="54" y="269"/>
                  </a:lnTo>
                  <a:lnTo>
                    <a:pt x="63" y="268"/>
                  </a:lnTo>
                  <a:lnTo>
                    <a:pt x="68" y="266"/>
                  </a:lnTo>
                  <a:lnTo>
                    <a:pt x="71" y="268"/>
                  </a:lnTo>
                  <a:close/>
                  <a:moveTo>
                    <a:pt x="211" y="264"/>
                  </a:moveTo>
                  <a:lnTo>
                    <a:pt x="213" y="264"/>
                  </a:lnTo>
                  <a:lnTo>
                    <a:pt x="213" y="266"/>
                  </a:lnTo>
                  <a:lnTo>
                    <a:pt x="211" y="266"/>
                  </a:lnTo>
                  <a:lnTo>
                    <a:pt x="211" y="264"/>
                  </a:lnTo>
                  <a:close/>
                  <a:moveTo>
                    <a:pt x="228" y="261"/>
                  </a:moveTo>
                  <a:lnTo>
                    <a:pt x="230" y="261"/>
                  </a:lnTo>
                  <a:lnTo>
                    <a:pt x="230" y="264"/>
                  </a:lnTo>
                  <a:lnTo>
                    <a:pt x="228" y="264"/>
                  </a:lnTo>
                  <a:lnTo>
                    <a:pt x="228" y="261"/>
                  </a:lnTo>
                  <a:close/>
                  <a:moveTo>
                    <a:pt x="232" y="256"/>
                  </a:moveTo>
                  <a:lnTo>
                    <a:pt x="233" y="256"/>
                  </a:lnTo>
                  <a:lnTo>
                    <a:pt x="233" y="258"/>
                  </a:lnTo>
                  <a:lnTo>
                    <a:pt x="232" y="258"/>
                  </a:lnTo>
                  <a:lnTo>
                    <a:pt x="232" y="256"/>
                  </a:lnTo>
                  <a:close/>
                  <a:moveTo>
                    <a:pt x="216" y="254"/>
                  </a:moveTo>
                  <a:lnTo>
                    <a:pt x="220" y="254"/>
                  </a:lnTo>
                  <a:lnTo>
                    <a:pt x="220" y="258"/>
                  </a:lnTo>
                  <a:lnTo>
                    <a:pt x="216" y="258"/>
                  </a:lnTo>
                  <a:lnTo>
                    <a:pt x="216" y="254"/>
                  </a:lnTo>
                  <a:close/>
                  <a:moveTo>
                    <a:pt x="223" y="252"/>
                  </a:moveTo>
                  <a:lnTo>
                    <a:pt x="223" y="256"/>
                  </a:lnTo>
                  <a:lnTo>
                    <a:pt x="221" y="258"/>
                  </a:lnTo>
                  <a:lnTo>
                    <a:pt x="223" y="252"/>
                  </a:lnTo>
                  <a:close/>
                  <a:moveTo>
                    <a:pt x="228" y="249"/>
                  </a:moveTo>
                  <a:lnTo>
                    <a:pt x="230" y="249"/>
                  </a:lnTo>
                  <a:lnTo>
                    <a:pt x="230" y="252"/>
                  </a:lnTo>
                  <a:lnTo>
                    <a:pt x="228" y="252"/>
                  </a:lnTo>
                  <a:lnTo>
                    <a:pt x="228" y="249"/>
                  </a:lnTo>
                  <a:close/>
                  <a:moveTo>
                    <a:pt x="220" y="247"/>
                  </a:moveTo>
                  <a:lnTo>
                    <a:pt x="221" y="251"/>
                  </a:lnTo>
                  <a:lnTo>
                    <a:pt x="220" y="252"/>
                  </a:lnTo>
                  <a:lnTo>
                    <a:pt x="220" y="254"/>
                  </a:lnTo>
                  <a:lnTo>
                    <a:pt x="216" y="254"/>
                  </a:lnTo>
                  <a:lnTo>
                    <a:pt x="216" y="256"/>
                  </a:lnTo>
                  <a:lnTo>
                    <a:pt x="218" y="258"/>
                  </a:lnTo>
                  <a:lnTo>
                    <a:pt x="216" y="256"/>
                  </a:lnTo>
                  <a:lnTo>
                    <a:pt x="216" y="258"/>
                  </a:lnTo>
                  <a:lnTo>
                    <a:pt x="215" y="258"/>
                  </a:lnTo>
                  <a:lnTo>
                    <a:pt x="213" y="258"/>
                  </a:lnTo>
                  <a:lnTo>
                    <a:pt x="215" y="249"/>
                  </a:lnTo>
                  <a:lnTo>
                    <a:pt x="220" y="247"/>
                  </a:lnTo>
                  <a:close/>
                  <a:moveTo>
                    <a:pt x="160" y="240"/>
                  </a:moveTo>
                  <a:lnTo>
                    <a:pt x="163" y="240"/>
                  </a:lnTo>
                  <a:lnTo>
                    <a:pt x="163" y="242"/>
                  </a:lnTo>
                  <a:lnTo>
                    <a:pt x="160" y="242"/>
                  </a:lnTo>
                  <a:lnTo>
                    <a:pt x="160" y="240"/>
                  </a:lnTo>
                  <a:close/>
                  <a:moveTo>
                    <a:pt x="218" y="239"/>
                  </a:moveTo>
                  <a:lnTo>
                    <a:pt x="220" y="239"/>
                  </a:lnTo>
                  <a:lnTo>
                    <a:pt x="220" y="240"/>
                  </a:lnTo>
                  <a:lnTo>
                    <a:pt x="218" y="240"/>
                  </a:lnTo>
                  <a:lnTo>
                    <a:pt x="218" y="239"/>
                  </a:lnTo>
                  <a:close/>
                  <a:moveTo>
                    <a:pt x="575" y="235"/>
                  </a:moveTo>
                  <a:lnTo>
                    <a:pt x="577" y="239"/>
                  </a:lnTo>
                  <a:lnTo>
                    <a:pt x="573" y="235"/>
                  </a:lnTo>
                  <a:lnTo>
                    <a:pt x="575" y="235"/>
                  </a:lnTo>
                  <a:close/>
                  <a:moveTo>
                    <a:pt x="192" y="235"/>
                  </a:moveTo>
                  <a:lnTo>
                    <a:pt x="194" y="235"/>
                  </a:lnTo>
                  <a:lnTo>
                    <a:pt x="194" y="239"/>
                  </a:lnTo>
                  <a:lnTo>
                    <a:pt x="196" y="240"/>
                  </a:lnTo>
                  <a:lnTo>
                    <a:pt x="201" y="239"/>
                  </a:lnTo>
                  <a:lnTo>
                    <a:pt x="208" y="237"/>
                  </a:lnTo>
                  <a:lnTo>
                    <a:pt x="211" y="244"/>
                  </a:lnTo>
                  <a:lnTo>
                    <a:pt x="213" y="244"/>
                  </a:lnTo>
                  <a:lnTo>
                    <a:pt x="211" y="246"/>
                  </a:lnTo>
                  <a:lnTo>
                    <a:pt x="211" y="249"/>
                  </a:lnTo>
                  <a:lnTo>
                    <a:pt x="215" y="249"/>
                  </a:lnTo>
                  <a:lnTo>
                    <a:pt x="213" y="251"/>
                  </a:lnTo>
                  <a:lnTo>
                    <a:pt x="213" y="256"/>
                  </a:lnTo>
                  <a:lnTo>
                    <a:pt x="211" y="261"/>
                  </a:lnTo>
                  <a:lnTo>
                    <a:pt x="210" y="268"/>
                  </a:lnTo>
                  <a:lnTo>
                    <a:pt x="210" y="271"/>
                  </a:lnTo>
                  <a:lnTo>
                    <a:pt x="208" y="273"/>
                  </a:lnTo>
                  <a:lnTo>
                    <a:pt x="208" y="278"/>
                  </a:lnTo>
                  <a:lnTo>
                    <a:pt x="203" y="281"/>
                  </a:lnTo>
                  <a:lnTo>
                    <a:pt x="203" y="288"/>
                  </a:lnTo>
                  <a:lnTo>
                    <a:pt x="199" y="292"/>
                  </a:lnTo>
                  <a:lnTo>
                    <a:pt x="192" y="287"/>
                  </a:lnTo>
                  <a:lnTo>
                    <a:pt x="186" y="290"/>
                  </a:lnTo>
                  <a:lnTo>
                    <a:pt x="184" y="285"/>
                  </a:lnTo>
                  <a:lnTo>
                    <a:pt x="182" y="285"/>
                  </a:lnTo>
                  <a:lnTo>
                    <a:pt x="184" y="283"/>
                  </a:lnTo>
                  <a:lnTo>
                    <a:pt x="180" y="280"/>
                  </a:lnTo>
                  <a:lnTo>
                    <a:pt x="177" y="280"/>
                  </a:lnTo>
                  <a:lnTo>
                    <a:pt x="174" y="278"/>
                  </a:lnTo>
                  <a:lnTo>
                    <a:pt x="172" y="275"/>
                  </a:lnTo>
                  <a:lnTo>
                    <a:pt x="174" y="271"/>
                  </a:lnTo>
                  <a:lnTo>
                    <a:pt x="170" y="269"/>
                  </a:lnTo>
                  <a:lnTo>
                    <a:pt x="172" y="268"/>
                  </a:lnTo>
                  <a:lnTo>
                    <a:pt x="165" y="261"/>
                  </a:lnTo>
                  <a:lnTo>
                    <a:pt x="170" y="259"/>
                  </a:lnTo>
                  <a:lnTo>
                    <a:pt x="169" y="259"/>
                  </a:lnTo>
                  <a:lnTo>
                    <a:pt x="170" y="258"/>
                  </a:lnTo>
                  <a:lnTo>
                    <a:pt x="165" y="249"/>
                  </a:lnTo>
                  <a:lnTo>
                    <a:pt x="160" y="246"/>
                  </a:lnTo>
                  <a:lnTo>
                    <a:pt x="160" y="244"/>
                  </a:lnTo>
                  <a:lnTo>
                    <a:pt x="162" y="242"/>
                  </a:lnTo>
                  <a:lnTo>
                    <a:pt x="165" y="242"/>
                  </a:lnTo>
                  <a:lnTo>
                    <a:pt x="172" y="240"/>
                  </a:lnTo>
                  <a:lnTo>
                    <a:pt x="179" y="239"/>
                  </a:lnTo>
                  <a:lnTo>
                    <a:pt x="184" y="235"/>
                  </a:lnTo>
                  <a:lnTo>
                    <a:pt x="186" y="237"/>
                  </a:lnTo>
                  <a:lnTo>
                    <a:pt x="192" y="235"/>
                  </a:lnTo>
                  <a:close/>
                  <a:moveTo>
                    <a:pt x="225" y="234"/>
                  </a:moveTo>
                  <a:lnTo>
                    <a:pt x="228" y="234"/>
                  </a:lnTo>
                  <a:lnTo>
                    <a:pt x="228" y="235"/>
                  </a:lnTo>
                  <a:lnTo>
                    <a:pt x="225" y="235"/>
                  </a:lnTo>
                  <a:lnTo>
                    <a:pt x="225" y="234"/>
                  </a:lnTo>
                  <a:close/>
                  <a:moveTo>
                    <a:pt x="146" y="223"/>
                  </a:moveTo>
                  <a:lnTo>
                    <a:pt x="150" y="223"/>
                  </a:lnTo>
                  <a:lnTo>
                    <a:pt x="148" y="228"/>
                  </a:lnTo>
                  <a:lnTo>
                    <a:pt x="145" y="227"/>
                  </a:lnTo>
                  <a:lnTo>
                    <a:pt x="145" y="225"/>
                  </a:lnTo>
                  <a:lnTo>
                    <a:pt x="146" y="223"/>
                  </a:lnTo>
                  <a:close/>
                  <a:moveTo>
                    <a:pt x="174" y="222"/>
                  </a:moveTo>
                  <a:lnTo>
                    <a:pt x="172" y="225"/>
                  </a:lnTo>
                  <a:lnTo>
                    <a:pt x="170" y="222"/>
                  </a:lnTo>
                  <a:lnTo>
                    <a:pt x="172" y="222"/>
                  </a:lnTo>
                  <a:lnTo>
                    <a:pt x="174" y="220"/>
                  </a:lnTo>
                  <a:lnTo>
                    <a:pt x="174" y="222"/>
                  </a:lnTo>
                  <a:close/>
                  <a:moveTo>
                    <a:pt x="177" y="220"/>
                  </a:moveTo>
                  <a:lnTo>
                    <a:pt x="179" y="220"/>
                  </a:lnTo>
                  <a:lnTo>
                    <a:pt x="177" y="222"/>
                  </a:lnTo>
                  <a:lnTo>
                    <a:pt x="179" y="222"/>
                  </a:lnTo>
                  <a:lnTo>
                    <a:pt x="177" y="225"/>
                  </a:lnTo>
                  <a:lnTo>
                    <a:pt x="175" y="222"/>
                  </a:lnTo>
                  <a:lnTo>
                    <a:pt x="177" y="220"/>
                  </a:lnTo>
                  <a:close/>
                  <a:moveTo>
                    <a:pt x="180" y="218"/>
                  </a:moveTo>
                  <a:lnTo>
                    <a:pt x="184" y="223"/>
                  </a:lnTo>
                  <a:lnTo>
                    <a:pt x="184" y="220"/>
                  </a:lnTo>
                  <a:lnTo>
                    <a:pt x="187" y="225"/>
                  </a:lnTo>
                  <a:lnTo>
                    <a:pt x="186" y="220"/>
                  </a:lnTo>
                  <a:lnTo>
                    <a:pt x="187" y="220"/>
                  </a:lnTo>
                  <a:lnTo>
                    <a:pt x="189" y="222"/>
                  </a:lnTo>
                  <a:lnTo>
                    <a:pt x="191" y="220"/>
                  </a:lnTo>
                  <a:lnTo>
                    <a:pt x="191" y="222"/>
                  </a:lnTo>
                  <a:lnTo>
                    <a:pt x="191" y="220"/>
                  </a:lnTo>
                  <a:lnTo>
                    <a:pt x="191" y="222"/>
                  </a:lnTo>
                  <a:lnTo>
                    <a:pt x="194" y="222"/>
                  </a:lnTo>
                  <a:lnTo>
                    <a:pt x="194" y="225"/>
                  </a:lnTo>
                  <a:lnTo>
                    <a:pt x="189" y="223"/>
                  </a:lnTo>
                  <a:lnTo>
                    <a:pt x="187" y="225"/>
                  </a:lnTo>
                  <a:lnTo>
                    <a:pt x="189" y="228"/>
                  </a:lnTo>
                  <a:lnTo>
                    <a:pt x="191" y="228"/>
                  </a:lnTo>
                  <a:lnTo>
                    <a:pt x="189" y="230"/>
                  </a:lnTo>
                  <a:lnTo>
                    <a:pt x="187" y="228"/>
                  </a:lnTo>
                  <a:lnTo>
                    <a:pt x="186" y="230"/>
                  </a:lnTo>
                  <a:lnTo>
                    <a:pt x="186" y="232"/>
                  </a:lnTo>
                  <a:lnTo>
                    <a:pt x="179" y="232"/>
                  </a:lnTo>
                  <a:lnTo>
                    <a:pt x="179" y="234"/>
                  </a:lnTo>
                  <a:lnTo>
                    <a:pt x="172" y="234"/>
                  </a:lnTo>
                  <a:lnTo>
                    <a:pt x="170" y="235"/>
                  </a:lnTo>
                  <a:lnTo>
                    <a:pt x="167" y="235"/>
                  </a:lnTo>
                  <a:lnTo>
                    <a:pt x="158" y="237"/>
                  </a:lnTo>
                  <a:lnTo>
                    <a:pt x="151" y="239"/>
                  </a:lnTo>
                  <a:lnTo>
                    <a:pt x="150" y="237"/>
                  </a:lnTo>
                  <a:lnTo>
                    <a:pt x="145" y="239"/>
                  </a:lnTo>
                  <a:lnTo>
                    <a:pt x="146" y="235"/>
                  </a:lnTo>
                  <a:lnTo>
                    <a:pt x="141" y="237"/>
                  </a:lnTo>
                  <a:lnTo>
                    <a:pt x="140" y="235"/>
                  </a:lnTo>
                  <a:lnTo>
                    <a:pt x="140" y="239"/>
                  </a:lnTo>
                  <a:lnTo>
                    <a:pt x="138" y="235"/>
                  </a:lnTo>
                  <a:lnTo>
                    <a:pt x="129" y="239"/>
                  </a:lnTo>
                  <a:lnTo>
                    <a:pt x="133" y="235"/>
                  </a:lnTo>
                  <a:lnTo>
                    <a:pt x="138" y="235"/>
                  </a:lnTo>
                  <a:lnTo>
                    <a:pt x="138" y="234"/>
                  </a:lnTo>
                  <a:lnTo>
                    <a:pt x="136" y="232"/>
                  </a:lnTo>
                  <a:lnTo>
                    <a:pt x="138" y="232"/>
                  </a:lnTo>
                  <a:lnTo>
                    <a:pt x="138" y="225"/>
                  </a:lnTo>
                  <a:lnTo>
                    <a:pt x="140" y="225"/>
                  </a:lnTo>
                  <a:lnTo>
                    <a:pt x="140" y="227"/>
                  </a:lnTo>
                  <a:lnTo>
                    <a:pt x="141" y="227"/>
                  </a:lnTo>
                  <a:lnTo>
                    <a:pt x="140" y="223"/>
                  </a:lnTo>
                  <a:lnTo>
                    <a:pt x="141" y="223"/>
                  </a:lnTo>
                  <a:lnTo>
                    <a:pt x="145" y="223"/>
                  </a:lnTo>
                  <a:lnTo>
                    <a:pt x="141" y="227"/>
                  </a:lnTo>
                  <a:lnTo>
                    <a:pt x="141" y="228"/>
                  </a:lnTo>
                  <a:lnTo>
                    <a:pt x="148" y="228"/>
                  </a:lnTo>
                  <a:lnTo>
                    <a:pt x="151" y="227"/>
                  </a:lnTo>
                  <a:lnTo>
                    <a:pt x="151" y="223"/>
                  </a:lnTo>
                  <a:lnTo>
                    <a:pt x="155" y="225"/>
                  </a:lnTo>
                  <a:lnTo>
                    <a:pt x="153" y="228"/>
                  </a:lnTo>
                  <a:lnTo>
                    <a:pt x="160" y="223"/>
                  </a:lnTo>
                  <a:lnTo>
                    <a:pt x="160" y="225"/>
                  </a:lnTo>
                  <a:lnTo>
                    <a:pt x="162" y="225"/>
                  </a:lnTo>
                  <a:lnTo>
                    <a:pt x="160" y="227"/>
                  </a:lnTo>
                  <a:lnTo>
                    <a:pt x="163" y="227"/>
                  </a:lnTo>
                  <a:lnTo>
                    <a:pt x="167" y="227"/>
                  </a:lnTo>
                  <a:lnTo>
                    <a:pt x="163" y="223"/>
                  </a:lnTo>
                  <a:lnTo>
                    <a:pt x="169" y="225"/>
                  </a:lnTo>
                  <a:lnTo>
                    <a:pt x="169" y="228"/>
                  </a:lnTo>
                  <a:lnTo>
                    <a:pt x="170" y="228"/>
                  </a:lnTo>
                  <a:lnTo>
                    <a:pt x="170" y="227"/>
                  </a:lnTo>
                  <a:lnTo>
                    <a:pt x="175" y="227"/>
                  </a:lnTo>
                  <a:lnTo>
                    <a:pt x="179" y="223"/>
                  </a:lnTo>
                  <a:lnTo>
                    <a:pt x="177" y="227"/>
                  </a:lnTo>
                  <a:lnTo>
                    <a:pt x="179" y="227"/>
                  </a:lnTo>
                  <a:lnTo>
                    <a:pt x="180" y="225"/>
                  </a:lnTo>
                  <a:lnTo>
                    <a:pt x="180" y="227"/>
                  </a:lnTo>
                  <a:lnTo>
                    <a:pt x="180" y="222"/>
                  </a:lnTo>
                  <a:lnTo>
                    <a:pt x="179" y="222"/>
                  </a:lnTo>
                  <a:lnTo>
                    <a:pt x="180" y="218"/>
                  </a:lnTo>
                  <a:close/>
                  <a:moveTo>
                    <a:pt x="99" y="217"/>
                  </a:moveTo>
                  <a:lnTo>
                    <a:pt x="102" y="217"/>
                  </a:lnTo>
                  <a:lnTo>
                    <a:pt x="102" y="218"/>
                  </a:lnTo>
                  <a:lnTo>
                    <a:pt x="99" y="218"/>
                  </a:lnTo>
                  <a:lnTo>
                    <a:pt x="99" y="217"/>
                  </a:lnTo>
                  <a:close/>
                  <a:moveTo>
                    <a:pt x="109" y="215"/>
                  </a:moveTo>
                  <a:lnTo>
                    <a:pt x="112" y="215"/>
                  </a:lnTo>
                  <a:lnTo>
                    <a:pt x="112" y="217"/>
                  </a:lnTo>
                  <a:lnTo>
                    <a:pt x="109" y="217"/>
                  </a:lnTo>
                  <a:lnTo>
                    <a:pt x="109" y="215"/>
                  </a:lnTo>
                  <a:close/>
                  <a:moveTo>
                    <a:pt x="110" y="211"/>
                  </a:moveTo>
                  <a:lnTo>
                    <a:pt x="114" y="211"/>
                  </a:lnTo>
                  <a:lnTo>
                    <a:pt x="114" y="213"/>
                  </a:lnTo>
                  <a:lnTo>
                    <a:pt x="110" y="213"/>
                  </a:lnTo>
                  <a:lnTo>
                    <a:pt x="110" y="211"/>
                  </a:lnTo>
                  <a:close/>
                  <a:moveTo>
                    <a:pt x="121" y="206"/>
                  </a:moveTo>
                  <a:lnTo>
                    <a:pt x="121" y="208"/>
                  </a:lnTo>
                  <a:lnTo>
                    <a:pt x="116" y="208"/>
                  </a:lnTo>
                  <a:lnTo>
                    <a:pt x="121" y="206"/>
                  </a:lnTo>
                  <a:close/>
                  <a:moveTo>
                    <a:pt x="162" y="196"/>
                  </a:moveTo>
                  <a:lnTo>
                    <a:pt x="162" y="198"/>
                  </a:lnTo>
                  <a:lnTo>
                    <a:pt x="157" y="199"/>
                  </a:lnTo>
                  <a:lnTo>
                    <a:pt x="153" y="201"/>
                  </a:lnTo>
                  <a:lnTo>
                    <a:pt x="150" y="201"/>
                  </a:lnTo>
                  <a:lnTo>
                    <a:pt x="157" y="198"/>
                  </a:lnTo>
                  <a:lnTo>
                    <a:pt x="162" y="196"/>
                  </a:lnTo>
                  <a:close/>
                  <a:moveTo>
                    <a:pt x="163" y="194"/>
                  </a:moveTo>
                  <a:lnTo>
                    <a:pt x="165" y="194"/>
                  </a:lnTo>
                  <a:lnTo>
                    <a:pt x="165" y="196"/>
                  </a:lnTo>
                  <a:lnTo>
                    <a:pt x="163" y="196"/>
                  </a:lnTo>
                  <a:lnTo>
                    <a:pt x="163" y="194"/>
                  </a:lnTo>
                  <a:close/>
                  <a:moveTo>
                    <a:pt x="116" y="196"/>
                  </a:moveTo>
                  <a:lnTo>
                    <a:pt x="117" y="199"/>
                  </a:lnTo>
                  <a:lnTo>
                    <a:pt x="116" y="198"/>
                  </a:lnTo>
                  <a:lnTo>
                    <a:pt x="114" y="194"/>
                  </a:lnTo>
                  <a:lnTo>
                    <a:pt x="116" y="196"/>
                  </a:lnTo>
                  <a:close/>
                  <a:moveTo>
                    <a:pt x="136" y="181"/>
                  </a:moveTo>
                  <a:lnTo>
                    <a:pt x="138" y="181"/>
                  </a:lnTo>
                  <a:lnTo>
                    <a:pt x="138" y="182"/>
                  </a:lnTo>
                  <a:lnTo>
                    <a:pt x="136" y="182"/>
                  </a:lnTo>
                  <a:lnTo>
                    <a:pt x="136" y="181"/>
                  </a:lnTo>
                  <a:close/>
                  <a:moveTo>
                    <a:pt x="71" y="176"/>
                  </a:moveTo>
                  <a:lnTo>
                    <a:pt x="75" y="177"/>
                  </a:lnTo>
                  <a:lnTo>
                    <a:pt x="73" y="182"/>
                  </a:lnTo>
                  <a:lnTo>
                    <a:pt x="71" y="181"/>
                  </a:lnTo>
                  <a:lnTo>
                    <a:pt x="71" y="186"/>
                  </a:lnTo>
                  <a:lnTo>
                    <a:pt x="68" y="187"/>
                  </a:lnTo>
                  <a:lnTo>
                    <a:pt x="64" y="181"/>
                  </a:lnTo>
                  <a:lnTo>
                    <a:pt x="66" y="177"/>
                  </a:lnTo>
                  <a:lnTo>
                    <a:pt x="71" y="176"/>
                  </a:lnTo>
                  <a:close/>
                  <a:moveTo>
                    <a:pt x="158" y="176"/>
                  </a:moveTo>
                  <a:lnTo>
                    <a:pt x="167" y="181"/>
                  </a:lnTo>
                  <a:lnTo>
                    <a:pt x="162" y="189"/>
                  </a:lnTo>
                  <a:lnTo>
                    <a:pt x="153" y="193"/>
                  </a:lnTo>
                  <a:lnTo>
                    <a:pt x="151" y="191"/>
                  </a:lnTo>
                  <a:lnTo>
                    <a:pt x="155" y="191"/>
                  </a:lnTo>
                  <a:lnTo>
                    <a:pt x="155" y="187"/>
                  </a:lnTo>
                  <a:lnTo>
                    <a:pt x="157" y="187"/>
                  </a:lnTo>
                  <a:lnTo>
                    <a:pt x="153" y="184"/>
                  </a:lnTo>
                  <a:lnTo>
                    <a:pt x="150" y="189"/>
                  </a:lnTo>
                  <a:lnTo>
                    <a:pt x="148" y="189"/>
                  </a:lnTo>
                  <a:lnTo>
                    <a:pt x="140" y="191"/>
                  </a:lnTo>
                  <a:lnTo>
                    <a:pt x="138" y="189"/>
                  </a:lnTo>
                  <a:lnTo>
                    <a:pt x="145" y="187"/>
                  </a:lnTo>
                  <a:lnTo>
                    <a:pt x="140" y="186"/>
                  </a:lnTo>
                  <a:lnTo>
                    <a:pt x="140" y="182"/>
                  </a:lnTo>
                  <a:lnTo>
                    <a:pt x="143" y="182"/>
                  </a:lnTo>
                  <a:lnTo>
                    <a:pt x="141" y="182"/>
                  </a:lnTo>
                  <a:lnTo>
                    <a:pt x="141" y="181"/>
                  </a:lnTo>
                  <a:lnTo>
                    <a:pt x="145" y="181"/>
                  </a:lnTo>
                  <a:lnTo>
                    <a:pt x="146" y="184"/>
                  </a:lnTo>
                  <a:lnTo>
                    <a:pt x="151" y="182"/>
                  </a:lnTo>
                  <a:lnTo>
                    <a:pt x="150" y="181"/>
                  </a:lnTo>
                  <a:lnTo>
                    <a:pt x="155" y="177"/>
                  </a:lnTo>
                  <a:lnTo>
                    <a:pt x="157" y="179"/>
                  </a:lnTo>
                  <a:lnTo>
                    <a:pt x="157" y="177"/>
                  </a:lnTo>
                  <a:lnTo>
                    <a:pt x="158" y="176"/>
                  </a:lnTo>
                  <a:close/>
                  <a:moveTo>
                    <a:pt x="633" y="427"/>
                  </a:moveTo>
                  <a:lnTo>
                    <a:pt x="640" y="469"/>
                  </a:lnTo>
                  <a:lnTo>
                    <a:pt x="645" y="529"/>
                  </a:lnTo>
                  <a:lnTo>
                    <a:pt x="648" y="532"/>
                  </a:lnTo>
                  <a:lnTo>
                    <a:pt x="648" y="538"/>
                  </a:lnTo>
                  <a:lnTo>
                    <a:pt x="638" y="553"/>
                  </a:lnTo>
                  <a:lnTo>
                    <a:pt x="660" y="562"/>
                  </a:lnTo>
                  <a:lnTo>
                    <a:pt x="679" y="567"/>
                  </a:lnTo>
                  <a:lnTo>
                    <a:pt x="689" y="570"/>
                  </a:lnTo>
                  <a:lnTo>
                    <a:pt x="698" y="573"/>
                  </a:lnTo>
                  <a:lnTo>
                    <a:pt x="711" y="579"/>
                  </a:lnTo>
                  <a:lnTo>
                    <a:pt x="705" y="585"/>
                  </a:lnTo>
                  <a:lnTo>
                    <a:pt x="701" y="591"/>
                  </a:lnTo>
                  <a:lnTo>
                    <a:pt x="693" y="604"/>
                  </a:lnTo>
                  <a:lnTo>
                    <a:pt x="689" y="608"/>
                  </a:lnTo>
                  <a:lnTo>
                    <a:pt x="686" y="613"/>
                  </a:lnTo>
                  <a:lnTo>
                    <a:pt x="686" y="606"/>
                  </a:lnTo>
                  <a:lnTo>
                    <a:pt x="684" y="609"/>
                  </a:lnTo>
                  <a:lnTo>
                    <a:pt x="679" y="611"/>
                  </a:lnTo>
                  <a:lnTo>
                    <a:pt x="679" y="613"/>
                  </a:lnTo>
                  <a:lnTo>
                    <a:pt x="670" y="613"/>
                  </a:lnTo>
                  <a:lnTo>
                    <a:pt x="674" y="614"/>
                  </a:lnTo>
                  <a:lnTo>
                    <a:pt x="674" y="618"/>
                  </a:lnTo>
                  <a:lnTo>
                    <a:pt x="672" y="618"/>
                  </a:lnTo>
                  <a:lnTo>
                    <a:pt x="667" y="620"/>
                  </a:lnTo>
                  <a:lnTo>
                    <a:pt x="662" y="621"/>
                  </a:lnTo>
                  <a:lnTo>
                    <a:pt x="658" y="630"/>
                  </a:lnTo>
                  <a:lnTo>
                    <a:pt x="650" y="632"/>
                  </a:lnTo>
                  <a:lnTo>
                    <a:pt x="648" y="633"/>
                  </a:lnTo>
                  <a:lnTo>
                    <a:pt x="647" y="632"/>
                  </a:lnTo>
                  <a:lnTo>
                    <a:pt x="647" y="626"/>
                  </a:lnTo>
                  <a:lnTo>
                    <a:pt x="648" y="628"/>
                  </a:lnTo>
                  <a:lnTo>
                    <a:pt x="647" y="625"/>
                  </a:lnTo>
                  <a:lnTo>
                    <a:pt x="647" y="623"/>
                  </a:lnTo>
                  <a:lnTo>
                    <a:pt x="650" y="623"/>
                  </a:lnTo>
                  <a:lnTo>
                    <a:pt x="647" y="623"/>
                  </a:lnTo>
                  <a:lnTo>
                    <a:pt x="645" y="623"/>
                  </a:lnTo>
                  <a:lnTo>
                    <a:pt x="645" y="621"/>
                  </a:lnTo>
                  <a:lnTo>
                    <a:pt x="640" y="623"/>
                  </a:lnTo>
                  <a:lnTo>
                    <a:pt x="643" y="625"/>
                  </a:lnTo>
                  <a:lnTo>
                    <a:pt x="645" y="623"/>
                  </a:lnTo>
                  <a:lnTo>
                    <a:pt x="647" y="623"/>
                  </a:lnTo>
                  <a:lnTo>
                    <a:pt x="647" y="625"/>
                  </a:lnTo>
                  <a:lnTo>
                    <a:pt x="643" y="625"/>
                  </a:lnTo>
                  <a:lnTo>
                    <a:pt x="638" y="623"/>
                  </a:lnTo>
                  <a:lnTo>
                    <a:pt x="636" y="621"/>
                  </a:lnTo>
                  <a:lnTo>
                    <a:pt x="640" y="614"/>
                  </a:lnTo>
                  <a:lnTo>
                    <a:pt x="638" y="620"/>
                  </a:lnTo>
                  <a:lnTo>
                    <a:pt x="640" y="616"/>
                  </a:lnTo>
                  <a:lnTo>
                    <a:pt x="641" y="618"/>
                  </a:lnTo>
                  <a:lnTo>
                    <a:pt x="641" y="616"/>
                  </a:lnTo>
                  <a:lnTo>
                    <a:pt x="647" y="614"/>
                  </a:lnTo>
                  <a:lnTo>
                    <a:pt x="641" y="613"/>
                  </a:lnTo>
                  <a:lnTo>
                    <a:pt x="640" y="606"/>
                  </a:lnTo>
                  <a:lnTo>
                    <a:pt x="643" y="606"/>
                  </a:lnTo>
                  <a:lnTo>
                    <a:pt x="643" y="604"/>
                  </a:lnTo>
                  <a:lnTo>
                    <a:pt x="647" y="603"/>
                  </a:lnTo>
                  <a:lnTo>
                    <a:pt x="648" y="604"/>
                  </a:lnTo>
                  <a:lnTo>
                    <a:pt x="650" y="603"/>
                  </a:lnTo>
                  <a:lnTo>
                    <a:pt x="650" y="604"/>
                  </a:lnTo>
                  <a:lnTo>
                    <a:pt x="650" y="601"/>
                  </a:lnTo>
                  <a:lnTo>
                    <a:pt x="652" y="601"/>
                  </a:lnTo>
                  <a:lnTo>
                    <a:pt x="652" y="604"/>
                  </a:lnTo>
                  <a:lnTo>
                    <a:pt x="653" y="603"/>
                  </a:lnTo>
                  <a:lnTo>
                    <a:pt x="658" y="606"/>
                  </a:lnTo>
                  <a:lnTo>
                    <a:pt x="653" y="603"/>
                  </a:lnTo>
                  <a:lnTo>
                    <a:pt x="653" y="601"/>
                  </a:lnTo>
                  <a:lnTo>
                    <a:pt x="652" y="601"/>
                  </a:lnTo>
                  <a:lnTo>
                    <a:pt x="653" y="601"/>
                  </a:lnTo>
                  <a:lnTo>
                    <a:pt x="660" y="603"/>
                  </a:lnTo>
                  <a:lnTo>
                    <a:pt x="660" y="604"/>
                  </a:lnTo>
                  <a:lnTo>
                    <a:pt x="662" y="608"/>
                  </a:lnTo>
                  <a:lnTo>
                    <a:pt x="665" y="606"/>
                  </a:lnTo>
                  <a:lnTo>
                    <a:pt x="665" y="608"/>
                  </a:lnTo>
                  <a:lnTo>
                    <a:pt x="665" y="604"/>
                  </a:lnTo>
                  <a:lnTo>
                    <a:pt x="674" y="606"/>
                  </a:lnTo>
                  <a:lnTo>
                    <a:pt x="677" y="603"/>
                  </a:lnTo>
                  <a:lnTo>
                    <a:pt x="676" y="603"/>
                  </a:lnTo>
                  <a:lnTo>
                    <a:pt x="670" y="604"/>
                  </a:lnTo>
                  <a:lnTo>
                    <a:pt x="669" y="603"/>
                  </a:lnTo>
                  <a:lnTo>
                    <a:pt x="672" y="599"/>
                  </a:lnTo>
                  <a:lnTo>
                    <a:pt x="669" y="603"/>
                  </a:lnTo>
                  <a:lnTo>
                    <a:pt x="669" y="601"/>
                  </a:lnTo>
                  <a:lnTo>
                    <a:pt x="667" y="599"/>
                  </a:lnTo>
                  <a:lnTo>
                    <a:pt x="665" y="603"/>
                  </a:lnTo>
                  <a:lnTo>
                    <a:pt x="658" y="601"/>
                  </a:lnTo>
                  <a:lnTo>
                    <a:pt x="653" y="597"/>
                  </a:lnTo>
                  <a:lnTo>
                    <a:pt x="650" y="597"/>
                  </a:lnTo>
                  <a:lnTo>
                    <a:pt x="650" y="601"/>
                  </a:lnTo>
                  <a:lnTo>
                    <a:pt x="647" y="597"/>
                  </a:lnTo>
                  <a:lnTo>
                    <a:pt x="641" y="599"/>
                  </a:lnTo>
                  <a:lnTo>
                    <a:pt x="640" y="599"/>
                  </a:lnTo>
                  <a:lnTo>
                    <a:pt x="641" y="601"/>
                  </a:lnTo>
                  <a:lnTo>
                    <a:pt x="635" y="604"/>
                  </a:lnTo>
                  <a:lnTo>
                    <a:pt x="633" y="608"/>
                  </a:lnTo>
                  <a:lnTo>
                    <a:pt x="629" y="608"/>
                  </a:lnTo>
                  <a:lnTo>
                    <a:pt x="626" y="613"/>
                  </a:lnTo>
                  <a:lnTo>
                    <a:pt x="621" y="613"/>
                  </a:lnTo>
                  <a:lnTo>
                    <a:pt x="619" y="611"/>
                  </a:lnTo>
                  <a:lnTo>
                    <a:pt x="621" y="609"/>
                  </a:lnTo>
                  <a:lnTo>
                    <a:pt x="614" y="606"/>
                  </a:lnTo>
                  <a:lnTo>
                    <a:pt x="617" y="606"/>
                  </a:lnTo>
                  <a:lnTo>
                    <a:pt x="617" y="604"/>
                  </a:lnTo>
                  <a:lnTo>
                    <a:pt x="614" y="597"/>
                  </a:lnTo>
                  <a:lnTo>
                    <a:pt x="609" y="599"/>
                  </a:lnTo>
                  <a:lnTo>
                    <a:pt x="600" y="594"/>
                  </a:lnTo>
                  <a:lnTo>
                    <a:pt x="600" y="596"/>
                  </a:lnTo>
                  <a:lnTo>
                    <a:pt x="604" y="597"/>
                  </a:lnTo>
                  <a:lnTo>
                    <a:pt x="602" y="597"/>
                  </a:lnTo>
                  <a:lnTo>
                    <a:pt x="604" y="603"/>
                  </a:lnTo>
                  <a:lnTo>
                    <a:pt x="602" y="604"/>
                  </a:lnTo>
                  <a:lnTo>
                    <a:pt x="594" y="601"/>
                  </a:lnTo>
                  <a:lnTo>
                    <a:pt x="599" y="606"/>
                  </a:lnTo>
                  <a:lnTo>
                    <a:pt x="600" y="611"/>
                  </a:lnTo>
                  <a:lnTo>
                    <a:pt x="599" y="613"/>
                  </a:lnTo>
                  <a:lnTo>
                    <a:pt x="595" y="613"/>
                  </a:lnTo>
                  <a:lnTo>
                    <a:pt x="595" y="611"/>
                  </a:lnTo>
                  <a:lnTo>
                    <a:pt x="590" y="604"/>
                  </a:lnTo>
                  <a:lnTo>
                    <a:pt x="587" y="604"/>
                  </a:lnTo>
                  <a:lnTo>
                    <a:pt x="580" y="599"/>
                  </a:lnTo>
                  <a:lnTo>
                    <a:pt x="582" y="596"/>
                  </a:lnTo>
                  <a:lnTo>
                    <a:pt x="580" y="597"/>
                  </a:lnTo>
                  <a:lnTo>
                    <a:pt x="578" y="596"/>
                  </a:lnTo>
                  <a:lnTo>
                    <a:pt x="575" y="597"/>
                  </a:lnTo>
                  <a:lnTo>
                    <a:pt x="573" y="596"/>
                  </a:lnTo>
                  <a:lnTo>
                    <a:pt x="577" y="592"/>
                  </a:lnTo>
                  <a:lnTo>
                    <a:pt x="583" y="587"/>
                  </a:lnTo>
                  <a:lnTo>
                    <a:pt x="582" y="587"/>
                  </a:lnTo>
                  <a:lnTo>
                    <a:pt x="582" y="580"/>
                  </a:lnTo>
                  <a:lnTo>
                    <a:pt x="580" y="582"/>
                  </a:lnTo>
                  <a:lnTo>
                    <a:pt x="577" y="577"/>
                  </a:lnTo>
                  <a:lnTo>
                    <a:pt x="577" y="579"/>
                  </a:lnTo>
                  <a:lnTo>
                    <a:pt x="575" y="577"/>
                  </a:lnTo>
                  <a:lnTo>
                    <a:pt x="573" y="580"/>
                  </a:lnTo>
                  <a:lnTo>
                    <a:pt x="575" y="584"/>
                  </a:lnTo>
                  <a:lnTo>
                    <a:pt x="568" y="587"/>
                  </a:lnTo>
                  <a:lnTo>
                    <a:pt x="566" y="582"/>
                  </a:lnTo>
                  <a:lnTo>
                    <a:pt x="561" y="585"/>
                  </a:lnTo>
                  <a:lnTo>
                    <a:pt x="565" y="585"/>
                  </a:lnTo>
                  <a:lnTo>
                    <a:pt x="566" y="589"/>
                  </a:lnTo>
                  <a:lnTo>
                    <a:pt x="561" y="591"/>
                  </a:lnTo>
                  <a:lnTo>
                    <a:pt x="561" y="587"/>
                  </a:lnTo>
                  <a:lnTo>
                    <a:pt x="559" y="587"/>
                  </a:lnTo>
                  <a:lnTo>
                    <a:pt x="556" y="591"/>
                  </a:lnTo>
                  <a:lnTo>
                    <a:pt x="553" y="587"/>
                  </a:lnTo>
                  <a:lnTo>
                    <a:pt x="551" y="582"/>
                  </a:lnTo>
                  <a:lnTo>
                    <a:pt x="551" y="579"/>
                  </a:lnTo>
                  <a:lnTo>
                    <a:pt x="554" y="580"/>
                  </a:lnTo>
                  <a:lnTo>
                    <a:pt x="553" y="579"/>
                  </a:lnTo>
                  <a:lnTo>
                    <a:pt x="551" y="579"/>
                  </a:lnTo>
                  <a:lnTo>
                    <a:pt x="549" y="572"/>
                  </a:lnTo>
                  <a:lnTo>
                    <a:pt x="542" y="565"/>
                  </a:lnTo>
                  <a:lnTo>
                    <a:pt x="542" y="563"/>
                  </a:lnTo>
                  <a:lnTo>
                    <a:pt x="541" y="555"/>
                  </a:lnTo>
                  <a:lnTo>
                    <a:pt x="536" y="560"/>
                  </a:lnTo>
                  <a:lnTo>
                    <a:pt x="534" y="556"/>
                  </a:lnTo>
                  <a:lnTo>
                    <a:pt x="537" y="567"/>
                  </a:lnTo>
                  <a:lnTo>
                    <a:pt x="539" y="573"/>
                  </a:lnTo>
                  <a:lnTo>
                    <a:pt x="539" y="575"/>
                  </a:lnTo>
                  <a:lnTo>
                    <a:pt x="532" y="568"/>
                  </a:lnTo>
                  <a:lnTo>
                    <a:pt x="532" y="565"/>
                  </a:lnTo>
                  <a:lnTo>
                    <a:pt x="524" y="568"/>
                  </a:lnTo>
                  <a:lnTo>
                    <a:pt x="525" y="560"/>
                  </a:lnTo>
                  <a:lnTo>
                    <a:pt x="522" y="551"/>
                  </a:lnTo>
                  <a:lnTo>
                    <a:pt x="520" y="551"/>
                  </a:lnTo>
                  <a:lnTo>
                    <a:pt x="518" y="548"/>
                  </a:lnTo>
                  <a:lnTo>
                    <a:pt x="515" y="544"/>
                  </a:lnTo>
                  <a:lnTo>
                    <a:pt x="517" y="544"/>
                  </a:lnTo>
                  <a:lnTo>
                    <a:pt x="518" y="541"/>
                  </a:lnTo>
                  <a:lnTo>
                    <a:pt x="524" y="539"/>
                  </a:lnTo>
                  <a:lnTo>
                    <a:pt x="524" y="538"/>
                  </a:lnTo>
                  <a:lnTo>
                    <a:pt x="525" y="541"/>
                  </a:lnTo>
                  <a:lnTo>
                    <a:pt x="525" y="536"/>
                  </a:lnTo>
                  <a:lnTo>
                    <a:pt x="522" y="527"/>
                  </a:lnTo>
                  <a:lnTo>
                    <a:pt x="520" y="526"/>
                  </a:lnTo>
                  <a:lnTo>
                    <a:pt x="520" y="532"/>
                  </a:lnTo>
                  <a:lnTo>
                    <a:pt x="517" y="538"/>
                  </a:lnTo>
                  <a:lnTo>
                    <a:pt x="513" y="538"/>
                  </a:lnTo>
                  <a:lnTo>
                    <a:pt x="512" y="539"/>
                  </a:lnTo>
                  <a:lnTo>
                    <a:pt x="507" y="539"/>
                  </a:lnTo>
                  <a:lnTo>
                    <a:pt x="505" y="532"/>
                  </a:lnTo>
                  <a:lnTo>
                    <a:pt x="501" y="532"/>
                  </a:lnTo>
                  <a:lnTo>
                    <a:pt x="503" y="541"/>
                  </a:lnTo>
                  <a:lnTo>
                    <a:pt x="500" y="541"/>
                  </a:lnTo>
                  <a:lnTo>
                    <a:pt x="495" y="538"/>
                  </a:lnTo>
                  <a:lnTo>
                    <a:pt x="500" y="543"/>
                  </a:lnTo>
                  <a:lnTo>
                    <a:pt x="508" y="543"/>
                  </a:lnTo>
                  <a:lnTo>
                    <a:pt x="510" y="546"/>
                  </a:lnTo>
                  <a:lnTo>
                    <a:pt x="513" y="551"/>
                  </a:lnTo>
                  <a:lnTo>
                    <a:pt x="512" y="556"/>
                  </a:lnTo>
                  <a:lnTo>
                    <a:pt x="503" y="562"/>
                  </a:lnTo>
                  <a:lnTo>
                    <a:pt x="496" y="568"/>
                  </a:lnTo>
                  <a:lnTo>
                    <a:pt x="489" y="572"/>
                  </a:lnTo>
                  <a:lnTo>
                    <a:pt x="488" y="577"/>
                  </a:lnTo>
                  <a:lnTo>
                    <a:pt x="491" y="584"/>
                  </a:lnTo>
                  <a:lnTo>
                    <a:pt x="495" y="585"/>
                  </a:lnTo>
                  <a:lnTo>
                    <a:pt x="496" y="591"/>
                  </a:lnTo>
                  <a:lnTo>
                    <a:pt x="489" y="594"/>
                  </a:lnTo>
                  <a:lnTo>
                    <a:pt x="489" y="596"/>
                  </a:lnTo>
                  <a:lnTo>
                    <a:pt x="483" y="604"/>
                  </a:lnTo>
                  <a:lnTo>
                    <a:pt x="481" y="606"/>
                  </a:lnTo>
                  <a:lnTo>
                    <a:pt x="479" y="609"/>
                  </a:lnTo>
                  <a:lnTo>
                    <a:pt x="472" y="613"/>
                  </a:lnTo>
                  <a:lnTo>
                    <a:pt x="471" y="616"/>
                  </a:lnTo>
                  <a:lnTo>
                    <a:pt x="462" y="616"/>
                  </a:lnTo>
                  <a:lnTo>
                    <a:pt x="459" y="616"/>
                  </a:lnTo>
                  <a:lnTo>
                    <a:pt x="448" y="614"/>
                  </a:lnTo>
                  <a:lnTo>
                    <a:pt x="445" y="616"/>
                  </a:lnTo>
                  <a:lnTo>
                    <a:pt x="443" y="621"/>
                  </a:lnTo>
                  <a:lnTo>
                    <a:pt x="442" y="621"/>
                  </a:lnTo>
                  <a:lnTo>
                    <a:pt x="437" y="621"/>
                  </a:lnTo>
                  <a:lnTo>
                    <a:pt x="430" y="618"/>
                  </a:lnTo>
                  <a:lnTo>
                    <a:pt x="431" y="613"/>
                  </a:lnTo>
                  <a:lnTo>
                    <a:pt x="425" y="608"/>
                  </a:lnTo>
                  <a:lnTo>
                    <a:pt x="423" y="606"/>
                  </a:lnTo>
                  <a:lnTo>
                    <a:pt x="423" y="603"/>
                  </a:lnTo>
                  <a:lnTo>
                    <a:pt x="418" y="601"/>
                  </a:lnTo>
                  <a:lnTo>
                    <a:pt x="418" y="599"/>
                  </a:lnTo>
                  <a:lnTo>
                    <a:pt x="423" y="603"/>
                  </a:lnTo>
                  <a:lnTo>
                    <a:pt x="423" y="599"/>
                  </a:lnTo>
                  <a:lnTo>
                    <a:pt x="421" y="597"/>
                  </a:lnTo>
                  <a:lnTo>
                    <a:pt x="416" y="589"/>
                  </a:lnTo>
                  <a:lnTo>
                    <a:pt x="416" y="587"/>
                  </a:lnTo>
                  <a:lnTo>
                    <a:pt x="414" y="587"/>
                  </a:lnTo>
                  <a:lnTo>
                    <a:pt x="416" y="582"/>
                  </a:lnTo>
                  <a:lnTo>
                    <a:pt x="413" y="579"/>
                  </a:lnTo>
                  <a:lnTo>
                    <a:pt x="409" y="570"/>
                  </a:lnTo>
                  <a:lnTo>
                    <a:pt x="409" y="565"/>
                  </a:lnTo>
                  <a:lnTo>
                    <a:pt x="411" y="563"/>
                  </a:lnTo>
                  <a:lnTo>
                    <a:pt x="414" y="565"/>
                  </a:lnTo>
                  <a:lnTo>
                    <a:pt x="421" y="563"/>
                  </a:lnTo>
                  <a:lnTo>
                    <a:pt x="428" y="565"/>
                  </a:lnTo>
                  <a:lnTo>
                    <a:pt x="430" y="556"/>
                  </a:lnTo>
                  <a:lnTo>
                    <a:pt x="435" y="555"/>
                  </a:lnTo>
                  <a:lnTo>
                    <a:pt x="430" y="553"/>
                  </a:lnTo>
                  <a:lnTo>
                    <a:pt x="431" y="551"/>
                  </a:lnTo>
                  <a:lnTo>
                    <a:pt x="430" y="551"/>
                  </a:lnTo>
                  <a:lnTo>
                    <a:pt x="428" y="548"/>
                  </a:lnTo>
                  <a:lnTo>
                    <a:pt x="430" y="543"/>
                  </a:lnTo>
                  <a:lnTo>
                    <a:pt x="425" y="544"/>
                  </a:lnTo>
                  <a:lnTo>
                    <a:pt x="419" y="541"/>
                  </a:lnTo>
                  <a:lnTo>
                    <a:pt x="419" y="536"/>
                  </a:lnTo>
                  <a:lnTo>
                    <a:pt x="418" y="531"/>
                  </a:lnTo>
                  <a:lnTo>
                    <a:pt x="423" y="524"/>
                  </a:lnTo>
                  <a:lnTo>
                    <a:pt x="419" y="522"/>
                  </a:lnTo>
                  <a:lnTo>
                    <a:pt x="419" y="519"/>
                  </a:lnTo>
                  <a:lnTo>
                    <a:pt x="416" y="519"/>
                  </a:lnTo>
                  <a:lnTo>
                    <a:pt x="418" y="521"/>
                  </a:lnTo>
                  <a:lnTo>
                    <a:pt x="416" y="521"/>
                  </a:lnTo>
                  <a:lnTo>
                    <a:pt x="414" y="519"/>
                  </a:lnTo>
                  <a:lnTo>
                    <a:pt x="409" y="522"/>
                  </a:lnTo>
                  <a:lnTo>
                    <a:pt x="409" y="529"/>
                  </a:lnTo>
                  <a:lnTo>
                    <a:pt x="401" y="526"/>
                  </a:lnTo>
                  <a:lnTo>
                    <a:pt x="399" y="519"/>
                  </a:lnTo>
                  <a:lnTo>
                    <a:pt x="394" y="515"/>
                  </a:lnTo>
                  <a:lnTo>
                    <a:pt x="399" y="514"/>
                  </a:lnTo>
                  <a:lnTo>
                    <a:pt x="399" y="510"/>
                  </a:lnTo>
                  <a:lnTo>
                    <a:pt x="394" y="509"/>
                  </a:lnTo>
                  <a:lnTo>
                    <a:pt x="392" y="507"/>
                  </a:lnTo>
                  <a:lnTo>
                    <a:pt x="390" y="505"/>
                  </a:lnTo>
                  <a:lnTo>
                    <a:pt x="390" y="507"/>
                  </a:lnTo>
                  <a:lnTo>
                    <a:pt x="389" y="507"/>
                  </a:lnTo>
                  <a:lnTo>
                    <a:pt x="389" y="503"/>
                  </a:lnTo>
                  <a:lnTo>
                    <a:pt x="390" y="503"/>
                  </a:lnTo>
                  <a:lnTo>
                    <a:pt x="389" y="502"/>
                  </a:lnTo>
                  <a:lnTo>
                    <a:pt x="384" y="497"/>
                  </a:lnTo>
                  <a:lnTo>
                    <a:pt x="380" y="492"/>
                  </a:lnTo>
                  <a:lnTo>
                    <a:pt x="372" y="488"/>
                  </a:lnTo>
                  <a:lnTo>
                    <a:pt x="372" y="486"/>
                  </a:lnTo>
                  <a:lnTo>
                    <a:pt x="365" y="483"/>
                  </a:lnTo>
                  <a:lnTo>
                    <a:pt x="365" y="481"/>
                  </a:lnTo>
                  <a:lnTo>
                    <a:pt x="363" y="481"/>
                  </a:lnTo>
                  <a:lnTo>
                    <a:pt x="361" y="481"/>
                  </a:lnTo>
                  <a:lnTo>
                    <a:pt x="360" y="480"/>
                  </a:lnTo>
                  <a:lnTo>
                    <a:pt x="358" y="480"/>
                  </a:lnTo>
                  <a:lnTo>
                    <a:pt x="348" y="480"/>
                  </a:lnTo>
                  <a:lnTo>
                    <a:pt x="348" y="476"/>
                  </a:lnTo>
                  <a:lnTo>
                    <a:pt x="346" y="480"/>
                  </a:lnTo>
                  <a:lnTo>
                    <a:pt x="344" y="478"/>
                  </a:lnTo>
                  <a:lnTo>
                    <a:pt x="344" y="480"/>
                  </a:lnTo>
                  <a:lnTo>
                    <a:pt x="339" y="480"/>
                  </a:lnTo>
                  <a:lnTo>
                    <a:pt x="341" y="481"/>
                  </a:lnTo>
                  <a:lnTo>
                    <a:pt x="334" y="480"/>
                  </a:lnTo>
                  <a:lnTo>
                    <a:pt x="338" y="481"/>
                  </a:lnTo>
                  <a:lnTo>
                    <a:pt x="332" y="483"/>
                  </a:lnTo>
                  <a:lnTo>
                    <a:pt x="332" y="478"/>
                  </a:lnTo>
                  <a:lnTo>
                    <a:pt x="329" y="474"/>
                  </a:lnTo>
                  <a:lnTo>
                    <a:pt x="327" y="480"/>
                  </a:lnTo>
                  <a:lnTo>
                    <a:pt x="324" y="474"/>
                  </a:lnTo>
                  <a:lnTo>
                    <a:pt x="320" y="476"/>
                  </a:lnTo>
                  <a:lnTo>
                    <a:pt x="320" y="478"/>
                  </a:lnTo>
                  <a:lnTo>
                    <a:pt x="319" y="473"/>
                  </a:lnTo>
                  <a:lnTo>
                    <a:pt x="326" y="473"/>
                  </a:lnTo>
                  <a:lnTo>
                    <a:pt x="326" y="471"/>
                  </a:lnTo>
                  <a:lnTo>
                    <a:pt x="327" y="469"/>
                  </a:lnTo>
                  <a:lnTo>
                    <a:pt x="320" y="468"/>
                  </a:lnTo>
                  <a:lnTo>
                    <a:pt x="327" y="466"/>
                  </a:lnTo>
                  <a:lnTo>
                    <a:pt x="331" y="462"/>
                  </a:lnTo>
                  <a:lnTo>
                    <a:pt x="327" y="461"/>
                  </a:lnTo>
                  <a:lnTo>
                    <a:pt x="322" y="462"/>
                  </a:lnTo>
                  <a:lnTo>
                    <a:pt x="317" y="459"/>
                  </a:lnTo>
                  <a:lnTo>
                    <a:pt x="324" y="457"/>
                  </a:lnTo>
                  <a:lnTo>
                    <a:pt x="329" y="456"/>
                  </a:lnTo>
                  <a:lnTo>
                    <a:pt x="329" y="457"/>
                  </a:lnTo>
                  <a:lnTo>
                    <a:pt x="331" y="457"/>
                  </a:lnTo>
                  <a:lnTo>
                    <a:pt x="331" y="456"/>
                  </a:lnTo>
                  <a:lnTo>
                    <a:pt x="334" y="457"/>
                  </a:lnTo>
                  <a:lnTo>
                    <a:pt x="336" y="456"/>
                  </a:lnTo>
                  <a:lnTo>
                    <a:pt x="332" y="454"/>
                  </a:lnTo>
                  <a:lnTo>
                    <a:pt x="334" y="454"/>
                  </a:lnTo>
                  <a:lnTo>
                    <a:pt x="334" y="452"/>
                  </a:lnTo>
                  <a:lnTo>
                    <a:pt x="338" y="456"/>
                  </a:lnTo>
                  <a:lnTo>
                    <a:pt x="338" y="454"/>
                  </a:lnTo>
                  <a:lnTo>
                    <a:pt x="339" y="454"/>
                  </a:lnTo>
                  <a:lnTo>
                    <a:pt x="346" y="452"/>
                  </a:lnTo>
                  <a:lnTo>
                    <a:pt x="339" y="451"/>
                  </a:lnTo>
                  <a:lnTo>
                    <a:pt x="338" y="452"/>
                  </a:lnTo>
                  <a:lnTo>
                    <a:pt x="336" y="451"/>
                  </a:lnTo>
                  <a:lnTo>
                    <a:pt x="339" y="447"/>
                  </a:lnTo>
                  <a:lnTo>
                    <a:pt x="344" y="449"/>
                  </a:lnTo>
                  <a:lnTo>
                    <a:pt x="346" y="447"/>
                  </a:lnTo>
                  <a:lnTo>
                    <a:pt x="353" y="447"/>
                  </a:lnTo>
                  <a:lnTo>
                    <a:pt x="361" y="447"/>
                  </a:lnTo>
                  <a:lnTo>
                    <a:pt x="370" y="451"/>
                  </a:lnTo>
                  <a:lnTo>
                    <a:pt x="373" y="449"/>
                  </a:lnTo>
                  <a:lnTo>
                    <a:pt x="375" y="451"/>
                  </a:lnTo>
                  <a:lnTo>
                    <a:pt x="372" y="452"/>
                  </a:lnTo>
                  <a:lnTo>
                    <a:pt x="377" y="454"/>
                  </a:lnTo>
                  <a:lnTo>
                    <a:pt x="372" y="456"/>
                  </a:lnTo>
                  <a:lnTo>
                    <a:pt x="377" y="456"/>
                  </a:lnTo>
                  <a:lnTo>
                    <a:pt x="377" y="457"/>
                  </a:lnTo>
                  <a:lnTo>
                    <a:pt x="377" y="456"/>
                  </a:lnTo>
                  <a:lnTo>
                    <a:pt x="379" y="454"/>
                  </a:lnTo>
                  <a:lnTo>
                    <a:pt x="382" y="454"/>
                  </a:lnTo>
                  <a:lnTo>
                    <a:pt x="379" y="451"/>
                  </a:lnTo>
                  <a:lnTo>
                    <a:pt x="380" y="451"/>
                  </a:lnTo>
                  <a:lnTo>
                    <a:pt x="380" y="449"/>
                  </a:lnTo>
                  <a:lnTo>
                    <a:pt x="387" y="451"/>
                  </a:lnTo>
                  <a:lnTo>
                    <a:pt x="392" y="451"/>
                  </a:lnTo>
                  <a:lnTo>
                    <a:pt x="397" y="454"/>
                  </a:lnTo>
                  <a:lnTo>
                    <a:pt x="399" y="456"/>
                  </a:lnTo>
                  <a:lnTo>
                    <a:pt x="402" y="461"/>
                  </a:lnTo>
                  <a:lnTo>
                    <a:pt x="406" y="461"/>
                  </a:lnTo>
                  <a:lnTo>
                    <a:pt x="408" y="464"/>
                  </a:lnTo>
                  <a:lnTo>
                    <a:pt x="411" y="464"/>
                  </a:lnTo>
                  <a:lnTo>
                    <a:pt x="414" y="462"/>
                  </a:lnTo>
                  <a:lnTo>
                    <a:pt x="418" y="462"/>
                  </a:lnTo>
                  <a:lnTo>
                    <a:pt x="416" y="461"/>
                  </a:lnTo>
                  <a:lnTo>
                    <a:pt x="419" y="461"/>
                  </a:lnTo>
                  <a:lnTo>
                    <a:pt x="419" y="459"/>
                  </a:lnTo>
                  <a:lnTo>
                    <a:pt x="426" y="454"/>
                  </a:lnTo>
                  <a:lnTo>
                    <a:pt x="433" y="445"/>
                  </a:lnTo>
                  <a:lnTo>
                    <a:pt x="435" y="444"/>
                  </a:lnTo>
                  <a:lnTo>
                    <a:pt x="437" y="442"/>
                  </a:lnTo>
                  <a:lnTo>
                    <a:pt x="442" y="435"/>
                  </a:lnTo>
                  <a:lnTo>
                    <a:pt x="447" y="428"/>
                  </a:lnTo>
                  <a:lnTo>
                    <a:pt x="454" y="423"/>
                  </a:lnTo>
                  <a:lnTo>
                    <a:pt x="457" y="420"/>
                  </a:lnTo>
                  <a:lnTo>
                    <a:pt x="466" y="420"/>
                  </a:lnTo>
                  <a:lnTo>
                    <a:pt x="467" y="418"/>
                  </a:lnTo>
                  <a:lnTo>
                    <a:pt x="478" y="421"/>
                  </a:lnTo>
                  <a:lnTo>
                    <a:pt x="479" y="427"/>
                  </a:lnTo>
                  <a:lnTo>
                    <a:pt x="481" y="425"/>
                  </a:lnTo>
                  <a:lnTo>
                    <a:pt x="488" y="428"/>
                  </a:lnTo>
                  <a:lnTo>
                    <a:pt x="488" y="432"/>
                  </a:lnTo>
                  <a:lnTo>
                    <a:pt x="486" y="440"/>
                  </a:lnTo>
                  <a:lnTo>
                    <a:pt x="488" y="449"/>
                  </a:lnTo>
                  <a:lnTo>
                    <a:pt x="491" y="447"/>
                  </a:lnTo>
                  <a:lnTo>
                    <a:pt x="489" y="442"/>
                  </a:lnTo>
                  <a:lnTo>
                    <a:pt x="491" y="442"/>
                  </a:lnTo>
                  <a:lnTo>
                    <a:pt x="489" y="435"/>
                  </a:lnTo>
                  <a:lnTo>
                    <a:pt x="489" y="433"/>
                  </a:lnTo>
                  <a:lnTo>
                    <a:pt x="491" y="435"/>
                  </a:lnTo>
                  <a:lnTo>
                    <a:pt x="489" y="432"/>
                  </a:lnTo>
                  <a:lnTo>
                    <a:pt x="495" y="428"/>
                  </a:lnTo>
                  <a:lnTo>
                    <a:pt x="496" y="432"/>
                  </a:lnTo>
                  <a:lnTo>
                    <a:pt x="498" y="442"/>
                  </a:lnTo>
                  <a:lnTo>
                    <a:pt x="498" y="437"/>
                  </a:lnTo>
                  <a:lnTo>
                    <a:pt x="498" y="430"/>
                  </a:lnTo>
                  <a:lnTo>
                    <a:pt x="500" y="428"/>
                  </a:lnTo>
                  <a:lnTo>
                    <a:pt x="503" y="437"/>
                  </a:lnTo>
                  <a:lnTo>
                    <a:pt x="505" y="440"/>
                  </a:lnTo>
                  <a:lnTo>
                    <a:pt x="507" y="442"/>
                  </a:lnTo>
                  <a:lnTo>
                    <a:pt x="510" y="440"/>
                  </a:lnTo>
                  <a:lnTo>
                    <a:pt x="510" y="439"/>
                  </a:lnTo>
                  <a:lnTo>
                    <a:pt x="510" y="437"/>
                  </a:lnTo>
                  <a:lnTo>
                    <a:pt x="515" y="433"/>
                  </a:lnTo>
                  <a:lnTo>
                    <a:pt x="520" y="432"/>
                  </a:lnTo>
                  <a:lnTo>
                    <a:pt x="524" y="437"/>
                  </a:lnTo>
                  <a:lnTo>
                    <a:pt x="522" y="442"/>
                  </a:lnTo>
                  <a:lnTo>
                    <a:pt x="522" y="449"/>
                  </a:lnTo>
                  <a:lnTo>
                    <a:pt x="522" y="447"/>
                  </a:lnTo>
                  <a:lnTo>
                    <a:pt x="527" y="437"/>
                  </a:lnTo>
                  <a:lnTo>
                    <a:pt x="525" y="428"/>
                  </a:lnTo>
                  <a:lnTo>
                    <a:pt x="529" y="428"/>
                  </a:lnTo>
                  <a:lnTo>
                    <a:pt x="532" y="435"/>
                  </a:lnTo>
                  <a:lnTo>
                    <a:pt x="536" y="439"/>
                  </a:lnTo>
                  <a:lnTo>
                    <a:pt x="537" y="445"/>
                  </a:lnTo>
                  <a:lnTo>
                    <a:pt x="539" y="445"/>
                  </a:lnTo>
                  <a:lnTo>
                    <a:pt x="537" y="439"/>
                  </a:lnTo>
                  <a:lnTo>
                    <a:pt x="534" y="435"/>
                  </a:lnTo>
                  <a:lnTo>
                    <a:pt x="534" y="430"/>
                  </a:lnTo>
                  <a:lnTo>
                    <a:pt x="537" y="432"/>
                  </a:lnTo>
                  <a:lnTo>
                    <a:pt x="536" y="427"/>
                  </a:lnTo>
                  <a:lnTo>
                    <a:pt x="541" y="425"/>
                  </a:lnTo>
                  <a:lnTo>
                    <a:pt x="541" y="421"/>
                  </a:lnTo>
                  <a:lnTo>
                    <a:pt x="544" y="425"/>
                  </a:lnTo>
                  <a:lnTo>
                    <a:pt x="546" y="425"/>
                  </a:lnTo>
                  <a:lnTo>
                    <a:pt x="548" y="423"/>
                  </a:lnTo>
                  <a:lnTo>
                    <a:pt x="551" y="427"/>
                  </a:lnTo>
                  <a:lnTo>
                    <a:pt x="556" y="425"/>
                  </a:lnTo>
                  <a:lnTo>
                    <a:pt x="559" y="425"/>
                  </a:lnTo>
                  <a:lnTo>
                    <a:pt x="561" y="421"/>
                  </a:lnTo>
                  <a:lnTo>
                    <a:pt x="559" y="421"/>
                  </a:lnTo>
                  <a:lnTo>
                    <a:pt x="556" y="420"/>
                  </a:lnTo>
                  <a:lnTo>
                    <a:pt x="556" y="416"/>
                  </a:lnTo>
                  <a:lnTo>
                    <a:pt x="559" y="415"/>
                  </a:lnTo>
                  <a:lnTo>
                    <a:pt x="561" y="415"/>
                  </a:lnTo>
                  <a:lnTo>
                    <a:pt x="561" y="411"/>
                  </a:lnTo>
                  <a:lnTo>
                    <a:pt x="556" y="408"/>
                  </a:lnTo>
                  <a:lnTo>
                    <a:pt x="546" y="410"/>
                  </a:lnTo>
                  <a:lnTo>
                    <a:pt x="541" y="408"/>
                  </a:lnTo>
                  <a:lnTo>
                    <a:pt x="546" y="404"/>
                  </a:lnTo>
                  <a:lnTo>
                    <a:pt x="549" y="404"/>
                  </a:lnTo>
                  <a:lnTo>
                    <a:pt x="553" y="404"/>
                  </a:lnTo>
                  <a:lnTo>
                    <a:pt x="554" y="404"/>
                  </a:lnTo>
                  <a:lnTo>
                    <a:pt x="556" y="398"/>
                  </a:lnTo>
                  <a:lnTo>
                    <a:pt x="558" y="398"/>
                  </a:lnTo>
                  <a:lnTo>
                    <a:pt x="556" y="398"/>
                  </a:lnTo>
                  <a:lnTo>
                    <a:pt x="554" y="387"/>
                  </a:lnTo>
                  <a:lnTo>
                    <a:pt x="554" y="380"/>
                  </a:lnTo>
                  <a:lnTo>
                    <a:pt x="558" y="379"/>
                  </a:lnTo>
                  <a:lnTo>
                    <a:pt x="558" y="377"/>
                  </a:lnTo>
                  <a:lnTo>
                    <a:pt x="556" y="379"/>
                  </a:lnTo>
                  <a:lnTo>
                    <a:pt x="556" y="380"/>
                  </a:lnTo>
                  <a:lnTo>
                    <a:pt x="554" y="380"/>
                  </a:lnTo>
                  <a:lnTo>
                    <a:pt x="554" y="384"/>
                  </a:lnTo>
                  <a:lnTo>
                    <a:pt x="551" y="384"/>
                  </a:lnTo>
                  <a:lnTo>
                    <a:pt x="553" y="382"/>
                  </a:lnTo>
                  <a:lnTo>
                    <a:pt x="553" y="379"/>
                  </a:lnTo>
                  <a:lnTo>
                    <a:pt x="556" y="377"/>
                  </a:lnTo>
                  <a:lnTo>
                    <a:pt x="556" y="374"/>
                  </a:lnTo>
                  <a:lnTo>
                    <a:pt x="554" y="379"/>
                  </a:lnTo>
                  <a:lnTo>
                    <a:pt x="553" y="377"/>
                  </a:lnTo>
                  <a:lnTo>
                    <a:pt x="554" y="374"/>
                  </a:lnTo>
                  <a:lnTo>
                    <a:pt x="553" y="375"/>
                  </a:lnTo>
                  <a:lnTo>
                    <a:pt x="553" y="377"/>
                  </a:lnTo>
                  <a:lnTo>
                    <a:pt x="553" y="379"/>
                  </a:lnTo>
                  <a:lnTo>
                    <a:pt x="551" y="380"/>
                  </a:lnTo>
                  <a:lnTo>
                    <a:pt x="549" y="377"/>
                  </a:lnTo>
                  <a:lnTo>
                    <a:pt x="551" y="375"/>
                  </a:lnTo>
                  <a:lnTo>
                    <a:pt x="549" y="377"/>
                  </a:lnTo>
                  <a:lnTo>
                    <a:pt x="549" y="380"/>
                  </a:lnTo>
                  <a:lnTo>
                    <a:pt x="548" y="377"/>
                  </a:lnTo>
                  <a:lnTo>
                    <a:pt x="549" y="380"/>
                  </a:lnTo>
                  <a:lnTo>
                    <a:pt x="548" y="380"/>
                  </a:lnTo>
                  <a:lnTo>
                    <a:pt x="542" y="379"/>
                  </a:lnTo>
                  <a:lnTo>
                    <a:pt x="544" y="375"/>
                  </a:lnTo>
                  <a:lnTo>
                    <a:pt x="541" y="384"/>
                  </a:lnTo>
                  <a:lnTo>
                    <a:pt x="532" y="389"/>
                  </a:lnTo>
                  <a:lnTo>
                    <a:pt x="529" y="387"/>
                  </a:lnTo>
                  <a:lnTo>
                    <a:pt x="525" y="392"/>
                  </a:lnTo>
                  <a:lnTo>
                    <a:pt x="522" y="392"/>
                  </a:lnTo>
                  <a:lnTo>
                    <a:pt x="517" y="396"/>
                  </a:lnTo>
                  <a:lnTo>
                    <a:pt x="515" y="394"/>
                  </a:lnTo>
                  <a:lnTo>
                    <a:pt x="512" y="394"/>
                  </a:lnTo>
                  <a:lnTo>
                    <a:pt x="512" y="389"/>
                  </a:lnTo>
                  <a:lnTo>
                    <a:pt x="510" y="394"/>
                  </a:lnTo>
                  <a:lnTo>
                    <a:pt x="505" y="396"/>
                  </a:lnTo>
                  <a:lnTo>
                    <a:pt x="501" y="391"/>
                  </a:lnTo>
                  <a:lnTo>
                    <a:pt x="503" y="396"/>
                  </a:lnTo>
                  <a:lnTo>
                    <a:pt x="498" y="396"/>
                  </a:lnTo>
                  <a:lnTo>
                    <a:pt x="493" y="396"/>
                  </a:lnTo>
                  <a:lnTo>
                    <a:pt x="491" y="392"/>
                  </a:lnTo>
                  <a:lnTo>
                    <a:pt x="486" y="392"/>
                  </a:lnTo>
                  <a:lnTo>
                    <a:pt x="479" y="394"/>
                  </a:lnTo>
                  <a:lnTo>
                    <a:pt x="476" y="392"/>
                  </a:lnTo>
                  <a:lnTo>
                    <a:pt x="476" y="391"/>
                  </a:lnTo>
                  <a:lnTo>
                    <a:pt x="472" y="392"/>
                  </a:lnTo>
                  <a:lnTo>
                    <a:pt x="471" y="391"/>
                  </a:lnTo>
                  <a:lnTo>
                    <a:pt x="472" y="392"/>
                  </a:lnTo>
                  <a:lnTo>
                    <a:pt x="469" y="394"/>
                  </a:lnTo>
                  <a:lnTo>
                    <a:pt x="469" y="392"/>
                  </a:lnTo>
                  <a:lnTo>
                    <a:pt x="464" y="391"/>
                  </a:lnTo>
                  <a:lnTo>
                    <a:pt x="459" y="392"/>
                  </a:lnTo>
                  <a:lnTo>
                    <a:pt x="454" y="396"/>
                  </a:lnTo>
                  <a:lnTo>
                    <a:pt x="447" y="398"/>
                  </a:lnTo>
                  <a:lnTo>
                    <a:pt x="438" y="403"/>
                  </a:lnTo>
                  <a:lnTo>
                    <a:pt x="437" y="401"/>
                  </a:lnTo>
                  <a:lnTo>
                    <a:pt x="430" y="401"/>
                  </a:lnTo>
                  <a:lnTo>
                    <a:pt x="426" y="398"/>
                  </a:lnTo>
                  <a:lnTo>
                    <a:pt x="421" y="398"/>
                  </a:lnTo>
                  <a:lnTo>
                    <a:pt x="413" y="399"/>
                  </a:lnTo>
                  <a:lnTo>
                    <a:pt x="408" y="404"/>
                  </a:lnTo>
                  <a:lnTo>
                    <a:pt x="401" y="401"/>
                  </a:lnTo>
                  <a:lnTo>
                    <a:pt x="399" y="403"/>
                  </a:lnTo>
                  <a:lnTo>
                    <a:pt x="397" y="401"/>
                  </a:lnTo>
                  <a:lnTo>
                    <a:pt x="394" y="392"/>
                  </a:lnTo>
                  <a:lnTo>
                    <a:pt x="389" y="391"/>
                  </a:lnTo>
                  <a:lnTo>
                    <a:pt x="382" y="392"/>
                  </a:lnTo>
                  <a:lnTo>
                    <a:pt x="373" y="396"/>
                  </a:lnTo>
                  <a:lnTo>
                    <a:pt x="367" y="401"/>
                  </a:lnTo>
                  <a:lnTo>
                    <a:pt x="360" y="403"/>
                  </a:lnTo>
                  <a:lnTo>
                    <a:pt x="358" y="401"/>
                  </a:lnTo>
                  <a:lnTo>
                    <a:pt x="353" y="394"/>
                  </a:lnTo>
                  <a:lnTo>
                    <a:pt x="351" y="391"/>
                  </a:lnTo>
                  <a:lnTo>
                    <a:pt x="346" y="387"/>
                  </a:lnTo>
                  <a:lnTo>
                    <a:pt x="346" y="386"/>
                  </a:lnTo>
                  <a:lnTo>
                    <a:pt x="339" y="386"/>
                  </a:lnTo>
                  <a:lnTo>
                    <a:pt x="331" y="380"/>
                  </a:lnTo>
                  <a:lnTo>
                    <a:pt x="331" y="379"/>
                  </a:lnTo>
                  <a:lnTo>
                    <a:pt x="327" y="377"/>
                  </a:lnTo>
                  <a:lnTo>
                    <a:pt x="327" y="375"/>
                  </a:lnTo>
                  <a:lnTo>
                    <a:pt x="332" y="372"/>
                  </a:lnTo>
                  <a:lnTo>
                    <a:pt x="332" y="370"/>
                  </a:lnTo>
                  <a:lnTo>
                    <a:pt x="334" y="369"/>
                  </a:lnTo>
                  <a:lnTo>
                    <a:pt x="332" y="365"/>
                  </a:lnTo>
                  <a:lnTo>
                    <a:pt x="336" y="365"/>
                  </a:lnTo>
                  <a:lnTo>
                    <a:pt x="334" y="363"/>
                  </a:lnTo>
                  <a:lnTo>
                    <a:pt x="332" y="363"/>
                  </a:lnTo>
                  <a:lnTo>
                    <a:pt x="329" y="363"/>
                  </a:lnTo>
                  <a:lnTo>
                    <a:pt x="331" y="370"/>
                  </a:lnTo>
                  <a:lnTo>
                    <a:pt x="327" y="372"/>
                  </a:lnTo>
                  <a:lnTo>
                    <a:pt x="319" y="365"/>
                  </a:lnTo>
                  <a:lnTo>
                    <a:pt x="322" y="360"/>
                  </a:lnTo>
                  <a:lnTo>
                    <a:pt x="317" y="358"/>
                  </a:lnTo>
                  <a:lnTo>
                    <a:pt x="314" y="355"/>
                  </a:lnTo>
                  <a:lnTo>
                    <a:pt x="314" y="351"/>
                  </a:lnTo>
                  <a:lnTo>
                    <a:pt x="317" y="348"/>
                  </a:lnTo>
                  <a:lnTo>
                    <a:pt x="315" y="350"/>
                  </a:lnTo>
                  <a:lnTo>
                    <a:pt x="314" y="345"/>
                  </a:lnTo>
                  <a:lnTo>
                    <a:pt x="317" y="343"/>
                  </a:lnTo>
                  <a:lnTo>
                    <a:pt x="322" y="336"/>
                  </a:lnTo>
                  <a:lnTo>
                    <a:pt x="324" y="338"/>
                  </a:lnTo>
                  <a:lnTo>
                    <a:pt x="326" y="334"/>
                  </a:lnTo>
                  <a:lnTo>
                    <a:pt x="329" y="334"/>
                  </a:lnTo>
                  <a:lnTo>
                    <a:pt x="324" y="331"/>
                  </a:lnTo>
                  <a:lnTo>
                    <a:pt x="329" y="329"/>
                  </a:lnTo>
                  <a:lnTo>
                    <a:pt x="331" y="326"/>
                  </a:lnTo>
                  <a:lnTo>
                    <a:pt x="329" y="329"/>
                  </a:lnTo>
                  <a:lnTo>
                    <a:pt x="324" y="329"/>
                  </a:lnTo>
                  <a:lnTo>
                    <a:pt x="320" y="333"/>
                  </a:lnTo>
                  <a:lnTo>
                    <a:pt x="312" y="334"/>
                  </a:lnTo>
                  <a:lnTo>
                    <a:pt x="309" y="324"/>
                  </a:lnTo>
                  <a:lnTo>
                    <a:pt x="312" y="319"/>
                  </a:lnTo>
                  <a:lnTo>
                    <a:pt x="320" y="316"/>
                  </a:lnTo>
                  <a:lnTo>
                    <a:pt x="320" y="310"/>
                  </a:lnTo>
                  <a:lnTo>
                    <a:pt x="319" y="314"/>
                  </a:lnTo>
                  <a:lnTo>
                    <a:pt x="314" y="316"/>
                  </a:lnTo>
                  <a:lnTo>
                    <a:pt x="309" y="319"/>
                  </a:lnTo>
                  <a:lnTo>
                    <a:pt x="305" y="317"/>
                  </a:lnTo>
                  <a:lnTo>
                    <a:pt x="300" y="322"/>
                  </a:lnTo>
                  <a:lnTo>
                    <a:pt x="298" y="322"/>
                  </a:lnTo>
                  <a:lnTo>
                    <a:pt x="297" y="321"/>
                  </a:lnTo>
                  <a:lnTo>
                    <a:pt x="300" y="314"/>
                  </a:lnTo>
                  <a:lnTo>
                    <a:pt x="298" y="309"/>
                  </a:lnTo>
                  <a:lnTo>
                    <a:pt x="298" y="314"/>
                  </a:lnTo>
                  <a:lnTo>
                    <a:pt x="295" y="317"/>
                  </a:lnTo>
                  <a:lnTo>
                    <a:pt x="290" y="319"/>
                  </a:lnTo>
                  <a:lnTo>
                    <a:pt x="286" y="316"/>
                  </a:lnTo>
                  <a:lnTo>
                    <a:pt x="293" y="307"/>
                  </a:lnTo>
                  <a:lnTo>
                    <a:pt x="291" y="302"/>
                  </a:lnTo>
                  <a:lnTo>
                    <a:pt x="288" y="299"/>
                  </a:lnTo>
                  <a:lnTo>
                    <a:pt x="283" y="302"/>
                  </a:lnTo>
                  <a:lnTo>
                    <a:pt x="283" y="304"/>
                  </a:lnTo>
                  <a:lnTo>
                    <a:pt x="281" y="304"/>
                  </a:lnTo>
                  <a:lnTo>
                    <a:pt x="283" y="302"/>
                  </a:lnTo>
                  <a:lnTo>
                    <a:pt x="281" y="302"/>
                  </a:lnTo>
                  <a:lnTo>
                    <a:pt x="273" y="302"/>
                  </a:lnTo>
                  <a:lnTo>
                    <a:pt x="269" y="307"/>
                  </a:lnTo>
                  <a:lnTo>
                    <a:pt x="264" y="304"/>
                  </a:lnTo>
                  <a:lnTo>
                    <a:pt x="257" y="310"/>
                  </a:lnTo>
                  <a:lnTo>
                    <a:pt x="249" y="304"/>
                  </a:lnTo>
                  <a:lnTo>
                    <a:pt x="252" y="300"/>
                  </a:lnTo>
                  <a:lnTo>
                    <a:pt x="247" y="295"/>
                  </a:lnTo>
                  <a:lnTo>
                    <a:pt x="247" y="292"/>
                  </a:lnTo>
                  <a:lnTo>
                    <a:pt x="244" y="292"/>
                  </a:lnTo>
                  <a:lnTo>
                    <a:pt x="244" y="290"/>
                  </a:lnTo>
                  <a:lnTo>
                    <a:pt x="242" y="290"/>
                  </a:lnTo>
                  <a:lnTo>
                    <a:pt x="239" y="292"/>
                  </a:lnTo>
                  <a:lnTo>
                    <a:pt x="240" y="293"/>
                  </a:lnTo>
                  <a:lnTo>
                    <a:pt x="235" y="295"/>
                  </a:lnTo>
                  <a:lnTo>
                    <a:pt x="239" y="299"/>
                  </a:lnTo>
                  <a:lnTo>
                    <a:pt x="244" y="300"/>
                  </a:lnTo>
                  <a:lnTo>
                    <a:pt x="244" y="304"/>
                  </a:lnTo>
                  <a:lnTo>
                    <a:pt x="237" y="309"/>
                  </a:lnTo>
                  <a:lnTo>
                    <a:pt x="230" y="310"/>
                  </a:lnTo>
                  <a:lnTo>
                    <a:pt x="223" y="304"/>
                  </a:lnTo>
                  <a:lnTo>
                    <a:pt x="213" y="302"/>
                  </a:lnTo>
                  <a:lnTo>
                    <a:pt x="203" y="304"/>
                  </a:lnTo>
                  <a:lnTo>
                    <a:pt x="194" y="300"/>
                  </a:lnTo>
                  <a:lnTo>
                    <a:pt x="203" y="293"/>
                  </a:lnTo>
                  <a:lnTo>
                    <a:pt x="206" y="285"/>
                  </a:lnTo>
                  <a:lnTo>
                    <a:pt x="206" y="283"/>
                  </a:lnTo>
                  <a:lnTo>
                    <a:pt x="210" y="278"/>
                  </a:lnTo>
                  <a:lnTo>
                    <a:pt x="216" y="278"/>
                  </a:lnTo>
                  <a:lnTo>
                    <a:pt x="225" y="275"/>
                  </a:lnTo>
                  <a:lnTo>
                    <a:pt x="227" y="269"/>
                  </a:lnTo>
                  <a:lnTo>
                    <a:pt x="230" y="263"/>
                  </a:lnTo>
                  <a:lnTo>
                    <a:pt x="232" y="259"/>
                  </a:lnTo>
                  <a:lnTo>
                    <a:pt x="233" y="258"/>
                  </a:lnTo>
                  <a:lnTo>
                    <a:pt x="233" y="254"/>
                  </a:lnTo>
                  <a:lnTo>
                    <a:pt x="232" y="252"/>
                  </a:lnTo>
                  <a:lnTo>
                    <a:pt x="233" y="251"/>
                  </a:lnTo>
                  <a:lnTo>
                    <a:pt x="233" y="249"/>
                  </a:lnTo>
                  <a:lnTo>
                    <a:pt x="235" y="249"/>
                  </a:lnTo>
                  <a:lnTo>
                    <a:pt x="235" y="247"/>
                  </a:lnTo>
                  <a:lnTo>
                    <a:pt x="237" y="247"/>
                  </a:lnTo>
                  <a:lnTo>
                    <a:pt x="235" y="247"/>
                  </a:lnTo>
                  <a:lnTo>
                    <a:pt x="235" y="246"/>
                  </a:lnTo>
                  <a:lnTo>
                    <a:pt x="237" y="246"/>
                  </a:lnTo>
                  <a:lnTo>
                    <a:pt x="235" y="244"/>
                  </a:lnTo>
                  <a:lnTo>
                    <a:pt x="237" y="242"/>
                  </a:lnTo>
                  <a:lnTo>
                    <a:pt x="235" y="239"/>
                  </a:lnTo>
                  <a:lnTo>
                    <a:pt x="239" y="239"/>
                  </a:lnTo>
                  <a:lnTo>
                    <a:pt x="237" y="235"/>
                  </a:lnTo>
                  <a:lnTo>
                    <a:pt x="233" y="234"/>
                  </a:lnTo>
                  <a:lnTo>
                    <a:pt x="232" y="234"/>
                  </a:lnTo>
                  <a:lnTo>
                    <a:pt x="233" y="230"/>
                  </a:lnTo>
                  <a:lnTo>
                    <a:pt x="230" y="227"/>
                  </a:lnTo>
                  <a:lnTo>
                    <a:pt x="233" y="227"/>
                  </a:lnTo>
                  <a:lnTo>
                    <a:pt x="242" y="223"/>
                  </a:lnTo>
                  <a:lnTo>
                    <a:pt x="247" y="222"/>
                  </a:lnTo>
                  <a:lnTo>
                    <a:pt x="250" y="222"/>
                  </a:lnTo>
                  <a:lnTo>
                    <a:pt x="254" y="220"/>
                  </a:lnTo>
                  <a:lnTo>
                    <a:pt x="259" y="218"/>
                  </a:lnTo>
                  <a:lnTo>
                    <a:pt x="264" y="217"/>
                  </a:lnTo>
                  <a:lnTo>
                    <a:pt x="268" y="215"/>
                  </a:lnTo>
                  <a:lnTo>
                    <a:pt x="269" y="217"/>
                  </a:lnTo>
                  <a:lnTo>
                    <a:pt x="264" y="222"/>
                  </a:lnTo>
                  <a:lnTo>
                    <a:pt x="273" y="218"/>
                  </a:lnTo>
                  <a:lnTo>
                    <a:pt x="274" y="218"/>
                  </a:lnTo>
                  <a:lnTo>
                    <a:pt x="283" y="218"/>
                  </a:lnTo>
                  <a:lnTo>
                    <a:pt x="286" y="217"/>
                  </a:lnTo>
                  <a:lnTo>
                    <a:pt x="288" y="217"/>
                  </a:lnTo>
                  <a:lnTo>
                    <a:pt x="293" y="217"/>
                  </a:lnTo>
                  <a:lnTo>
                    <a:pt x="295" y="215"/>
                  </a:lnTo>
                  <a:lnTo>
                    <a:pt x="302" y="215"/>
                  </a:lnTo>
                  <a:lnTo>
                    <a:pt x="305" y="213"/>
                  </a:lnTo>
                  <a:lnTo>
                    <a:pt x="312" y="210"/>
                  </a:lnTo>
                  <a:lnTo>
                    <a:pt x="312" y="206"/>
                  </a:lnTo>
                  <a:lnTo>
                    <a:pt x="319" y="201"/>
                  </a:lnTo>
                  <a:lnTo>
                    <a:pt x="320" y="198"/>
                  </a:lnTo>
                  <a:lnTo>
                    <a:pt x="322" y="196"/>
                  </a:lnTo>
                  <a:lnTo>
                    <a:pt x="332" y="193"/>
                  </a:lnTo>
                  <a:lnTo>
                    <a:pt x="334" y="186"/>
                  </a:lnTo>
                  <a:lnTo>
                    <a:pt x="339" y="184"/>
                  </a:lnTo>
                  <a:lnTo>
                    <a:pt x="344" y="179"/>
                  </a:lnTo>
                  <a:lnTo>
                    <a:pt x="348" y="177"/>
                  </a:lnTo>
                  <a:lnTo>
                    <a:pt x="355" y="176"/>
                  </a:lnTo>
                  <a:lnTo>
                    <a:pt x="355" y="174"/>
                  </a:lnTo>
                  <a:lnTo>
                    <a:pt x="365" y="176"/>
                  </a:lnTo>
                  <a:lnTo>
                    <a:pt x="373" y="170"/>
                  </a:lnTo>
                  <a:lnTo>
                    <a:pt x="379" y="170"/>
                  </a:lnTo>
                  <a:lnTo>
                    <a:pt x="385" y="172"/>
                  </a:lnTo>
                  <a:lnTo>
                    <a:pt x="392" y="172"/>
                  </a:lnTo>
                  <a:lnTo>
                    <a:pt x="397" y="170"/>
                  </a:lnTo>
                  <a:lnTo>
                    <a:pt x="404" y="172"/>
                  </a:lnTo>
                  <a:lnTo>
                    <a:pt x="409" y="172"/>
                  </a:lnTo>
                  <a:lnTo>
                    <a:pt x="411" y="176"/>
                  </a:lnTo>
                  <a:lnTo>
                    <a:pt x="414" y="176"/>
                  </a:lnTo>
                  <a:lnTo>
                    <a:pt x="416" y="177"/>
                  </a:lnTo>
                  <a:lnTo>
                    <a:pt x="418" y="177"/>
                  </a:lnTo>
                  <a:lnTo>
                    <a:pt x="426" y="182"/>
                  </a:lnTo>
                  <a:lnTo>
                    <a:pt x="430" y="182"/>
                  </a:lnTo>
                  <a:lnTo>
                    <a:pt x="431" y="184"/>
                  </a:lnTo>
                  <a:lnTo>
                    <a:pt x="438" y="182"/>
                  </a:lnTo>
                  <a:lnTo>
                    <a:pt x="440" y="187"/>
                  </a:lnTo>
                  <a:lnTo>
                    <a:pt x="443" y="187"/>
                  </a:lnTo>
                  <a:lnTo>
                    <a:pt x="447" y="191"/>
                  </a:lnTo>
                  <a:lnTo>
                    <a:pt x="452" y="191"/>
                  </a:lnTo>
                  <a:lnTo>
                    <a:pt x="454" y="193"/>
                  </a:lnTo>
                  <a:lnTo>
                    <a:pt x="457" y="194"/>
                  </a:lnTo>
                  <a:lnTo>
                    <a:pt x="460" y="194"/>
                  </a:lnTo>
                  <a:lnTo>
                    <a:pt x="464" y="198"/>
                  </a:lnTo>
                  <a:lnTo>
                    <a:pt x="471" y="201"/>
                  </a:lnTo>
                  <a:lnTo>
                    <a:pt x="474" y="205"/>
                  </a:lnTo>
                  <a:lnTo>
                    <a:pt x="478" y="208"/>
                  </a:lnTo>
                  <a:lnTo>
                    <a:pt x="481" y="211"/>
                  </a:lnTo>
                  <a:lnTo>
                    <a:pt x="491" y="217"/>
                  </a:lnTo>
                  <a:lnTo>
                    <a:pt x="495" y="217"/>
                  </a:lnTo>
                  <a:lnTo>
                    <a:pt x="501" y="217"/>
                  </a:lnTo>
                  <a:lnTo>
                    <a:pt x="507" y="218"/>
                  </a:lnTo>
                  <a:lnTo>
                    <a:pt x="508" y="218"/>
                  </a:lnTo>
                  <a:lnTo>
                    <a:pt x="512" y="215"/>
                  </a:lnTo>
                  <a:lnTo>
                    <a:pt x="517" y="217"/>
                  </a:lnTo>
                  <a:lnTo>
                    <a:pt x="522" y="217"/>
                  </a:lnTo>
                  <a:lnTo>
                    <a:pt x="529" y="218"/>
                  </a:lnTo>
                  <a:lnTo>
                    <a:pt x="532" y="217"/>
                  </a:lnTo>
                  <a:lnTo>
                    <a:pt x="530" y="215"/>
                  </a:lnTo>
                  <a:lnTo>
                    <a:pt x="534" y="215"/>
                  </a:lnTo>
                  <a:lnTo>
                    <a:pt x="539" y="215"/>
                  </a:lnTo>
                  <a:lnTo>
                    <a:pt x="541" y="218"/>
                  </a:lnTo>
                  <a:lnTo>
                    <a:pt x="548" y="215"/>
                  </a:lnTo>
                  <a:lnTo>
                    <a:pt x="554" y="217"/>
                  </a:lnTo>
                  <a:lnTo>
                    <a:pt x="556" y="213"/>
                  </a:lnTo>
                  <a:lnTo>
                    <a:pt x="559" y="215"/>
                  </a:lnTo>
                  <a:lnTo>
                    <a:pt x="565" y="222"/>
                  </a:lnTo>
                  <a:lnTo>
                    <a:pt x="573" y="227"/>
                  </a:lnTo>
                  <a:lnTo>
                    <a:pt x="578" y="232"/>
                  </a:lnTo>
                  <a:lnTo>
                    <a:pt x="577" y="234"/>
                  </a:lnTo>
                  <a:lnTo>
                    <a:pt x="577" y="232"/>
                  </a:lnTo>
                  <a:lnTo>
                    <a:pt x="573" y="234"/>
                  </a:lnTo>
                  <a:lnTo>
                    <a:pt x="571" y="232"/>
                  </a:lnTo>
                  <a:lnTo>
                    <a:pt x="571" y="234"/>
                  </a:lnTo>
                  <a:lnTo>
                    <a:pt x="570" y="232"/>
                  </a:lnTo>
                  <a:lnTo>
                    <a:pt x="570" y="235"/>
                  </a:lnTo>
                  <a:lnTo>
                    <a:pt x="568" y="237"/>
                  </a:lnTo>
                  <a:lnTo>
                    <a:pt x="568" y="239"/>
                  </a:lnTo>
                  <a:lnTo>
                    <a:pt x="565" y="240"/>
                  </a:lnTo>
                  <a:lnTo>
                    <a:pt x="565" y="244"/>
                  </a:lnTo>
                  <a:lnTo>
                    <a:pt x="566" y="246"/>
                  </a:lnTo>
                  <a:lnTo>
                    <a:pt x="571" y="252"/>
                  </a:lnTo>
                  <a:lnTo>
                    <a:pt x="571" y="258"/>
                  </a:lnTo>
                  <a:lnTo>
                    <a:pt x="575" y="264"/>
                  </a:lnTo>
                  <a:lnTo>
                    <a:pt x="582" y="271"/>
                  </a:lnTo>
                  <a:lnTo>
                    <a:pt x="585" y="273"/>
                  </a:lnTo>
                  <a:lnTo>
                    <a:pt x="588" y="278"/>
                  </a:lnTo>
                  <a:lnTo>
                    <a:pt x="592" y="283"/>
                  </a:lnTo>
                  <a:lnTo>
                    <a:pt x="592" y="287"/>
                  </a:lnTo>
                  <a:lnTo>
                    <a:pt x="595" y="290"/>
                  </a:lnTo>
                  <a:lnTo>
                    <a:pt x="592" y="292"/>
                  </a:lnTo>
                  <a:lnTo>
                    <a:pt x="588" y="297"/>
                  </a:lnTo>
                  <a:lnTo>
                    <a:pt x="587" y="302"/>
                  </a:lnTo>
                  <a:lnTo>
                    <a:pt x="588" y="309"/>
                  </a:lnTo>
                  <a:lnTo>
                    <a:pt x="587" y="314"/>
                  </a:lnTo>
                  <a:lnTo>
                    <a:pt x="580" y="321"/>
                  </a:lnTo>
                  <a:lnTo>
                    <a:pt x="577" y="324"/>
                  </a:lnTo>
                  <a:lnTo>
                    <a:pt x="571" y="326"/>
                  </a:lnTo>
                  <a:lnTo>
                    <a:pt x="571" y="328"/>
                  </a:lnTo>
                  <a:lnTo>
                    <a:pt x="570" y="329"/>
                  </a:lnTo>
                  <a:lnTo>
                    <a:pt x="571" y="331"/>
                  </a:lnTo>
                  <a:lnTo>
                    <a:pt x="573" y="331"/>
                  </a:lnTo>
                  <a:lnTo>
                    <a:pt x="571" y="331"/>
                  </a:lnTo>
                  <a:lnTo>
                    <a:pt x="575" y="338"/>
                  </a:lnTo>
                  <a:lnTo>
                    <a:pt x="573" y="343"/>
                  </a:lnTo>
                  <a:lnTo>
                    <a:pt x="575" y="351"/>
                  </a:lnTo>
                  <a:lnTo>
                    <a:pt x="577" y="351"/>
                  </a:lnTo>
                  <a:lnTo>
                    <a:pt x="578" y="362"/>
                  </a:lnTo>
                  <a:lnTo>
                    <a:pt x="578" y="363"/>
                  </a:lnTo>
                  <a:lnTo>
                    <a:pt x="582" y="363"/>
                  </a:lnTo>
                  <a:lnTo>
                    <a:pt x="578" y="363"/>
                  </a:lnTo>
                  <a:lnTo>
                    <a:pt x="578" y="369"/>
                  </a:lnTo>
                  <a:lnTo>
                    <a:pt x="578" y="372"/>
                  </a:lnTo>
                  <a:lnTo>
                    <a:pt x="577" y="370"/>
                  </a:lnTo>
                  <a:lnTo>
                    <a:pt x="577" y="374"/>
                  </a:lnTo>
                  <a:lnTo>
                    <a:pt x="575" y="374"/>
                  </a:lnTo>
                  <a:lnTo>
                    <a:pt x="575" y="377"/>
                  </a:lnTo>
                  <a:lnTo>
                    <a:pt x="577" y="380"/>
                  </a:lnTo>
                  <a:lnTo>
                    <a:pt x="577" y="387"/>
                  </a:lnTo>
                  <a:lnTo>
                    <a:pt x="580" y="387"/>
                  </a:lnTo>
                  <a:lnTo>
                    <a:pt x="580" y="392"/>
                  </a:lnTo>
                  <a:lnTo>
                    <a:pt x="578" y="396"/>
                  </a:lnTo>
                  <a:lnTo>
                    <a:pt x="580" y="398"/>
                  </a:lnTo>
                  <a:lnTo>
                    <a:pt x="580" y="403"/>
                  </a:lnTo>
                  <a:lnTo>
                    <a:pt x="583" y="411"/>
                  </a:lnTo>
                  <a:lnTo>
                    <a:pt x="585" y="415"/>
                  </a:lnTo>
                  <a:lnTo>
                    <a:pt x="587" y="413"/>
                  </a:lnTo>
                  <a:lnTo>
                    <a:pt x="588" y="418"/>
                  </a:lnTo>
                  <a:lnTo>
                    <a:pt x="592" y="421"/>
                  </a:lnTo>
                  <a:lnTo>
                    <a:pt x="594" y="420"/>
                  </a:lnTo>
                  <a:lnTo>
                    <a:pt x="595" y="427"/>
                  </a:lnTo>
                  <a:lnTo>
                    <a:pt x="597" y="428"/>
                  </a:lnTo>
                  <a:lnTo>
                    <a:pt x="600" y="428"/>
                  </a:lnTo>
                  <a:lnTo>
                    <a:pt x="597" y="430"/>
                  </a:lnTo>
                  <a:lnTo>
                    <a:pt x="599" y="430"/>
                  </a:lnTo>
                  <a:lnTo>
                    <a:pt x="600" y="432"/>
                  </a:lnTo>
                  <a:lnTo>
                    <a:pt x="599" y="432"/>
                  </a:lnTo>
                  <a:lnTo>
                    <a:pt x="602" y="433"/>
                  </a:lnTo>
                  <a:lnTo>
                    <a:pt x="602" y="437"/>
                  </a:lnTo>
                  <a:lnTo>
                    <a:pt x="600" y="439"/>
                  </a:lnTo>
                  <a:lnTo>
                    <a:pt x="602" y="439"/>
                  </a:lnTo>
                  <a:lnTo>
                    <a:pt x="606" y="442"/>
                  </a:lnTo>
                  <a:lnTo>
                    <a:pt x="604" y="444"/>
                  </a:lnTo>
                  <a:lnTo>
                    <a:pt x="606" y="445"/>
                  </a:lnTo>
                  <a:lnTo>
                    <a:pt x="607" y="445"/>
                  </a:lnTo>
                  <a:lnTo>
                    <a:pt x="606" y="449"/>
                  </a:lnTo>
                  <a:lnTo>
                    <a:pt x="609" y="454"/>
                  </a:lnTo>
                  <a:lnTo>
                    <a:pt x="611" y="454"/>
                  </a:lnTo>
                  <a:lnTo>
                    <a:pt x="611" y="461"/>
                  </a:lnTo>
                  <a:lnTo>
                    <a:pt x="616" y="466"/>
                  </a:lnTo>
                  <a:lnTo>
                    <a:pt x="614" y="469"/>
                  </a:lnTo>
                  <a:lnTo>
                    <a:pt x="617" y="471"/>
                  </a:lnTo>
                  <a:lnTo>
                    <a:pt x="619" y="471"/>
                  </a:lnTo>
                  <a:lnTo>
                    <a:pt x="623" y="468"/>
                  </a:lnTo>
                  <a:lnTo>
                    <a:pt x="624" y="462"/>
                  </a:lnTo>
                  <a:lnTo>
                    <a:pt x="623" y="459"/>
                  </a:lnTo>
                  <a:lnTo>
                    <a:pt x="623" y="456"/>
                  </a:lnTo>
                  <a:lnTo>
                    <a:pt x="621" y="454"/>
                  </a:lnTo>
                  <a:lnTo>
                    <a:pt x="621" y="447"/>
                  </a:lnTo>
                  <a:lnTo>
                    <a:pt x="619" y="445"/>
                  </a:lnTo>
                  <a:lnTo>
                    <a:pt x="619" y="440"/>
                  </a:lnTo>
                  <a:lnTo>
                    <a:pt x="617" y="439"/>
                  </a:lnTo>
                  <a:lnTo>
                    <a:pt x="617" y="433"/>
                  </a:lnTo>
                  <a:lnTo>
                    <a:pt x="624" y="427"/>
                  </a:lnTo>
                  <a:lnTo>
                    <a:pt x="628" y="427"/>
                  </a:lnTo>
                  <a:lnTo>
                    <a:pt x="629" y="427"/>
                  </a:lnTo>
                  <a:lnTo>
                    <a:pt x="623" y="425"/>
                  </a:lnTo>
                  <a:lnTo>
                    <a:pt x="624" y="423"/>
                  </a:lnTo>
                  <a:lnTo>
                    <a:pt x="628" y="425"/>
                  </a:lnTo>
                  <a:lnTo>
                    <a:pt x="626" y="421"/>
                  </a:lnTo>
                  <a:lnTo>
                    <a:pt x="629" y="423"/>
                  </a:lnTo>
                  <a:lnTo>
                    <a:pt x="631" y="425"/>
                  </a:lnTo>
                  <a:lnTo>
                    <a:pt x="633" y="427"/>
                  </a:lnTo>
                  <a:close/>
                  <a:moveTo>
                    <a:pt x="105" y="167"/>
                  </a:moveTo>
                  <a:lnTo>
                    <a:pt x="109" y="169"/>
                  </a:lnTo>
                  <a:lnTo>
                    <a:pt x="110" y="167"/>
                  </a:lnTo>
                  <a:lnTo>
                    <a:pt x="110" y="170"/>
                  </a:lnTo>
                  <a:lnTo>
                    <a:pt x="107" y="169"/>
                  </a:lnTo>
                  <a:lnTo>
                    <a:pt x="105" y="167"/>
                  </a:lnTo>
                  <a:close/>
                  <a:moveTo>
                    <a:pt x="100" y="165"/>
                  </a:moveTo>
                  <a:lnTo>
                    <a:pt x="102" y="165"/>
                  </a:lnTo>
                  <a:lnTo>
                    <a:pt x="102" y="169"/>
                  </a:lnTo>
                  <a:lnTo>
                    <a:pt x="100" y="169"/>
                  </a:lnTo>
                  <a:lnTo>
                    <a:pt x="100" y="165"/>
                  </a:lnTo>
                  <a:close/>
                  <a:moveTo>
                    <a:pt x="163" y="165"/>
                  </a:moveTo>
                  <a:lnTo>
                    <a:pt x="165" y="165"/>
                  </a:lnTo>
                  <a:lnTo>
                    <a:pt x="165" y="167"/>
                  </a:lnTo>
                  <a:lnTo>
                    <a:pt x="163" y="167"/>
                  </a:lnTo>
                  <a:lnTo>
                    <a:pt x="163" y="165"/>
                  </a:lnTo>
                  <a:close/>
                  <a:moveTo>
                    <a:pt x="143" y="165"/>
                  </a:moveTo>
                  <a:lnTo>
                    <a:pt x="146" y="165"/>
                  </a:lnTo>
                  <a:lnTo>
                    <a:pt x="146" y="167"/>
                  </a:lnTo>
                  <a:lnTo>
                    <a:pt x="143" y="169"/>
                  </a:lnTo>
                  <a:lnTo>
                    <a:pt x="141" y="167"/>
                  </a:lnTo>
                  <a:lnTo>
                    <a:pt x="143" y="165"/>
                  </a:lnTo>
                  <a:close/>
                  <a:moveTo>
                    <a:pt x="187" y="164"/>
                  </a:moveTo>
                  <a:lnTo>
                    <a:pt x="191" y="165"/>
                  </a:lnTo>
                  <a:lnTo>
                    <a:pt x="186" y="165"/>
                  </a:lnTo>
                  <a:lnTo>
                    <a:pt x="186" y="164"/>
                  </a:lnTo>
                  <a:lnTo>
                    <a:pt x="187" y="164"/>
                  </a:lnTo>
                  <a:close/>
                  <a:moveTo>
                    <a:pt x="110" y="162"/>
                  </a:moveTo>
                  <a:lnTo>
                    <a:pt x="110" y="164"/>
                  </a:lnTo>
                  <a:lnTo>
                    <a:pt x="112" y="165"/>
                  </a:lnTo>
                  <a:lnTo>
                    <a:pt x="110" y="167"/>
                  </a:lnTo>
                  <a:lnTo>
                    <a:pt x="107" y="165"/>
                  </a:lnTo>
                  <a:lnTo>
                    <a:pt x="107" y="162"/>
                  </a:lnTo>
                  <a:lnTo>
                    <a:pt x="110" y="162"/>
                  </a:lnTo>
                  <a:close/>
                  <a:moveTo>
                    <a:pt x="126" y="152"/>
                  </a:moveTo>
                  <a:lnTo>
                    <a:pt x="124" y="153"/>
                  </a:lnTo>
                  <a:lnTo>
                    <a:pt x="122" y="153"/>
                  </a:lnTo>
                  <a:lnTo>
                    <a:pt x="126" y="152"/>
                  </a:lnTo>
                  <a:close/>
                  <a:moveTo>
                    <a:pt x="112" y="148"/>
                  </a:moveTo>
                  <a:lnTo>
                    <a:pt x="114" y="150"/>
                  </a:lnTo>
                  <a:lnTo>
                    <a:pt x="109" y="150"/>
                  </a:lnTo>
                  <a:lnTo>
                    <a:pt x="112" y="148"/>
                  </a:lnTo>
                  <a:close/>
                  <a:moveTo>
                    <a:pt x="116" y="147"/>
                  </a:moveTo>
                  <a:lnTo>
                    <a:pt x="119" y="152"/>
                  </a:lnTo>
                  <a:lnTo>
                    <a:pt x="114" y="152"/>
                  </a:lnTo>
                  <a:lnTo>
                    <a:pt x="114" y="150"/>
                  </a:lnTo>
                  <a:lnTo>
                    <a:pt x="114" y="148"/>
                  </a:lnTo>
                  <a:lnTo>
                    <a:pt x="116" y="148"/>
                  </a:lnTo>
                  <a:lnTo>
                    <a:pt x="114" y="147"/>
                  </a:lnTo>
                  <a:lnTo>
                    <a:pt x="116" y="147"/>
                  </a:lnTo>
                  <a:close/>
                  <a:moveTo>
                    <a:pt x="163" y="145"/>
                  </a:moveTo>
                  <a:lnTo>
                    <a:pt x="167" y="145"/>
                  </a:lnTo>
                  <a:lnTo>
                    <a:pt x="167" y="147"/>
                  </a:lnTo>
                  <a:lnTo>
                    <a:pt x="163" y="147"/>
                  </a:lnTo>
                  <a:lnTo>
                    <a:pt x="163" y="145"/>
                  </a:lnTo>
                  <a:close/>
                  <a:moveTo>
                    <a:pt x="92" y="136"/>
                  </a:moveTo>
                  <a:lnTo>
                    <a:pt x="92" y="138"/>
                  </a:lnTo>
                  <a:lnTo>
                    <a:pt x="85" y="136"/>
                  </a:lnTo>
                  <a:lnTo>
                    <a:pt x="92" y="136"/>
                  </a:lnTo>
                  <a:close/>
                  <a:moveTo>
                    <a:pt x="143" y="133"/>
                  </a:moveTo>
                  <a:lnTo>
                    <a:pt x="146" y="133"/>
                  </a:lnTo>
                  <a:lnTo>
                    <a:pt x="146" y="135"/>
                  </a:lnTo>
                  <a:lnTo>
                    <a:pt x="143" y="135"/>
                  </a:lnTo>
                  <a:lnTo>
                    <a:pt x="143" y="133"/>
                  </a:lnTo>
                  <a:close/>
                  <a:moveTo>
                    <a:pt x="179" y="129"/>
                  </a:moveTo>
                  <a:lnTo>
                    <a:pt x="189" y="129"/>
                  </a:lnTo>
                  <a:lnTo>
                    <a:pt x="196" y="133"/>
                  </a:lnTo>
                  <a:lnTo>
                    <a:pt x="198" y="133"/>
                  </a:lnTo>
                  <a:lnTo>
                    <a:pt x="199" y="136"/>
                  </a:lnTo>
                  <a:lnTo>
                    <a:pt x="201" y="135"/>
                  </a:lnTo>
                  <a:lnTo>
                    <a:pt x="201" y="133"/>
                  </a:lnTo>
                  <a:lnTo>
                    <a:pt x="204" y="133"/>
                  </a:lnTo>
                  <a:lnTo>
                    <a:pt x="210" y="131"/>
                  </a:lnTo>
                  <a:lnTo>
                    <a:pt x="210" y="135"/>
                  </a:lnTo>
                  <a:lnTo>
                    <a:pt x="208" y="136"/>
                  </a:lnTo>
                  <a:lnTo>
                    <a:pt x="216" y="138"/>
                  </a:lnTo>
                  <a:lnTo>
                    <a:pt x="220" y="136"/>
                  </a:lnTo>
                  <a:lnTo>
                    <a:pt x="225" y="140"/>
                  </a:lnTo>
                  <a:lnTo>
                    <a:pt x="227" y="145"/>
                  </a:lnTo>
                  <a:lnTo>
                    <a:pt x="232" y="147"/>
                  </a:lnTo>
                  <a:lnTo>
                    <a:pt x="235" y="145"/>
                  </a:lnTo>
                  <a:lnTo>
                    <a:pt x="239" y="148"/>
                  </a:lnTo>
                  <a:lnTo>
                    <a:pt x="242" y="152"/>
                  </a:lnTo>
                  <a:lnTo>
                    <a:pt x="239" y="157"/>
                  </a:lnTo>
                  <a:lnTo>
                    <a:pt x="244" y="164"/>
                  </a:lnTo>
                  <a:lnTo>
                    <a:pt x="240" y="164"/>
                  </a:lnTo>
                  <a:lnTo>
                    <a:pt x="237" y="170"/>
                  </a:lnTo>
                  <a:lnTo>
                    <a:pt x="233" y="169"/>
                  </a:lnTo>
                  <a:lnTo>
                    <a:pt x="233" y="174"/>
                  </a:lnTo>
                  <a:lnTo>
                    <a:pt x="227" y="172"/>
                  </a:lnTo>
                  <a:lnTo>
                    <a:pt x="227" y="169"/>
                  </a:lnTo>
                  <a:lnTo>
                    <a:pt x="223" y="169"/>
                  </a:lnTo>
                  <a:lnTo>
                    <a:pt x="216" y="167"/>
                  </a:lnTo>
                  <a:lnTo>
                    <a:pt x="216" y="165"/>
                  </a:lnTo>
                  <a:lnTo>
                    <a:pt x="208" y="170"/>
                  </a:lnTo>
                  <a:lnTo>
                    <a:pt x="208" y="169"/>
                  </a:lnTo>
                  <a:lnTo>
                    <a:pt x="206" y="172"/>
                  </a:lnTo>
                  <a:lnTo>
                    <a:pt x="204" y="169"/>
                  </a:lnTo>
                  <a:lnTo>
                    <a:pt x="203" y="169"/>
                  </a:lnTo>
                  <a:lnTo>
                    <a:pt x="203" y="172"/>
                  </a:lnTo>
                  <a:lnTo>
                    <a:pt x="196" y="170"/>
                  </a:lnTo>
                  <a:lnTo>
                    <a:pt x="194" y="165"/>
                  </a:lnTo>
                  <a:lnTo>
                    <a:pt x="191" y="164"/>
                  </a:lnTo>
                  <a:lnTo>
                    <a:pt x="191" y="160"/>
                  </a:lnTo>
                  <a:lnTo>
                    <a:pt x="187" y="157"/>
                  </a:lnTo>
                  <a:lnTo>
                    <a:pt x="179" y="157"/>
                  </a:lnTo>
                  <a:lnTo>
                    <a:pt x="179" y="148"/>
                  </a:lnTo>
                  <a:lnTo>
                    <a:pt x="170" y="145"/>
                  </a:lnTo>
                  <a:lnTo>
                    <a:pt x="169" y="140"/>
                  </a:lnTo>
                  <a:lnTo>
                    <a:pt x="165" y="140"/>
                  </a:lnTo>
                  <a:lnTo>
                    <a:pt x="167" y="138"/>
                  </a:lnTo>
                  <a:lnTo>
                    <a:pt x="163" y="138"/>
                  </a:lnTo>
                  <a:lnTo>
                    <a:pt x="163" y="140"/>
                  </a:lnTo>
                  <a:lnTo>
                    <a:pt x="158" y="138"/>
                  </a:lnTo>
                  <a:lnTo>
                    <a:pt x="158" y="141"/>
                  </a:lnTo>
                  <a:lnTo>
                    <a:pt x="162" y="141"/>
                  </a:lnTo>
                  <a:lnTo>
                    <a:pt x="163" y="143"/>
                  </a:lnTo>
                  <a:lnTo>
                    <a:pt x="158" y="143"/>
                  </a:lnTo>
                  <a:lnTo>
                    <a:pt x="160" y="147"/>
                  </a:lnTo>
                  <a:lnTo>
                    <a:pt x="158" y="145"/>
                  </a:lnTo>
                  <a:lnTo>
                    <a:pt x="158" y="147"/>
                  </a:lnTo>
                  <a:lnTo>
                    <a:pt x="162" y="147"/>
                  </a:lnTo>
                  <a:lnTo>
                    <a:pt x="165" y="150"/>
                  </a:lnTo>
                  <a:lnTo>
                    <a:pt x="170" y="157"/>
                  </a:lnTo>
                  <a:lnTo>
                    <a:pt x="172" y="162"/>
                  </a:lnTo>
                  <a:lnTo>
                    <a:pt x="172" y="164"/>
                  </a:lnTo>
                  <a:lnTo>
                    <a:pt x="177" y="164"/>
                  </a:lnTo>
                  <a:lnTo>
                    <a:pt x="182" y="165"/>
                  </a:lnTo>
                  <a:lnTo>
                    <a:pt x="180" y="164"/>
                  </a:lnTo>
                  <a:lnTo>
                    <a:pt x="184" y="164"/>
                  </a:lnTo>
                  <a:lnTo>
                    <a:pt x="186" y="165"/>
                  </a:lnTo>
                  <a:lnTo>
                    <a:pt x="191" y="167"/>
                  </a:lnTo>
                  <a:lnTo>
                    <a:pt x="194" y="165"/>
                  </a:lnTo>
                  <a:lnTo>
                    <a:pt x="196" y="170"/>
                  </a:lnTo>
                  <a:lnTo>
                    <a:pt x="198" y="170"/>
                  </a:lnTo>
                  <a:lnTo>
                    <a:pt x="196" y="172"/>
                  </a:lnTo>
                  <a:lnTo>
                    <a:pt x="194" y="172"/>
                  </a:lnTo>
                  <a:lnTo>
                    <a:pt x="196" y="174"/>
                  </a:lnTo>
                  <a:lnTo>
                    <a:pt x="189" y="177"/>
                  </a:lnTo>
                  <a:lnTo>
                    <a:pt x="189" y="179"/>
                  </a:lnTo>
                  <a:lnTo>
                    <a:pt x="186" y="179"/>
                  </a:lnTo>
                  <a:lnTo>
                    <a:pt x="180" y="181"/>
                  </a:lnTo>
                  <a:lnTo>
                    <a:pt x="179" y="182"/>
                  </a:lnTo>
                  <a:lnTo>
                    <a:pt x="170" y="181"/>
                  </a:lnTo>
                  <a:lnTo>
                    <a:pt x="169" y="177"/>
                  </a:lnTo>
                  <a:lnTo>
                    <a:pt x="167" y="170"/>
                  </a:lnTo>
                  <a:lnTo>
                    <a:pt x="163" y="169"/>
                  </a:lnTo>
                  <a:lnTo>
                    <a:pt x="169" y="167"/>
                  </a:lnTo>
                  <a:lnTo>
                    <a:pt x="165" y="164"/>
                  </a:lnTo>
                  <a:lnTo>
                    <a:pt x="160" y="165"/>
                  </a:lnTo>
                  <a:lnTo>
                    <a:pt x="153" y="167"/>
                  </a:lnTo>
                  <a:lnTo>
                    <a:pt x="155" y="169"/>
                  </a:lnTo>
                  <a:lnTo>
                    <a:pt x="151" y="172"/>
                  </a:lnTo>
                  <a:lnTo>
                    <a:pt x="153" y="172"/>
                  </a:lnTo>
                  <a:lnTo>
                    <a:pt x="155" y="174"/>
                  </a:lnTo>
                  <a:lnTo>
                    <a:pt x="150" y="181"/>
                  </a:lnTo>
                  <a:lnTo>
                    <a:pt x="148" y="179"/>
                  </a:lnTo>
                  <a:lnTo>
                    <a:pt x="150" y="176"/>
                  </a:lnTo>
                  <a:lnTo>
                    <a:pt x="150" y="174"/>
                  </a:lnTo>
                  <a:lnTo>
                    <a:pt x="148" y="174"/>
                  </a:lnTo>
                  <a:lnTo>
                    <a:pt x="150" y="165"/>
                  </a:lnTo>
                  <a:lnTo>
                    <a:pt x="146" y="165"/>
                  </a:lnTo>
                  <a:lnTo>
                    <a:pt x="146" y="164"/>
                  </a:lnTo>
                  <a:lnTo>
                    <a:pt x="146" y="158"/>
                  </a:lnTo>
                  <a:lnTo>
                    <a:pt x="140" y="160"/>
                  </a:lnTo>
                  <a:lnTo>
                    <a:pt x="138" y="164"/>
                  </a:lnTo>
                  <a:lnTo>
                    <a:pt x="136" y="164"/>
                  </a:lnTo>
                  <a:lnTo>
                    <a:pt x="136" y="162"/>
                  </a:lnTo>
                  <a:lnTo>
                    <a:pt x="134" y="160"/>
                  </a:lnTo>
                  <a:lnTo>
                    <a:pt x="131" y="160"/>
                  </a:lnTo>
                  <a:lnTo>
                    <a:pt x="129" y="160"/>
                  </a:lnTo>
                  <a:lnTo>
                    <a:pt x="129" y="162"/>
                  </a:lnTo>
                  <a:lnTo>
                    <a:pt x="126" y="158"/>
                  </a:lnTo>
                  <a:lnTo>
                    <a:pt x="122" y="162"/>
                  </a:lnTo>
                  <a:lnTo>
                    <a:pt x="122" y="158"/>
                  </a:lnTo>
                  <a:lnTo>
                    <a:pt x="119" y="157"/>
                  </a:lnTo>
                  <a:lnTo>
                    <a:pt x="110" y="153"/>
                  </a:lnTo>
                  <a:lnTo>
                    <a:pt x="110" y="152"/>
                  </a:lnTo>
                  <a:lnTo>
                    <a:pt x="116" y="153"/>
                  </a:lnTo>
                  <a:lnTo>
                    <a:pt x="116" y="155"/>
                  </a:lnTo>
                  <a:lnTo>
                    <a:pt x="122" y="155"/>
                  </a:lnTo>
                  <a:lnTo>
                    <a:pt x="126" y="153"/>
                  </a:lnTo>
                  <a:lnTo>
                    <a:pt x="131" y="157"/>
                  </a:lnTo>
                  <a:lnTo>
                    <a:pt x="133" y="153"/>
                  </a:lnTo>
                  <a:lnTo>
                    <a:pt x="138" y="152"/>
                  </a:lnTo>
                  <a:lnTo>
                    <a:pt x="134" y="150"/>
                  </a:lnTo>
                  <a:lnTo>
                    <a:pt x="129" y="150"/>
                  </a:lnTo>
                  <a:lnTo>
                    <a:pt x="134" y="148"/>
                  </a:lnTo>
                  <a:lnTo>
                    <a:pt x="134" y="143"/>
                  </a:lnTo>
                  <a:lnTo>
                    <a:pt x="134" y="147"/>
                  </a:lnTo>
                  <a:lnTo>
                    <a:pt x="133" y="143"/>
                  </a:lnTo>
                  <a:lnTo>
                    <a:pt x="134" y="148"/>
                  </a:lnTo>
                  <a:lnTo>
                    <a:pt x="129" y="148"/>
                  </a:lnTo>
                  <a:lnTo>
                    <a:pt x="131" y="150"/>
                  </a:lnTo>
                  <a:lnTo>
                    <a:pt x="128" y="145"/>
                  </a:lnTo>
                  <a:lnTo>
                    <a:pt x="128" y="148"/>
                  </a:lnTo>
                  <a:lnTo>
                    <a:pt x="124" y="145"/>
                  </a:lnTo>
                  <a:lnTo>
                    <a:pt x="126" y="150"/>
                  </a:lnTo>
                  <a:lnTo>
                    <a:pt x="128" y="150"/>
                  </a:lnTo>
                  <a:lnTo>
                    <a:pt x="128" y="152"/>
                  </a:lnTo>
                  <a:lnTo>
                    <a:pt x="121" y="150"/>
                  </a:lnTo>
                  <a:lnTo>
                    <a:pt x="121" y="147"/>
                  </a:lnTo>
                  <a:lnTo>
                    <a:pt x="117" y="147"/>
                  </a:lnTo>
                  <a:lnTo>
                    <a:pt x="117" y="145"/>
                  </a:lnTo>
                  <a:lnTo>
                    <a:pt x="119" y="145"/>
                  </a:lnTo>
                  <a:lnTo>
                    <a:pt x="117" y="141"/>
                  </a:lnTo>
                  <a:lnTo>
                    <a:pt x="119" y="141"/>
                  </a:lnTo>
                  <a:lnTo>
                    <a:pt x="119" y="140"/>
                  </a:lnTo>
                  <a:lnTo>
                    <a:pt x="126" y="141"/>
                  </a:lnTo>
                  <a:lnTo>
                    <a:pt x="126" y="138"/>
                  </a:lnTo>
                  <a:lnTo>
                    <a:pt x="128" y="145"/>
                  </a:lnTo>
                  <a:lnTo>
                    <a:pt x="129" y="143"/>
                  </a:lnTo>
                  <a:lnTo>
                    <a:pt x="128" y="138"/>
                  </a:lnTo>
                  <a:lnTo>
                    <a:pt x="133" y="138"/>
                  </a:lnTo>
                  <a:lnTo>
                    <a:pt x="131" y="141"/>
                  </a:lnTo>
                  <a:lnTo>
                    <a:pt x="133" y="141"/>
                  </a:lnTo>
                  <a:lnTo>
                    <a:pt x="134" y="141"/>
                  </a:lnTo>
                  <a:lnTo>
                    <a:pt x="136" y="141"/>
                  </a:lnTo>
                  <a:lnTo>
                    <a:pt x="134" y="140"/>
                  </a:lnTo>
                  <a:lnTo>
                    <a:pt x="136" y="138"/>
                  </a:lnTo>
                  <a:lnTo>
                    <a:pt x="138" y="140"/>
                  </a:lnTo>
                  <a:lnTo>
                    <a:pt x="138" y="138"/>
                  </a:lnTo>
                  <a:lnTo>
                    <a:pt x="141" y="140"/>
                  </a:lnTo>
                  <a:lnTo>
                    <a:pt x="141" y="138"/>
                  </a:lnTo>
                  <a:lnTo>
                    <a:pt x="146" y="136"/>
                  </a:lnTo>
                  <a:lnTo>
                    <a:pt x="145" y="135"/>
                  </a:lnTo>
                  <a:lnTo>
                    <a:pt x="148" y="136"/>
                  </a:lnTo>
                  <a:lnTo>
                    <a:pt x="150" y="138"/>
                  </a:lnTo>
                  <a:lnTo>
                    <a:pt x="151" y="138"/>
                  </a:lnTo>
                  <a:lnTo>
                    <a:pt x="150" y="136"/>
                  </a:lnTo>
                  <a:lnTo>
                    <a:pt x="153" y="138"/>
                  </a:lnTo>
                  <a:lnTo>
                    <a:pt x="151" y="133"/>
                  </a:lnTo>
                  <a:lnTo>
                    <a:pt x="153" y="136"/>
                  </a:lnTo>
                  <a:lnTo>
                    <a:pt x="155" y="133"/>
                  </a:lnTo>
                  <a:lnTo>
                    <a:pt x="160" y="136"/>
                  </a:lnTo>
                  <a:lnTo>
                    <a:pt x="160" y="135"/>
                  </a:lnTo>
                  <a:lnTo>
                    <a:pt x="162" y="136"/>
                  </a:lnTo>
                  <a:lnTo>
                    <a:pt x="170" y="131"/>
                  </a:lnTo>
                  <a:lnTo>
                    <a:pt x="172" y="133"/>
                  </a:lnTo>
                  <a:lnTo>
                    <a:pt x="169" y="136"/>
                  </a:lnTo>
                  <a:lnTo>
                    <a:pt x="172" y="135"/>
                  </a:lnTo>
                  <a:lnTo>
                    <a:pt x="175" y="135"/>
                  </a:lnTo>
                  <a:lnTo>
                    <a:pt x="177" y="133"/>
                  </a:lnTo>
                  <a:lnTo>
                    <a:pt x="172" y="133"/>
                  </a:lnTo>
                  <a:lnTo>
                    <a:pt x="172" y="131"/>
                  </a:lnTo>
                  <a:lnTo>
                    <a:pt x="179" y="129"/>
                  </a:lnTo>
                  <a:close/>
                  <a:moveTo>
                    <a:pt x="100" y="126"/>
                  </a:moveTo>
                  <a:lnTo>
                    <a:pt x="100" y="128"/>
                  </a:lnTo>
                  <a:lnTo>
                    <a:pt x="99" y="128"/>
                  </a:lnTo>
                  <a:lnTo>
                    <a:pt x="97" y="128"/>
                  </a:lnTo>
                  <a:lnTo>
                    <a:pt x="97" y="129"/>
                  </a:lnTo>
                  <a:lnTo>
                    <a:pt x="100" y="131"/>
                  </a:lnTo>
                  <a:lnTo>
                    <a:pt x="97" y="133"/>
                  </a:lnTo>
                  <a:lnTo>
                    <a:pt x="102" y="135"/>
                  </a:lnTo>
                  <a:lnTo>
                    <a:pt x="102" y="133"/>
                  </a:lnTo>
                  <a:lnTo>
                    <a:pt x="104" y="136"/>
                  </a:lnTo>
                  <a:lnTo>
                    <a:pt x="100" y="140"/>
                  </a:lnTo>
                  <a:lnTo>
                    <a:pt x="95" y="136"/>
                  </a:lnTo>
                  <a:lnTo>
                    <a:pt x="95" y="133"/>
                  </a:lnTo>
                  <a:lnTo>
                    <a:pt x="97" y="133"/>
                  </a:lnTo>
                  <a:lnTo>
                    <a:pt x="93" y="128"/>
                  </a:lnTo>
                  <a:lnTo>
                    <a:pt x="100" y="126"/>
                  </a:lnTo>
                  <a:close/>
                  <a:moveTo>
                    <a:pt x="189" y="124"/>
                  </a:moveTo>
                  <a:lnTo>
                    <a:pt x="191" y="124"/>
                  </a:lnTo>
                  <a:lnTo>
                    <a:pt x="192" y="126"/>
                  </a:lnTo>
                  <a:lnTo>
                    <a:pt x="189" y="126"/>
                  </a:lnTo>
                  <a:lnTo>
                    <a:pt x="189" y="124"/>
                  </a:lnTo>
                  <a:close/>
                  <a:moveTo>
                    <a:pt x="114" y="116"/>
                  </a:moveTo>
                  <a:lnTo>
                    <a:pt x="117" y="116"/>
                  </a:lnTo>
                  <a:lnTo>
                    <a:pt x="117" y="117"/>
                  </a:lnTo>
                  <a:lnTo>
                    <a:pt x="114" y="117"/>
                  </a:lnTo>
                  <a:lnTo>
                    <a:pt x="114" y="116"/>
                  </a:lnTo>
                  <a:close/>
                  <a:moveTo>
                    <a:pt x="99" y="111"/>
                  </a:moveTo>
                  <a:lnTo>
                    <a:pt x="102" y="111"/>
                  </a:lnTo>
                  <a:lnTo>
                    <a:pt x="102" y="112"/>
                  </a:lnTo>
                  <a:lnTo>
                    <a:pt x="99" y="112"/>
                  </a:lnTo>
                  <a:lnTo>
                    <a:pt x="99" y="111"/>
                  </a:lnTo>
                  <a:close/>
                  <a:moveTo>
                    <a:pt x="88" y="107"/>
                  </a:moveTo>
                  <a:lnTo>
                    <a:pt x="92" y="109"/>
                  </a:lnTo>
                  <a:lnTo>
                    <a:pt x="90" y="111"/>
                  </a:lnTo>
                  <a:lnTo>
                    <a:pt x="88" y="109"/>
                  </a:lnTo>
                  <a:lnTo>
                    <a:pt x="90" y="109"/>
                  </a:lnTo>
                  <a:lnTo>
                    <a:pt x="88" y="107"/>
                  </a:lnTo>
                  <a:lnTo>
                    <a:pt x="87" y="107"/>
                  </a:lnTo>
                  <a:lnTo>
                    <a:pt x="88" y="109"/>
                  </a:lnTo>
                  <a:lnTo>
                    <a:pt x="83" y="107"/>
                  </a:lnTo>
                  <a:lnTo>
                    <a:pt x="88" y="107"/>
                  </a:lnTo>
                  <a:close/>
                  <a:moveTo>
                    <a:pt x="68" y="90"/>
                  </a:moveTo>
                  <a:lnTo>
                    <a:pt x="73" y="90"/>
                  </a:lnTo>
                  <a:lnTo>
                    <a:pt x="75" y="95"/>
                  </a:lnTo>
                  <a:lnTo>
                    <a:pt x="70" y="95"/>
                  </a:lnTo>
                  <a:lnTo>
                    <a:pt x="66" y="90"/>
                  </a:lnTo>
                  <a:lnTo>
                    <a:pt x="68" y="90"/>
                  </a:lnTo>
                  <a:close/>
                  <a:moveTo>
                    <a:pt x="208" y="82"/>
                  </a:moveTo>
                  <a:lnTo>
                    <a:pt x="211" y="82"/>
                  </a:lnTo>
                  <a:lnTo>
                    <a:pt x="211" y="85"/>
                  </a:lnTo>
                  <a:lnTo>
                    <a:pt x="208" y="85"/>
                  </a:lnTo>
                  <a:lnTo>
                    <a:pt x="208" y="82"/>
                  </a:lnTo>
                  <a:close/>
                  <a:moveTo>
                    <a:pt x="227" y="58"/>
                  </a:moveTo>
                  <a:lnTo>
                    <a:pt x="227" y="59"/>
                  </a:lnTo>
                  <a:lnTo>
                    <a:pt x="227" y="58"/>
                  </a:lnTo>
                  <a:close/>
                  <a:moveTo>
                    <a:pt x="232" y="5"/>
                  </a:moveTo>
                  <a:lnTo>
                    <a:pt x="233" y="5"/>
                  </a:lnTo>
                  <a:lnTo>
                    <a:pt x="233" y="6"/>
                  </a:lnTo>
                  <a:lnTo>
                    <a:pt x="232" y="6"/>
                  </a:lnTo>
                  <a:lnTo>
                    <a:pt x="232" y="5"/>
                  </a:lnTo>
                  <a:close/>
                  <a:moveTo>
                    <a:pt x="233" y="3"/>
                  </a:moveTo>
                  <a:lnTo>
                    <a:pt x="233" y="0"/>
                  </a:lnTo>
                  <a:lnTo>
                    <a:pt x="235" y="0"/>
                  </a:lnTo>
                  <a:lnTo>
                    <a:pt x="237" y="1"/>
                  </a:lnTo>
                  <a:lnTo>
                    <a:pt x="233" y="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1" name="Freeform 64"/>
            <p:cNvSpPr>
              <a:spLocks noEditPoints="1"/>
            </p:cNvSpPr>
            <p:nvPr/>
          </p:nvSpPr>
          <p:spPr bwMode="gray">
            <a:xfrm>
              <a:off x="6220045" y="2857365"/>
              <a:ext cx="1034311" cy="1094510"/>
            </a:xfrm>
            <a:custGeom>
              <a:avLst/>
              <a:gdLst>
                <a:gd name="T0" fmla="*/ 352 w 567"/>
                <a:gd name="T1" fmla="*/ 557 h 600"/>
                <a:gd name="T2" fmla="*/ 352 w 567"/>
                <a:gd name="T3" fmla="*/ 528 h 600"/>
                <a:gd name="T4" fmla="*/ 490 w 567"/>
                <a:gd name="T5" fmla="*/ 414 h 600"/>
                <a:gd name="T6" fmla="*/ 481 w 567"/>
                <a:gd name="T7" fmla="*/ 400 h 600"/>
                <a:gd name="T8" fmla="*/ 229 w 567"/>
                <a:gd name="T9" fmla="*/ 393 h 600"/>
                <a:gd name="T10" fmla="*/ 527 w 567"/>
                <a:gd name="T11" fmla="*/ 405 h 600"/>
                <a:gd name="T12" fmla="*/ 509 w 567"/>
                <a:gd name="T13" fmla="*/ 386 h 600"/>
                <a:gd name="T14" fmla="*/ 440 w 567"/>
                <a:gd name="T15" fmla="*/ 378 h 600"/>
                <a:gd name="T16" fmla="*/ 490 w 567"/>
                <a:gd name="T17" fmla="*/ 374 h 600"/>
                <a:gd name="T18" fmla="*/ 399 w 567"/>
                <a:gd name="T19" fmla="*/ 344 h 600"/>
                <a:gd name="T20" fmla="*/ 483 w 567"/>
                <a:gd name="T21" fmla="*/ 357 h 600"/>
                <a:gd name="T22" fmla="*/ 452 w 567"/>
                <a:gd name="T23" fmla="*/ 308 h 600"/>
                <a:gd name="T24" fmla="*/ 483 w 567"/>
                <a:gd name="T25" fmla="*/ 316 h 600"/>
                <a:gd name="T26" fmla="*/ 456 w 567"/>
                <a:gd name="T27" fmla="*/ 342 h 600"/>
                <a:gd name="T28" fmla="*/ 445 w 567"/>
                <a:gd name="T29" fmla="*/ 334 h 600"/>
                <a:gd name="T30" fmla="*/ 405 w 567"/>
                <a:gd name="T31" fmla="*/ 342 h 600"/>
                <a:gd name="T32" fmla="*/ 459 w 567"/>
                <a:gd name="T33" fmla="*/ 304 h 600"/>
                <a:gd name="T34" fmla="*/ 285 w 567"/>
                <a:gd name="T35" fmla="*/ 228 h 600"/>
                <a:gd name="T36" fmla="*/ 283 w 567"/>
                <a:gd name="T37" fmla="*/ 211 h 600"/>
                <a:gd name="T38" fmla="*/ 312 w 567"/>
                <a:gd name="T39" fmla="*/ 209 h 600"/>
                <a:gd name="T40" fmla="*/ 299 w 567"/>
                <a:gd name="T41" fmla="*/ 205 h 600"/>
                <a:gd name="T42" fmla="*/ 316 w 567"/>
                <a:gd name="T43" fmla="*/ 216 h 600"/>
                <a:gd name="T44" fmla="*/ 333 w 567"/>
                <a:gd name="T45" fmla="*/ 199 h 600"/>
                <a:gd name="T46" fmla="*/ 341 w 567"/>
                <a:gd name="T47" fmla="*/ 195 h 600"/>
                <a:gd name="T48" fmla="*/ 150 w 567"/>
                <a:gd name="T49" fmla="*/ 45 h 600"/>
                <a:gd name="T50" fmla="*/ 328 w 567"/>
                <a:gd name="T51" fmla="*/ 40 h 600"/>
                <a:gd name="T52" fmla="*/ 246 w 567"/>
                <a:gd name="T53" fmla="*/ 64 h 600"/>
                <a:gd name="T54" fmla="*/ 225 w 567"/>
                <a:gd name="T55" fmla="*/ 103 h 600"/>
                <a:gd name="T56" fmla="*/ 159 w 567"/>
                <a:gd name="T57" fmla="*/ 108 h 600"/>
                <a:gd name="T58" fmla="*/ 73 w 567"/>
                <a:gd name="T59" fmla="*/ 171 h 600"/>
                <a:gd name="T60" fmla="*/ 96 w 567"/>
                <a:gd name="T61" fmla="*/ 270 h 600"/>
                <a:gd name="T62" fmla="*/ 157 w 567"/>
                <a:gd name="T63" fmla="*/ 330 h 600"/>
                <a:gd name="T64" fmla="*/ 212 w 567"/>
                <a:gd name="T65" fmla="*/ 308 h 600"/>
                <a:gd name="T66" fmla="*/ 278 w 567"/>
                <a:gd name="T67" fmla="*/ 281 h 600"/>
                <a:gd name="T68" fmla="*/ 367 w 567"/>
                <a:gd name="T69" fmla="*/ 255 h 600"/>
                <a:gd name="T70" fmla="*/ 415 w 567"/>
                <a:gd name="T71" fmla="*/ 238 h 600"/>
                <a:gd name="T72" fmla="*/ 478 w 567"/>
                <a:gd name="T73" fmla="*/ 253 h 600"/>
                <a:gd name="T74" fmla="*/ 437 w 567"/>
                <a:gd name="T75" fmla="*/ 263 h 600"/>
                <a:gd name="T76" fmla="*/ 391 w 567"/>
                <a:gd name="T77" fmla="*/ 299 h 600"/>
                <a:gd name="T78" fmla="*/ 309 w 567"/>
                <a:gd name="T79" fmla="*/ 357 h 600"/>
                <a:gd name="T80" fmla="*/ 253 w 567"/>
                <a:gd name="T81" fmla="*/ 398 h 600"/>
                <a:gd name="T82" fmla="*/ 227 w 567"/>
                <a:gd name="T83" fmla="*/ 385 h 600"/>
                <a:gd name="T84" fmla="*/ 249 w 567"/>
                <a:gd name="T85" fmla="*/ 409 h 600"/>
                <a:gd name="T86" fmla="*/ 306 w 567"/>
                <a:gd name="T87" fmla="*/ 479 h 600"/>
                <a:gd name="T88" fmla="*/ 355 w 567"/>
                <a:gd name="T89" fmla="*/ 538 h 600"/>
                <a:gd name="T90" fmla="*/ 329 w 567"/>
                <a:gd name="T91" fmla="*/ 533 h 600"/>
                <a:gd name="T92" fmla="*/ 278 w 567"/>
                <a:gd name="T93" fmla="*/ 477 h 600"/>
                <a:gd name="T94" fmla="*/ 179 w 567"/>
                <a:gd name="T95" fmla="*/ 431 h 600"/>
                <a:gd name="T96" fmla="*/ 109 w 567"/>
                <a:gd name="T97" fmla="*/ 402 h 600"/>
                <a:gd name="T98" fmla="*/ 49 w 567"/>
                <a:gd name="T99" fmla="*/ 388 h 600"/>
                <a:gd name="T100" fmla="*/ 7 w 567"/>
                <a:gd name="T101" fmla="*/ 337 h 600"/>
                <a:gd name="T102" fmla="*/ 14 w 567"/>
                <a:gd name="T103" fmla="*/ 284 h 600"/>
                <a:gd name="T104" fmla="*/ 49 w 567"/>
                <a:gd name="T105" fmla="*/ 257 h 600"/>
                <a:gd name="T106" fmla="*/ 24 w 567"/>
                <a:gd name="T107" fmla="*/ 171 h 600"/>
                <a:gd name="T108" fmla="*/ 55 w 567"/>
                <a:gd name="T109" fmla="*/ 137 h 600"/>
                <a:gd name="T110" fmla="*/ 94 w 567"/>
                <a:gd name="T111" fmla="*/ 67 h 600"/>
                <a:gd name="T112" fmla="*/ 131 w 567"/>
                <a:gd name="T113" fmla="*/ 72 h 600"/>
                <a:gd name="T114" fmla="*/ 157 w 567"/>
                <a:gd name="T115" fmla="*/ 43 h 600"/>
                <a:gd name="T116" fmla="*/ 172 w 567"/>
                <a:gd name="T117" fmla="*/ 7 h 600"/>
                <a:gd name="T118" fmla="*/ 236 w 567"/>
                <a:gd name="T119" fmla="*/ 16 h 600"/>
                <a:gd name="T120" fmla="*/ 300 w 567"/>
                <a:gd name="T121" fmla="*/ 3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7" h="600">
                  <a:moveTo>
                    <a:pt x="442" y="590"/>
                  </a:moveTo>
                  <a:lnTo>
                    <a:pt x="445" y="595"/>
                  </a:lnTo>
                  <a:lnTo>
                    <a:pt x="445" y="597"/>
                  </a:lnTo>
                  <a:lnTo>
                    <a:pt x="439" y="597"/>
                  </a:lnTo>
                  <a:lnTo>
                    <a:pt x="439" y="600"/>
                  </a:lnTo>
                  <a:lnTo>
                    <a:pt x="437" y="600"/>
                  </a:lnTo>
                  <a:lnTo>
                    <a:pt x="430" y="595"/>
                  </a:lnTo>
                  <a:lnTo>
                    <a:pt x="434" y="591"/>
                  </a:lnTo>
                  <a:lnTo>
                    <a:pt x="442" y="590"/>
                  </a:lnTo>
                  <a:close/>
                  <a:moveTo>
                    <a:pt x="435" y="583"/>
                  </a:moveTo>
                  <a:lnTo>
                    <a:pt x="432" y="586"/>
                  </a:lnTo>
                  <a:lnTo>
                    <a:pt x="432" y="585"/>
                  </a:lnTo>
                  <a:lnTo>
                    <a:pt x="435" y="583"/>
                  </a:lnTo>
                  <a:close/>
                  <a:moveTo>
                    <a:pt x="352" y="561"/>
                  </a:moveTo>
                  <a:lnTo>
                    <a:pt x="353" y="561"/>
                  </a:lnTo>
                  <a:lnTo>
                    <a:pt x="353" y="562"/>
                  </a:lnTo>
                  <a:lnTo>
                    <a:pt x="352" y="562"/>
                  </a:lnTo>
                  <a:lnTo>
                    <a:pt x="352" y="561"/>
                  </a:lnTo>
                  <a:close/>
                  <a:moveTo>
                    <a:pt x="350" y="557"/>
                  </a:moveTo>
                  <a:lnTo>
                    <a:pt x="352" y="557"/>
                  </a:lnTo>
                  <a:lnTo>
                    <a:pt x="352" y="559"/>
                  </a:lnTo>
                  <a:lnTo>
                    <a:pt x="350" y="559"/>
                  </a:lnTo>
                  <a:lnTo>
                    <a:pt x="350" y="557"/>
                  </a:lnTo>
                  <a:close/>
                  <a:moveTo>
                    <a:pt x="364" y="532"/>
                  </a:moveTo>
                  <a:lnTo>
                    <a:pt x="367" y="530"/>
                  </a:lnTo>
                  <a:lnTo>
                    <a:pt x="367" y="533"/>
                  </a:lnTo>
                  <a:lnTo>
                    <a:pt x="360" y="530"/>
                  </a:lnTo>
                  <a:lnTo>
                    <a:pt x="364" y="532"/>
                  </a:lnTo>
                  <a:lnTo>
                    <a:pt x="364" y="530"/>
                  </a:lnTo>
                  <a:lnTo>
                    <a:pt x="364" y="532"/>
                  </a:lnTo>
                  <a:close/>
                  <a:moveTo>
                    <a:pt x="348" y="527"/>
                  </a:moveTo>
                  <a:lnTo>
                    <a:pt x="352" y="527"/>
                  </a:lnTo>
                  <a:lnTo>
                    <a:pt x="352" y="528"/>
                  </a:lnTo>
                  <a:lnTo>
                    <a:pt x="348" y="528"/>
                  </a:lnTo>
                  <a:lnTo>
                    <a:pt x="348" y="527"/>
                  </a:lnTo>
                  <a:close/>
                  <a:moveTo>
                    <a:pt x="353" y="527"/>
                  </a:moveTo>
                  <a:lnTo>
                    <a:pt x="357" y="528"/>
                  </a:lnTo>
                  <a:lnTo>
                    <a:pt x="355" y="530"/>
                  </a:lnTo>
                  <a:lnTo>
                    <a:pt x="353" y="530"/>
                  </a:lnTo>
                  <a:lnTo>
                    <a:pt x="352" y="528"/>
                  </a:lnTo>
                  <a:lnTo>
                    <a:pt x="353" y="525"/>
                  </a:lnTo>
                  <a:lnTo>
                    <a:pt x="353" y="527"/>
                  </a:lnTo>
                  <a:close/>
                  <a:moveTo>
                    <a:pt x="345" y="523"/>
                  </a:moveTo>
                  <a:lnTo>
                    <a:pt x="348" y="525"/>
                  </a:lnTo>
                  <a:lnTo>
                    <a:pt x="345" y="527"/>
                  </a:lnTo>
                  <a:lnTo>
                    <a:pt x="343" y="523"/>
                  </a:lnTo>
                  <a:lnTo>
                    <a:pt x="345" y="523"/>
                  </a:lnTo>
                  <a:close/>
                  <a:moveTo>
                    <a:pt x="442" y="431"/>
                  </a:moveTo>
                  <a:lnTo>
                    <a:pt x="444" y="427"/>
                  </a:lnTo>
                  <a:lnTo>
                    <a:pt x="442" y="431"/>
                  </a:lnTo>
                  <a:close/>
                  <a:moveTo>
                    <a:pt x="495" y="417"/>
                  </a:moveTo>
                  <a:lnTo>
                    <a:pt x="497" y="417"/>
                  </a:lnTo>
                  <a:lnTo>
                    <a:pt x="497" y="421"/>
                  </a:lnTo>
                  <a:lnTo>
                    <a:pt x="495" y="421"/>
                  </a:lnTo>
                  <a:lnTo>
                    <a:pt x="495" y="417"/>
                  </a:lnTo>
                  <a:close/>
                  <a:moveTo>
                    <a:pt x="490" y="414"/>
                  </a:moveTo>
                  <a:lnTo>
                    <a:pt x="492" y="414"/>
                  </a:lnTo>
                  <a:lnTo>
                    <a:pt x="492" y="415"/>
                  </a:lnTo>
                  <a:lnTo>
                    <a:pt x="490" y="415"/>
                  </a:lnTo>
                  <a:lnTo>
                    <a:pt x="490" y="414"/>
                  </a:lnTo>
                  <a:close/>
                  <a:moveTo>
                    <a:pt x="534" y="414"/>
                  </a:moveTo>
                  <a:lnTo>
                    <a:pt x="536" y="414"/>
                  </a:lnTo>
                  <a:lnTo>
                    <a:pt x="536" y="415"/>
                  </a:lnTo>
                  <a:lnTo>
                    <a:pt x="534" y="415"/>
                  </a:lnTo>
                  <a:lnTo>
                    <a:pt x="534" y="414"/>
                  </a:lnTo>
                  <a:close/>
                  <a:moveTo>
                    <a:pt x="531" y="410"/>
                  </a:moveTo>
                  <a:lnTo>
                    <a:pt x="531" y="414"/>
                  </a:lnTo>
                  <a:lnTo>
                    <a:pt x="529" y="412"/>
                  </a:lnTo>
                  <a:lnTo>
                    <a:pt x="529" y="410"/>
                  </a:lnTo>
                  <a:lnTo>
                    <a:pt x="526" y="410"/>
                  </a:lnTo>
                  <a:lnTo>
                    <a:pt x="527" y="404"/>
                  </a:lnTo>
                  <a:lnTo>
                    <a:pt x="531" y="410"/>
                  </a:lnTo>
                  <a:close/>
                  <a:moveTo>
                    <a:pt x="517" y="405"/>
                  </a:moveTo>
                  <a:lnTo>
                    <a:pt x="519" y="407"/>
                  </a:lnTo>
                  <a:lnTo>
                    <a:pt x="515" y="410"/>
                  </a:lnTo>
                  <a:lnTo>
                    <a:pt x="515" y="407"/>
                  </a:lnTo>
                  <a:lnTo>
                    <a:pt x="517" y="405"/>
                  </a:lnTo>
                  <a:lnTo>
                    <a:pt x="517" y="404"/>
                  </a:lnTo>
                  <a:lnTo>
                    <a:pt x="517" y="405"/>
                  </a:lnTo>
                  <a:close/>
                  <a:moveTo>
                    <a:pt x="481" y="400"/>
                  </a:moveTo>
                  <a:lnTo>
                    <a:pt x="483" y="400"/>
                  </a:lnTo>
                  <a:lnTo>
                    <a:pt x="483" y="404"/>
                  </a:lnTo>
                  <a:lnTo>
                    <a:pt x="481" y="404"/>
                  </a:lnTo>
                  <a:lnTo>
                    <a:pt x="481" y="400"/>
                  </a:lnTo>
                  <a:close/>
                  <a:moveTo>
                    <a:pt x="481" y="395"/>
                  </a:moveTo>
                  <a:lnTo>
                    <a:pt x="483" y="395"/>
                  </a:lnTo>
                  <a:lnTo>
                    <a:pt x="483" y="397"/>
                  </a:lnTo>
                  <a:lnTo>
                    <a:pt x="481" y="397"/>
                  </a:lnTo>
                  <a:lnTo>
                    <a:pt x="481" y="395"/>
                  </a:lnTo>
                  <a:close/>
                  <a:moveTo>
                    <a:pt x="239" y="393"/>
                  </a:moveTo>
                  <a:lnTo>
                    <a:pt x="237" y="397"/>
                  </a:lnTo>
                  <a:lnTo>
                    <a:pt x="237" y="395"/>
                  </a:lnTo>
                  <a:lnTo>
                    <a:pt x="239" y="393"/>
                  </a:lnTo>
                  <a:close/>
                  <a:moveTo>
                    <a:pt x="517" y="392"/>
                  </a:moveTo>
                  <a:lnTo>
                    <a:pt x="517" y="395"/>
                  </a:lnTo>
                  <a:lnTo>
                    <a:pt x="517" y="392"/>
                  </a:lnTo>
                  <a:close/>
                  <a:moveTo>
                    <a:pt x="229" y="392"/>
                  </a:moveTo>
                  <a:lnTo>
                    <a:pt x="230" y="392"/>
                  </a:lnTo>
                  <a:lnTo>
                    <a:pt x="230" y="393"/>
                  </a:lnTo>
                  <a:lnTo>
                    <a:pt x="229" y="393"/>
                  </a:lnTo>
                  <a:lnTo>
                    <a:pt x="229" y="392"/>
                  </a:lnTo>
                  <a:close/>
                  <a:moveTo>
                    <a:pt x="514" y="395"/>
                  </a:moveTo>
                  <a:lnTo>
                    <a:pt x="514" y="398"/>
                  </a:lnTo>
                  <a:lnTo>
                    <a:pt x="509" y="398"/>
                  </a:lnTo>
                  <a:lnTo>
                    <a:pt x="509" y="395"/>
                  </a:lnTo>
                  <a:lnTo>
                    <a:pt x="512" y="392"/>
                  </a:lnTo>
                  <a:lnTo>
                    <a:pt x="514" y="395"/>
                  </a:lnTo>
                  <a:close/>
                  <a:moveTo>
                    <a:pt x="504" y="398"/>
                  </a:moveTo>
                  <a:lnTo>
                    <a:pt x="502" y="397"/>
                  </a:lnTo>
                  <a:lnTo>
                    <a:pt x="502" y="390"/>
                  </a:lnTo>
                  <a:lnTo>
                    <a:pt x="504" y="398"/>
                  </a:lnTo>
                  <a:close/>
                  <a:moveTo>
                    <a:pt x="505" y="388"/>
                  </a:moveTo>
                  <a:lnTo>
                    <a:pt x="507" y="393"/>
                  </a:lnTo>
                  <a:lnTo>
                    <a:pt x="507" y="395"/>
                  </a:lnTo>
                  <a:lnTo>
                    <a:pt x="504" y="390"/>
                  </a:lnTo>
                  <a:lnTo>
                    <a:pt x="505" y="388"/>
                  </a:lnTo>
                  <a:close/>
                  <a:moveTo>
                    <a:pt x="522" y="393"/>
                  </a:moveTo>
                  <a:lnTo>
                    <a:pt x="526" y="397"/>
                  </a:lnTo>
                  <a:lnTo>
                    <a:pt x="529" y="400"/>
                  </a:lnTo>
                  <a:lnTo>
                    <a:pt x="527" y="405"/>
                  </a:lnTo>
                  <a:lnTo>
                    <a:pt x="526" y="402"/>
                  </a:lnTo>
                  <a:lnTo>
                    <a:pt x="524" y="407"/>
                  </a:lnTo>
                  <a:lnTo>
                    <a:pt x="519" y="402"/>
                  </a:lnTo>
                  <a:lnTo>
                    <a:pt x="519" y="397"/>
                  </a:lnTo>
                  <a:lnTo>
                    <a:pt x="517" y="397"/>
                  </a:lnTo>
                  <a:lnTo>
                    <a:pt x="519" y="393"/>
                  </a:lnTo>
                  <a:lnTo>
                    <a:pt x="517" y="390"/>
                  </a:lnTo>
                  <a:lnTo>
                    <a:pt x="519" y="388"/>
                  </a:lnTo>
                  <a:lnTo>
                    <a:pt x="522" y="393"/>
                  </a:lnTo>
                  <a:close/>
                  <a:moveTo>
                    <a:pt x="469" y="386"/>
                  </a:moveTo>
                  <a:lnTo>
                    <a:pt x="471" y="386"/>
                  </a:lnTo>
                  <a:lnTo>
                    <a:pt x="471" y="390"/>
                  </a:lnTo>
                  <a:lnTo>
                    <a:pt x="469" y="390"/>
                  </a:lnTo>
                  <a:lnTo>
                    <a:pt x="469" y="386"/>
                  </a:lnTo>
                  <a:close/>
                  <a:moveTo>
                    <a:pt x="515" y="386"/>
                  </a:moveTo>
                  <a:lnTo>
                    <a:pt x="517" y="386"/>
                  </a:lnTo>
                  <a:lnTo>
                    <a:pt x="517" y="390"/>
                  </a:lnTo>
                  <a:lnTo>
                    <a:pt x="515" y="390"/>
                  </a:lnTo>
                  <a:lnTo>
                    <a:pt x="515" y="386"/>
                  </a:lnTo>
                  <a:close/>
                  <a:moveTo>
                    <a:pt x="509" y="386"/>
                  </a:moveTo>
                  <a:lnTo>
                    <a:pt x="509" y="388"/>
                  </a:lnTo>
                  <a:lnTo>
                    <a:pt x="509" y="390"/>
                  </a:lnTo>
                  <a:lnTo>
                    <a:pt x="509" y="392"/>
                  </a:lnTo>
                  <a:lnTo>
                    <a:pt x="509" y="388"/>
                  </a:lnTo>
                  <a:lnTo>
                    <a:pt x="507" y="388"/>
                  </a:lnTo>
                  <a:lnTo>
                    <a:pt x="509" y="386"/>
                  </a:lnTo>
                  <a:close/>
                  <a:moveTo>
                    <a:pt x="234" y="383"/>
                  </a:moveTo>
                  <a:lnTo>
                    <a:pt x="234" y="386"/>
                  </a:lnTo>
                  <a:lnTo>
                    <a:pt x="230" y="386"/>
                  </a:lnTo>
                  <a:lnTo>
                    <a:pt x="232" y="383"/>
                  </a:lnTo>
                  <a:lnTo>
                    <a:pt x="234" y="383"/>
                  </a:lnTo>
                  <a:close/>
                  <a:moveTo>
                    <a:pt x="545" y="383"/>
                  </a:moveTo>
                  <a:lnTo>
                    <a:pt x="548" y="385"/>
                  </a:lnTo>
                  <a:lnTo>
                    <a:pt x="548" y="390"/>
                  </a:lnTo>
                  <a:lnTo>
                    <a:pt x="543" y="381"/>
                  </a:lnTo>
                  <a:lnTo>
                    <a:pt x="545" y="380"/>
                  </a:lnTo>
                  <a:lnTo>
                    <a:pt x="545" y="383"/>
                  </a:lnTo>
                  <a:close/>
                  <a:moveTo>
                    <a:pt x="437" y="376"/>
                  </a:moveTo>
                  <a:lnTo>
                    <a:pt x="440" y="376"/>
                  </a:lnTo>
                  <a:lnTo>
                    <a:pt x="440" y="378"/>
                  </a:lnTo>
                  <a:lnTo>
                    <a:pt x="442" y="380"/>
                  </a:lnTo>
                  <a:lnTo>
                    <a:pt x="442" y="385"/>
                  </a:lnTo>
                  <a:lnTo>
                    <a:pt x="437" y="390"/>
                  </a:lnTo>
                  <a:lnTo>
                    <a:pt x="435" y="393"/>
                  </a:lnTo>
                  <a:lnTo>
                    <a:pt x="432" y="395"/>
                  </a:lnTo>
                  <a:lnTo>
                    <a:pt x="430" y="392"/>
                  </a:lnTo>
                  <a:lnTo>
                    <a:pt x="432" y="390"/>
                  </a:lnTo>
                  <a:lnTo>
                    <a:pt x="432" y="383"/>
                  </a:lnTo>
                  <a:lnTo>
                    <a:pt x="435" y="374"/>
                  </a:lnTo>
                  <a:lnTo>
                    <a:pt x="437" y="376"/>
                  </a:lnTo>
                  <a:close/>
                  <a:moveTo>
                    <a:pt x="563" y="371"/>
                  </a:moveTo>
                  <a:lnTo>
                    <a:pt x="565" y="373"/>
                  </a:lnTo>
                  <a:lnTo>
                    <a:pt x="567" y="376"/>
                  </a:lnTo>
                  <a:lnTo>
                    <a:pt x="565" y="378"/>
                  </a:lnTo>
                  <a:lnTo>
                    <a:pt x="563" y="376"/>
                  </a:lnTo>
                  <a:lnTo>
                    <a:pt x="565" y="374"/>
                  </a:lnTo>
                  <a:lnTo>
                    <a:pt x="562" y="374"/>
                  </a:lnTo>
                  <a:lnTo>
                    <a:pt x="563" y="371"/>
                  </a:lnTo>
                  <a:close/>
                  <a:moveTo>
                    <a:pt x="490" y="371"/>
                  </a:moveTo>
                  <a:lnTo>
                    <a:pt x="490" y="374"/>
                  </a:lnTo>
                  <a:lnTo>
                    <a:pt x="488" y="374"/>
                  </a:lnTo>
                  <a:lnTo>
                    <a:pt x="488" y="376"/>
                  </a:lnTo>
                  <a:lnTo>
                    <a:pt x="490" y="371"/>
                  </a:lnTo>
                  <a:close/>
                  <a:moveTo>
                    <a:pt x="471" y="364"/>
                  </a:moveTo>
                  <a:lnTo>
                    <a:pt x="471" y="369"/>
                  </a:lnTo>
                  <a:lnTo>
                    <a:pt x="468" y="373"/>
                  </a:lnTo>
                  <a:lnTo>
                    <a:pt x="466" y="371"/>
                  </a:lnTo>
                  <a:lnTo>
                    <a:pt x="463" y="378"/>
                  </a:lnTo>
                  <a:lnTo>
                    <a:pt x="457" y="378"/>
                  </a:lnTo>
                  <a:lnTo>
                    <a:pt x="463" y="369"/>
                  </a:lnTo>
                  <a:lnTo>
                    <a:pt x="468" y="364"/>
                  </a:lnTo>
                  <a:lnTo>
                    <a:pt x="471" y="364"/>
                  </a:lnTo>
                  <a:close/>
                  <a:moveTo>
                    <a:pt x="481" y="347"/>
                  </a:moveTo>
                  <a:lnTo>
                    <a:pt x="483" y="347"/>
                  </a:lnTo>
                  <a:lnTo>
                    <a:pt x="483" y="349"/>
                  </a:lnTo>
                  <a:lnTo>
                    <a:pt x="481" y="349"/>
                  </a:lnTo>
                  <a:lnTo>
                    <a:pt x="481" y="347"/>
                  </a:lnTo>
                  <a:close/>
                  <a:moveTo>
                    <a:pt x="399" y="344"/>
                  </a:moveTo>
                  <a:lnTo>
                    <a:pt x="399" y="347"/>
                  </a:lnTo>
                  <a:lnTo>
                    <a:pt x="399" y="344"/>
                  </a:lnTo>
                  <a:close/>
                  <a:moveTo>
                    <a:pt x="488" y="340"/>
                  </a:moveTo>
                  <a:lnTo>
                    <a:pt x="493" y="349"/>
                  </a:lnTo>
                  <a:lnTo>
                    <a:pt x="492" y="356"/>
                  </a:lnTo>
                  <a:lnTo>
                    <a:pt x="493" y="356"/>
                  </a:lnTo>
                  <a:lnTo>
                    <a:pt x="497" y="354"/>
                  </a:lnTo>
                  <a:lnTo>
                    <a:pt x="500" y="357"/>
                  </a:lnTo>
                  <a:lnTo>
                    <a:pt x="500" y="359"/>
                  </a:lnTo>
                  <a:lnTo>
                    <a:pt x="497" y="359"/>
                  </a:lnTo>
                  <a:lnTo>
                    <a:pt x="500" y="361"/>
                  </a:lnTo>
                  <a:lnTo>
                    <a:pt x="498" y="366"/>
                  </a:lnTo>
                  <a:lnTo>
                    <a:pt x="493" y="371"/>
                  </a:lnTo>
                  <a:lnTo>
                    <a:pt x="490" y="371"/>
                  </a:lnTo>
                  <a:lnTo>
                    <a:pt x="486" y="368"/>
                  </a:lnTo>
                  <a:lnTo>
                    <a:pt x="486" y="369"/>
                  </a:lnTo>
                  <a:lnTo>
                    <a:pt x="483" y="369"/>
                  </a:lnTo>
                  <a:lnTo>
                    <a:pt x="481" y="364"/>
                  </a:lnTo>
                  <a:lnTo>
                    <a:pt x="483" y="364"/>
                  </a:lnTo>
                  <a:lnTo>
                    <a:pt x="481" y="361"/>
                  </a:lnTo>
                  <a:lnTo>
                    <a:pt x="483" y="359"/>
                  </a:lnTo>
                  <a:lnTo>
                    <a:pt x="483" y="357"/>
                  </a:lnTo>
                  <a:lnTo>
                    <a:pt x="485" y="354"/>
                  </a:lnTo>
                  <a:lnTo>
                    <a:pt x="483" y="354"/>
                  </a:lnTo>
                  <a:lnTo>
                    <a:pt x="483" y="349"/>
                  </a:lnTo>
                  <a:lnTo>
                    <a:pt x="486" y="342"/>
                  </a:lnTo>
                  <a:lnTo>
                    <a:pt x="488" y="344"/>
                  </a:lnTo>
                  <a:lnTo>
                    <a:pt x="488" y="342"/>
                  </a:lnTo>
                  <a:lnTo>
                    <a:pt x="488" y="340"/>
                  </a:lnTo>
                  <a:close/>
                  <a:moveTo>
                    <a:pt x="493" y="340"/>
                  </a:moveTo>
                  <a:lnTo>
                    <a:pt x="493" y="344"/>
                  </a:lnTo>
                  <a:lnTo>
                    <a:pt x="492" y="342"/>
                  </a:lnTo>
                  <a:lnTo>
                    <a:pt x="493" y="340"/>
                  </a:lnTo>
                  <a:close/>
                  <a:moveTo>
                    <a:pt x="464" y="310"/>
                  </a:moveTo>
                  <a:lnTo>
                    <a:pt x="461" y="318"/>
                  </a:lnTo>
                  <a:lnTo>
                    <a:pt x="457" y="310"/>
                  </a:lnTo>
                  <a:lnTo>
                    <a:pt x="459" y="306"/>
                  </a:lnTo>
                  <a:lnTo>
                    <a:pt x="463" y="304"/>
                  </a:lnTo>
                  <a:lnTo>
                    <a:pt x="464" y="310"/>
                  </a:lnTo>
                  <a:close/>
                  <a:moveTo>
                    <a:pt x="447" y="301"/>
                  </a:moveTo>
                  <a:lnTo>
                    <a:pt x="449" y="301"/>
                  </a:lnTo>
                  <a:lnTo>
                    <a:pt x="452" y="308"/>
                  </a:lnTo>
                  <a:lnTo>
                    <a:pt x="456" y="311"/>
                  </a:lnTo>
                  <a:lnTo>
                    <a:pt x="451" y="316"/>
                  </a:lnTo>
                  <a:lnTo>
                    <a:pt x="447" y="315"/>
                  </a:lnTo>
                  <a:lnTo>
                    <a:pt x="449" y="318"/>
                  </a:lnTo>
                  <a:lnTo>
                    <a:pt x="447" y="322"/>
                  </a:lnTo>
                  <a:lnTo>
                    <a:pt x="452" y="327"/>
                  </a:lnTo>
                  <a:lnTo>
                    <a:pt x="454" y="330"/>
                  </a:lnTo>
                  <a:lnTo>
                    <a:pt x="459" y="327"/>
                  </a:lnTo>
                  <a:lnTo>
                    <a:pt x="459" y="322"/>
                  </a:lnTo>
                  <a:lnTo>
                    <a:pt x="463" y="320"/>
                  </a:lnTo>
                  <a:lnTo>
                    <a:pt x="464" y="315"/>
                  </a:lnTo>
                  <a:lnTo>
                    <a:pt x="469" y="310"/>
                  </a:lnTo>
                  <a:lnTo>
                    <a:pt x="473" y="311"/>
                  </a:lnTo>
                  <a:lnTo>
                    <a:pt x="473" y="310"/>
                  </a:lnTo>
                  <a:lnTo>
                    <a:pt x="475" y="310"/>
                  </a:lnTo>
                  <a:lnTo>
                    <a:pt x="473" y="313"/>
                  </a:lnTo>
                  <a:lnTo>
                    <a:pt x="476" y="315"/>
                  </a:lnTo>
                  <a:lnTo>
                    <a:pt x="478" y="315"/>
                  </a:lnTo>
                  <a:lnTo>
                    <a:pt x="478" y="311"/>
                  </a:lnTo>
                  <a:lnTo>
                    <a:pt x="483" y="316"/>
                  </a:lnTo>
                  <a:lnTo>
                    <a:pt x="486" y="315"/>
                  </a:lnTo>
                  <a:lnTo>
                    <a:pt x="492" y="316"/>
                  </a:lnTo>
                  <a:lnTo>
                    <a:pt x="492" y="323"/>
                  </a:lnTo>
                  <a:lnTo>
                    <a:pt x="490" y="327"/>
                  </a:lnTo>
                  <a:lnTo>
                    <a:pt x="490" y="330"/>
                  </a:lnTo>
                  <a:lnTo>
                    <a:pt x="486" y="339"/>
                  </a:lnTo>
                  <a:lnTo>
                    <a:pt x="483" y="340"/>
                  </a:lnTo>
                  <a:lnTo>
                    <a:pt x="481" y="339"/>
                  </a:lnTo>
                  <a:lnTo>
                    <a:pt x="480" y="345"/>
                  </a:lnTo>
                  <a:lnTo>
                    <a:pt x="478" y="344"/>
                  </a:lnTo>
                  <a:lnTo>
                    <a:pt x="475" y="347"/>
                  </a:lnTo>
                  <a:lnTo>
                    <a:pt x="469" y="344"/>
                  </a:lnTo>
                  <a:lnTo>
                    <a:pt x="468" y="345"/>
                  </a:lnTo>
                  <a:lnTo>
                    <a:pt x="468" y="340"/>
                  </a:lnTo>
                  <a:lnTo>
                    <a:pt x="464" y="337"/>
                  </a:lnTo>
                  <a:lnTo>
                    <a:pt x="464" y="334"/>
                  </a:lnTo>
                  <a:lnTo>
                    <a:pt x="459" y="334"/>
                  </a:lnTo>
                  <a:lnTo>
                    <a:pt x="459" y="335"/>
                  </a:lnTo>
                  <a:lnTo>
                    <a:pt x="456" y="337"/>
                  </a:lnTo>
                  <a:lnTo>
                    <a:pt x="456" y="342"/>
                  </a:lnTo>
                  <a:lnTo>
                    <a:pt x="454" y="349"/>
                  </a:lnTo>
                  <a:lnTo>
                    <a:pt x="454" y="354"/>
                  </a:lnTo>
                  <a:lnTo>
                    <a:pt x="456" y="356"/>
                  </a:lnTo>
                  <a:lnTo>
                    <a:pt x="456" y="359"/>
                  </a:lnTo>
                  <a:lnTo>
                    <a:pt x="454" y="361"/>
                  </a:lnTo>
                  <a:lnTo>
                    <a:pt x="452" y="356"/>
                  </a:lnTo>
                  <a:lnTo>
                    <a:pt x="451" y="357"/>
                  </a:lnTo>
                  <a:lnTo>
                    <a:pt x="447" y="357"/>
                  </a:lnTo>
                  <a:lnTo>
                    <a:pt x="447" y="359"/>
                  </a:lnTo>
                  <a:lnTo>
                    <a:pt x="444" y="361"/>
                  </a:lnTo>
                  <a:lnTo>
                    <a:pt x="444" y="357"/>
                  </a:lnTo>
                  <a:lnTo>
                    <a:pt x="439" y="357"/>
                  </a:lnTo>
                  <a:lnTo>
                    <a:pt x="439" y="354"/>
                  </a:lnTo>
                  <a:lnTo>
                    <a:pt x="437" y="356"/>
                  </a:lnTo>
                  <a:lnTo>
                    <a:pt x="437" y="354"/>
                  </a:lnTo>
                  <a:lnTo>
                    <a:pt x="439" y="351"/>
                  </a:lnTo>
                  <a:lnTo>
                    <a:pt x="440" y="351"/>
                  </a:lnTo>
                  <a:lnTo>
                    <a:pt x="447" y="345"/>
                  </a:lnTo>
                  <a:lnTo>
                    <a:pt x="445" y="337"/>
                  </a:lnTo>
                  <a:lnTo>
                    <a:pt x="445" y="334"/>
                  </a:lnTo>
                  <a:lnTo>
                    <a:pt x="444" y="334"/>
                  </a:lnTo>
                  <a:lnTo>
                    <a:pt x="445" y="334"/>
                  </a:lnTo>
                  <a:lnTo>
                    <a:pt x="445" y="330"/>
                  </a:lnTo>
                  <a:lnTo>
                    <a:pt x="444" y="327"/>
                  </a:lnTo>
                  <a:lnTo>
                    <a:pt x="445" y="320"/>
                  </a:lnTo>
                  <a:lnTo>
                    <a:pt x="442" y="318"/>
                  </a:lnTo>
                  <a:lnTo>
                    <a:pt x="440" y="322"/>
                  </a:lnTo>
                  <a:lnTo>
                    <a:pt x="439" y="320"/>
                  </a:lnTo>
                  <a:lnTo>
                    <a:pt x="437" y="325"/>
                  </a:lnTo>
                  <a:lnTo>
                    <a:pt x="435" y="325"/>
                  </a:lnTo>
                  <a:lnTo>
                    <a:pt x="430" y="334"/>
                  </a:lnTo>
                  <a:lnTo>
                    <a:pt x="427" y="342"/>
                  </a:lnTo>
                  <a:lnTo>
                    <a:pt x="425" y="345"/>
                  </a:lnTo>
                  <a:lnTo>
                    <a:pt x="418" y="349"/>
                  </a:lnTo>
                  <a:lnTo>
                    <a:pt x="415" y="354"/>
                  </a:lnTo>
                  <a:lnTo>
                    <a:pt x="410" y="354"/>
                  </a:lnTo>
                  <a:lnTo>
                    <a:pt x="406" y="352"/>
                  </a:lnTo>
                  <a:lnTo>
                    <a:pt x="408" y="349"/>
                  </a:lnTo>
                  <a:lnTo>
                    <a:pt x="403" y="344"/>
                  </a:lnTo>
                  <a:lnTo>
                    <a:pt x="405" y="342"/>
                  </a:lnTo>
                  <a:lnTo>
                    <a:pt x="401" y="340"/>
                  </a:lnTo>
                  <a:lnTo>
                    <a:pt x="401" y="342"/>
                  </a:lnTo>
                  <a:lnTo>
                    <a:pt x="399" y="339"/>
                  </a:lnTo>
                  <a:lnTo>
                    <a:pt x="401" y="335"/>
                  </a:lnTo>
                  <a:lnTo>
                    <a:pt x="401" y="328"/>
                  </a:lnTo>
                  <a:lnTo>
                    <a:pt x="403" y="323"/>
                  </a:lnTo>
                  <a:lnTo>
                    <a:pt x="405" y="316"/>
                  </a:lnTo>
                  <a:lnTo>
                    <a:pt x="410" y="313"/>
                  </a:lnTo>
                  <a:lnTo>
                    <a:pt x="413" y="304"/>
                  </a:lnTo>
                  <a:lnTo>
                    <a:pt x="418" y="306"/>
                  </a:lnTo>
                  <a:lnTo>
                    <a:pt x="422" y="310"/>
                  </a:lnTo>
                  <a:lnTo>
                    <a:pt x="428" y="304"/>
                  </a:lnTo>
                  <a:lnTo>
                    <a:pt x="439" y="303"/>
                  </a:lnTo>
                  <a:lnTo>
                    <a:pt x="442" y="308"/>
                  </a:lnTo>
                  <a:lnTo>
                    <a:pt x="445" y="301"/>
                  </a:lnTo>
                  <a:lnTo>
                    <a:pt x="447" y="301"/>
                  </a:lnTo>
                  <a:close/>
                  <a:moveTo>
                    <a:pt x="459" y="304"/>
                  </a:moveTo>
                  <a:lnTo>
                    <a:pt x="459" y="303"/>
                  </a:lnTo>
                  <a:lnTo>
                    <a:pt x="461" y="301"/>
                  </a:lnTo>
                  <a:lnTo>
                    <a:pt x="459" y="304"/>
                  </a:lnTo>
                  <a:close/>
                  <a:moveTo>
                    <a:pt x="379" y="221"/>
                  </a:moveTo>
                  <a:lnTo>
                    <a:pt x="379" y="224"/>
                  </a:lnTo>
                  <a:lnTo>
                    <a:pt x="376" y="224"/>
                  </a:lnTo>
                  <a:lnTo>
                    <a:pt x="374" y="226"/>
                  </a:lnTo>
                  <a:lnTo>
                    <a:pt x="369" y="224"/>
                  </a:lnTo>
                  <a:lnTo>
                    <a:pt x="377" y="221"/>
                  </a:lnTo>
                  <a:lnTo>
                    <a:pt x="379" y="221"/>
                  </a:lnTo>
                  <a:close/>
                  <a:moveTo>
                    <a:pt x="288" y="212"/>
                  </a:moveTo>
                  <a:lnTo>
                    <a:pt x="295" y="217"/>
                  </a:lnTo>
                  <a:lnTo>
                    <a:pt x="297" y="222"/>
                  </a:lnTo>
                  <a:lnTo>
                    <a:pt x="295" y="222"/>
                  </a:lnTo>
                  <a:lnTo>
                    <a:pt x="295" y="224"/>
                  </a:lnTo>
                  <a:lnTo>
                    <a:pt x="295" y="226"/>
                  </a:lnTo>
                  <a:lnTo>
                    <a:pt x="290" y="228"/>
                  </a:lnTo>
                  <a:lnTo>
                    <a:pt x="290" y="226"/>
                  </a:lnTo>
                  <a:lnTo>
                    <a:pt x="290" y="224"/>
                  </a:lnTo>
                  <a:lnTo>
                    <a:pt x="288" y="222"/>
                  </a:lnTo>
                  <a:lnTo>
                    <a:pt x="285" y="222"/>
                  </a:lnTo>
                  <a:lnTo>
                    <a:pt x="288" y="226"/>
                  </a:lnTo>
                  <a:lnTo>
                    <a:pt x="285" y="228"/>
                  </a:lnTo>
                  <a:lnTo>
                    <a:pt x="282" y="224"/>
                  </a:lnTo>
                  <a:lnTo>
                    <a:pt x="278" y="222"/>
                  </a:lnTo>
                  <a:lnTo>
                    <a:pt x="275" y="224"/>
                  </a:lnTo>
                  <a:lnTo>
                    <a:pt x="275" y="222"/>
                  </a:lnTo>
                  <a:lnTo>
                    <a:pt x="270" y="231"/>
                  </a:lnTo>
                  <a:lnTo>
                    <a:pt x="265" y="233"/>
                  </a:lnTo>
                  <a:lnTo>
                    <a:pt x="263" y="228"/>
                  </a:lnTo>
                  <a:lnTo>
                    <a:pt x="266" y="228"/>
                  </a:lnTo>
                  <a:lnTo>
                    <a:pt x="268" y="221"/>
                  </a:lnTo>
                  <a:lnTo>
                    <a:pt x="270" y="221"/>
                  </a:lnTo>
                  <a:lnTo>
                    <a:pt x="268" y="221"/>
                  </a:lnTo>
                  <a:lnTo>
                    <a:pt x="271" y="221"/>
                  </a:lnTo>
                  <a:lnTo>
                    <a:pt x="273" y="219"/>
                  </a:lnTo>
                  <a:lnTo>
                    <a:pt x="273" y="217"/>
                  </a:lnTo>
                  <a:lnTo>
                    <a:pt x="276" y="217"/>
                  </a:lnTo>
                  <a:lnTo>
                    <a:pt x="276" y="214"/>
                  </a:lnTo>
                  <a:lnTo>
                    <a:pt x="278" y="214"/>
                  </a:lnTo>
                  <a:lnTo>
                    <a:pt x="280" y="217"/>
                  </a:lnTo>
                  <a:lnTo>
                    <a:pt x="288" y="212"/>
                  </a:lnTo>
                  <a:close/>
                  <a:moveTo>
                    <a:pt x="283" y="211"/>
                  </a:moveTo>
                  <a:lnTo>
                    <a:pt x="285" y="211"/>
                  </a:lnTo>
                  <a:lnTo>
                    <a:pt x="285" y="212"/>
                  </a:lnTo>
                  <a:lnTo>
                    <a:pt x="283" y="212"/>
                  </a:lnTo>
                  <a:lnTo>
                    <a:pt x="283" y="211"/>
                  </a:lnTo>
                  <a:close/>
                  <a:moveTo>
                    <a:pt x="290" y="205"/>
                  </a:moveTo>
                  <a:lnTo>
                    <a:pt x="288" y="207"/>
                  </a:lnTo>
                  <a:lnTo>
                    <a:pt x="287" y="207"/>
                  </a:lnTo>
                  <a:lnTo>
                    <a:pt x="290" y="205"/>
                  </a:lnTo>
                  <a:close/>
                  <a:moveTo>
                    <a:pt x="299" y="202"/>
                  </a:moveTo>
                  <a:lnTo>
                    <a:pt x="304" y="204"/>
                  </a:lnTo>
                  <a:lnTo>
                    <a:pt x="302" y="205"/>
                  </a:lnTo>
                  <a:lnTo>
                    <a:pt x="306" y="204"/>
                  </a:lnTo>
                  <a:lnTo>
                    <a:pt x="304" y="205"/>
                  </a:lnTo>
                  <a:lnTo>
                    <a:pt x="306" y="205"/>
                  </a:lnTo>
                  <a:lnTo>
                    <a:pt x="307" y="209"/>
                  </a:lnTo>
                  <a:lnTo>
                    <a:pt x="307" y="205"/>
                  </a:lnTo>
                  <a:lnTo>
                    <a:pt x="311" y="207"/>
                  </a:lnTo>
                  <a:lnTo>
                    <a:pt x="311" y="204"/>
                  </a:lnTo>
                  <a:lnTo>
                    <a:pt x="312" y="205"/>
                  </a:lnTo>
                  <a:lnTo>
                    <a:pt x="312" y="209"/>
                  </a:lnTo>
                  <a:lnTo>
                    <a:pt x="314" y="211"/>
                  </a:lnTo>
                  <a:lnTo>
                    <a:pt x="312" y="212"/>
                  </a:lnTo>
                  <a:lnTo>
                    <a:pt x="312" y="214"/>
                  </a:lnTo>
                  <a:lnTo>
                    <a:pt x="309" y="214"/>
                  </a:lnTo>
                  <a:lnTo>
                    <a:pt x="307" y="212"/>
                  </a:lnTo>
                  <a:lnTo>
                    <a:pt x="307" y="214"/>
                  </a:lnTo>
                  <a:lnTo>
                    <a:pt x="304" y="214"/>
                  </a:lnTo>
                  <a:lnTo>
                    <a:pt x="304" y="216"/>
                  </a:lnTo>
                  <a:lnTo>
                    <a:pt x="300" y="214"/>
                  </a:lnTo>
                  <a:lnTo>
                    <a:pt x="299" y="216"/>
                  </a:lnTo>
                  <a:lnTo>
                    <a:pt x="297" y="216"/>
                  </a:lnTo>
                  <a:lnTo>
                    <a:pt x="297" y="217"/>
                  </a:lnTo>
                  <a:lnTo>
                    <a:pt x="292" y="214"/>
                  </a:lnTo>
                  <a:lnTo>
                    <a:pt x="288" y="207"/>
                  </a:lnTo>
                  <a:lnTo>
                    <a:pt x="290" y="209"/>
                  </a:lnTo>
                  <a:lnTo>
                    <a:pt x="292" y="205"/>
                  </a:lnTo>
                  <a:lnTo>
                    <a:pt x="294" y="204"/>
                  </a:lnTo>
                  <a:lnTo>
                    <a:pt x="295" y="204"/>
                  </a:lnTo>
                  <a:lnTo>
                    <a:pt x="297" y="207"/>
                  </a:lnTo>
                  <a:lnTo>
                    <a:pt x="299" y="205"/>
                  </a:lnTo>
                  <a:lnTo>
                    <a:pt x="302" y="207"/>
                  </a:lnTo>
                  <a:lnTo>
                    <a:pt x="299" y="204"/>
                  </a:lnTo>
                  <a:lnTo>
                    <a:pt x="299" y="205"/>
                  </a:lnTo>
                  <a:lnTo>
                    <a:pt x="297" y="204"/>
                  </a:lnTo>
                  <a:lnTo>
                    <a:pt x="299" y="202"/>
                  </a:lnTo>
                  <a:close/>
                  <a:moveTo>
                    <a:pt x="317" y="197"/>
                  </a:moveTo>
                  <a:lnTo>
                    <a:pt x="319" y="204"/>
                  </a:lnTo>
                  <a:lnTo>
                    <a:pt x="321" y="205"/>
                  </a:lnTo>
                  <a:lnTo>
                    <a:pt x="323" y="204"/>
                  </a:lnTo>
                  <a:lnTo>
                    <a:pt x="323" y="207"/>
                  </a:lnTo>
                  <a:lnTo>
                    <a:pt x="324" y="211"/>
                  </a:lnTo>
                  <a:lnTo>
                    <a:pt x="323" y="214"/>
                  </a:lnTo>
                  <a:lnTo>
                    <a:pt x="323" y="212"/>
                  </a:lnTo>
                  <a:lnTo>
                    <a:pt x="321" y="214"/>
                  </a:lnTo>
                  <a:lnTo>
                    <a:pt x="317" y="212"/>
                  </a:lnTo>
                  <a:lnTo>
                    <a:pt x="319" y="216"/>
                  </a:lnTo>
                  <a:lnTo>
                    <a:pt x="317" y="216"/>
                  </a:lnTo>
                  <a:lnTo>
                    <a:pt x="316" y="216"/>
                  </a:lnTo>
                  <a:lnTo>
                    <a:pt x="317" y="217"/>
                  </a:lnTo>
                  <a:lnTo>
                    <a:pt x="316" y="216"/>
                  </a:lnTo>
                  <a:lnTo>
                    <a:pt x="314" y="214"/>
                  </a:lnTo>
                  <a:lnTo>
                    <a:pt x="314" y="212"/>
                  </a:lnTo>
                  <a:lnTo>
                    <a:pt x="316" y="211"/>
                  </a:lnTo>
                  <a:lnTo>
                    <a:pt x="314" y="211"/>
                  </a:lnTo>
                  <a:lnTo>
                    <a:pt x="312" y="205"/>
                  </a:lnTo>
                  <a:lnTo>
                    <a:pt x="314" y="205"/>
                  </a:lnTo>
                  <a:lnTo>
                    <a:pt x="314" y="200"/>
                  </a:lnTo>
                  <a:lnTo>
                    <a:pt x="316" y="200"/>
                  </a:lnTo>
                  <a:lnTo>
                    <a:pt x="317" y="197"/>
                  </a:lnTo>
                  <a:close/>
                  <a:moveTo>
                    <a:pt x="317" y="193"/>
                  </a:moveTo>
                  <a:lnTo>
                    <a:pt x="316" y="195"/>
                  </a:lnTo>
                  <a:lnTo>
                    <a:pt x="309" y="197"/>
                  </a:lnTo>
                  <a:lnTo>
                    <a:pt x="311" y="193"/>
                  </a:lnTo>
                  <a:lnTo>
                    <a:pt x="317" y="193"/>
                  </a:lnTo>
                  <a:close/>
                  <a:moveTo>
                    <a:pt x="331" y="188"/>
                  </a:moveTo>
                  <a:lnTo>
                    <a:pt x="328" y="193"/>
                  </a:lnTo>
                  <a:lnTo>
                    <a:pt x="333" y="195"/>
                  </a:lnTo>
                  <a:lnTo>
                    <a:pt x="333" y="197"/>
                  </a:lnTo>
                  <a:lnTo>
                    <a:pt x="336" y="197"/>
                  </a:lnTo>
                  <a:lnTo>
                    <a:pt x="333" y="199"/>
                  </a:lnTo>
                  <a:lnTo>
                    <a:pt x="335" y="197"/>
                  </a:lnTo>
                  <a:lnTo>
                    <a:pt x="331" y="199"/>
                  </a:lnTo>
                  <a:lnTo>
                    <a:pt x="329" y="197"/>
                  </a:lnTo>
                  <a:lnTo>
                    <a:pt x="328" y="197"/>
                  </a:lnTo>
                  <a:lnTo>
                    <a:pt x="326" y="193"/>
                  </a:lnTo>
                  <a:lnTo>
                    <a:pt x="324" y="195"/>
                  </a:lnTo>
                  <a:lnTo>
                    <a:pt x="323" y="193"/>
                  </a:lnTo>
                  <a:lnTo>
                    <a:pt x="331" y="188"/>
                  </a:lnTo>
                  <a:close/>
                  <a:moveTo>
                    <a:pt x="335" y="188"/>
                  </a:moveTo>
                  <a:lnTo>
                    <a:pt x="336" y="192"/>
                  </a:lnTo>
                  <a:lnTo>
                    <a:pt x="340" y="190"/>
                  </a:lnTo>
                  <a:lnTo>
                    <a:pt x="340" y="193"/>
                  </a:lnTo>
                  <a:lnTo>
                    <a:pt x="343" y="192"/>
                  </a:lnTo>
                  <a:lnTo>
                    <a:pt x="352" y="197"/>
                  </a:lnTo>
                  <a:lnTo>
                    <a:pt x="350" y="204"/>
                  </a:lnTo>
                  <a:lnTo>
                    <a:pt x="353" y="211"/>
                  </a:lnTo>
                  <a:lnTo>
                    <a:pt x="346" y="202"/>
                  </a:lnTo>
                  <a:lnTo>
                    <a:pt x="346" y="199"/>
                  </a:lnTo>
                  <a:lnTo>
                    <a:pt x="345" y="199"/>
                  </a:lnTo>
                  <a:lnTo>
                    <a:pt x="341" y="195"/>
                  </a:lnTo>
                  <a:lnTo>
                    <a:pt x="340" y="195"/>
                  </a:lnTo>
                  <a:lnTo>
                    <a:pt x="336" y="195"/>
                  </a:lnTo>
                  <a:lnTo>
                    <a:pt x="333" y="190"/>
                  </a:lnTo>
                  <a:lnTo>
                    <a:pt x="335" y="188"/>
                  </a:lnTo>
                  <a:close/>
                  <a:moveTo>
                    <a:pt x="261" y="178"/>
                  </a:moveTo>
                  <a:lnTo>
                    <a:pt x="265" y="182"/>
                  </a:lnTo>
                  <a:lnTo>
                    <a:pt x="265" y="187"/>
                  </a:lnTo>
                  <a:lnTo>
                    <a:pt x="259" y="190"/>
                  </a:lnTo>
                  <a:lnTo>
                    <a:pt x="256" y="188"/>
                  </a:lnTo>
                  <a:lnTo>
                    <a:pt x="253" y="183"/>
                  </a:lnTo>
                  <a:lnTo>
                    <a:pt x="258" y="178"/>
                  </a:lnTo>
                  <a:lnTo>
                    <a:pt x="261" y="178"/>
                  </a:lnTo>
                  <a:close/>
                  <a:moveTo>
                    <a:pt x="48" y="100"/>
                  </a:moveTo>
                  <a:lnTo>
                    <a:pt x="51" y="100"/>
                  </a:lnTo>
                  <a:lnTo>
                    <a:pt x="51" y="103"/>
                  </a:lnTo>
                  <a:lnTo>
                    <a:pt x="48" y="103"/>
                  </a:lnTo>
                  <a:lnTo>
                    <a:pt x="48" y="100"/>
                  </a:lnTo>
                  <a:close/>
                  <a:moveTo>
                    <a:pt x="154" y="43"/>
                  </a:moveTo>
                  <a:lnTo>
                    <a:pt x="152" y="45"/>
                  </a:lnTo>
                  <a:lnTo>
                    <a:pt x="150" y="45"/>
                  </a:lnTo>
                  <a:lnTo>
                    <a:pt x="154" y="43"/>
                  </a:lnTo>
                  <a:close/>
                  <a:moveTo>
                    <a:pt x="138" y="36"/>
                  </a:moveTo>
                  <a:lnTo>
                    <a:pt x="145" y="38"/>
                  </a:lnTo>
                  <a:lnTo>
                    <a:pt x="147" y="41"/>
                  </a:lnTo>
                  <a:lnTo>
                    <a:pt x="143" y="38"/>
                  </a:lnTo>
                  <a:lnTo>
                    <a:pt x="140" y="38"/>
                  </a:lnTo>
                  <a:lnTo>
                    <a:pt x="138" y="36"/>
                  </a:lnTo>
                  <a:close/>
                  <a:moveTo>
                    <a:pt x="300" y="35"/>
                  </a:moveTo>
                  <a:lnTo>
                    <a:pt x="302" y="35"/>
                  </a:lnTo>
                  <a:lnTo>
                    <a:pt x="302" y="38"/>
                  </a:lnTo>
                  <a:lnTo>
                    <a:pt x="300" y="38"/>
                  </a:lnTo>
                  <a:lnTo>
                    <a:pt x="300" y="35"/>
                  </a:lnTo>
                  <a:close/>
                  <a:moveTo>
                    <a:pt x="113" y="41"/>
                  </a:moveTo>
                  <a:lnTo>
                    <a:pt x="113" y="43"/>
                  </a:lnTo>
                  <a:lnTo>
                    <a:pt x="109" y="40"/>
                  </a:lnTo>
                  <a:lnTo>
                    <a:pt x="113" y="35"/>
                  </a:lnTo>
                  <a:lnTo>
                    <a:pt x="114" y="36"/>
                  </a:lnTo>
                  <a:lnTo>
                    <a:pt x="113" y="41"/>
                  </a:lnTo>
                  <a:close/>
                  <a:moveTo>
                    <a:pt x="329" y="40"/>
                  </a:moveTo>
                  <a:lnTo>
                    <a:pt x="328" y="40"/>
                  </a:lnTo>
                  <a:lnTo>
                    <a:pt x="326" y="40"/>
                  </a:lnTo>
                  <a:lnTo>
                    <a:pt x="316" y="43"/>
                  </a:lnTo>
                  <a:lnTo>
                    <a:pt x="312" y="45"/>
                  </a:lnTo>
                  <a:lnTo>
                    <a:pt x="309" y="50"/>
                  </a:lnTo>
                  <a:lnTo>
                    <a:pt x="306" y="50"/>
                  </a:lnTo>
                  <a:lnTo>
                    <a:pt x="304" y="55"/>
                  </a:lnTo>
                  <a:lnTo>
                    <a:pt x="300" y="55"/>
                  </a:lnTo>
                  <a:lnTo>
                    <a:pt x="297" y="52"/>
                  </a:lnTo>
                  <a:lnTo>
                    <a:pt x="295" y="52"/>
                  </a:lnTo>
                  <a:lnTo>
                    <a:pt x="294" y="48"/>
                  </a:lnTo>
                  <a:lnTo>
                    <a:pt x="290" y="45"/>
                  </a:lnTo>
                  <a:lnTo>
                    <a:pt x="283" y="50"/>
                  </a:lnTo>
                  <a:lnTo>
                    <a:pt x="282" y="50"/>
                  </a:lnTo>
                  <a:lnTo>
                    <a:pt x="271" y="53"/>
                  </a:lnTo>
                  <a:lnTo>
                    <a:pt x="270" y="55"/>
                  </a:lnTo>
                  <a:lnTo>
                    <a:pt x="259" y="57"/>
                  </a:lnTo>
                  <a:lnTo>
                    <a:pt x="258" y="59"/>
                  </a:lnTo>
                  <a:lnTo>
                    <a:pt x="251" y="59"/>
                  </a:lnTo>
                  <a:lnTo>
                    <a:pt x="249" y="62"/>
                  </a:lnTo>
                  <a:lnTo>
                    <a:pt x="246" y="64"/>
                  </a:lnTo>
                  <a:lnTo>
                    <a:pt x="241" y="62"/>
                  </a:lnTo>
                  <a:lnTo>
                    <a:pt x="234" y="62"/>
                  </a:lnTo>
                  <a:lnTo>
                    <a:pt x="232" y="60"/>
                  </a:lnTo>
                  <a:lnTo>
                    <a:pt x="227" y="62"/>
                  </a:lnTo>
                  <a:lnTo>
                    <a:pt x="229" y="67"/>
                  </a:lnTo>
                  <a:lnTo>
                    <a:pt x="227" y="69"/>
                  </a:lnTo>
                  <a:lnTo>
                    <a:pt x="224" y="69"/>
                  </a:lnTo>
                  <a:lnTo>
                    <a:pt x="215" y="67"/>
                  </a:lnTo>
                  <a:lnTo>
                    <a:pt x="212" y="69"/>
                  </a:lnTo>
                  <a:lnTo>
                    <a:pt x="212" y="70"/>
                  </a:lnTo>
                  <a:lnTo>
                    <a:pt x="208" y="72"/>
                  </a:lnTo>
                  <a:lnTo>
                    <a:pt x="208" y="77"/>
                  </a:lnTo>
                  <a:lnTo>
                    <a:pt x="205" y="82"/>
                  </a:lnTo>
                  <a:lnTo>
                    <a:pt x="210" y="86"/>
                  </a:lnTo>
                  <a:lnTo>
                    <a:pt x="213" y="86"/>
                  </a:lnTo>
                  <a:lnTo>
                    <a:pt x="215" y="91"/>
                  </a:lnTo>
                  <a:lnTo>
                    <a:pt x="222" y="94"/>
                  </a:lnTo>
                  <a:lnTo>
                    <a:pt x="227" y="94"/>
                  </a:lnTo>
                  <a:lnTo>
                    <a:pt x="227" y="100"/>
                  </a:lnTo>
                  <a:lnTo>
                    <a:pt x="225" y="103"/>
                  </a:lnTo>
                  <a:lnTo>
                    <a:pt x="229" y="105"/>
                  </a:lnTo>
                  <a:lnTo>
                    <a:pt x="225" y="106"/>
                  </a:lnTo>
                  <a:lnTo>
                    <a:pt x="220" y="105"/>
                  </a:lnTo>
                  <a:lnTo>
                    <a:pt x="217" y="105"/>
                  </a:lnTo>
                  <a:lnTo>
                    <a:pt x="213" y="108"/>
                  </a:lnTo>
                  <a:lnTo>
                    <a:pt x="207" y="108"/>
                  </a:lnTo>
                  <a:lnTo>
                    <a:pt x="205" y="113"/>
                  </a:lnTo>
                  <a:lnTo>
                    <a:pt x="200" y="115"/>
                  </a:lnTo>
                  <a:lnTo>
                    <a:pt x="195" y="115"/>
                  </a:lnTo>
                  <a:lnTo>
                    <a:pt x="189" y="111"/>
                  </a:lnTo>
                  <a:lnTo>
                    <a:pt x="181" y="113"/>
                  </a:lnTo>
                  <a:lnTo>
                    <a:pt x="179" y="111"/>
                  </a:lnTo>
                  <a:lnTo>
                    <a:pt x="179" y="113"/>
                  </a:lnTo>
                  <a:lnTo>
                    <a:pt x="181" y="113"/>
                  </a:lnTo>
                  <a:lnTo>
                    <a:pt x="177" y="115"/>
                  </a:lnTo>
                  <a:lnTo>
                    <a:pt x="174" y="117"/>
                  </a:lnTo>
                  <a:lnTo>
                    <a:pt x="169" y="110"/>
                  </a:lnTo>
                  <a:lnTo>
                    <a:pt x="164" y="110"/>
                  </a:lnTo>
                  <a:lnTo>
                    <a:pt x="164" y="106"/>
                  </a:lnTo>
                  <a:lnTo>
                    <a:pt x="159" y="108"/>
                  </a:lnTo>
                  <a:lnTo>
                    <a:pt x="154" y="106"/>
                  </a:lnTo>
                  <a:lnTo>
                    <a:pt x="148" y="103"/>
                  </a:lnTo>
                  <a:lnTo>
                    <a:pt x="143" y="101"/>
                  </a:lnTo>
                  <a:lnTo>
                    <a:pt x="135" y="103"/>
                  </a:lnTo>
                  <a:lnTo>
                    <a:pt x="126" y="101"/>
                  </a:lnTo>
                  <a:lnTo>
                    <a:pt x="118" y="108"/>
                  </a:lnTo>
                  <a:lnTo>
                    <a:pt x="114" y="106"/>
                  </a:lnTo>
                  <a:lnTo>
                    <a:pt x="107" y="110"/>
                  </a:lnTo>
                  <a:lnTo>
                    <a:pt x="102" y="113"/>
                  </a:lnTo>
                  <a:lnTo>
                    <a:pt x="99" y="120"/>
                  </a:lnTo>
                  <a:lnTo>
                    <a:pt x="96" y="122"/>
                  </a:lnTo>
                  <a:lnTo>
                    <a:pt x="92" y="129"/>
                  </a:lnTo>
                  <a:lnTo>
                    <a:pt x="90" y="132"/>
                  </a:lnTo>
                  <a:lnTo>
                    <a:pt x="85" y="137"/>
                  </a:lnTo>
                  <a:lnTo>
                    <a:pt x="80" y="144"/>
                  </a:lnTo>
                  <a:lnTo>
                    <a:pt x="82" y="147"/>
                  </a:lnTo>
                  <a:lnTo>
                    <a:pt x="78" y="152"/>
                  </a:lnTo>
                  <a:lnTo>
                    <a:pt x="78" y="158"/>
                  </a:lnTo>
                  <a:lnTo>
                    <a:pt x="77" y="168"/>
                  </a:lnTo>
                  <a:lnTo>
                    <a:pt x="73" y="171"/>
                  </a:lnTo>
                  <a:lnTo>
                    <a:pt x="72" y="170"/>
                  </a:lnTo>
                  <a:lnTo>
                    <a:pt x="70" y="171"/>
                  </a:lnTo>
                  <a:lnTo>
                    <a:pt x="72" y="180"/>
                  </a:lnTo>
                  <a:lnTo>
                    <a:pt x="67" y="185"/>
                  </a:lnTo>
                  <a:lnTo>
                    <a:pt x="67" y="193"/>
                  </a:lnTo>
                  <a:lnTo>
                    <a:pt x="67" y="197"/>
                  </a:lnTo>
                  <a:lnTo>
                    <a:pt x="70" y="200"/>
                  </a:lnTo>
                  <a:lnTo>
                    <a:pt x="70" y="207"/>
                  </a:lnTo>
                  <a:lnTo>
                    <a:pt x="75" y="216"/>
                  </a:lnTo>
                  <a:lnTo>
                    <a:pt x="72" y="222"/>
                  </a:lnTo>
                  <a:lnTo>
                    <a:pt x="72" y="228"/>
                  </a:lnTo>
                  <a:lnTo>
                    <a:pt x="73" y="236"/>
                  </a:lnTo>
                  <a:lnTo>
                    <a:pt x="73" y="240"/>
                  </a:lnTo>
                  <a:lnTo>
                    <a:pt x="77" y="246"/>
                  </a:lnTo>
                  <a:lnTo>
                    <a:pt x="78" y="248"/>
                  </a:lnTo>
                  <a:lnTo>
                    <a:pt x="82" y="257"/>
                  </a:lnTo>
                  <a:lnTo>
                    <a:pt x="87" y="258"/>
                  </a:lnTo>
                  <a:lnTo>
                    <a:pt x="89" y="265"/>
                  </a:lnTo>
                  <a:lnTo>
                    <a:pt x="92" y="265"/>
                  </a:lnTo>
                  <a:lnTo>
                    <a:pt x="96" y="270"/>
                  </a:lnTo>
                  <a:lnTo>
                    <a:pt x="99" y="274"/>
                  </a:lnTo>
                  <a:lnTo>
                    <a:pt x="102" y="279"/>
                  </a:lnTo>
                  <a:lnTo>
                    <a:pt x="107" y="279"/>
                  </a:lnTo>
                  <a:lnTo>
                    <a:pt x="111" y="275"/>
                  </a:lnTo>
                  <a:lnTo>
                    <a:pt x="114" y="274"/>
                  </a:lnTo>
                  <a:lnTo>
                    <a:pt x="121" y="282"/>
                  </a:lnTo>
                  <a:lnTo>
                    <a:pt x="126" y="282"/>
                  </a:lnTo>
                  <a:lnTo>
                    <a:pt x="130" y="289"/>
                  </a:lnTo>
                  <a:lnTo>
                    <a:pt x="137" y="298"/>
                  </a:lnTo>
                  <a:lnTo>
                    <a:pt x="137" y="303"/>
                  </a:lnTo>
                  <a:lnTo>
                    <a:pt x="135" y="308"/>
                  </a:lnTo>
                  <a:lnTo>
                    <a:pt x="135" y="315"/>
                  </a:lnTo>
                  <a:lnTo>
                    <a:pt x="142" y="320"/>
                  </a:lnTo>
                  <a:lnTo>
                    <a:pt x="143" y="327"/>
                  </a:lnTo>
                  <a:lnTo>
                    <a:pt x="147" y="334"/>
                  </a:lnTo>
                  <a:lnTo>
                    <a:pt x="148" y="334"/>
                  </a:lnTo>
                  <a:lnTo>
                    <a:pt x="154" y="330"/>
                  </a:lnTo>
                  <a:lnTo>
                    <a:pt x="155" y="328"/>
                  </a:lnTo>
                  <a:lnTo>
                    <a:pt x="155" y="330"/>
                  </a:lnTo>
                  <a:lnTo>
                    <a:pt x="157" y="330"/>
                  </a:lnTo>
                  <a:lnTo>
                    <a:pt x="155" y="330"/>
                  </a:lnTo>
                  <a:lnTo>
                    <a:pt x="157" y="327"/>
                  </a:lnTo>
                  <a:lnTo>
                    <a:pt x="160" y="328"/>
                  </a:lnTo>
                  <a:lnTo>
                    <a:pt x="162" y="325"/>
                  </a:lnTo>
                  <a:lnTo>
                    <a:pt x="167" y="327"/>
                  </a:lnTo>
                  <a:lnTo>
                    <a:pt x="167" y="330"/>
                  </a:lnTo>
                  <a:lnTo>
                    <a:pt x="169" y="334"/>
                  </a:lnTo>
                  <a:lnTo>
                    <a:pt x="179" y="334"/>
                  </a:lnTo>
                  <a:lnTo>
                    <a:pt x="183" y="332"/>
                  </a:lnTo>
                  <a:lnTo>
                    <a:pt x="188" y="334"/>
                  </a:lnTo>
                  <a:lnTo>
                    <a:pt x="189" y="334"/>
                  </a:lnTo>
                  <a:lnTo>
                    <a:pt x="189" y="335"/>
                  </a:lnTo>
                  <a:lnTo>
                    <a:pt x="198" y="335"/>
                  </a:lnTo>
                  <a:lnTo>
                    <a:pt x="201" y="330"/>
                  </a:lnTo>
                  <a:lnTo>
                    <a:pt x="205" y="327"/>
                  </a:lnTo>
                  <a:lnTo>
                    <a:pt x="205" y="325"/>
                  </a:lnTo>
                  <a:lnTo>
                    <a:pt x="207" y="322"/>
                  </a:lnTo>
                  <a:lnTo>
                    <a:pt x="208" y="316"/>
                  </a:lnTo>
                  <a:lnTo>
                    <a:pt x="210" y="315"/>
                  </a:lnTo>
                  <a:lnTo>
                    <a:pt x="212" y="308"/>
                  </a:lnTo>
                  <a:lnTo>
                    <a:pt x="218" y="303"/>
                  </a:lnTo>
                  <a:lnTo>
                    <a:pt x="220" y="298"/>
                  </a:lnTo>
                  <a:lnTo>
                    <a:pt x="225" y="291"/>
                  </a:lnTo>
                  <a:lnTo>
                    <a:pt x="232" y="287"/>
                  </a:lnTo>
                  <a:lnTo>
                    <a:pt x="234" y="284"/>
                  </a:lnTo>
                  <a:lnTo>
                    <a:pt x="239" y="281"/>
                  </a:lnTo>
                  <a:lnTo>
                    <a:pt x="242" y="272"/>
                  </a:lnTo>
                  <a:lnTo>
                    <a:pt x="251" y="269"/>
                  </a:lnTo>
                  <a:lnTo>
                    <a:pt x="256" y="267"/>
                  </a:lnTo>
                  <a:lnTo>
                    <a:pt x="258" y="265"/>
                  </a:lnTo>
                  <a:lnTo>
                    <a:pt x="256" y="263"/>
                  </a:lnTo>
                  <a:lnTo>
                    <a:pt x="258" y="262"/>
                  </a:lnTo>
                  <a:lnTo>
                    <a:pt x="261" y="260"/>
                  </a:lnTo>
                  <a:lnTo>
                    <a:pt x="265" y="260"/>
                  </a:lnTo>
                  <a:lnTo>
                    <a:pt x="265" y="262"/>
                  </a:lnTo>
                  <a:lnTo>
                    <a:pt x="266" y="267"/>
                  </a:lnTo>
                  <a:lnTo>
                    <a:pt x="265" y="272"/>
                  </a:lnTo>
                  <a:lnTo>
                    <a:pt x="270" y="274"/>
                  </a:lnTo>
                  <a:lnTo>
                    <a:pt x="271" y="277"/>
                  </a:lnTo>
                  <a:lnTo>
                    <a:pt x="278" y="281"/>
                  </a:lnTo>
                  <a:lnTo>
                    <a:pt x="283" y="279"/>
                  </a:lnTo>
                  <a:lnTo>
                    <a:pt x="294" y="281"/>
                  </a:lnTo>
                  <a:lnTo>
                    <a:pt x="295" y="282"/>
                  </a:lnTo>
                  <a:lnTo>
                    <a:pt x="299" y="282"/>
                  </a:lnTo>
                  <a:lnTo>
                    <a:pt x="306" y="275"/>
                  </a:lnTo>
                  <a:lnTo>
                    <a:pt x="314" y="277"/>
                  </a:lnTo>
                  <a:lnTo>
                    <a:pt x="317" y="279"/>
                  </a:lnTo>
                  <a:lnTo>
                    <a:pt x="319" y="277"/>
                  </a:lnTo>
                  <a:lnTo>
                    <a:pt x="323" y="272"/>
                  </a:lnTo>
                  <a:lnTo>
                    <a:pt x="323" y="267"/>
                  </a:lnTo>
                  <a:lnTo>
                    <a:pt x="326" y="263"/>
                  </a:lnTo>
                  <a:lnTo>
                    <a:pt x="324" y="262"/>
                  </a:lnTo>
                  <a:lnTo>
                    <a:pt x="328" y="262"/>
                  </a:lnTo>
                  <a:lnTo>
                    <a:pt x="329" y="258"/>
                  </a:lnTo>
                  <a:lnTo>
                    <a:pt x="340" y="258"/>
                  </a:lnTo>
                  <a:lnTo>
                    <a:pt x="343" y="258"/>
                  </a:lnTo>
                  <a:lnTo>
                    <a:pt x="346" y="257"/>
                  </a:lnTo>
                  <a:lnTo>
                    <a:pt x="355" y="257"/>
                  </a:lnTo>
                  <a:lnTo>
                    <a:pt x="360" y="255"/>
                  </a:lnTo>
                  <a:lnTo>
                    <a:pt x="367" y="255"/>
                  </a:lnTo>
                  <a:lnTo>
                    <a:pt x="369" y="258"/>
                  </a:lnTo>
                  <a:lnTo>
                    <a:pt x="374" y="258"/>
                  </a:lnTo>
                  <a:lnTo>
                    <a:pt x="379" y="255"/>
                  </a:lnTo>
                  <a:lnTo>
                    <a:pt x="387" y="260"/>
                  </a:lnTo>
                  <a:lnTo>
                    <a:pt x="393" y="262"/>
                  </a:lnTo>
                  <a:lnTo>
                    <a:pt x="399" y="257"/>
                  </a:lnTo>
                  <a:lnTo>
                    <a:pt x="410" y="257"/>
                  </a:lnTo>
                  <a:lnTo>
                    <a:pt x="420" y="253"/>
                  </a:lnTo>
                  <a:lnTo>
                    <a:pt x="420" y="252"/>
                  </a:lnTo>
                  <a:lnTo>
                    <a:pt x="413" y="252"/>
                  </a:lnTo>
                  <a:lnTo>
                    <a:pt x="410" y="248"/>
                  </a:lnTo>
                  <a:lnTo>
                    <a:pt x="399" y="248"/>
                  </a:lnTo>
                  <a:lnTo>
                    <a:pt x="393" y="243"/>
                  </a:lnTo>
                  <a:lnTo>
                    <a:pt x="399" y="245"/>
                  </a:lnTo>
                  <a:lnTo>
                    <a:pt x="403" y="240"/>
                  </a:lnTo>
                  <a:lnTo>
                    <a:pt x="406" y="240"/>
                  </a:lnTo>
                  <a:lnTo>
                    <a:pt x="410" y="238"/>
                  </a:lnTo>
                  <a:lnTo>
                    <a:pt x="411" y="240"/>
                  </a:lnTo>
                  <a:lnTo>
                    <a:pt x="413" y="238"/>
                  </a:lnTo>
                  <a:lnTo>
                    <a:pt x="415" y="238"/>
                  </a:lnTo>
                  <a:lnTo>
                    <a:pt x="420" y="238"/>
                  </a:lnTo>
                  <a:lnTo>
                    <a:pt x="418" y="240"/>
                  </a:lnTo>
                  <a:lnTo>
                    <a:pt x="420" y="241"/>
                  </a:lnTo>
                  <a:lnTo>
                    <a:pt x="422" y="238"/>
                  </a:lnTo>
                  <a:lnTo>
                    <a:pt x="423" y="238"/>
                  </a:lnTo>
                  <a:lnTo>
                    <a:pt x="430" y="234"/>
                  </a:lnTo>
                  <a:lnTo>
                    <a:pt x="432" y="231"/>
                  </a:lnTo>
                  <a:lnTo>
                    <a:pt x="435" y="233"/>
                  </a:lnTo>
                  <a:lnTo>
                    <a:pt x="445" y="233"/>
                  </a:lnTo>
                  <a:lnTo>
                    <a:pt x="449" y="231"/>
                  </a:lnTo>
                  <a:lnTo>
                    <a:pt x="456" y="233"/>
                  </a:lnTo>
                  <a:lnTo>
                    <a:pt x="463" y="236"/>
                  </a:lnTo>
                  <a:lnTo>
                    <a:pt x="471" y="241"/>
                  </a:lnTo>
                  <a:lnTo>
                    <a:pt x="475" y="241"/>
                  </a:lnTo>
                  <a:lnTo>
                    <a:pt x="471" y="245"/>
                  </a:lnTo>
                  <a:lnTo>
                    <a:pt x="473" y="243"/>
                  </a:lnTo>
                  <a:lnTo>
                    <a:pt x="476" y="250"/>
                  </a:lnTo>
                  <a:lnTo>
                    <a:pt x="478" y="248"/>
                  </a:lnTo>
                  <a:lnTo>
                    <a:pt x="476" y="253"/>
                  </a:lnTo>
                  <a:lnTo>
                    <a:pt x="478" y="253"/>
                  </a:lnTo>
                  <a:lnTo>
                    <a:pt x="480" y="255"/>
                  </a:lnTo>
                  <a:lnTo>
                    <a:pt x="478" y="260"/>
                  </a:lnTo>
                  <a:lnTo>
                    <a:pt x="478" y="263"/>
                  </a:lnTo>
                  <a:lnTo>
                    <a:pt x="473" y="269"/>
                  </a:lnTo>
                  <a:lnTo>
                    <a:pt x="471" y="275"/>
                  </a:lnTo>
                  <a:lnTo>
                    <a:pt x="473" y="279"/>
                  </a:lnTo>
                  <a:lnTo>
                    <a:pt x="471" y="281"/>
                  </a:lnTo>
                  <a:lnTo>
                    <a:pt x="469" y="284"/>
                  </a:lnTo>
                  <a:lnTo>
                    <a:pt x="466" y="287"/>
                  </a:lnTo>
                  <a:lnTo>
                    <a:pt x="463" y="289"/>
                  </a:lnTo>
                  <a:lnTo>
                    <a:pt x="457" y="289"/>
                  </a:lnTo>
                  <a:lnTo>
                    <a:pt x="456" y="286"/>
                  </a:lnTo>
                  <a:lnTo>
                    <a:pt x="456" y="284"/>
                  </a:lnTo>
                  <a:lnTo>
                    <a:pt x="451" y="282"/>
                  </a:lnTo>
                  <a:lnTo>
                    <a:pt x="447" y="279"/>
                  </a:lnTo>
                  <a:lnTo>
                    <a:pt x="442" y="277"/>
                  </a:lnTo>
                  <a:lnTo>
                    <a:pt x="442" y="272"/>
                  </a:lnTo>
                  <a:lnTo>
                    <a:pt x="444" y="272"/>
                  </a:lnTo>
                  <a:lnTo>
                    <a:pt x="444" y="270"/>
                  </a:lnTo>
                  <a:lnTo>
                    <a:pt x="437" y="263"/>
                  </a:lnTo>
                  <a:lnTo>
                    <a:pt x="432" y="267"/>
                  </a:lnTo>
                  <a:lnTo>
                    <a:pt x="434" y="269"/>
                  </a:lnTo>
                  <a:lnTo>
                    <a:pt x="432" y="270"/>
                  </a:lnTo>
                  <a:lnTo>
                    <a:pt x="435" y="270"/>
                  </a:lnTo>
                  <a:lnTo>
                    <a:pt x="430" y="272"/>
                  </a:lnTo>
                  <a:lnTo>
                    <a:pt x="430" y="269"/>
                  </a:lnTo>
                  <a:lnTo>
                    <a:pt x="428" y="270"/>
                  </a:lnTo>
                  <a:lnTo>
                    <a:pt x="430" y="272"/>
                  </a:lnTo>
                  <a:lnTo>
                    <a:pt x="427" y="270"/>
                  </a:lnTo>
                  <a:lnTo>
                    <a:pt x="425" y="272"/>
                  </a:lnTo>
                  <a:lnTo>
                    <a:pt x="423" y="272"/>
                  </a:lnTo>
                  <a:lnTo>
                    <a:pt x="415" y="274"/>
                  </a:lnTo>
                  <a:lnTo>
                    <a:pt x="413" y="275"/>
                  </a:lnTo>
                  <a:lnTo>
                    <a:pt x="410" y="274"/>
                  </a:lnTo>
                  <a:lnTo>
                    <a:pt x="401" y="275"/>
                  </a:lnTo>
                  <a:lnTo>
                    <a:pt x="399" y="281"/>
                  </a:lnTo>
                  <a:lnTo>
                    <a:pt x="401" y="284"/>
                  </a:lnTo>
                  <a:lnTo>
                    <a:pt x="398" y="289"/>
                  </a:lnTo>
                  <a:lnTo>
                    <a:pt x="393" y="294"/>
                  </a:lnTo>
                  <a:lnTo>
                    <a:pt x="391" y="299"/>
                  </a:lnTo>
                  <a:lnTo>
                    <a:pt x="386" y="299"/>
                  </a:lnTo>
                  <a:lnTo>
                    <a:pt x="384" y="303"/>
                  </a:lnTo>
                  <a:lnTo>
                    <a:pt x="382" y="304"/>
                  </a:lnTo>
                  <a:lnTo>
                    <a:pt x="381" y="311"/>
                  </a:lnTo>
                  <a:lnTo>
                    <a:pt x="372" y="315"/>
                  </a:lnTo>
                  <a:lnTo>
                    <a:pt x="372" y="318"/>
                  </a:lnTo>
                  <a:lnTo>
                    <a:pt x="374" y="318"/>
                  </a:lnTo>
                  <a:lnTo>
                    <a:pt x="372" y="320"/>
                  </a:lnTo>
                  <a:lnTo>
                    <a:pt x="365" y="325"/>
                  </a:lnTo>
                  <a:lnTo>
                    <a:pt x="362" y="332"/>
                  </a:lnTo>
                  <a:lnTo>
                    <a:pt x="355" y="335"/>
                  </a:lnTo>
                  <a:lnTo>
                    <a:pt x="352" y="342"/>
                  </a:lnTo>
                  <a:lnTo>
                    <a:pt x="348" y="345"/>
                  </a:lnTo>
                  <a:lnTo>
                    <a:pt x="341" y="347"/>
                  </a:lnTo>
                  <a:lnTo>
                    <a:pt x="335" y="352"/>
                  </a:lnTo>
                  <a:lnTo>
                    <a:pt x="331" y="356"/>
                  </a:lnTo>
                  <a:lnTo>
                    <a:pt x="328" y="357"/>
                  </a:lnTo>
                  <a:lnTo>
                    <a:pt x="324" y="356"/>
                  </a:lnTo>
                  <a:lnTo>
                    <a:pt x="316" y="357"/>
                  </a:lnTo>
                  <a:lnTo>
                    <a:pt x="309" y="357"/>
                  </a:lnTo>
                  <a:lnTo>
                    <a:pt x="304" y="361"/>
                  </a:lnTo>
                  <a:lnTo>
                    <a:pt x="300" y="364"/>
                  </a:lnTo>
                  <a:lnTo>
                    <a:pt x="297" y="364"/>
                  </a:lnTo>
                  <a:lnTo>
                    <a:pt x="294" y="368"/>
                  </a:lnTo>
                  <a:lnTo>
                    <a:pt x="292" y="364"/>
                  </a:lnTo>
                  <a:lnTo>
                    <a:pt x="292" y="366"/>
                  </a:lnTo>
                  <a:lnTo>
                    <a:pt x="288" y="364"/>
                  </a:lnTo>
                  <a:lnTo>
                    <a:pt x="288" y="368"/>
                  </a:lnTo>
                  <a:lnTo>
                    <a:pt x="290" y="368"/>
                  </a:lnTo>
                  <a:lnTo>
                    <a:pt x="292" y="368"/>
                  </a:lnTo>
                  <a:lnTo>
                    <a:pt x="288" y="368"/>
                  </a:lnTo>
                  <a:lnTo>
                    <a:pt x="287" y="366"/>
                  </a:lnTo>
                  <a:lnTo>
                    <a:pt x="282" y="371"/>
                  </a:lnTo>
                  <a:lnTo>
                    <a:pt x="282" y="374"/>
                  </a:lnTo>
                  <a:lnTo>
                    <a:pt x="278" y="380"/>
                  </a:lnTo>
                  <a:lnTo>
                    <a:pt x="276" y="385"/>
                  </a:lnTo>
                  <a:lnTo>
                    <a:pt x="275" y="390"/>
                  </a:lnTo>
                  <a:lnTo>
                    <a:pt x="266" y="397"/>
                  </a:lnTo>
                  <a:lnTo>
                    <a:pt x="261" y="398"/>
                  </a:lnTo>
                  <a:lnTo>
                    <a:pt x="253" y="398"/>
                  </a:lnTo>
                  <a:lnTo>
                    <a:pt x="251" y="397"/>
                  </a:lnTo>
                  <a:lnTo>
                    <a:pt x="253" y="398"/>
                  </a:lnTo>
                  <a:lnTo>
                    <a:pt x="253" y="397"/>
                  </a:lnTo>
                  <a:lnTo>
                    <a:pt x="247" y="392"/>
                  </a:lnTo>
                  <a:lnTo>
                    <a:pt x="246" y="392"/>
                  </a:lnTo>
                  <a:lnTo>
                    <a:pt x="244" y="388"/>
                  </a:lnTo>
                  <a:lnTo>
                    <a:pt x="241" y="388"/>
                  </a:lnTo>
                  <a:lnTo>
                    <a:pt x="242" y="386"/>
                  </a:lnTo>
                  <a:lnTo>
                    <a:pt x="239" y="386"/>
                  </a:lnTo>
                  <a:lnTo>
                    <a:pt x="242" y="383"/>
                  </a:lnTo>
                  <a:lnTo>
                    <a:pt x="239" y="380"/>
                  </a:lnTo>
                  <a:lnTo>
                    <a:pt x="236" y="381"/>
                  </a:lnTo>
                  <a:lnTo>
                    <a:pt x="234" y="380"/>
                  </a:lnTo>
                  <a:lnTo>
                    <a:pt x="230" y="380"/>
                  </a:lnTo>
                  <a:lnTo>
                    <a:pt x="224" y="374"/>
                  </a:lnTo>
                  <a:lnTo>
                    <a:pt x="224" y="378"/>
                  </a:lnTo>
                  <a:lnTo>
                    <a:pt x="222" y="380"/>
                  </a:lnTo>
                  <a:lnTo>
                    <a:pt x="220" y="386"/>
                  </a:lnTo>
                  <a:lnTo>
                    <a:pt x="225" y="386"/>
                  </a:lnTo>
                  <a:lnTo>
                    <a:pt x="227" y="385"/>
                  </a:lnTo>
                  <a:lnTo>
                    <a:pt x="227" y="386"/>
                  </a:lnTo>
                  <a:lnTo>
                    <a:pt x="229" y="388"/>
                  </a:lnTo>
                  <a:lnTo>
                    <a:pt x="225" y="388"/>
                  </a:lnTo>
                  <a:lnTo>
                    <a:pt x="225" y="390"/>
                  </a:lnTo>
                  <a:lnTo>
                    <a:pt x="227" y="392"/>
                  </a:lnTo>
                  <a:lnTo>
                    <a:pt x="225" y="392"/>
                  </a:lnTo>
                  <a:lnTo>
                    <a:pt x="224" y="395"/>
                  </a:lnTo>
                  <a:lnTo>
                    <a:pt x="227" y="397"/>
                  </a:lnTo>
                  <a:lnTo>
                    <a:pt x="227" y="404"/>
                  </a:lnTo>
                  <a:lnTo>
                    <a:pt x="230" y="400"/>
                  </a:lnTo>
                  <a:lnTo>
                    <a:pt x="230" y="393"/>
                  </a:lnTo>
                  <a:lnTo>
                    <a:pt x="234" y="392"/>
                  </a:lnTo>
                  <a:lnTo>
                    <a:pt x="236" y="398"/>
                  </a:lnTo>
                  <a:lnTo>
                    <a:pt x="239" y="404"/>
                  </a:lnTo>
                  <a:lnTo>
                    <a:pt x="244" y="405"/>
                  </a:lnTo>
                  <a:lnTo>
                    <a:pt x="242" y="407"/>
                  </a:lnTo>
                  <a:lnTo>
                    <a:pt x="244" y="405"/>
                  </a:lnTo>
                  <a:lnTo>
                    <a:pt x="244" y="409"/>
                  </a:lnTo>
                  <a:lnTo>
                    <a:pt x="247" y="410"/>
                  </a:lnTo>
                  <a:lnTo>
                    <a:pt x="249" y="409"/>
                  </a:lnTo>
                  <a:lnTo>
                    <a:pt x="249" y="410"/>
                  </a:lnTo>
                  <a:lnTo>
                    <a:pt x="249" y="409"/>
                  </a:lnTo>
                  <a:lnTo>
                    <a:pt x="251" y="419"/>
                  </a:lnTo>
                  <a:lnTo>
                    <a:pt x="251" y="424"/>
                  </a:lnTo>
                  <a:lnTo>
                    <a:pt x="259" y="426"/>
                  </a:lnTo>
                  <a:lnTo>
                    <a:pt x="266" y="426"/>
                  </a:lnTo>
                  <a:lnTo>
                    <a:pt x="266" y="424"/>
                  </a:lnTo>
                  <a:lnTo>
                    <a:pt x="271" y="427"/>
                  </a:lnTo>
                  <a:lnTo>
                    <a:pt x="273" y="429"/>
                  </a:lnTo>
                  <a:lnTo>
                    <a:pt x="278" y="434"/>
                  </a:lnTo>
                  <a:lnTo>
                    <a:pt x="280" y="438"/>
                  </a:lnTo>
                  <a:lnTo>
                    <a:pt x="283" y="438"/>
                  </a:lnTo>
                  <a:lnTo>
                    <a:pt x="287" y="445"/>
                  </a:lnTo>
                  <a:lnTo>
                    <a:pt x="290" y="451"/>
                  </a:lnTo>
                  <a:lnTo>
                    <a:pt x="294" y="455"/>
                  </a:lnTo>
                  <a:lnTo>
                    <a:pt x="295" y="458"/>
                  </a:lnTo>
                  <a:lnTo>
                    <a:pt x="300" y="467"/>
                  </a:lnTo>
                  <a:lnTo>
                    <a:pt x="304" y="475"/>
                  </a:lnTo>
                  <a:lnTo>
                    <a:pt x="306" y="477"/>
                  </a:lnTo>
                  <a:lnTo>
                    <a:pt x="306" y="479"/>
                  </a:lnTo>
                  <a:lnTo>
                    <a:pt x="309" y="482"/>
                  </a:lnTo>
                  <a:lnTo>
                    <a:pt x="309" y="484"/>
                  </a:lnTo>
                  <a:lnTo>
                    <a:pt x="306" y="484"/>
                  </a:lnTo>
                  <a:lnTo>
                    <a:pt x="306" y="489"/>
                  </a:lnTo>
                  <a:lnTo>
                    <a:pt x="312" y="492"/>
                  </a:lnTo>
                  <a:lnTo>
                    <a:pt x="316" y="497"/>
                  </a:lnTo>
                  <a:lnTo>
                    <a:pt x="321" y="497"/>
                  </a:lnTo>
                  <a:lnTo>
                    <a:pt x="324" y="501"/>
                  </a:lnTo>
                  <a:lnTo>
                    <a:pt x="328" y="503"/>
                  </a:lnTo>
                  <a:lnTo>
                    <a:pt x="328" y="504"/>
                  </a:lnTo>
                  <a:lnTo>
                    <a:pt x="328" y="508"/>
                  </a:lnTo>
                  <a:lnTo>
                    <a:pt x="329" y="511"/>
                  </a:lnTo>
                  <a:lnTo>
                    <a:pt x="335" y="508"/>
                  </a:lnTo>
                  <a:lnTo>
                    <a:pt x="343" y="513"/>
                  </a:lnTo>
                  <a:lnTo>
                    <a:pt x="341" y="518"/>
                  </a:lnTo>
                  <a:lnTo>
                    <a:pt x="335" y="527"/>
                  </a:lnTo>
                  <a:lnTo>
                    <a:pt x="338" y="528"/>
                  </a:lnTo>
                  <a:lnTo>
                    <a:pt x="345" y="533"/>
                  </a:lnTo>
                  <a:lnTo>
                    <a:pt x="350" y="540"/>
                  </a:lnTo>
                  <a:lnTo>
                    <a:pt x="355" y="538"/>
                  </a:lnTo>
                  <a:lnTo>
                    <a:pt x="358" y="542"/>
                  </a:lnTo>
                  <a:lnTo>
                    <a:pt x="362" y="540"/>
                  </a:lnTo>
                  <a:lnTo>
                    <a:pt x="360" y="542"/>
                  </a:lnTo>
                  <a:lnTo>
                    <a:pt x="364" y="545"/>
                  </a:lnTo>
                  <a:lnTo>
                    <a:pt x="357" y="545"/>
                  </a:lnTo>
                  <a:lnTo>
                    <a:pt x="355" y="557"/>
                  </a:lnTo>
                  <a:lnTo>
                    <a:pt x="353" y="552"/>
                  </a:lnTo>
                  <a:lnTo>
                    <a:pt x="350" y="554"/>
                  </a:lnTo>
                  <a:lnTo>
                    <a:pt x="350" y="552"/>
                  </a:lnTo>
                  <a:lnTo>
                    <a:pt x="346" y="554"/>
                  </a:lnTo>
                  <a:lnTo>
                    <a:pt x="348" y="550"/>
                  </a:lnTo>
                  <a:lnTo>
                    <a:pt x="343" y="550"/>
                  </a:lnTo>
                  <a:lnTo>
                    <a:pt x="341" y="556"/>
                  </a:lnTo>
                  <a:lnTo>
                    <a:pt x="340" y="554"/>
                  </a:lnTo>
                  <a:lnTo>
                    <a:pt x="341" y="552"/>
                  </a:lnTo>
                  <a:lnTo>
                    <a:pt x="340" y="550"/>
                  </a:lnTo>
                  <a:lnTo>
                    <a:pt x="343" y="544"/>
                  </a:lnTo>
                  <a:lnTo>
                    <a:pt x="340" y="540"/>
                  </a:lnTo>
                  <a:lnTo>
                    <a:pt x="336" y="540"/>
                  </a:lnTo>
                  <a:lnTo>
                    <a:pt x="329" y="533"/>
                  </a:lnTo>
                  <a:lnTo>
                    <a:pt x="328" y="525"/>
                  </a:lnTo>
                  <a:lnTo>
                    <a:pt x="324" y="523"/>
                  </a:lnTo>
                  <a:lnTo>
                    <a:pt x="317" y="523"/>
                  </a:lnTo>
                  <a:lnTo>
                    <a:pt x="312" y="516"/>
                  </a:lnTo>
                  <a:lnTo>
                    <a:pt x="304" y="518"/>
                  </a:lnTo>
                  <a:lnTo>
                    <a:pt x="295" y="521"/>
                  </a:lnTo>
                  <a:lnTo>
                    <a:pt x="288" y="518"/>
                  </a:lnTo>
                  <a:lnTo>
                    <a:pt x="285" y="520"/>
                  </a:lnTo>
                  <a:lnTo>
                    <a:pt x="278" y="516"/>
                  </a:lnTo>
                  <a:lnTo>
                    <a:pt x="276" y="515"/>
                  </a:lnTo>
                  <a:lnTo>
                    <a:pt x="270" y="513"/>
                  </a:lnTo>
                  <a:lnTo>
                    <a:pt x="266" y="509"/>
                  </a:lnTo>
                  <a:lnTo>
                    <a:pt x="268" y="508"/>
                  </a:lnTo>
                  <a:lnTo>
                    <a:pt x="265" y="504"/>
                  </a:lnTo>
                  <a:lnTo>
                    <a:pt x="271" y="499"/>
                  </a:lnTo>
                  <a:lnTo>
                    <a:pt x="271" y="494"/>
                  </a:lnTo>
                  <a:lnTo>
                    <a:pt x="275" y="494"/>
                  </a:lnTo>
                  <a:lnTo>
                    <a:pt x="276" y="487"/>
                  </a:lnTo>
                  <a:lnTo>
                    <a:pt x="280" y="484"/>
                  </a:lnTo>
                  <a:lnTo>
                    <a:pt x="278" y="477"/>
                  </a:lnTo>
                  <a:lnTo>
                    <a:pt x="273" y="474"/>
                  </a:lnTo>
                  <a:lnTo>
                    <a:pt x="270" y="467"/>
                  </a:lnTo>
                  <a:lnTo>
                    <a:pt x="263" y="468"/>
                  </a:lnTo>
                  <a:lnTo>
                    <a:pt x="259" y="462"/>
                  </a:lnTo>
                  <a:lnTo>
                    <a:pt x="253" y="462"/>
                  </a:lnTo>
                  <a:lnTo>
                    <a:pt x="247" y="456"/>
                  </a:lnTo>
                  <a:lnTo>
                    <a:pt x="246" y="458"/>
                  </a:lnTo>
                  <a:lnTo>
                    <a:pt x="244" y="455"/>
                  </a:lnTo>
                  <a:lnTo>
                    <a:pt x="239" y="451"/>
                  </a:lnTo>
                  <a:lnTo>
                    <a:pt x="232" y="451"/>
                  </a:lnTo>
                  <a:lnTo>
                    <a:pt x="224" y="450"/>
                  </a:lnTo>
                  <a:lnTo>
                    <a:pt x="218" y="448"/>
                  </a:lnTo>
                  <a:lnTo>
                    <a:pt x="213" y="446"/>
                  </a:lnTo>
                  <a:lnTo>
                    <a:pt x="208" y="448"/>
                  </a:lnTo>
                  <a:lnTo>
                    <a:pt x="205" y="446"/>
                  </a:lnTo>
                  <a:lnTo>
                    <a:pt x="203" y="441"/>
                  </a:lnTo>
                  <a:lnTo>
                    <a:pt x="196" y="434"/>
                  </a:lnTo>
                  <a:lnTo>
                    <a:pt x="189" y="436"/>
                  </a:lnTo>
                  <a:lnTo>
                    <a:pt x="183" y="431"/>
                  </a:lnTo>
                  <a:lnTo>
                    <a:pt x="179" y="431"/>
                  </a:lnTo>
                  <a:lnTo>
                    <a:pt x="171" y="429"/>
                  </a:lnTo>
                  <a:lnTo>
                    <a:pt x="169" y="429"/>
                  </a:lnTo>
                  <a:lnTo>
                    <a:pt x="164" y="429"/>
                  </a:lnTo>
                  <a:lnTo>
                    <a:pt x="155" y="433"/>
                  </a:lnTo>
                  <a:lnTo>
                    <a:pt x="152" y="429"/>
                  </a:lnTo>
                  <a:lnTo>
                    <a:pt x="148" y="427"/>
                  </a:lnTo>
                  <a:lnTo>
                    <a:pt x="145" y="424"/>
                  </a:lnTo>
                  <a:lnTo>
                    <a:pt x="140" y="422"/>
                  </a:lnTo>
                  <a:lnTo>
                    <a:pt x="138" y="419"/>
                  </a:lnTo>
                  <a:lnTo>
                    <a:pt x="137" y="419"/>
                  </a:lnTo>
                  <a:lnTo>
                    <a:pt x="137" y="417"/>
                  </a:lnTo>
                  <a:lnTo>
                    <a:pt x="133" y="414"/>
                  </a:lnTo>
                  <a:lnTo>
                    <a:pt x="131" y="410"/>
                  </a:lnTo>
                  <a:lnTo>
                    <a:pt x="128" y="409"/>
                  </a:lnTo>
                  <a:lnTo>
                    <a:pt x="123" y="404"/>
                  </a:lnTo>
                  <a:lnTo>
                    <a:pt x="121" y="397"/>
                  </a:lnTo>
                  <a:lnTo>
                    <a:pt x="114" y="390"/>
                  </a:lnTo>
                  <a:lnTo>
                    <a:pt x="113" y="390"/>
                  </a:lnTo>
                  <a:lnTo>
                    <a:pt x="111" y="397"/>
                  </a:lnTo>
                  <a:lnTo>
                    <a:pt x="109" y="402"/>
                  </a:lnTo>
                  <a:lnTo>
                    <a:pt x="109" y="407"/>
                  </a:lnTo>
                  <a:lnTo>
                    <a:pt x="106" y="409"/>
                  </a:lnTo>
                  <a:lnTo>
                    <a:pt x="101" y="409"/>
                  </a:lnTo>
                  <a:lnTo>
                    <a:pt x="96" y="405"/>
                  </a:lnTo>
                  <a:lnTo>
                    <a:pt x="92" y="407"/>
                  </a:lnTo>
                  <a:lnTo>
                    <a:pt x="85" y="407"/>
                  </a:lnTo>
                  <a:lnTo>
                    <a:pt x="80" y="405"/>
                  </a:lnTo>
                  <a:lnTo>
                    <a:pt x="78" y="402"/>
                  </a:lnTo>
                  <a:lnTo>
                    <a:pt x="72" y="402"/>
                  </a:lnTo>
                  <a:lnTo>
                    <a:pt x="67" y="398"/>
                  </a:lnTo>
                  <a:lnTo>
                    <a:pt x="63" y="400"/>
                  </a:lnTo>
                  <a:lnTo>
                    <a:pt x="60" y="407"/>
                  </a:lnTo>
                  <a:lnTo>
                    <a:pt x="56" y="407"/>
                  </a:lnTo>
                  <a:lnTo>
                    <a:pt x="55" y="410"/>
                  </a:lnTo>
                  <a:lnTo>
                    <a:pt x="49" y="405"/>
                  </a:lnTo>
                  <a:lnTo>
                    <a:pt x="51" y="405"/>
                  </a:lnTo>
                  <a:lnTo>
                    <a:pt x="51" y="397"/>
                  </a:lnTo>
                  <a:lnTo>
                    <a:pt x="49" y="393"/>
                  </a:lnTo>
                  <a:lnTo>
                    <a:pt x="51" y="390"/>
                  </a:lnTo>
                  <a:lnTo>
                    <a:pt x="49" y="388"/>
                  </a:lnTo>
                  <a:lnTo>
                    <a:pt x="51" y="386"/>
                  </a:lnTo>
                  <a:lnTo>
                    <a:pt x="49" y="380"/>
                  </a:lnTo>
                  <a:lnTo>
                    <a:pt x="51" y="376"/>
                  </a:lnTo>
                  <a:lnTo>
                    <a:pt x="48" y="376"/>
                  </a:lnTo>
                  <a:lnTo>
                    <a:pt x="43" y="373"/>
                  </a:lnTo>
                  <a:lnTo>
                    <a:pt x="41" y="366"/>
                  </a:lnTo>
                  <a:lnTo>
                    <a:pt x="38" y="361"/>
                  </a:lnTo>
                  <a:lnTo>
                    <a:pt x="34" y="361"/>
                  </a:lnTo>
                  <a:lnTo>
                    <a:pt x="36" y="356"/>
                  </a:lnTo>
                  <a:lnTo>
                    <a:pt x="27" y="349"/>
                  </a:lnTo>
                  <a:lnTo>
                    <a:pt x="27" y="344"/>
                  </a:lnTo>
                  <a:lnTo>
                    <a:pt x="31" y="339"/>
                  </a:lnTo>
                  <a:lnTo>
                    <a:pt x="26" y="337"/>
                  </a:lnTo>
                  <a:lnTo>
                    <a:pt x="26" y="334"/>
                  </a:lnTo>
                  <a:lnTo>
                    <a:pt x="20" y="330"/>
                  </a:lnTo>
                  <a:lnTo>
                    <a:pt x="17" y="330"/>
                  </a:lnTo>
                  <a:lnTo>
                    <a:pt x="15" y="334"/>
                  </a:lnTo>
                  <a:lnTo>
                    <a:pt x="12" y="335"/>
                  </a:lnTo>
                  <a:lnTo>
                    <a:pt x="10" y="334"/>
                  </a:lnTo>
                  <a:lnTo>
                    <a:pt x="7" y="337"/>
                  </a:lnTo>
                  <a:lnTo>
                    <a:pt x="8" y="334"/>
                  </a:lnTo>
                  <a:lnTo>
                    <a:pt x="8" y="330"/>
                  </a:lnTo>
                  <a:lnTo>
                    <a:pt x="3" y="332"/>
                  </a:lnTo>
                  <a:lnTo>
                    <a:pt x="0" y="327"/>
                  </a:lnTo>
                  <a:lnTo>
                    <a:pt x="2" y="322"/>
                  </a:lnTo>
                  <a:lnTo>
                    <a:pt x="8" y="322"/>
                  </a:lnTo>
                  <a:lnTo>
                    <a:pt x="8" y="318"/>
                  </a:lnTo>
                  <a:lnTo>
                    <a:pt x="3" y="320"/>
                  </a:lnTo>
                  <a:lnTo>
                    <a:pt x="3" y="318"/>
                  </a:lnTo>
                  <a:lnTo>
                    <a:pt x="8" y="313"/>
                  </a:lnTo>
                  <a:lnTo>
                    <a:pt x="10" y="308"/>
                  </a:lnTo>
                  <a:lnTo>
                    <a:pt x="14" y="306"/>
                  </a:lnTo>
                  <a:lnTo>
                    <a:pt x="15" y="301"/>
                  </a:lnTo>
                  <a:lnTo>
                    <a:pt x="19" y="303"/>
                  </a:lnTo>
                  <a:lnTo>
                    <a:pt x="19" y="299"/>
                  </a:lnTo>
                  <a:lnTo>
                    <a:pt x="19" y="298"/>
                  </a:lnTo>
                  <a:lnTo>
                    <a:pt x="17" y="298"/>
                  </a:lnTo>
                  <a:lnTo>
                    <a:pt x="15" y="289"/>
                  </a:lnTo>
                  <a:lnTo>
                    <a:pt x="15" y="286"/>
                  </a:lnTo>
                  <a:lnTo>
                    <a:pt x="14" y="284"/>
                  </a:lnTo>
                  <a:lnTo>
                    <a:pt x="12" y="275"/>
                  </a:lnTo>
                  <a:lnTo>
                    <a:pt x="15" y="269"/>
                  </a:lnTo>
                  <a:lnTo>
                    <a:pt x="14" y="265"/>
                  </a:lnTo>
                  <a:lnTo>
                    <a:pt x="19" y="263"/>
                  </a:lnTo>
                  <a:lnTo>
                    <a:pt x="20" y="260"/>
                  </a:lnTo>
                  <a:lnTo>
                    <a:pt x="27" y="255"/>
                  </a:lnTo>
                  <a:lnTo>
                    <a:pt x="27" y="252"/>
                  </a:lnTo>
                  <a:lnTo>
                    <a:pt x="26" y="250"/>
                  </a:lnTo>
                  <a:lnTo>
                    <a:pt x="31" y="246"/>
                  </a:lnTo>
                  <a:lnTo>
                    <a:pt x="34" y="241"/>
                  </a:lnTo>
                  <a:lnTo>
                    <a:pt x="38" y="245"/>
                  </a:lnTo>
                  <a:lnTo>
                    <a:pt x="38" y="248"/>
                  </a:lnTo>
                  <a:lnTo>
                    <a:pt x="41" y="255"/>
                  </a:lnTo>
                  <a:lnTo>
                    <a:pt x="43" y="260"/>
                  </a:lnTo>
                  <a:lnTo>
                    <a:pt x="44" y="263"/>
                  </a:lnTo>
                  <a:lnTo>
                    <a:pt x="46" y="269"/>
                  </a:lnTo>
                  <a:lnTo>
                    <a:pt x="49" y="270"/>
                  </a:lnTo>
                  <a:lnTo>
                    <a:pt x="51" y="267"/>
                  </a:lnTo>
                  <a:lnTo>
                    <a:pt x="51" y="262"/>
                  </a:lnTo>
                  <a:lnTo>
                    <a:pt x="49" y="257"/>
                  </a:lnTo>
                  <a:lnTo>
                    <a:pt x="49" y="250"/>
                  </a:lnTo>
                  <a:lnTo>
                    <a:pt x="44" y="246"/>
                  </a:lnTo>
                  <a:lnTo>
                    <a:pt x="43" y="241"/>
                  </a:lnTo>
                  <a:lnTo>
                    <a:pt x="43" y="240"/>
                  </a:lnTo>
                  <a:lnTo>
                    <a:pt x="41" y="236"/>
                  </a:lnTo>
                  <a:lnTo>
                    <a:pt x="41" y="229"/>
                  </a:lnTo>
                  <a:lnTo>
                    <a:pt x="38" y="222"/>
                  </a:lnTo>
                  <a:lnTo>
                    <a:pt x="38" y="212"/>
                  </a:lnTo>
                  <a:lnTo>
                    <a:pt x="36" y="207"/>
                  </a:lnTo>
                  <a:lnTo>
                    <a:pt x="38" y="205"/>
                  </a:lnTo>
                  <a:lnTo>
                    <a:pt x="39" y="197"/>
                  </a:lnTo>
                  <a:lnTo>
                    <a:pt x="41" y="193"/>
                  </a:lnTo>
                  <a:lnTo>
                    <a:pt x="44" y="187"/>
                  </a:lnTo>
                  <a:lnTo>
                    <a:pt x="41" y="182"/>
                  </a:lnTo>
                  <a:lnTo>
                    <a:pt x="43" y="180"/>
                  </a:lnTo>
                  <a:lnTo>
                    <a:pt x="41" y="178"/>
                  </a:lnTo>
                  <a:lnTo>
                    <a:pt x="34" y="182"/>
                  </a:lnTo>
                  <a:lnTo>
                    <a:pt x="31" y="180"/>
                  </a:lnTo>
                  <a:lnTo>
                    <a:pt x="26" y="176"/>
                  </a:lnTo>
                  <a:lnTo>
                    <a:pt x="24" y="171"/>
                  </a:lnTo>
                  <a:lnTo>
                    <a:pt x="19" y="164"/>
                  </a:lnTo>
                  <a:lnTo>
                    <a:pt x="26" y="166"/>
                  </a:lnTo>
                  <a:lnTo>
                    <a:pt x="26" y="161"/>
                  </a:lnTo>
                  <a:lnTo>
                    <a:pt x="34" y="166"/>
                  </a:lnTo>
                  <a:lnTo>
                    <a:pt x="34" y="171"/>
                  </a:lnTo>
                  <a:lnTo>
                    <a:pt x="38" y="173"/>
                  </a:lnTo>
                  <a:lnTo>
                    <a:pt x="39" y="176"/>
                  </a:lnTo>
                  <a:lnTo>
                    <a:pt x="44" y="178"/>
                  </a:lnTo>
                  <a:lnTo>
                    <a:pt x="46" y="176"/>
                  </a:lnTo>
                  <a:lnTo>
                    <a:pt x="49" y="170"/>
                  </a:lnTo>
                  <a:lnTo>
                    <a:pt x="51" y="166"/>
                  </a:lnTo>
                  <a:lnTo>
                    <a:pt x="51" y="158"/>
                  </a:lnTo>
                  <a:lnTo>
                    <a:pt x="51" y="154"/>
                  </a:lnTo>
                  <a:lnTo>
                    <a:pt x="48" y="149"/>
                  </a:lnTo>
                  <a:lnTo>
                    <a:pt x="46" y="147"/>
                  </a:lnTo>
                  <a:lnTo>
                    <a:pt x="39" y="141"/>
                  </a:lnTo>
                  <a:lnTo>
                    <a:pt x="39" y="137"/>
                  </a:lnTo>
                  <a:lnTo>
                    <a:pt x="43" y="135"/>
                  </a:lnTo>
                  <a:lnTo>
                    <a:pt x="46" y="137"/>
                  </a:lnTo>
                  <a:lnTo>
                    <a:pt x="55" y="137"/>
                  </a:lnTo>
                  <a:lnTo>
                    <a:pt x="53" y="129"/>
                  </a:lnTo>
                  <a:lnTo>
                    <a:pt x="51" y="129"/>
                  </a:lnTo>
                  <a:lnTo>
                    <a:pt x="48" y="123"/>
                  </a:lnTo>
                  <a:lnTo>
                    <a:pt x="53" y="117"/>
                  </a:lnTo>
                  <a:lnTo>
                    <a:pt x="51" y="108"/>
                  </a:lnTo>
                  <a:lnTo>
                    <a:pt x="55" y="106"/>
                  </a:lnTo>
                  <a:lnTo>
                    <a:pt x="60" y="106"/>
                  </a:lnTo>
                  <a:lnTo>
                    <a:pt x="67" y="106"/>
                  </a:lnTo>
                  <a:lnTo>
                    <a:pt x="72" y="101"/>
                  </a:lnTo>
                  <a:lnTo>
                    <a:pt x="70" y="98"/>
                  </a:lnTo>
                  <a:lnTo>
                    <a:pt x="70" y="91"/>
                  </a:lnTo>
                  <a:lnTo>
                    <a:pt x="68" y="84"/>
                  </a:lnTo>
                  <a:lnTo>
                    <a:pt x="70" y="81"/>
                  </a:lnTo>
                  <a:lnTo>
                    <a:pt x="70" y="77"/>
                  </a:lnTo>
                  <a:lnTo>
                    <a:pt x="72" y="77"/>
                  </a:lnTo>
                  <a:lnTo>
                    <a:pt x="73" y="76"/>
                  </a:lnTo>
                  <a:lnTo>
                    <a:pt x="78" y="74"/>
                  </a:lnTo>
                  <a:lnTo>
                    <a:pt x="80" y="74"/>
                  </a:lnTo>
                  <a:lnTo>
                    <a:pt x="87" y="72"/>
                  </a:lnTo>
                  <a:lnTo>
                    <a:pt x="94" y="67"/>
                  </a:lnTo>
                  <a:lnTo>
                    <a:pt x="96" y="64"/>
                  </a:lnTo>
                  <a:lnTo>
                    <a:pt x="94" y="57"/>
                  </a:lnTo>
                  <a:lnTo>
                    <a:pt x="96" y="48"/>
                  </a:lnTo>
                  <a:lnTo>
                    <a:pt x="99" y="48"/>
                  </a:lnTo>
                  <a:lnTo>
                    <a:pt x="99" y="45"/>
                  </a:lnTo>
                  <a:lnTo>
                    <a:pt x="107" y="45"/>
                  </a:lnTo>
                  <a:lnTo>
                    <a:pt x="109" y="47"/>
                  </a:lnTo>
                  <a:lnTo>
                    <a:pt x="107" y="48"/>
                  </a:lnTo>
                  <a:lnTo>
                    <a:pt x="106" y="50"/>
                  </a:lnTo>
                  <a:lnTo>
                    <a:pt x="106" y="57"/>
                  </a:lnTo>
                  <a:lnTo>
                    <a:pt x="106" y="60"/>
                  </a:lnTo>
                  <a:lnTo>
                    <a:pt x="109" y="64"/>
                  </a:lnTo>
                  <a:lnTo>
                    <a:pt x="111" y="60"/>
                  </a:lnTo>
                  <a:lnTo>
                    <a:pt x="111" y="64"/>
                  </a:lnTo>
                  <a:lnTo>
                    <a:pt x="114" y="69"/>
                  </a:lnTo>
                  <a:lnTo>
                    <a:pt x="123" y="70"/>
                  </a:lnTo>
                  <a:lnTo>
                    <a:pt x="125" y="69"/>
                  </a:lnTo>
                  <a:lnTo>
                    <a:pt x="130" y="69"/>
                  </a:lnTo>
                  <a:lnTo>
                    <a:pt x="133" y="70"/>
                  </a:lnTo>
                  <a:lnTo>
                    <a:pt x="131" y="72"/>
                  </a:lnTo>
                  <a:lnTo>
                    <a:pt x="137" y="74"/>
                  </a:lnTo>
                  <a:lnTo>
                    <a:pt x="135" y="70"/>
                  </a:lnTo>
                  <a:lnTo>
                    <a:pt x="137" y="67"/>
                  </a:lnTo>
                  <a:lnTo>
                    <a:pt x="138" y="67"/>
                  </a:lnTo>
                  <a:lnTo>
                    <a:pt x="138" y="64"/>
                  </a:lnTo>
                  <a:lnTo>
                    <a:pt x="138" y="60"/>
                  </a:lnTo>
                  <a:lnTo>
                    <a:pt x="138" y="59"/>
                  </a:lnTo>
                  <a:lnTo>
                    <a:pt x="142" y="53"/>
                  </a:lnTo>
                  <a:lnTo>
                    <a:pt x="142" y="52"/>
                  </a:lnTo>
                  <a:lnTo>
                    <a:pt x="147" y="50"/>
                  </a:lnTo>
                  <a:lnTo>
                    <a:pt x="147" y="48"/>
                  </a:lnTo>
                  <a:lnTo>
                    <a:pt x="148" y="50"/>
                  </a:lnTo>
                  <a:lnTo>
                    <a:pt x="147" y="48"/>
                  </a:lnTo>
                  <a:lnTo>
                    <a:pt x="148" y="48"/>
                  </a:lnTo>
                  <a:lnTo>
                    <a:pt x="147" y="47"/>
                  </a:lnTo>
                  <a:lnTo>
                    <a:pt x="150" y="45"/>
                  </a:lnTo>
                  <a:lnTo>
                    <a:pt x="152" y="47"/>
                  </a:lnTo>
                  <a:lnTo>
                    <a:pt x="152" y="48"/>
                  </a:lnTo>
                  <a:lnTo>
                    <a:pt x="154" y="48"/>
                  </a:lnTo>
                  <a:lnTo>
                    <a:pt x="157" y="43"/>
                  </a:lnTo>
                  <a:lnTo>
                    <a:pt x="160" y="40"/>
                  </a:lnTo>
                  <a:lnTo>
                    <a:pt x="162" y="40"/>
                  </a:lnTo>
                  <a:lnTo>
                    <a:pt x="162" y="33"/>
                  </a:lnTo>
                  <a:lnTo>
                    <a:pt x="159" y="31"/>
                  </a:lnTo>
                  <a:lnTo>
                    <a:pt x="160" y="24"/>
                  </a:lnTo>
                  <a:lnTo>
                    <a:pt x="162" y="24"/>
                  </a:lnTo>
                  <a:lnTo>
                    <a:pt x="166" y="23"/>
                  </a:lnTo>
                  <a:lnTo>
                    <a:pt x="166" y="19"/>
                  </a:lnTo>
                  <a:lnTo>
                    <a:pt x="162" y="18"/>
                  </a:lnTo>
                  <a:lnTo>
                    <a:pt x="164" y="12"/>
                  </a:lnTo>
                  <a:lnTo>
                    <a:pt x="162" y="12"/>
                  </a:lnTo>
                  <a:lnTo>
                    <a:pt x="164" y="9"/>
                  </a:lnTo>
                  <a:lnTo>
                    <a:pt x="162" y="4"/>
                  </a:lnTo>
                  <a:lnTo>
                    <a:pt x="171" y="6"/>
                  </a:lnTo>
                  <a:lnTo>
                    <a:pt x="174" y="0"/>
                  </a:lnTo>
                  <a:lnTo>
                    <a:pt x="176" y="2"/>
                  </a:lnTo>
                  <a:lnTo>
                    <a:pt x="174" y="4"/>
                  </a:lnTo>
                  <a:lnTo>
                    <a:pt x="174" y="6"/>
                  </a:lnTo>
                  <a:lnTo>
                    <a:pt x="172" y="4"/>
                  </a:lnTo>
                  <a:lnTo>
                    <a:pt x="172" y="7"/>
                  </a:lnTo>
                  <a:lnTo>
                    <a:pt x="176" y="4"/>
                  </a:lnTo>
                  <a:lnTo>
                    <a:pt x="177" y="6"/>
                  </a:lnTo>
                  <a:lnTo>
                    <a:pt x="176" y="4"/>
                  </a:lnTo>
                  <a:lnTo>
                    <a:pt x="179" y="2"/>
                  </a:lnTo>
                  <a:lnTo>
                    <a:pt x="188" y="4"/>
                  </a:lnTo>
                  <a:lnTo>
                    <a:pt x="193" y="7"/>
                  </a:lnTo>
                  <a:lnTo>
                    <a:pt x="195" y="6"/>
                  </a:lnTo>
                  <a:lnTo>
                    <a:pt x="198" y="6"/>
                  </a:lnTo>
                  <a:lnTo>
                    <a:pt x="203" y="9"/>
                  </a:lnTo>
                  <a:lnTo>
                    <a:pt x="210" y="14"/>
                  </a:lnTo>
                  <a:lnTo>
                    <a:pt x="217" y="16"/>
                  </a:lnTo>
                  <a:lnTo>
                    <a:pt x="222" y="12"/>
                  </a:lnTo>
                  <a:lnTo>
                    <a:pt x="225" y="12"/>
                  </a:lnTo>
                  <a:lnTo>
                    <a:pt x="229" y="14"/>
                  </a:lnTo>
                  <a:lnTo>
                    <a:pt x="234" y="12"/>
                  </a:lnTo>
                  <a:lnTo>
                    <a:pt x="237" y="7"/>
                  </a:lnTo>
                  <a:lnTo>
                    <a:pt x="241" y="7"/>
                  </a:lnTo>
                  <a:lnTo>
                    <a:pt x="242" y="12"/>
                  </a:lnTo>
                  <a:lnTo>
                    <a:pt x="241" y="14"/>
                  </a:lnTo>
                  <a:lnTo>
                    <a:pt x="236" y="16"/>
                  </a:lnTo>
                  <a:lnTo>
                    <a:pt x="237" y="18"/>
                  </a:lnTo>
                  <a:lnTo>
                    <a:pt x="236" y="21"/>
                  </a:lnTo>
                  <a:lnTo>
                    <a:pt x="237" y="26"/>
                  </a:lnTo>
                  <a:lnTo>
                    <a:pt x="242" y="31"/>
                  </a:lnTo>
                  <a:lnTo>
                    <a:pt x="247" y="33"/>
                  </a:lnTo>
                  <a:lnTo>
                    <a:pt x="253" y="36"/>
                  </a:lnTo>
                  <a:lnTo>
                    <a:pt x="261" y="36"/>
                  </a:lnTo>
                  <a:lnTo>
                    <a:pt x="263" y="38"/>
                  </a:lnTo>
                  <a:lnTo>
                    <a:pt x="263" y="36"/>
                  </a:lnTo>
                  <a:lnTo>
                    <a:pt x="268" y="35"/>
                  </a:lnTo>
                  <a:lnTo>
                    <a:pt x="270" y="40"/>
                  </a:lnTo>
                  <a:lnTo>
                    <a:pt x="271" y="38"/>
                  </a:lnTo>
                  <a:lnTo>
                    <a:pt x="270" y="35"/>
                  </a:lnTo>
                  <a:lnTo>
                    <a:pt x="271" y="35"/>
                  </a:lnTo>
                  <a:lnTo>
                    <a:pt x="275" y="36"/>
                  </a:lnTo>
                  <a:lnTo>
                    <a:pt x="285" y="33"/>
                  </a:lnTo>
                  <a:lnTo>
                    <a:pt x="292" y="35"/>
                  </a:lnTo>
                  <a:lnTo>
                    <a:pt x="297" y="31"/>
                  </a:lnTo>
                  <a:lnTo>
                    <a:pt x="299" y="36"/>
                  </a:lnTo>
                  <a:lnTo>
                    <a:pt x="300" y="36"/>
                  </a:lnTo>
                  <a:lnTo>
                    <a:pt x="300" y="40"/>
                  </a:lnTo>
                  <a:lnTo>
                    <a:pt x="304" y="41"/>
                  </a:lnTo>
                  <a:lnTo>
                    <a:pt x="311" y="38"/>
                  </a:lnTo>
                  <a:lnTo>
                    <a:pt x="312" y="35"/>
                  </a:lnTo>
                  <a:lnTo>
                    <a:pt x="314" y="36"/>
                  </a:lnTo>
                  <a:lnTo>
                    <a:pt x="319" y="36"/>
                  </a:lnTo>
                  <a:lnTo>
                    <a:pt x="319" y="38"/>
                  </a:lnTo>
                  <a:lnTo>
                    <a:pt x="324" y="38"/>
                  </a:lnTo>
                  <a:lnTo>
                    <a:pt x="324" y="40"/>
                  </a:lnTo>
                  <a:lnTo>
                    <a:pt x="328" y="36"/>
                  </a:lnTo>
                  <a:lnTo>
                    <a:pt x="329" y="4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2" name="Freeform 65"/>
            <p:cNvSpPr>
              <a:spLocks noEditPoints="1"/>
            </p:cNvSpPr>
            <p:nvPr/>
          </p:nvSpPr>
          <p:spPr bwMode="gray">
            <a:xfrm>
              <a:off x="6066813" y="3340774"/>
              <a:ext cx="246264" cy="594684"/>
            </a:xfrm>
            <a:custGeom>
              <a:avLst/>
              <a:gdLst>
                <a:gd name="T0" fmla="*/ 16 w 135"/>
                <a:gd name="T1" fmla="*/ 217 h 326"/>
                <a:gd name="T2" fmla="*/ 122 w 135"/>
                <a:gd name="T3" fmla="*/ 152 h 326"/>
                <a:gd name="T4" fmla="*/ 104 w 135"/>
                <a:gd name="T5" fmla="*/ 174 h 326"/>
                <a:gd name="T6" fmla="*/ 113 w 135"/>
                <a:gd name="T7" fmla="*/ 193 h 326"/>
                <a:gd name="T8" fmla="*/ 125 w 135"/>
                <a:gd name="T9" fmla="*/ 215 h 326"/>
                <a:gd name="T10" fmla="*/ 104 w 135"/>
                <a:gd name="T11" fmla="*/ 229 h 326"/>
                <a:gd name="T12" fmla="*/ 98 w 135"/>
                <a:gd name="T13" fmla="*/ 243 h 326"/>
                <a:gd name="T14" fmla="*/ 99 w 135"/>
                <a:gd name="T15" fmla="*/ 262 h 326"/>
                <a:gd name="T16" fmla="*/ 94 w 135"/>
                <a:gd name="T17" fmla="*/ 275 h 326"/>
                <a:gd name="T18" fmla="*/ 77 w 135"/>
                <a:gd name="T19" fmla="*/ 282 h 326"/>
                <a:gd name="T20" fmla="*/ 82 w 135"/>
                <a:gd name="T21" fmla="*/ 296 h 326"/>
                <a:gd name="T22" fmla="*/ 86 w 135"/>
                <a:gd name="T23" fmla="*/ 313 h 326"/>
                <a:gd name="T24" fmla="*/ 81 w 135"/>
                <a:gd name="T25" fmla="*/ 314 h 326"/>
                <a:gd name="T26" fmla="*/ 74 w 135"/>
                <a:gd name="T27" fmla="*/ 313 h 326"/>
                <a:gd name="T28" fmla="*/ 63 w 135"/>
                <a:gd name="T29" fmla="*/ 313 h 326"/>
                <a:gd name="T30" fmla="*/ 38 w 135"/>
                <a:gd name="T31" fmla="*/ 318 h 326"/>
                <a:gd name="T32" fmla="*/ 26 w 135"/>
                <a:gd name="T33" fmla="*/ 323 h 326"/>
                <a:gd name="T34" fmla="*/ 14 w 135"/>
                <a:gd name="T35" fmla="*/ 314 h 326"/>
                <a:gd name="T36" fmla="*/ 11 w 135"/>
                <a:gd name="T37" fmla="*/ 297 h 326"/>
                <a:gd name="T38" fmla="*/ 9 w 135"/>
                <a:gd name="T39" fmla="*/ 279 h 326"/>
                <a:gd name="T40" fmla="*/ 5 w 135"/>
                <a:gd name="T41" fmla="*/ 268 h 326"/>
                <a:gd name="T42" fmla="*/ 12 w 135"/>
                <a:gd name="T43" fmla="*/ 262 h 326"/>
                <a:gd name="T44" fmla="*/ 11 w 135"/>
                <a:gd name="T45" fmla="*/ 239 h 326"/>
                <a:gd name="T46" fmla="*/ 2 w 135"/>
                <a:gd name="T47" fmla="*/ 229 h 326"/>
                <a:gd name="T48" fmla="*/ 14 w 135"/>
                <a:gd name="T49" fmla="*/ 219 h 326"/>
                <a:gd name="T50" fmla="*/ 31 w 135"/>
                <a:gd name="T51" fmla="*/ 209 h 326"/>
                <a:gd name="T52" fmla="*/ 46 w 135"/>
                <a:gd name="T53" fmla="*/ 195 h 326"/>
                <a:gd name="T54" fmla="*/ 48 w 135"/>
                <a:gd name="T55" fmla="*/ 168 h 326"/>
                <a:gd name="T56" fmla="*/ 53 w 135"/>
                <a:gd name="T57" fmla="*/ 150 h 326"/>
                <a:gd name="T58" fmla="*/ 70 w 135"/>
                <a:gd name="T59" fmla="*/ 133 h 326"/>
                <a:gd name="T60" fmla="*/ 67 w 135"/>
                <a:gd name="T61" fmla="*/ 115 h 326"/>
                <a:gd name="T62" fmla="*/ 63 w 135"/>
                <a:gd name="T63" fmla="*/ 98 h 326"/>
                <a:gd name="T64" fmla="*/ 69 w 135"/>
                <a:gd name="T65" fmla="*/ 87 h 326"/>
                <a:gd name="T66" fmla="*/ 70 w 135"/>
                <a:gd name="T67" fmla="*/ 58 h 326"/>
                <a:gd name="T68" fmla="*/ 70 w 135"/>
                <a:gd name="T69" fmla="*/ 38 h 326"/>
                <a:gd name="T70" fmla="*/ 86 w 135"/>
                <a:gd name="T71" fmla="*/ 26 h 326"/>
                <a:gd name="T72" fmla="*/ 98 w 135"/>
                <a:gd name="T73" fmla="*/ 0 h 326"/>
                <a:gd name="T74" fmla="*/ 99 w 135"/>
                <a:gd name="T75" fmla="*/ 21 h 326"/>
                <a:gd name="T76" fmla="*/ 103 w 135"/>
                <a:gd name="T77" fmla="*/ 34 h 326"/>
                <a:gd name="T78" fmla="*/ 94 w 135"/>
                <a:gd name="T79" fmla="*/ 43 h 326"/>
                <a:gd name="T80" fmla="*/ 92 w 135"/>
                <a:gd name="T81" fmla="*/ 53 h 326"/>
                <a:gd name="T82" fmla="*/ 87 w 135"/>
                <a:gd name="T83" fmla="*/ 67 h 326"/>
                <a:gd name="T84" fmla="*/ 94 w 135"/>
                <a:gd name="T85" fmla="*/ 69 h 326"/>
                <a:gd name="T86" fmla="*/ 104 w 135"/>
                <a:gd name="T87" fmla="*/ 65 h 326"/>
                <a:gd name="T88" fmla="*/ 111 w 135"/>
                <a:gd name="T89" fmla="*/ 79 h 326"/>
                <a:gd name="T90" fmla="*/ 122 w 135"/>
                <a:gd name="T91" fmla="*/ 96 h 326"/>
                <a:gd name="T92" fmla="*/ 135 w 135"/>
                <a:gd name="T93" fmla="*/ 111 h 326"/>
                <a:gd name="T94" fmla="*/ 135 w 135"/>
                <a:gd name="T95" fmla="*/ 125 h 326"/>
                <a:gd name="T96" fmla="*/ 133 w 135"/>
                <a:gd name="T97" fmla="*/ 14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326">
                  <a:moveTo>
                    <a:pt x="16" y="217"/>
                  </a:moveTo>
                  <a:lnTo>
                    <a:pt x="16" y="214"/>
                  </a:lnTo>
                  <a:lnTo>
                    <a:pt x="17" y="212"/>
                  </a:lnTo>
                  <a:lnTo>
                    <a:pt x="16" y="217"/>
                  </a:lnTo>
                  <a:close/>
                  <a:moveTo>
                    <a:pt x="133" y="140"/>
                  </a:moveTo>
                  <a:lnTo>
                    <a:pt x="128" y="145"/>
                  </a:lnTo>
                  <a:lnTo>
                    <a:pt x="127" y="152"/>
                  </a:lnTo>
                  <a:lnTo>
                    <a:pt x="122" y="152"/>
                  </a:lnTo>
                  <a:lnTo>
                    <a:pt x="122" y="156"/>
                  </a:lnTo>
                  <a:lnTo>
                    <a:pt x="115" y="162"/>
                  </a:lnTo>
                  <a:lnTo>
                    <a:pt x="104" y="168"/>
                  </a:lnTo>
                  <a:lnTo>
                    <a:pt x="104" y="174"/>
                  </a:lnTo>
                  <a:lnTo>
                    <a:pt x="111" y="180"/>
                  </a:lnTo>
                  <a:lnTo>
                    <a:pt x="113" y="178"/>
                  </a:lnTo>
                  <a:lnTo>
                    <a:pt x="116" y="186"/>
                  </a:lnTo>
                  <a:lnTo>
                    <a:pt x="113" y="193"/>
                  </a:lnTo>
                  <a:lnTo>
                    <a:pt x="118" y="198"/>
                  </a:lnTo>
                  <a:lnTo>
                    <a:pt x="115" y="207"/>
                  </a:lnTo>
                  <a:lnTo>
                    <a:pt x="122" y="212"/>
                  </a:lnTo>
                  <a:lnTo>
                    <a:pt x="125" y="215"/>
                  </a:lnTo>
                  <a:lnTo>
                    <a:pt x="120" y="219"/>
                  </a:lnTo>
                  <a:lnTo>
                    <a:pt x="120" y="224"/>
                  </a:lnTo>
                  <a:lnTo>
                    <a:pt x="111" y="229"/>
                  </a:lnTo>
                  <a:lnTo>
                    <a:pt x="104" y="229"/>
                  </a:lnTo>
                  <a:lnTo>
                    <a:pt x="103" y="227"/>
                  </a:lnTo>
                  <a:lnTo>
                    <a:pt x="99" y="229"/>
                  </a:lnTo>
                  <a:lnTo>
                    <a:pt x="98" y="236"/>
                  </a:lnTo>
                  <a:lnTo>
                    <a:pt x="98" y="243"/>
                  </a:lnTo>
                  <a:lnTo>
                    <a:pt x="96" y="246"/>
                  </a:lnTo>
                  <a:lnTo>
                    <a:pt x="99" y="253"/>
                  </a:lnTo>
                  <a:lnTo>
                    <a:pt x="98" y="256"/>
                  </a:lnTo>
                  <a:lnTo>
                    <a:pt x="99" y="262"/>
                  </a:lnTo>
                  <a:lnTo>
                    <a:pt x="104" y="267"/>
                  </a:lnTo>
                  <a:lnTo>
                    <a:pt x="106" y="273"/>
                  </a:lnTo>
                  <a:lnTo>
                    <a:pt x="103" y="272"/>
                  </a:lnTo>
                  <a:lnTo>
                    <a:pt x="94" y="275"/>
                  </a:lnTo>
                  <a:lnTo>
                    <a:pt x="91" y="279"/>
                  </a:lnTo>
                  <a:lnTo>
                    <a:pt x="86" y="280"/>
                  </a:lnTo>
                  <a:lnTo>
                    <a:pt x="81" y="279"/>
                  </a:lnTo>
                  <a:lnTo>
                    <a:pt x="77" y="282"/>
                  </a:lnTo>
                  <a:lnTo>
                    <a:pt x="74" y="282"/>
                  </a:lnTo>
                  <a:lnTo>
                    <a:pt x="74" y="284"/>
                  </a:lnTo>
                  <a:lnTo>
                    <a:pt x="82" y="291"/>
                  </a:lnTo>
                  <a:lnTo>
                    <a:pt x="82" y="296"/>
                  </a:lnTo>
                  <a:lnTo>
                    <a:pt x="82" y="297"/>
                  </a:lnTo>
                  <a:lnTo>
                    <a:pt x="81" y="299"/>
                  </a:lnTo>
                  <a:lnTo>
                    <a:pt x="86" y="302"/>
                  </a:lnTo>
                  <a:lnTo>
                    <a:pt x="86" y="313"/>
                  </a:lnTo>
                  <a:lnTo>
                    <a:pt x="89" y="314"/>
                  </a:lnTo>
                  <a:lnTo>
                    <a:pt x="86" y="318"/>
                  </a:lnTo>
                  <a:lnTo>
                    <a:pt x="84" y="316"/>
                  </a:lnTo>
                  <a:lnTo>
                    <a:pt x="81" y="314"/>
                  </a:lnTo>
                  <a:lnTo>
                    <a:pt x="81" y="313"/>
                  </a:lnTo>
                  <a:lnTo>
                    <a:pt x="79" y="314"/>
                  </a:lnTo>
                  <a:lnTo>
                    <a:pt x="75" y="313"/>
                  </a:lnTo>
                  <a:lnTo>
                    <a:pt x="74" y="313"/>
                  </a:lnTo>
                  <a:lnTo>
                    <a:pt x="70" y="309"/>
                  </a:lnTo>
                  <a:lnTo>
                    <a:pt x="65" y="309"/>
                  </a:lnTo>
                  <a:lnTo>
                    <a:pt x="63" y="309"/>
                  </a:lnTo>
                  <a:lnTo>
                    <a:pt x="63" y="313"/>
                  </a:lnTo>
                  <a:lnTo>
                    <a:pt x="55" y="316"/>
                  </a:lnTo>
                  <a:lnTo>
                    <a:pt x="46" y="316"/>
                  </a:lnTo>
                  <a:lnTo>
                    <a:pt x="43" y="320"/>
                  </a:lnTo>
                  <a:lnTo>
                    <a:pt x="38" y="318"/>
                  </a:lnTo>
                  <a:lnTo>
                    <a:pt x="31" y="320"/>
                  </a:lnTo>
                  <a:lnTo>
                    <a:pt x="29" y="323"/>
                  </a:lnTo>
                  <a:lnTo>
                    <a:pt x="29" y="325"/>
                  </a:lnTo>
                  <a:lnTo>
                    <a:pt x="26" y="323"/>
                  </a:lnTo>
                  <a:lnTo>
                    <a:pt x="21" y="326"/>
                  </a:lnTo>
                  <a:lnTo>
                    <a:pt x="17" y="318"/>
                  </a:lnTo>
                  <a:lnTo>
                    <a:pt x="17" y="316"/>
                  </a:lnTo>
                  <a:lnTo>
                    <a:pt x="14" y="314"/>
                  </a:lnTo>
                  <a:lnTo>
                    <a:pt x="14" y="311"/>
                  </a:lnTo>
                  <a:lnTo>
                    <a:pt x="11" y="304"/>
                  </a:lnTo>
                  <a:lnTo>
                    <a:pt x="12" y="299"/>
                  </a:lnTo>
                  <a:lnTo>
                    <a:pt x="11" y="297"/>
                  </a:lnTo>
                  <a:lnTo>
                    <a:pt x="12" y="294"/>
                  </a:lnTo>
                  <a:lnTo>
                    <a:pt x="9" y="285"/>
                  </a:lnTo>
                  <a:lnTo>
                    <a:pt x="11" y="284"/>
                  </a:lnTo>
                  <a:lnTo>
                    <a:pt x="9" y="279"/>
                  </a:lnTo>
                  <a:lnTo>
                    <a:pt x="4" y="273"/>
                  </a:lnTo>
                  <a:lnTo>
                    <a:pt x="2" y="270"/>
                  </a:lnTo>
                  <a:lnTo>
                    <a:pt x="4" y="268"/>
                  </a:lnTo>
                  <a:lnTo>
                    <a:pt x="5" y="268"/>
                  </a:lnTo>
                  <a:lnTo>
                    <a:pt x="5" y="267"/>
                  </a:lnTo>
                  <a:lnTo>
                    <a:pt x="9" y="268"/>
                  </a:lnTo>
                  <a:lnTo>
                    <a:pt x="11" y="268"/>
                  </a:lnTo>
                  <a:lnTo>
                    <a:pt x="12" y="262"/>
                  </a:lnTo>
                  <a:lnTo>
                    <a:pt x="11" y="256"/>
                  </a:lnTo>
                  <a:lnTo>
                    <a:pt x="14" y="253"/>
                  </a:lnTo>
                  <a:lnTo>
                    <a:pt x="16" y="244"/>
                  </a:lnTo>
                  <a:lnTo>
                    <a:pt x="11" y="239"/>
                  </a:lnTo>
                  <a:lnTo>
                    <a:pt x="2" y="243"/>
                  </a:lnTo>
                  <a:lnTo>
                    <a:pt x="2" y="236"/>
                  </a:lnTo>
                  <a:lnTo>
                    <a:pt x="0" y="232"/>
                  </a:lnTo>
                  <a:lnTo>
                    <a:pt x="2" y="229"/>
                  </a:lnTo>
                  <a:lnTo>
                    <a:pt x="4" y="227"/>
                  </a:lnTo>
                  <a:lnTo>
                    <a:pt x="4" y="221"/>
                  </a:lnTo>
                  <a:lnTo>
                    <a:pt x="7" y="212"/>
                  </a:lnTo>
                  <a:lnTo>
                    <a:pt x="14" y="219"/>
                  </a:lnTo>
                  <a:lnTo>
                    <a:pt x="19" y="219"/>
                  </a:lnTo>
                  <a:lnTo>
                    <a:pt x="22" y="215"/>
                  </a:lnTo>
                  <a:lnTo>
                    <a:pt x="29" y="212"/>
                  </a:lnTo>
                  <a:lnTo>
                    <a:pt x="31" y="209"/>
                  </a:lnTo>
                  <a:lnTo>
                    <a:pt x="33" y="209"/>
                  </a:lnTo>
                  <a:lnTo>
                    <a:pt x="34" y="198"/>
                  </a:lnTo>
                  <a:lnTo>
                    <a:pt x="45" y="197"/>
                  </a:lnTo>
                  <a:lnTo>
                    <a:pt x="46" y="195"/>
                  </a:lnTo>
                  <a:lnTo>
                    <a:pt x="45" y="193"/>
                  </a:lnTo>
                  <a:lnTo>
                    <a:pt x="46" y="185"/>
                  </a:lnTo>
                  <a:lnTo>
                    <a:pt x="45" y="176"/>
                  </a:lnTo>
                  <a:lnTo>
                    <a:pt x="48" y="168"/>
                  </a:lnTo>
                  <a:lnTo>
                    <a:pt x="46" y="162"/>
                  </a:lnTo>
                  <a:lnTo>
                    <a:pt x="50" y="157"/>
                  </a:lnTo>
                  <a:lnTo>
                    <a:pt x="52" y="156"/>
                  </a:lnTo>
                  <a:lnTo>
                    <a:pt x="53" y="150"/>
                  </a:lnTo>
                  <a:lnTo>
                    <a:pt x="57" y="140"/>
                  </a:lnTo>
                  <a:lnTo>
                    <a:pt x="55" y="139"/>
                  </a:lnTo>
                  <a:lnTo>
                    <a:pt x="65" y="132"/>
                  </a:lnTo>
                  <a:lnTo>
                    <a:pt x="70" y="133"/>
                  </a:lnTo>
                  <a:lnTo>
                    <a:pt x="70" y="128"/>
                  </a:lnTo>
                  <a:lnTo>
                    <a:pt x="74" y="121"/>
                  </a:lnTo>
                  <a:lnTo>
                    <a:pt x="72" y="116"/>
                  </a:lnTo>
                  <a:lnTo>
                    <a:pt x="67" y="115"/>
                  </a:lnTo>
                  <a:lnTo>
                    <a:pt x="69" y="111"/>
                  </a:lnTo>
                  <a:lnTo>
                    <a:pt x="67" y="103"/>
                  </a:lnTo>
                  <a:lnTo>
                    <a:pt x="63" y="101"/>
                  </a:lnTo>
                  <a:lnTo>
                    <a:pt x="63" y="98"/>
                  </a:lnTo>
                  <a:lnTo>
                    <a:pt x="67" y="96"/>
                  </a:lnTo>
                  <a:lnTo>
                    <a:pt x="65" y="92"/>
                  </a:lnTo>
                  <a:lnTo>
                    <a:pt x="69" y="91"/>
                  </a:lnTo>
                  <a:lnTo>
                    <a:pt x="69" y="87"/>
                  </a:lnTo>
                  <a:lnTo>
                    <a:pt x="67" y="82"/>
                  </a:lnTo>
                  <a:lnTo>
                    <a:pt x="65" y="72"/>
                  </a:lnTo>
                  <a:lnTo>
                    <a:pt x="65" y="65"/>
                  </a:lnTo>
                  <a:lnTo>
                    <a:pt x="70" y="58"/>
                  </a:lnTo>
                  <a:lnTo>
                    <a:pt x="70" y="60"/>
                  </a:lnTo>
                  <a:lnTo>
                    <a:pt x="67" y="51"/>
                  </a:lnTo>
                  <a:lnTo>
                    <a:pt x="70" y="41"/>
                  </a:lnTo>
                  <a:lnTo>
                    <a:pt x="70" y="38"/>
                  </a:lnTo>
                  <a:lnTo>
                    <a:pt x="75" y="38"/>
                  </a:lnTo>
                  <a:lnTo>
                    <a:pt x="75" y="34"/>
                  </a:lnTo>
                  <a:lnTo>
                    <a:pt x="81" y="33"/>
                  </a:lnTo>
                  <a:lnTo>
                    <a:pt x="86" y="26"/>
                  </a:lnTo>
                  <a:lnTo>
                    <a:pt x="87" y="19"/>
                  </a:lnTo>
                  <a:lnTo>
                    <a:pt x="92" y="12"/>
                  </a:lnTo>
                  <a:lnTo>
                    <a:pt x="92" y="5"/>
                  </a:lnTo>
                  <a:lnTo>
                    <a:pt x="98" y="0"/>
                  </a:lnTo>
                  <a:lnTo>
                    <a:pt x="99" y="4"/>
                  </a:lnTo>
                  <a:lnTo>
                    <a:pt x="96" y="10"/>
                  </a:lnTo>
                  <a:lnTo>
                    <a:pt x="98" y="19"/>
                  </a:lnTo>
                  <a:lnTo>
                    <a:pt x="99" y="21"/>
                  </a:lnTo>
                  <a:lnTo>
                    <a:pt x="99" y="24"/>
                  </a:lnTo>
                  <a:lnTo>
                    <a:pt x="101" y="33"/>
                  </a:lnTo>
                  <a:lnTo>
                    <a:pt x="103" y="33"/>
                  </a:lnTo>
                  <a:lnTo>
                    <a:pt x="103" y="34"/>
                  </a:lnTo>
                  <a:lnTo>
                    <a:pt x="103" y="38"/>
                  </a:lnTo>
                  <a:lnTo>
                    <a:pt x="99" y="36"/>
                  </a:lnTo>
                  <a:lnTo>
                    <a:pt x="98" y="41"/>
                  </a:lnTo>
                  <a:lnTo>
                    <a:pt x="94" y="43"/>
                  </a:lnTo>
                  <a:lnTo>
                    <a:pt x="92" y="48"/>
                  </a:lnTo>
                  <a:lnTo>
                    <a:pt x="87" y="53"/>
                  </a:lnTo>
                  <a:lnTo>
                    <a:pt x="87" y="55"/>
                  </a:lnTo>
                  <a:lnTo>
                    <a:pt x="92" y="53"/>
                  </a:lnTo>
                  <a:lnTo>
                    <a:pt x="92" y="57"/>
                  </a:lnTo>
                  <a:lnTo>
                    <a:pt x="86" y="57"/>
                  </a:lnTo>
                  <a:lnTo>
                    <a:pt x="84" y="62"/>
                  </a:lnTo>
                  <a:lnTo>
                    <a:pt x="87" y="67"/>
                  </a:lnTo>
                  <a:lnTo>
                    <a:pt x="92" y="65"/>
                  </a:lnTo>
                  <a:lnTo>
                    <a:pt x="92" y="69"/>
                  </a:lnTo>
                  <a:lnTo>
                    <a:pt x="91" y="72"/>
                  </a:lnTo>
                  <a:lnTo>
                    <a:pt x="94" y="69"/>
                  </a:lnTo>
                  <a:lnTo>
                    <a:pt x="96" y="70"/>
                  </a:lnTo>
                  <a:lnTo>
                    <a:pt x="99" y="69"/>
                  </a:lnTo>
                  <a:lnTo>
                    <a:pt x="101" y="65"/>
                  </a:lnTo>
                  <a:lnTo>
                    <a:pt x="104" y="65"/>
                  </a:lnTo>
                  <a:lnTo>
                    <a:pt x="110" y="69"/>
                  </a:lnTo>
                  <a:lnTo>
                    <a:pt x="110" y="72"/>
                  </a:lnTo>
                  <a:lnTo>
                    <a:pt x="115" y="74"/>
                  </a:lnTo>
                  <a:lnTo>
                    <a:pt x="111" y="79"/>
                  </a:lnTo>
                  <a:lnTo>
                    <a:pt x="111" y="84"/>
                  </a:lnTo>
                  <a:lnTo>
                    <a:pt x="120" y="91"/>
                  </a:lnTo>
                  <a:lnTo>
                    <a:pt x="118" y="96"/>
                  </a:lnTo>
                  <a:lnTo>
                    <a:pt x="122" y="96"/>
                  </a:lnTo>
                  <a:lnTo>
                    <a:pt x="125" y="101"/>
                  </a:lnTo>
                  <a:lnTo>
                    <a:pt x="127" y="108"/>
                  </a:lnTo>
                  <a:lnTo>
                    <a:pt x="132" y="111"/>
                  </a:lnTo>
                  <a:lnTo>
                    <a:pt x="135" y="111"/>
                  </a:lnTo>
                  <a:lnTo>
                    <a:pt x="133" y="115"/>
                  </a:lnTo>
                  <a:lnTo>
                    <a:pt x="135" y="121"/>
                  </a:lnTo>
                  <a:lnTo>
                    <a:pt x="133" y="123"/>
                  </a:lnTo>
                  <a:lnTo>
                    <a:pt x="135" y="125"/>
                  </a:lnTo>
                  <a:lnTo>
                    <a:pt x="133" y="128"/>
                  </a:lnTo>
                  <a:lnTo>
                    <a:pt x="135" y="132"/>
                  </a:lnTo>
                  <a:lnTo>
                    <a:pt x="135" y="140"/>
                  </a:lnTo>
                  <a:lnTo>
                    <a:pt x="133" y="14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3" name="Freeform 66"/>
            <p:cNvSpPr>
              <a:spLocks noEditPoints="1"/>
            </p:cNvSpPr>
            <p:nvPr/>
          </p:nvSpPr>
          <p:spPr bwMode="gray">
            <a:xfrm>
              <a:off x="6528332" y="3762160"/>
              <a:ext cx="811761" cy="749740"/>
            </a:xfrm>
            <a:custGeom>
              <a:avLst/>
              <a:gdLst>
                <a:gd name="T0" fmla="*/ 377 w 445"/>
                <a:gd name="T1" fmla="*/ 376 h 411"/>
                <a:gd name="T2" fmla="*/ 364 w 445"/>
                <a:gd name="T3" fmla="*/ 365 h 411"/>
                <a:gd name="T4" fmla="*/ 364 w 445"/>
                <a:gd name="T5" fmla="*/ 353 h 411"/>
                <a:gd name="T6" fmla="*/ 355 w 445"/>
                <a:gd name="T7" fmla="*/ 331 h 411"/>
                <a:gd name="T8" fmla="*/ 142 w 445"/>
                <a:gd name="T9" fmla="*/ 326 h 411"/>
                <a:gd name="T10" fmla="*/ 352 w 445"/>
                <a:gd name="T11" fmla="*/ 338 h 411"/>
                <a:gd name="T12" fmla="*/ 208 w 445"/>
                <a:gd name="T13" fmla="*/ 319 h 411"/>
                <a:gd name="T14" fmla="*/ 415 w 445"/>
                <a:gd name="T15" fmla="*/ 309 h 411"/>
                <a:gd name="T16" fmla="*/ 106 w 445"/>
                <a:gd name="T17" fmla="*/ 297 h 411"/>
                <a:gd name="T18" fmla="*/ 217 w 445"/>
                <a:gd name="T19" fmla="*/ 302 h 411"/>
                <a:gd name="T20" fmla="*/ 131 w 445"/>
                <a:gd name="T21" fmla="*/ 275 h 411"/>
                <a:gd name="T22" fmla="*/ 140 w 445"/>
                <a:gd name="T23" fmla="*/ 304 h 411"/>
                <a:gd name="T24" fmla="*/ 119 w 445"/>
                <a:gd name="T25" fmla="*/ 312 h 411"/>
                <a:gd name="T26" fmla="*/ 119 w 445"/>
                <a:gd name="T27" fmla="*/ 280 h 411"/>
                <a:gd name="T28" fmla="*/ 140 w 445"/>
                <a:gd name="T29" fmla="*/ 253 h 411"/>
                <a:gd name="T30" fmla="*/ 261 w 445"/>
                <a:gd name="T31" fmla="*/ 249 h 411"/>
                <a:gd name="T32" fmla="*/ 258 w 445"/>
                <a:gd name="T33" fmla="*/ 237 h 411"/>
                <a:gd name="T34" fmla="*/ 171 w 445"/>
                <a:gd name="T35" fmla="*/ 232 h 411"/>
                <a:gd name="T36" fmla="*/ 177 w 445"/>
                <a:gd name="T37" fmla="*/ 222 h 411"/>
                <a:gd name="T38" fmla="*/ 227 w 445"/>
                <a:gd name="T39" fmla="*/ 254 h 411"/>
                <a:gd name="T40" fmla="*/ 208 w 445"/>
                <a:gd name="T41" fmla="*/ 297 h 411"/>
                <a:gd name="T42" fmla="*/ 198 w 445"/>
                <a:gd name="T43" fmla="*/ 299 h 411"/>
                <a:gd name="T44" fmla="*/ 167 w 445"/>
                <a:gd name="T45" fmla="*/ 314 h 411"/>
                <a:gd name="T46" fmla="*/ 179 w 445"/>
                <a:gd name="T47" fmla="*/ 271 h 411"/>
                <a:gd name="T48" fmla="*/ 205 w 445"/>
                <a:gd name="T49" fmla="*/ 227 h 411"/>
                <a:gd name="T50" fmla="*/ 220 w 445"/>
                <a:gd name="T51" fmla="*/ 217 h 411"/>
                <a:gd name="T52" fmla="*/ 263 w 445"/>
                <a:gd name="T53" fmla="*/ 200 h 411"/>
                <a:gd name="T54" fmla="*/ 280 w 445"/>
                <a:gd name="T55" fmla="*/ 230 h 411"/>
                <a:gd name="T56" fmla="*/ 268 w 445"/>
                <a:gd name="T57" fmla="*/ 239 h 411"/>
                <a:gd name="T58" fmla="*/ 251 w 445"/>
                <a:gd name="T59" fmla="*/ 261 h 411"/>
                <a:gd name="T60" fmla="*/ 266 w 445"/>
                <a:gd name="T61" fmla="*/ 292 h 411"/>
                <a:gd name="T62" fmla="*/ 251 w 445"/>
                <a:gd name="T63" fmla="*/ 314 h 411"/>
                <a:gd name="T64" fmla="*/ 224 w 445"/>
                <a:gd name="T65" fmla="*/ 343 h 411"/>
                <a:gd name="T66" fmla="*/ 210 w 445"/>
                <a:gd name="T67" fmla="*/ 323 h 411"/>
                <a:gd name="T68" fmla="*/ 232 w 445"/>
                <a:gd name="T69" fmla="*/ 294 h 411"/>
                <a:gd name="T70" fmla="*/ 227 w 445"/>
                <a:gd name="T71" fmla="*/ 268 h 411"/>
                <a:gd name="T72" fmla="*/ 236 w 445"/>
                <a:gd name="T73" fmla="*/ 217 h 411"/>
                <a:gd name="T74" fmla="*/ 68 w 445"/>
                <a:gd name="T75" fmla="*/ 160 h 411"/>
                <a:gd name="T76" fmla="*/ 61 w 445"/>
                <a:gd name="T77" fmla="*/ 157 h 411"/>
                <a:gd name="T78" fmla="*/ 273 w 445"/>
                <a:gd name="T79" fmla="*/ 176 h 411"/>
                <a:gd name="T80" fmla="*/ 177 w 445"/>
                <a:gd name="T81" fmla="*/ 92 h 411"/>
                <a:gd name="T82" fmla="*/ 188 w 445"/>
                <a:gd name="T83" fmla="*/ 89 h 411"/>
                <a:gd name="T84" fmla="*/ 143 w 445"/>
                <a:gd name="T85" fmla="*/ 20 h 411"/>
                <a:gd name="T86" fmla="*/ 171 w 445"/>
                <a:gd name="T87" fmla="*/ 65 h 411"/>
                <a:gd name="T88" fmla="*/ 164 w 445"/>
                <a:gd name="T89" fmla="*/ 73 h 411"/>
                <a:gd name="T90" fmla="*/ 159 w 445"/>
                <a:gd name="T91" fmla="*/ 95 h 411"/>
                <a:gd name="T92" fmla="*/ 193 w 445"/>
                <a:gd name="T93" fmla="*/ 126 h 411"/>
                <a:gd name="T94" fmla="*/ 213 w 445"/>
                <a:gd name="T95" fmla="*/ 148 h 411"/>
                <a:gd name="T96" fmla="*/ 236 w 445"/>
                <a:gd name="T97" fmla="*/ 165 h 411"/>
                <a:gd name="T98" fmla="*/ 241 w 445"/>
                <a:gd name="T99" fmla="*/ 183 h 411"/>
                <a:gd name="T100" fmla="*/ 213 w 445"/>
                <a:gd name="T101" fmla="*/ 189 h 411"/>
                <a:gd name="T102" fmla="*/ 205 w 445"/>
                <a:gd name="T103" fmla="*/ 194 h 411"/>
                <a:gd name="T104" fmla="*/ 154 w 445"/>
                <a:gd name="T105" fmla="*/ 210 h 411"/>
                <a:gd name="T106" fmla="*/ 145 w 445"/>
                <a:gd name="T107" fmla="*/ 246 h 411"/>
                <a:gd name="T108" fmla="*/ 97 w 445"/>
                <a:gd name="T109" fmla="*/ 249 h 411"/>
                <a:gd name="T110" fmla="*/ 77 w 445"/>
                <a:gd name="T111" fmla="*/ 201 h 411"/>
                <a:gd name="T112" fmla="*/ 89 w 445"/>
                <a:gd name="T113" fmla="*/ 155 h 411"/>
                <a:gd name="T114" fmla="*/ 48 w 445"/>
                <a:gd name="T115" fmla="*/ 133 h 411"/>
                <a:gd name="T116" fmla="*/ 2 w 445"/>
                <a:gd name="T117" fmla="*/ 90 h 411"/>
                <a:gd name="T118" fmla="*/ 20 w 445"/>
                <a:gd name="T119" fmla="*/ 39 h 411"/>
                <a:gd name="T120" fmla="*/ 26 w 445"/>
                <a:gd name="T121" fmla="*/ 10 h 411"/>
                <a:gd name="T122" fmla="*/ 34 w 445"/>
                <a:gd name="T123" fmla="*/ 5 h 411"/>
                <a:gd name="T124" fmla="*/ 78 w 445"/>
                <a:gd name="T125" fmla="*/ 22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5" h="411">
                  <a:moveTo>
                    <a:pt x="217" y="408"/>
                  </a:moveTo>
                  <a:lnTo>
                    <a:pt x="217" y="410"/>
                  </a:lnTo>
                  <a:lnTo>
                    <a:pt x="220" y="411"/>
                  </a:lnTo>
                  <a:lnTo>
                    <a:pt x="215" y="411"/>
                  </a:lnTo>
                  <a:lnTo>
                    <a:pt x="213" y="408"/>
                  </a:lnTo>
                  <a:lnTo>
                    <a:pt x="217" y="408"/>
                  </a:lnTo>
                  <a:close/>
                  <a:moveTo>
                    <a:pt x="444" y="399"/>
                  </a:moveTo>
                  <a:lnTo>
                    <a:pt x="445" y="399"/>
                  </a:lnTo>
                  <a:lnTo>
                    <a:pt x="445" y="403"/>
                  </a:lnTo>
                  <a:lnTo>
                    <a:pt x="444" y="403"/>
                  </a:lnTo>
                  <a:lnTo>
                    <a:pt x="444" y="399"/>
                  </a:lnTo>
                  <a:close/>
                  <a:moveTo>
                    <a:pt x="372" y="372"/>
                  </a:moveTo>
                  <a:lnTo>
                    <a:pt x="377" y="376"/>
                  </a:lnTo>
                  <a:lnTo>
                    <a:pt x="381" y="382"/>
                  </a:lnTo>
                  <a:lnTo>
                    <a:pt x="382" y="386"/>
                  </a:lnTo>
                  <a:lnTo>
                    <a:pt x="382" y="389"/>
                  </a:lnTo>
                  <a:lnTo>
                    <a:pt x="379" y="391"/>
                  </a:lnTo>
                  <a:lnTo>
                    <a:pt x="377" y="389"/>
                  </a:lnTo>
                  <a:lnTo>
                    <a:pt x="379" y="384"/>
                  </a:lnTo>
                  <a:lnTo>
                    <a:pt x="370" y="382"/>
                  </a:lnTo>
                  <a:lnTo>
                    <a:pt x="369" y="379"/>
                  </a:lnTo>
                  <a:lnTo>
                    <a:pt x="372" y="372"/>
                  </a:lnTo>
                  <a:close/>
                  <a:moveTo>
                    <a:pt x="362" y="364"/>
                  </a:moveTo>
                  <a:lnTo>
                    <a:pt x="365" y="364"/>
                  </a:lnTo>
                  <a:lnTo>
                    <a:pt x="367" y="365"/>
                  </a:lnTo>
                  <a:lnTo>
                    <a:pt x="364" y="365"/>
                  </a:lnTo>
                  <a:lnTo>
                    <a:pt x="362" y="364"/>
                  </a:lnTo>
                  <a:close/>
                  <a:moveTo>
                    <a:pt x="360" y="358"/>
                  </a:moveTo>
                  <a:lnTo>
                    <a:pt x="364" y="358"/>
                  </a:lnTo>
                  <a:lnTo>
                    <a:pt x="364" y="360"/>
                  </a:lnTo>
                  <a:lnTo>
                    <a:pt x="360" y="360"/>
                  </a:lnTo>
                  <a:lnTo>
                    <a:pt x="360" y="358"/>
                  </a:lnTo>
                  <a:close/>
                  <a:moveTo>
                    <a:pt x="364" y="353"/>
                  </a:moveTo>
                  <a:lnTo>
                    <a:pt x="369" y="355"/>
                  </a:lnTo>
                  <a:lnTo>
                    <a:pt x="374" y="358"/>
                  </a:lnTo>
                  <a:lnTo>
                    <a:pt x="367" y="360"/>
                  </a:lnTo>
                  <a:lnTo>
                    <a:pt x="364" y="360"/>
                  </a:lnTo>
                  <a:lnTo>
                    <a:pt x="360" y="353"/>
                  </a:lnTo>
                  <a:lnTo>
                    <a:pt x="364" y="353"/>
                  </a:lnTo>
                  <a:close/>
                  <a:moveTo>
                    <a:pt x="195" y="341"/>
                  </a:moveTo>
                  <a:lnTo>
                    <a:pt x="200" y="341"/>
                  </a:lnTo>
                  <a:lnTo>
                    <a:pt x="200" y="345"/>
                  </a:lnTo>
                  <a:lnTo>
                    <a:pt x="200" y="348"/>
                  </a:lnTo>
                  <a:lnTo>
                    <a:pt x="189" y="350"/>
                  </a:lnTo>
                  <a:lnTo>
                    <a:pt x="195" y="341"/>
                  </a:lnTo>
                  <a:close/>
                  <a:moveTo>
                    <a:pt x="355" y="333"/>
                  </a:moveTo>
                  <a:lnTo>
                    <a:pt x="358" y="336"/>
                  </a:lnTo>
                  <a:lnTo>
                    <a:pt x="357" y="338"/>
                  </a:lnTo>
                  <a:lnTo>
                    <a:pt x="353" y="336"/>
                  </a:lnTo>
                  <a:lnTo>
                    <a:pt x="353" y="335"/>
                  </a:lnTo>
                  <a:lnTo>
                    <a:pt x="355" y="333"/>
                  </a:lnTo>
                  <a:close/>
                  <a:moveTo>
                    <a:pt x="355" y="331"/>
                  </a:moveTo>
                  <a:lnTo>
                    <a:pt x="357" y="331"/>
                  </a:lnTo>
                  <a:lnTo>
                    <a:pt x="357" y="333"/>
                  </a:lnTo>
                  <a:lnTo>
                    <a:pt x="355" y="333"/>
                  </a:lnTo>
                  <a:lnTo>
                    <a:pt x="355" y="331"/>
                  </a:lnTo>
                  <a:close/>
                  <a:moveTo>
                    <a:pt x="196" y="326"/>
                  </a:moveTo>
                  <a:lnTo>
                    <a:pt x="195" y="335"/>
                  </a:lnTo>
                  <a:lnTo>
                    <a:pt x="193" y="335"/>
                  </a:lnTo>
                  <a:lnTo>
                    <a:pt x="191" y="331"/>
                  </a:lnTo>
                  <a:lnTo>
                    <a:pt x="196" y="326"/>
                  </a:lnTo>
                  <a:close/>
                  <a:moveTo>
                    <a:pt x="142" y="326"/>
                  </a:moveTo>
                  <a:lnTo>
                    <a:pt x="138" y="329"/>
                  </a:lnTo>
                  <a:lnTo>
                    <a:pt x="133" y="329"/>
                  </a:lnTo>
                  <a:lnTo>
                    <a:pt x="142" y="326"/>
                  </a:lnTo>
                  <a:close/>
                  <a:moveTo>
                    <a:pt x="143" y="323"/>
                  </a:moveTo>
                  <a:lnTo>
                    <a:pt x="145" y="323"/>
                  </a:lnTo>
                  <a:lnTo>
                    <a:pt x="145" y="326"/>
                  </a:lnTo>
                  <a:lnTo>
                    <a:pt x="143" y="326"/>
                  </a:lnTo>
                  <a:lnTo>
                    <a:pt x="143" y="323"/>
                  </a:lnTo>
                  <a:close/>
                  <a:moveTo>
                    <a:pt x="338" y="323"/>
                  </a:moveTo>
                  <a:lnTo>
                    <a:pt x="341" y="324"/>
                  </a:lnTo>
                  <a:lnTo>
                    <a:pt x="346" y="328"/>
                  </a:lnTo>
                  <a:lnTo>
                    <a:pt x="350" y="333"/>
                  </a:lnTo>
                  <a:lnTo>
                    <a:pt x="352" y="333"/>
                  </a:lnTo>
                  <a:lnTo>
                    <a:pt x="353" y="335"/>
                  </a:lnTo>
                  <a:lnTo>
                    <a:pt x="350" y="336"/>
                  </a:lnTo>
                  <a:lnTo>
                    <a:pt x="352" y="338"/>
                  </a:lnTo>
                  <a:lnTo>
                    <a:pt x="346" y="338"/>
                  </a:lnTo>
                  <a:lnTo>
                    <a:pt x="345" y="333"/>
                  </a:lnTo>
                  <a:lnTo>
                    <a:pt x="340" y="328"/>
                  </a:lnTo>
                  <a:lnTo>
                    <a:pt x="338" y="323"/>
                  </a:lnTo>
                  <a:close/>
                  <a:moveTo>
                    <a:pt x="345" y="321"/>
                  </a:moveTo>
                  <a:lnTo>
                    <a:pt x="348" y="321"/>
                  </a:lnTo>
                  <a:lnTo>
                    <a:pt x="348" y="324"/>
                  </a:lnTo>
                  <a:lnTo>
                    <a:pt x="345" y="324"/>
                  </a:lnTo>
                  <a:lnTo>
                    <a:pt x="345" y="321"/>
                  </a:lnTo>
                  <a:close/>
                  <a:moveTo>
                    <a:pt x="208" y="316"/>
                  </a:moveTo>
                  <a:lnTo>
                    <a:pt x="210" y="316"/>
                  </a:lnTo>
                  <a:lnTo>
                    <a:pt x="210" y="319"/>
                  </a:lnTo>
                  <a:lnTo>
                    <a:pt x="208" y="319"/>
                  </a:lnTo>
                  <a:lnTo>
                    <a:pt x="208" y="316"/>
                  </a:lnTo>
                  <a:close/>
                  <a:moveTo>
                    <a:pt x="328" y="316"/>
                  </a:moveTo>
                  <a:lnTo>
                    <a:pt x="331" y="317"/>
                  </a:lnTo>
                  <a:lnTo>
                    <a:pt x="329" y="319"/>
                  </a:lnTo>
                  <a:lnTo>
                    <a:pt x="324" y="316"/>
                  </a:lnTo>
                  <a:lnTo>
                    <a:pt x="328" y="316"/>
                  </a:lnTo>
                  <a:close/>
                  <a:moveTo>
                    <a:pt x="311" y="305"/>
                  </a:moveTo>
                  <a:lnTo>
                    <a:pt x="319" y="312"/>
                  </a:lnTo>
                  <a:lnTo>
                    <a:pt x="311" y="309"/>
                  </a:lnTo>
                  <a:lnTo>
                    <a:pt x="309" y="307"/>
                  </a:lnTo>
                  <a:lnTo>
                    <a:pt x="311" y="305"/>
                  </a:lnTo>
                  <a:close/>
                  <a:moveTo>
                    <a:pt x="413" y="305"/>
                  </a:moveTo>
                  <a:lnTo>
                    <a:pt x="415" y="309"/>
                  </a:lnTo>
                  <a:lnTo>
                    <a:pt x="413" y="307"/>
                  </a:lnTo>
                  <a:lnTo>
                    <a:pt x="411" y="305"/>
                  </a:lnTo>
                  <a:lnTo>
                    <a:pt x="413" y="305"/>
                  </a:lnTo>
                  <a:close/>
                  <a:moveTo>
                    <a:pt x="142" y="300"/>
                  </a:moveTo>
                  <a:lnTo>
                    <a:pt x="143" y="300"/>
                  </a:lnTo>
                  <a:lnTo>
                    <a:pt x="143" y="304"/>
                  </a:lnTo>
                  <a:lnTo>
                    <a:pt x="142" y="304"/>
                  </a:lnTo>
                  <a:lnTo>
                    <a:pt x="142" y="300"/>
                  </a:lnTo>
                  <a:close/>
                  <a:moveTo>
                    <a:pt x="106" y="297"/>
                  </a:moveTo>
                  <a:lnTo>
                    <a:pt x="107" y="297"/>
                  </a:lnTo>
                  <a:lnTo>
                    <a:pt x="107" y="300"/>
                  </a:lnTo>
                  <a:lnTo>
                    <a:pt x="106" y="300"/>
                  </a:lnTo>
                  <a:lnTo>
                    <a:pt x="106" y="297"/>
                  </a:lnTo>
                  <a:close/>
                  <a:moveTo>
                    <a:pt x="324" y="297"/>
                  </a:moveTo>
                  <a:lnTo>
                    <a:pt x="331" y="302"/>
                  </a:lnTo>
                  <a:lnTo>
                    <a:pt x="331" y="311"/>
                  </a:lnTo>
                  <a:lnTo>
                    <a:pt x="328" y="312"/>
                  </a:lnTo>
                  <a:lnTo>
                    <a:pt x="323" y="312"/>
                  </a:lnTo>
                  <a:lnTo>
                    <a:pt x="319" y="309"/>
                  </a:lnTo>
                  <a:lnTo>
                    <a:pt x="317" y="304"/>
                  </a:lnTo>
                  <a:lnTo>
                    <a:pt x="316" y="297"/>
                  </a:lnTo>
                  <a:lnTo>
                    <a:pt x="324" y="297"/>
                  </a:lnTo>
                  <a:close/>
                  <a:moveTo>
                    <a:pt x="217" y="302"/>
                  </a:moveTo>
                  <a:lnTo>
                    <a:pt x="220" y="295"/>
                  </a:lnTo>
                  <a:lnTo>
                    <a:pt x="218" y="300"/>
                  </a:lnTo>
                  <a:lnTo>
                    <a:pt x="217" y="302"/>
                  </a:lnTo>
                  <a:close/>
                  <a:moveTo>
                    <a:pt x="220" y="288"/>
                  </a:moveTo>
                  <a:lnTo>
                    <a:pt x="222" y="288"/>
                  </a:lnTo>
                  <a:lnTo>
                    <a:pt x="222" y="292"/>
                  </a:lnTo>
                  <a:lnTo>
                    <a:pt x="220" y="292"/>
                  </a:lnTo>
                  <a:lnTo>
                    <a:pt x="220" y="288"/>
                  </a:lnTo>
                  <a:close/>
                  <a:moveTo>
                    <a:pt x="114" y="285"/>
                  </a:moveTo>
                  <a:lnTo>
                    <a:pt x="113" y="285"/>
                  </a:lnTo>
                  <a:lnTo>
                    <a:pt x="114" y="282"/>
                  </a:lnTo>
                  <a:lnTo>
                    <a:pt x="114" y="285"/>
                  </a:lnTo>
                  <a:close/>
                  <a:moveTo>
                    <a:pt x="121" y="278"/>
                  </a:moveTo>
                  <a:lnTo>
                    <a:pt x="126" y="280"/>
                  </a:lnTo>
                  <a:lnTo>
                    <a:pt x="126" y="275"/>
                  </a:lnTo>
                  <a:lnTo>
                    <a:pt x="131" y="275"/>
                  </a:lnTo>
                  <a:lnTo>
                    <a:pt x="133" y="278"/>
                  </a:lnTo>
                  <a:lnTo>
                    <a:pt x="131" y="282"/>
                  </a:lnTo>
                  <a:lnTo>
                    <a:pt x="133" y="285"/>
                  </a:lnTo>
                  <a:lnTo>
                    <a:pt x="137" y="287"/>
                  </a:lnTo>
                  <a:lnTo>
                    <a:pt x="135" y="285"/>
                  </a:lnTo>
                  <a:lnTo>
                    <a:pt x="138" y="285"/>
                  </a:lnTo>
                  <a:lnTo>
                    <a:pt x="142" y="288"/>
                  </a:lnTo>
                  <a:lnTo>
                    <a:pt x="142" y="290"/>
                  </a:lnTo>
                  <a:lnTo>
                    <a:pt x="143" y="290"/>
                  </a:lnTo>
                  <a:lnTo>
                    <a:pt x="143" y="295"/>
                  </a:lnTo>
                  <a:lnTo>
                    <a:pt x="138" y="295"/>
                  </a:lnTo>
                  <a:lnTo>
                    <a:pt x="140" y="299"/>
                  </a:lnTo>
                  <a:lnTo>
                    <a:pt x="140" y="304"/>
                  </a:lnTo>
                  <a:lnTo>
                    <a:pt x="138" y="309"/>
                  </a:lnTo>
                  <a:lnTo>
                    <a:pt x="138" y="311"/>
                  </a:lnTo>
                  <a:lnTo>
                    <a:pt x="140" y="311"/>
                  </a:lnTo>
                  <a:lnTo>
                    <a:pt x="140" y="319"/>
                  </a:lnTo>
                  <a:lnTo>
                    <a:pt x="140" y="323"/>
                  </a:lnTo>
                  <a:lnTo>
                    <a:pt x="138" y="324"/>
                  </a:lnTo>
                  <a:lnTo>
                    <a:pt x="133" y="323"/>
                  </a:lnTo>
                  <a:lnTo>
                    <a:pt x="130" y="324"/>
                  </a:lnTo>
                  <a:lnTo>
                    <a:pt x="128" y="326"/>
                  </a:lnTo>
                  <a:lnTo>
                    <a:pt x="128" y="321"/>
                  </a:lnTo>
                  <a:lnTo>
                    <a:pt x="125" y="316"/>
                  </a:lnTo>
                  <a:lnTo>
                    <a:pt x="123" y="316"/>
                  </a:lnTo>
                  <a:lnTo>
                    <a:pt x="119" y="312"/>
                  </a:lnTo>
                  <a:lnTo>
                    <a:pt x="113" y="304"/>
                  </a:lnTo>
                  <a:lnTo>
                    <a:pt x="113" y="302"/>
                  </a:lnTo>
                  <a:lnTo>
                    <a:pt x="109" y="300"/>
                  </a:lnTo>
                  <a:lnTo>
                    <a:pt x="111" y="292"/>
                  </a:lnTo>
                  <a:lnTo>
                    <a:pt x="114" y="290"/>
                  </a:lnTo>
                  <a:lnTo>
                    <a:pt x="113" y="287"/>
                  </a:lnTo>
                  <a:lnTo>
                    <a:pt x="116" y="285"/>
                  </a:lnTo>
                  <a:lnTo>
                    <a:pt x="118" y="285"/>
                  </a:lnTo>
                  <a:lnTo>
                    <a:pt x="119" y="285"/>
                  </a:lnTo>
                  <a:lnTo>
                    <a:pt x="116" y="280"/>
                  </a:lnTo>
                  <a:lnTo>
                    <a:pt x="116" y="278"/>
                  </a:lnTo>
                  <a:lnTo>
                    <a:pt x="118" y="282"/>
                  </a:lnTo>
                  <a:lnTo>
                    <a:pt x="119" y="280"/>
                  </a:lnTo>
                  <a:lnTo>
                    <a:pt x="116" y="278"/>
                  </a:lnTo>
                  <a:lnTo>
                    <a:pt x="121" y="273"/>
                  </a:lnTo>
                  <a:lnTo>
                    <a:pt x="121" y="278"/>
                  </a:lnTo>
                  <a:close/>
                  <a:moveTo>
                    <a:pt x="174" y="256"/>
                  </a:moveTo>
                  <a:lnTo>
                    <a:pt x="176" y="256"/>
                  </a:lnTo>
                  <a:lnTo>
                    <a:pt x="176" y="259"/>
                  </a:lnTo>
                  <a:lnTo>
                    <a:pt x="174" y="259"/>
                  </a:lnTo>
                  <a:lnTo>
                    <a:pt x="174" y="256"/>
                  </a:lnTo>
                  <a:close/>
                  <a:moveTo>
                    <a:pt x="140" y="253"/>
                  </a:moveTo>
                  <a:lnTo>
                    <a:pt x="142" y="253"/>
                  </a:lnTo>
                  <a:lnTo>
                    <a:pt x="142" y="254"/>
                  </a:lnTo>
                  <a:lnTo>
                    <a:pt x="140" y="254"/>
                  </a:lnTo>
                  <a:lnTo>
                    <a:pt x="140" y="253"/>
                  </a:lnTo>
                  <a:close/>
                  <a:moveTo>
                    <a:pt x="148" y="244"/>
                  </a:moveTo>
                  <a:lnTo>
                    <a:pt x="152" y="244"/>
                  </a:lnTo>
                  <a:lnTo>
                    <a:pt x="152" y="246"/>
                  </a:lnTo>
                  <a:lnTo>
                    <a:pt x="148" y="246"/>
                  </a:lnTo>
                  <a:lnTo>
                    <a:pt x="148" y="244"/>
                  </a:lnTo>
                  <a:close/>
                  <a:moveTo>
                    <a:pt x="265" y="242"/>
                  </a:moveTo>
                  <a:lnTo>
                    <a:pt x="268" y="242"/>
                  </a:lnTo>
                  <a:lnTo>
                    <a:pt x="268" y="249"/>
                  </a:lnTo>
                  <a:lnTo>
                    <a:pt x="266" y="249"/>
                  </a:lnTo>
                  <a:lnTo>
                    <a:pt x="266" y="247"/>
                  </a:lnTo>
                  <a:lnTo>
                    <a:pt x="266" y="249"/>
                  </a:lnTo>
                  <a:lnTo>
                    <a:pt x="261" y="247"/>
                  </a:lnTo>
                  <a:lnTo>
                    <a:pt x="261" y="249"/>
                  </a:lnTo>
                  <a:lnTo>
                    <a:pt x="258" y="247"/>
                  </a:lnTo>
                  <a:lnTo>
                    <a:pt x="261" y="246"/>
                  </a:lnTo>
                  <a:lnTo>
                    <a:pt x="261" y="244"/>
                  </a:lnTo>
                  <a:lnTo>
                    <a:pt x="259" y="244"/>
                  </a:lnTo>
                  <a:lnTo>
                    <a:pt x="261" y="244"/>
                  </a:lnTo>
                  <a:lnTo>
                    <a:pt x="263" y="242"/>
                  </a:lnTo>
                  <a:lnTo>
                    <a:pt x="263" y="244"/>
                  </a:lnTo>
                  <a:lnTo>
                    <a:pt x="265" y="242"/>
                  </a:lnTo>
                  <a:close/>
                  <a:moveTo>
                    <a:pt x="258" y="237"/>
                  </a:moveTo>
                  <a:lnTo>
                    <a:pt x="259" y="237"/>
                  </a:lnTo>
                  <a:lnTo>
                    <a:pt x="259" y="241"/>
                  </a:lnTo>
                  <a:lnTo>
                    <a:pt x="258" y="241"/>
                  </a:lnTo>
                  <a:lnTo>
                    <a:pt x="258" y="237"/>
                  </a:lnTo>
                  <a:close/>
                  <a:moveTo>
                    <a:pt x="268" y="235"/>
                  </a:moveTo>
                  <a:lnTo>
                    <a:pt x="270" y="235"/>
                  </a:lnTo>
                  <a:lnTo>
                    <a:pt x="270" y="239"/>
                  </a:lnTo>
                  <a:lnTo>
                    <a:pt x="268" y="239"/>
                  </a:lnTo>
                  <a:lnTo>
                    <a:pt x="268" y="235"/>
                  </a:lnTo>
                  <a:close/>
                  <a:moveTo>
                    <a:pt x="270" y="234"/>
                  </a:moveTo>
                  <a:lnTo>
                    <a:pt x="270" y="237"/>
                  </a:lnTo>
                  <a:lnTo>
                    <a:pt x="270" y="234"/>
                  </a:lnTo>
                  <a:close/>
                  <a:moveTo>
                    <a:pt x="171" y="232"/>
                  </a:moveTo>
                  <a:lnTo>
                    <a:pt x="169" y="232"/>
                  </a:lnTo>
                  <a:lnTo>
                    <a:pt x="172" y="229"/>
                  </a:lnTo>
                  <a:lnTo>
                    <a:pt x="172" y="230"/>
                  </a:lnTo>
                  <a:lnTo>
                    <a:pt x="171" y="232"/>
                  </a:lnTo>
                  <a:close/>
                  <a:moveTo>
                    <a:pt x="179" y="227"/>
                  </a:moveTo>
                  <a:lnTo>
                    <a:pt x="179" y="230"/>
                  </a:lnTo>
                  <a:lnTo>
                    <a:pt x="174" y="234"/>
                  </a:lnTo>
                  <a:lnTo>
                    <a:pt x="179" y="227"/>
                  </a:lnTo>
                  <a:close/>
                  <a:moveTo>
                    <a:pt x="176" y="224"/>
                  </a:moveTo>
                  <a:lnTo>
                    <a:pt x="177" y="224"/>
                  </a:lnTo>
                  <a:lnTo>
                    <a:pt x="177" y="227"/>
                  </a:lnTo>
                  <a:lnTo>
                    <a:pt x="176" y="227"/>
                  </a:lnTo>
                  <a:lnTo>
                    <a:pt x="176" y="224"/>
                  </a:lnTo>
                  <a:close/>
                  <a:moveTo>
                    <a:pt x="174" y="224"/>
                  </a:moveTo>
                  <a:lnTo>
                    <a:pt x="172" y="227"/>
                  </a:lnTo>
                  <a:lnTo>
                    <a:pt x="172" y="225"/>
                  </a:lnTo>
                  <a:lnTo>
                    <a:pt x="177" y="222"/>
                  </a:lnTo>
                  <a:lnTo>
                    <a:pt x="174" y="224"/>
                  </a:lnTo>
                  <a:close/>
                  <a:moveTo>
                    <a:pt x="215" y="220"/>
                  </a:moveTo>
                  <a:lnTo>
                    <a:pt x="224" y="225"/>
                  </a:lnTo>
                  <a:lnTo>
                    <a:pt x="222" y="225"/>
                  </a:lnTo>
                  <a:lnTo>
                    <a:pt x="222" y="229"/>
                  </a:lnTo>
                  <a:lnTo>
                    <a:pt x="220" y="230"/>
                  </a:lnTo>
                  <a:lnTo>
                    <a:pt x="224" y="235"/>
                  </a:lnTo>
                  <a:lnTo>
                    <a:pt x="224" y="239"/>
                  </a:lnTo>
                  <a:lnTo>
                    <a:pt x="224" y="241"/>
                  </a:lnTo>
                  <a:lnTo>
                    <a:pt x="222" y="249"/>
                  </a:lnTo>
                  <a:lnTo>
                    <a:pt x="222" y="253"/>
                  </a:lnTo>
                  <a:lnTo>
                    <a:pt x="225" y="253"/>
                  </a:lnTo>
                  <a:lnTo>
                    <a:pt x="227" y="254"/>
                  </a:lnTo>
                  <a:lnTo>
                    <a:pt x="225" y="256"/>
                  </a:lnTo>
                  <a:lnTo>
                    <a:pt x="225" y="263"/>
                  </a:lnTo>
                  <a:lnTo>
                    <a:pt x="220" y="263"/>
                  </a:lnTo>
                  <a:lnTo>
                    <a:pt x="218" y="268"/>
                  </a:lnTo>
                  <a:lnTo>
                    <a:pt x="215" y="271"/>
                  </a:lnTo>
                  <a:lnTo>
                    <a:pt x="210" y="275"/>
                  </a:lnTo>
                  <a:lnTo>
                    <a:pt x="208" y="278"/>
                  </a:lnTo>
                  <a:lnTo>
                    <a:pt x="208" y="280"/>
                  </a:lnTo>
                  <a:lnTo>
                    <a:pt x="205" y="285"/>
                  </a:lnTo>
                  <a:lnTo>
                    <a:pt x="205" y="290"/>
                  </a:lnTo>
                  <a:lnTo>
                    <a:pt x="210" y="290"/>
                  </a:lnTo>
                  <a:lnTo>
                    <a:pt x="203" y="297"/>
                  </a:lnTo>
                  <a:lnTo>
                    <a:pt x="208" y="297"/>
                  </a:lnTo>
                  <a:lnTo>
                    <a:pt x="212" y="299"/>
                  </a:lnTo>
                  <a:lnTo>
                    <a:pt x="212" y="309"/>
                  </a:lnTo>
                  <a:lnTo>
                    <a:pt x="208" y="311"/>
                  </a:lnTo>
                  <a:lnTo>
                    <a:pt x="208" y="309"/>
                  </a:lnTo>
                  <a:lnTo>
                    <a:pt x="205" y="311"/>
                  </a:lnTo>
                  <a:lnTo>
                    <a:pt x="205" y="319"/>
                  </a:lnTo>
                  <a:lnTo>
                    <a:pt x="201" y="316"/>
                  </a:lnTo>
                  <a:lnTo>
                    <a:pt x="200" y="319"/>
                  </a:lnTo>
                  <a:lnTo>
                    <a:pt x="196" y="319"/>
                  </a:lnTo>
                  <a:lnTo>
                    <a:pt x="196" y="316"/>
                  </a:lnTo>
                  <a:lnTo>
                    <a:pt x="198" y="305"/>
                  </a:lnTo>
                  <a:lnTo>
                    <a:pt x="196" y="304"/>
                  </a:lnTo>
                  <a:lnTo>
                    <a:pt x="198" y="299"/>
                  </a:lnTo>
                  <a:lnTo>
                    <a:pt x="191" y="302"/>
                  </a:lnTo>
                  <a:lnTo>
                    <a:pt x="195" y="309"/>
                  </a:lnTo>
                  <a:lnTo>
                    <a:pt x="193" y="311"/>
                  </a:lnTo>
                  <a:lnTo>
                    <a:pt x="189" y="311"/>
                  </a:lnTo>
                  <a:lnTo>
                    <a:pt x="189" y="316"/>
                  </a:lnTo>
                  <a:lnTo>
                    <a:pt x="183" y="314"/>
                  </a:lnTo>
                  <a:lnTo>
                    <a:pt x="179" y="307"/>
                  </a:lnTo>
                  <a:lnTo>
                    <a:pt x="188" y="304"/>
                  </a:lnTo>
                  <a:lnTo>
                    <a:pt x="179" y="305"/>
                  </a:lnTo>
                  <a:lnTo>
                    <a:pt x="179" y="307"/>
                  </a:lnTo>
                  <a:lnTo>
                    <a:pt x="179" y="311"/>
                  </a:lnTo>
                  <a:lnTo>
                    <a:pt x="177" y="314"/>
                  </a:lnTo>
                  <a:lnTo>
                    <a:pt x="167" y="314"/>
                  </a:lnTo>
                  <a:lnTo>
                    <a:pt x="166" y="312"/>
                  </a:lnTo>
                  <a:lnTo>
                    <a:pt x="166" y="305"/>
                  </a:lnTo>
                  <a:lnTo>
                    <a:pt x="167" y="302"/>
                  </a:lnTo>
                  <a:lnTo>
                    <a:pt x="172" y="295"/>
                  </a:lnTo>
                  <a:lnTo>
                    <a:pt x="171" y="290"/>
                  </a:lnTo>
                  <a:lnTo>
                    <a:pt x="172" y="288"/>
                  </a:lnTo>
                  <a:lnTo>
                    <a:pt x="171" y="285"/>
                  </a:lnTo>
                  <a:lnTo>
                    <a:pt x="172" y="280"/>
                  </a:lnTo>
                  <a:lnTo>
                    <a:pt x="181" y="275"/>
                  </a:lnTo>
                  <a:lnTo>
                    <a:pt x="184" y="278"/>
                  </a:lnTo>
                  <a:lnTo>
                    <a:pt x="183" y="275"/>
                  </a:lnTo>
                  <a:lnTo>
                    <a:pt x="181" y="275"/>
                  </a:lnTo>
                  <a:lnTo>
                    <a:pt x="179" y="271"/>
                  </a:lnTo>
                  <a:lnTo>
                    <a:pt x="179" y="261"/>
                  </a:lnTo>
                  <a:lnTo>
                    <a:pt x="176" y="258"/>
                  </a:lnTo>
                  <a:lnTo>
                    <a:pt x="174" y="251"/>
                  </a:lnTo>
                  <a:lnTo>
                    <a:pt x="172" y="247"/>
                  </a:lnTo>
                  <a:lnTo>
                    <a:pt x="172" y="246"/>
                  </a:lnTo>
                  <a:lnTo>
                    <a:pt x="174" y="244"/>
                  </a:lnTo>
                  <a:lnTo>
                    <a:pt x="179" y="235"/>
                  </a:lnTo>
                  <a:lnTo>
                    <a:pt x="183" y="237"/>
                  </a:lnTo>
                  <a:lnTo>
                    <a:pt x="191" y="235"/>
                  </a:lnTo>
                  <a:lnTo>
                    <a:pt x="191" y="234"/>
                  </a:lnTo>
                  <a:lnTo>
                    <a:pt x="193" y="234"/>
                  </a:lnTo>
                  <a:lnTo>
                    <a:pt x="198" y="232"/>
                  </a:lnTo>
                  <a:lnTo>
                    <a:pt x="205" y="227"/>
                  </a:lnTo>
                  <a:lnTo>
                    <a:pt x="207" y="224"/>
                  </a:lnTo>
                  <a:lnTo>
                    <a:pt x="210" y="224"/>
                  </a:lnTo>
                  <a:lnTo>
                    <a:pt x="215" y="220"/>
                  </a:lnTo>
                  <a:close/>
                  <a:moveTo>
                    <a:pt x="172" y="220"/>
                  </a:moveTo>
                  <a:lnTo>
                    <a:pt x="174" y="220"/>
                  </a:lnTo>
                  <a:lnTo>
                    <a:pt x="174" y="222"/>
                  </a:lnTo>
                  <a:lnTo>
                    <a:pt x="172" y="222"/>
                  </a:lnTo>
                  <a:lnTo>
                    <a:pt x="172" y="220"/>
                  </a:lnTo>
                  <a:close/>
                  <a:moveTo>
                    <a:pt x="220" y="217"/>
                  </a:moveTo>
                  <a:lnTo>
                    <a:pt x="222" y="217"/>
                  </a:lnTo>
                  <a:lnTo>
                    <a:pt x="222" y="218"/>
                  </a:lnTo>
                  <a:lnTo>
                    <a:pt x="220" y="218"/>
                  </a:lnTo>
                  <a:lnTo>
                    <a:pt x="220" y="217"/>
                  </a:lnTo>
                  <a:close/>
                  <a:moveTo>
                    <a:pt x="220" y="208"/>
                  </a:moveTo>
                  <a:lnTo>
                    <a:pt x="224" y="210"/>
                  </a:lnTo>
                  <a:lnTo>
                    <a:pt x="222" y="212"/>
                  </a:lnTo>
                  <a:lnTo>
                    <a:pt x="224" y="213"/>
                  </a:lnTo>
                  <a:lnTo>
                    <a:pt x="224" y="217"/>
                  </a:lnTo>
                  <a:lnTo>
                    <a:pt x="217" y="213"/>
                  </a:lnTo>
                  <a:lnTo>
                    <a:pt x="218" y="210"/>
                  </a:lnTo>
                  <a:lnTo>
                    <a:pt x="220" y="208"/>
                  </a:lnTo>
                  <a:close/>
                  <a:moveTo>
                    <a:pt x="261" y="191"/>
                  </a:moveTo>
                  <a:lnTo>
                    <a:pt x="265" y="191"/>
                  </a:lnTo>
                  <a:lnTo>
                    <a:pt x="265" y="193"/>
                  </a:lnTo>
                  <a:lnTo>
                    <a:pt x="259" y="198"/>
                  </a:lnTo>
                  <a:lnTo>
                    <a:pt x="263" y="200"/>
                  </a:lnTo>
                  <a:lnTo>
                    <a:pt x="265" y="201"/>
                  </a:lnTo>
                  <a:lnTo>
                    <a:pt x="266" y="201"/>
                  </a:lnTo>
                  <a:lnTo>
                    <a:pt x="268" y="205"/>
                  </a:lnTo>
                  <a:lnTo>
                    <a:pt x="271" y="205"/>
                  </a:lnTo>
                  <a:lnTo>
                    <a:pt x="273" y="208"/>
                  </a:lnTo>
                  <a:lnTo>
                    <a:pt x="276" y="213"/>
                  </a:lnTo>
                  <a:lnTo>
                    <a:pt x="280" y="220"/>
                  </a:lnTo>
                  <a:lnTo>
                    <a:pt x="276" y="224"/>
                  </a:lnTo>
                  <a:lnTo>
                    <a:pt x="276" y="227"/>
                  </a:lnTo>
                  <a:lnTo>
                    <a:pt x="278" y="229"/>
                  </a:lnTo>
                  <a:lnTo>
                    <a:pt x="276" y="227"/>
                  </a:lnTo>
                  <a:lnTo>
                    <a:pt x="278" y="225"/>
                  </a:lnTo>
                  <a:lnTo>
                    <a:pt x="280" y="230"/>
                  </a:lnTo>
                  <a:lnTo>
                    <a:pt x="278" y="241"/>
                  </a:lnTo>
                  <a:lnTo>
                    <a:pt x="280" y="249"/>
                  </a:lnTo>
                  <a:lnTo>
                    <a:pt x="278" y="251"/>
                  </a:lnTo>
                  <a:lnTo>
                    <a:pt x="275" y="247"/>
                  </a:lnTo>
                  <a:lnTo>
                    <a:pt x="275" y="241"/>
                  </a:lnTo>
                  <a:lnTo>
                    <a:pt x="275" y="239"/>
                  </a:lnTo>
                  <a:lnTo>
                    <a:pt x="270" y="237"/>
                  </a:lnTo>
                  <a:lnTo>
                    <a:pt x="273" y="235"/>
                  </a:lnTo>
                  <a:lnTo>
                    <a:pt x="268" y="232"/>
                  </a:lnTo>
                  <a:lnTo>
                    <a:pt x="268" y="230"/>
                  </a:lnTo>
                  <a:lnTo>
                    <a:pt x="266" y="237"/>
                  </a:lnTo>
                  <a:lnTo>
                    <a:pt x="266" y="241"/>
                  </a:lnTo>
                  <a:lnTo>
                    <a:pt x="268" y="239"/>
                  </a:lnTo>
                  <a:lnTo>
                    <a:pt x="270" y="239"/>
                  </a:lnTo>
                  <a:lnTo>
                    <a:pt x="268" y="242"/>
                  </a:lnTo>
                  <a:lnTo>
                    <a:pt x="263" y="242"/>
                  </a:lnTo>
                  <a:lnTo>
                    <a:pt x="265" y="237"/>
                  </a:lnTo>
                  <a:lnTo>
                    <a:pt x="261" y="237"/>
                  </a:lnTo>
                  <a:lnTo>
                    <a:pt x="261" y="239"/>
                  </a:lnTo>
                  <a:lnTo>
                    <a:pt x="258" y="235"/>
                  </a:lnTo>
                  <a:lnTo>
                    <a:pt x="258" y="239"/>
                  </a:lnTo>
                  <a:lnTo>
                    <a:pt x="259" y="242"/>
                  </a:lnTo>
                  <a:lnTo>
                    <a:pt x="254" y="246"/>
                  </a:lnTo>
                  <a:lnTo>
                    <a:pt x="256" y="256"/>
                  </a:lnTo>
                  <a:lnTo>
                    <a:pt x="254" y="259"/>
                  </a:lnTo>
                  <a:lnTo>
                    <a:pt x="251" y="261"/>
                  </a:lnTo>
                  <a:lnTo>
                    <a:pt x="249" y="270"/>
                  </a:lnTo>
                  <a:lnTo>
                    <a:pt x="251" y="270"/>
                  </a:lnTo>
                  <a:lnTo>
                    <a:pt x="253" y="273"/>
                  </a:lnTo>
                  <a:lnTo>
                    <a:pt x="251" y="280"/>
                  </a:lnTo>
                  <a:lnTo>
                    <a:pt x="244" y="288"/>
                  </a:lnTo>
                  <a:lnTo>
                    <a:pt x="249" y="292"/>
                  </a:lnTo>
                  <a:lnTo>
                    <a:pt x="254" y="285"/>
                  </a:lnTo>
                  <a:lnTo>
                    <a:pt x="258" y="283"/>
                  </a:lnTo>
                  <a:lnTo>
                    <a:pt x="263" y="287"/>
                  </a:lnTo>
                  <a:lnTo>
                    <a:pt x="261" y="290"/>
                  </a:lnTo>
                  <a:lnTo>
                    <a:pt x="265" y="288"/>
                  </a:lnTo>
                  <a:lnTo>
                    <a:pt x="266" y="290"/>
                  </a:lnTo>
                  <a:lnTo>
                    <a:pt x="266" y="292"/>
                  </a:lnTo>
                  <a:lnTo>
                    <a:pt x="268" y="292"/>
                  </a:lnTo>
                  <a:lnTo>
                    <a:pt x="271" y="297"/>
                  </a:lnTo>
                  <a:lnTo>
                    <a:pt x="276" y="297"/>
                  </a:lnTo>
                  <a:lnTo>
                    <a:pt x="278" y="299"/>
                  </a:lnTo>
                  <a:lnTo>
                    <a:pt x="280" y="299"/>
                  </a:lnTo>
                  <a:lnTo>
                    <a:pt x="280" y="302"/>
                  </a:lnTo>
                  <a:lnTo>
                    <a:pt x="275" y="309"/>
                  </a:lnTo>
                  <a:lnTo>
                    <a:pt x="270" y="314"/>
                  </a:lnTo>
                  <a:lnTo>
                    <a:pt x="268" y="314"/>
                  </a:lnTo>
                  <a:lnTo>
                    <a:pt x="266" y="316"/>
                  </a:lnTo>
                  <a:lnTo>
                    <a:pt x="256" y="319"/>
                  </a:lnTo>
                  <a:lnTo>
                    <a:pt x="253" y="314"/>
                  </a:lnTo>
                  <a:lnTo>
                    <a:pt x="251" y="314"/>
                  </a:lnTo>
                  <a:lnTo>
                    <a:pt x="244" y="319"/>
                  </a:lnTo>
                  <a:lnTo>
                    <a:pt x="239" y="321"/>
                  </a:lnTo>
                  <a:lnTo>
                    <a:pt x="236" y="324"/>
                  </a:lnTo>
                  <a:lnTo>
                    <a:pt x="236" y="329"/>
                  </a:lnTo>
                  <a:lnTo>
                    <a:pt x="239" y="328"/>
                  </a:lnTo>
                  <a:lnTo>
                    <a:pt x="241" y="329"/>
                  </a:lnTo>
                  <a:lnTo>
                    <a:pt x="241" y="335"/>
                  </a:lnTo>
                  <a:lnTo>
                    <a:pt x="237" y="338"/>
                  </a:lnTo>
                  <a:lnTo>
                    <a:pt x="232" y="345"/>
                  </a:lnTo>
                  <a:lnTo>
                    <a:pt x="230" y="350"/>
                  </a:lnTo>
                  <a:lnTo>
                    <a:pt x="224" y="350"/>
                  </a:lnTo>
                  <a:lnTo>
                    <a:pt x="225" y="346"/>
                  </a:lnTo>
                  <a:lnTo>
                    <a:pt x="224" y="343"/>
                  </a:lnTo>
                  <a:lnTo>
                    <a:pt x="220" y="350"/>
                  </a:lnTo>
                  <a:lnTo>
                    <a:pt x="218" y="348"/>
                  </a:lnTo>
                  <a:lnTo>
                    <a:pt x="220" y="343"/>
                  </a:lnTo>
                  <a:lnTo>
                    <a:pt x="218" y="341"/>
                  </a:lnTo>
                  <a:lnTo>
                    <a:pt x="215" y="348"/>
                  </a:lnTo>
                  <a:lnTo>
                    <a:pt x="212" y="350"/>
                  </a:lnTo>
                  <a:lnTo>
                    <a:pt x="207" y="345"/>
                  </a:lnTo>
                  <a:lnTo>
                    <a:pt x="207" y="343"/>
                  </a:lnTo>
                  <a:lnTo>
                    <a:pt x="203" y="335"/>
                  </a:lnTo>
                  <a:lnTo>
                    <a:pt x="201" y="329"/>
                  </a:lnTo>
                  <a:lnTo>
                    <a:pt x="201" y="326"/>
                  </a:lnTo>
                  <a:lnTo>
                    <a:pt x="205" y="321"/>
                  </a:lnTo>
                  <a:lnTo>
                    <a:pt x="210" y="323"/>
                  </a:lnTo>
                  <a:lnTo>
                    <a:pt x="212" y="319"/>
                  </a:lnTo>
                  <a:lnTo>
                    <a:pt x="210" y="316"/>
                  </a:lnTo>
                  <a:lnTo>
                    <a:pt x="208" y="316"/>
                  </a:lnTo>
                  <a:lnTo>
                    <a:pt x="212" y="309"/>
                  </a:lnTo>
                  <a:lnTo>
                    <a:pt x="212" y="305"/>
                  </a:lnTo>
                  <a:lnTo>
                    <a:pt x="215" y="304"/>
                  </a:lnTo>
                  <a:lnTo>
                    <a:pt x="217" y="305"/>
                  </a:lnTo>
                  <a:lnTo>
                    <a:pt x="218" y="299"/>
                  </a:lnTo>
                  <a:lnTo>
                    <a:pt x="222" y="295"/>
                  </a:lnTo>
                  <a:lnTo>
                    <a:pt x="225" y="295"/>
                  </a:lnTo>
                  <a:lnTo>
                    <a:pt x="225" y="297"/>
                  </a:lnTo>
                  <a:lnTo>
                    <a:pt x="227" y="297"/>
                  </a:lnTo>
                  <a:lnTo>
                    <a:pt x="232" y="294"/>
                  </a:lnTo>
                  <a:lnTo>
                    <a:pt x="229" y="288"/>
                  </a:lnTo>
                  <a:lnTo>
                    <a:pt x="225" y="294"/>
                  </a:lnTo>
                  <a:lnTo>
                    <a:pt x="225" y="288"/>
                  </a:lnTo>
                  <a:lnTo>
                    <a:pt x="222" y="288"/>
                  </a:lnTo>
                  <a:lnTo>
                    <a:pt x="227" y="280"/>
                  </a:lnTo>
                  <a:lnTo>
                    <a:pt x="229" y="280"/>
                  </a:lnTo>
                  <a:lnTo>
                    <a:pt x="229" y="276"/>
                  </a:lnTo>
                  <a:lnTo>
                    <a:pt x="225" y="280"/>
                  </a:lnTo>
                  <a:lnTo>
                    <a:pt x="229" y="273"/>
                  </a:lnTo>
                  <a:lnTo>
                    <a:pt x="230" y="270"/>
                  </a:lnTo>
                  <a:lnTo>
                    <a:pt x="229" y="270"/>
                  </a:lnTo>
                  <a:lnTo>
                    <a:pt x="222" y="273"/>
                  </a:lnTo>
                  <a:lnTo>
                    <a:pt x="227" y="268"/>
                  </a:lnTo>
                  <a:lnTo>
                    <a:pt x="232" y="264"/>
                  </a:lnTo>
                  <a:lnTo>
                    <a:pt x="232" y="258"/>
                  </a:lnTo>
                  <a:lnTo>
                    <a:pt x="234" y="258"/>
                  </a:lnTo>
                  <a:lnTo>
                    <a:pt x="234" y="253"/>
                  </a:lnTo>
                  <a:lnTo>
                    <a:pt x="230" y="251"/>
                  </a:lnTo>
                  <a:lnTo>
                    <a:pt x="232" y="246"/>
                  </a:lnTo>
                  <a:lnTo>
                    <a:pt x="236" y="247"/>
                  </a:lnTo>
                  <a:lnTo>
                    <a:pt x="237" y="241"/>
                  </a:lnTo>
                  <a:lnTo>
                    <a:pt x="236" y="235"/>
                  </a:lnTo>
                  <a:lnTo>
                    <a:pt x="236" y="230"/>
                  </a:lnTo>
                  <a:lnTo>
                    <a:pt x="234" y="229"/>
                  </a:lnTo>
                  <a:lnTo>
                    <a:pt x="236" y="224"/>
                  </a:lnTo>
                  <a:lnTo>
                    <a:pt x="236" y="217"/>
                  </a:lnTo>
                  <a:lnTo>
                    <a:pt x="239" y="210"/>
                  </a:lnTo>
                  <a:lnTo>
                    <a:pt x="244" y="201"/>
                  </a:lnTo>
                  <a:lnTo>
                    <a:pt x="247" y="200"/>
                  </a:lnTo>
                  <a:lnTo>
                    <a:pt x="254" y="194"/>
                  </a:lnTo>
                  <a:lnTo>
                    <a:pt x="261" y="191"/>
                  </a:lnTo>
                  <a:close/>
                  <a:moveTo>
                    <a:pt x="75" y="171"/>
                  </a:moveTo>
                  <a:lnTo>
                    <a:pt x="73" y="171"/>
                  </a:lnTo>
                  <a:lnTo>
                    <a:pt x="72" y="174"/>
                  </a:lnTo>
                  <a:lnTo>
                    <a:pt x="72" y="172"/>
                  </a:lnTo>
                  <a:lnTo>
                    <a:pt x="75" y="171"/>
                  </a:lnTo>
                  <a:close/>
                  <a:moveTo>
                    <a:pt x="67" y="157"/>
                  </a:moveTo>
                  <a:lnTo>
                    <a:pt x="65" y="160"/>
                  </a:lnTo>
                  <a:lnTo>
                    <a:pt x="68" y="160"/>
                  </a:lnTo>
                  <a:lnTo>
                    <a:pt x="72" y="159"/>
                  </a:lnTo>
                  <a:lnTo>
                    <a:pt x="70" y="164"/>
                  </a:lnTo>
                  <a:lnTo>
                    <a:pt x="67" y="162"/>
                  </a:lnTo>
                  <a:lnTo>
                    <a:pt x="68" y="167"/>
                  </a:lnTo>
                  <a:lnTo>
                    <a:pt x="65" y="165"/>
                  </a:lnTo>
                  <a:lnTo>
                    <a:pt x="63" y="167"/>
                  </a:lnTo>
                  <a:lnTo>
                    <a:pt x="63" y="164"/>
                  </a:lnTo>
                  <a:lnTo>
                    <a:pt x="61" y="159"/>
                  </a:lnTo>
                  <a:lnTo>
                    <a:pt x="63" y="160"/>
                  </a:lnTo>
                  <a:lnTo>
                    <a:pt x="65" y="157"/>
                  </a:lnTo>
                  <a:lnTo>
                    <a:pt x="67" y="157"/>
                  </a:lnTo>
                  <a:close/>
                  <a:moveTo>
                    <a:pt x="58" y="157"/>
                  </a:moveTo>
                  <a:lnTo>
                    <a:pt x="61" y="157"/>
                  </a:lnTo>
                  <a:lnTo>
                    <a:pt x="61" y="159"/>
                  </a:lnTo>
                  <a:lnTo>
                    <a:pt x="58" y="159"/>
                  </a:lnTo>
                  <a:lnTo>
                    <a:pt x="58" y="157"/>
                  </a:lnTo>
                  <a:close/>
                  <a:moveTo>
                    <a:pt x="261" y="147"/>
                  </a:moveTo>
                  <a:lnTo>
                    <a:pt x="266" y="150"/>
                  </a:lnTo>
                  <a:lnTo>
                    <a:pt x="271" y="148"/>
                  </a:lnTo>
                  <a:lnTo>
                    <a:pt x="278" y="148"/>
                  </a:lnTo>
                  <a:lnTo>
                    <a:pt x="282" y="150"/>
                  </a:lnTo>
                  <a:lnTo>
                    <a:pt x="285" y="155"/>
                  </a:lnTo>
                  <a:lnTo>
                    <a:pt x="283" y="164"/>
                  </a:lnTo>
                  <a:lnTo>
                    <a:pt x="280" y="165"/>
                  </a:lnTo>
                  <a:lnTo>
                    <a:pt x="275" y="172"/>
                  </a:lnTo>
                  <a:lnTo>
                    <a:pt x="273" y="176"/>
                  </a:lnTo>
                  <a:lnTo>
                    <a:pt x="270" y="177"/>
                  </a:lnTo>
                  <a:lnTo>
                    <a:pt x="263" y="176"/>
                  </a:lnTo>
                  <a:lnTo>
                    <a:pt x="254" y="171"/>
                  </a:lnTo>
                  <a:lnTo>
                    <a:pt x="253" y="167"/>
                  </a:lnTo>
                  <a:lnTo>
                    <a:pt x="247" y="159"/>
                  </a:lnTo>
                  <a:lnTo>
                    <a:pt x="249" y="157"/>
                  </a:lnTo>
                  <a:lnTo>
                    <a:pt x="247" y="155"/>
                  </a:lnTo>
                  <a:lnTo>
                    <a:pt x="249" y="153"/>
                  </a:lnTo>
                  <a:lnTo>
                    <a:pt x="251" y="153"/>
                  </a:lnTo>
                  <a:lnTo>
                    <a:pt x="256" y="145"/>
                  </a:lnTo>
                  <a:lnTo>
                    <a:pt x="261" y="147"/>
                  </a:lnTo>
                  <a:close/>
                  <a:moveTo>
                    <a:pt x="174" y="90"/>
                  </a:moveTo>
                  <a:lnTo>
                    <a:pt x="177" y="92"/>
                  </a:lnTo>
                  <a:lnTo>
                    <a:pt x="176" y="94"/>
                  </a:lnTo>
                  <a:lnTo>
                    <a:pt x="179" y="95"/>
                  </a:lnTo>
                  <a:lnTo>
                    <a:pt x="172" y="95"/>
                  </a:lnTo>
                  <a:lnTo>
                    <a:pt x="169" y="99"/>
                  </a:lnTo>
                  <a:lnTo>
                    <a:pt x="169" y="95"/>
                  </a:lnTo>
                  <a:lnTo>
                    <a:pt x="171" y="92"/>
                  </a:lnTo>
                  <a:lnTo>
                    <a:pt x="174" y="90"/>
                  </a:lnTo>
                  <a:close/>
                  <a:moveTo>
                    <a:pt x="188" y="80"/>
                  </a:moveTo>
                  <a:lnTo>
                    <a:pt x="191" y="83"/>
                  </a:lnTo>
                  <a:lnTo>
                    <a:pt x="189" y="85"/>
                  </a:lnTo>
                  <a:lnTo>
                    <a:pt x="188" y="85"/>
                  </a:lnTo>
                  <a:lnTo>
                    <a:pt x="189" y="87"/>
                  </a:lnTo>
                  <a:lnTo>
                    <a:pt x="188" y="89"/>
                  </a:lnTo>
                  <a:lnTo>
                    <a:pt x="184" y="83"/>
                  </a:lnTo>
                  <a:lnTo>
                    <a:pt x="183" y="80"/>
                  </a:lnTo>
                  <a:lnTo>
                    <a:pt x="184" y="75"/>
                  </a:lnTo>
                  <a:lnTo>
                    <a:pt x="188" y="80"/>
                  </a:lnTo>
                  <a:close/>
                  <a:moveTo>
                    <a:pt x="97" y="13"/>
                  </a:moveTo>
                  <a:lnTo>
                    <a:pt x="101" y="17"/>
                  </a:lnTo>
                  <a:lnTo>
                    <a:pt x="107" y="19"/>
                  </a:lnTo>
                  <a:lnTo>
                    <a:pt x="109" y="20"/>
                  </a:lnTo>
                  <a:lnTo>
                    <a:pt x="116" y="24"/>
                  </a:lnTo>
                  <a:lnTo>
                    <a:pt x="119" y="22"/>
                  </a:lnTo>
                  <a:lnTo>
                    <a:pt x="126" y="25"/>
                  </a:lnTo>
                  <a:lnTo>
                    <a:pt x="135" y="22"/>
                  </a:lnTo>
                  <a:lnTo>
                    <a:pt x="143" y="20"/>
                  </a:lnTo>
                  <a:lnTo>
                    <a:pt x="148" y="27"/>
                  </a:lnTo>
                  <a:lnTo>
                    <a:pt x="155" y="27"/>
                  </a:lnTo>
                  <a:lnTo>
                    <a:pt x="159" y="29"/>
                  </a:lnTo>
                  <a:lnTo>
                    <a:pt x="160" y="37"/>
                  </a:lnTo>
                  <a:lnTo>
                    <a:pt x="167" y="44"/>
                  </a:lnTo>
                  <a:lnTo>
                    <a:pt x="171" y="44"/>
                  </a:lnTo>
                  <a:lnTo>
                    <a:pt x="174" y="48"/>
                  </a:lnTo>
                  <a:lnTo>
                    <a:pt x="171" y="54"/>
                  </a:lnTo>
                  <a:lnTo>
                    <a:pt x="172" y="56"/>
                  </a:lnTo>
                  <a:lnTo>
                    <a:pt x="171" y="58"/>
                  </a:lnTo>
                  <a:lnTo>
                    <a:pt x="172" y="60"/>
                  </a:lnTo>
                  <a:lnTo>
                    <a:pt x="169" y="65"/>
                  </a:lnTo>
                  <a:lnTo>
                    <a:pt x="171" y="65"/>
                  </a:lnTo>
                  <a:lnTo>
                    <a:pt x="171" y="70"/>
                  </a:lnTo>
                  <a:lnTo>
                    <a:pt x="181" y="73"/>
                  </a:lnTo>
                  <a:lnTo>
                    <a:pt x="183" y="77"/>
                  </a:lnTo>
                  <a:lnTo>
                    <a:pt x="181" y="82"/>
                  </a:lnTo>
                  <a:lnTo>
                    <a:pt x="179" y="82"/>
                  </a:lnTo>
                  <a:lnTo>
                    <a:pt x="179" y="80"/>
                  </a:lnTo>
                  <a:lnTo>
                    <a:pt x="177" y="77"/>
                  </a:lnTo>
                  <a:lnTo>
                    <a:pt x="174" y="78"/>
                  </a:lnTo>
                  <a:lnTo>
                    <a:pt x="174" y="71"/>
                  </a:lnTo>
                  <a:lnTo>
                    <a:pt x="172" y="73"/>
                  </a:lnTo>
                  <a:lnTo>
                    <a:pt x="169" y="71"/>
                  </a:lnTo>
                  <a:lnTo>
                    <a:pt x="167" y="75"/>
                  </a:lnTo>
                  <a:lnTo>
                    <a:pt x="164" y="73"/>
                  </a:lnTo>
                  <a:lnTo>
                    <a:pt x="166" y="77"/>
                  </a:lnTo>
                  <a:lnTo>
                    <a:pt x="172" y="83"/>
                  </a:lnTo>
                  <a:lnTo>
                    <a:pt x="171" y="85"/>
                  </a:lnTo>
                  <a:lnTo>
                    <a:pt x="169" y="85"/>
                  </a:lnTo>
                  <a:lnTo>
                    <a:pt x="166" y="85"/>
                  </a:lnTo>
                  <a:lnTo>
                    <a:pt x="167" y="87"/>
                  </a:lnTo>
                  <a:lnTo>
                    <a:pt x="169" y="85"/>
                  </a:lnTo>
                  <a:lnTo>
                    <a:pt x="169" y="94"/>
                  </a:lnTo>
                  <a:lnTo>
                    <a:pt x="167" y="90"/>
                  </a:lnTo>
                  <a:lnTo>
                    <a:pt x="164" y="92"/>
                  </a:lnTo>
                  <a:lnTo>
                    <a:pt x="167" y="92"/>
                  </a:lnTo>
                  <a:lnTo>
                    <a:pt x="167" y="94"/>
                  </a:lnTo>
                  <a:lnTo>
                    <a:pt x="159" y="95"/>
                  </a:lnTo>
                  <a:lnTo>
                    <a:pt x="159" y="101"/>
                  </a:lnTo>
                  <a:lnTo>
                    <a:pt x="166" y="107"/>
                  </a:lnTo>
                  <a:lnTo>
                    <a:pt x="171" y="109"/>
                  </a:lnTo>
                  <a:lnTo>
                    <a:pt x="176" y="116"/>
                  </a:lnTo>
                  <a:lnTo>
                    <a:pt x="179" y="118"/>
                  </a:lnTo>
                  <a:lnTo>
                    <a:pt x="183" y="114"/>
                  </a:lnTo>
                  <a:lnTo>
                    <a:pt x="183" y="116"/>
                  </a:lnTo>
                  <a:lnTo>
                    <a:pt x="188" y="118"/>
                  </a:lnTo>
                  <a:lnTo>
                    <a:pt x="191" y="124"/>
                  </a:lnTo>
                  <a:lnTo>
                    <a:pt x="189" y="124"/>
                  </a:lnTo>
                  <a:lnTo>
                    <a:pt x="189" y="128"/>
                  </a:lnTo>
                  <a:lnTo>
                    <a:pt x="191" y="126"/>
                  </a:lnTo>
                  <a:lnTo>
                    <a:pt x="193" y="126"/>
                  </a:lnTo>
                  <a:lnTo>
                    <a:pt x="196" y="133"/>
                  </a:lnTo>
                  <a:lnTo>
                    <a:pt x="203" y="135"/>
                  </a:lnTo>
                  <a:lnTo>
                    <a:pt x="210" y="133"/>
                  </a:lnTo>
                  <a:lnTo>
                    <a:pt x="215" y="135"/>
                  </a:lnTo>
                  <a:lnTo>
                    <a:pt x="215" y="138"/>
                  </a:lnTo>
                  <a:lnTo>
                    <a:pt x="210" y="140"/>
                  </a:lnTo>
                  <a:lnTo>
                    <a:pt x="210" y="142"/>
                  </a:lnTo>
                  <a:lnTo>
                    <a:pt x="207" y="145"/>
                  </a:lnTo>
                  <a:lnTo>
                    <a:pt x="198" y="143"/>
                  </a:lnTo>
                  <a:lnTo>
                    <a:pt x="200" y="145"/>
                  </a:lnTo>
                  <a:lnTo>
                    <a:pt x="207" y="145"/>
                  </a:lnTo>
                  <a:lnTo>
                    <a:pt x="210" y="147"/>
                  </a:lnTo>
                  <a:lnTo>
                    <a:pt x="213" y="148"/>
                  </a:lnTo>
                  <a:lnTo>
                    <a:pt x="215" y="152"/>
                  </a:lnTo>
                  <a:lnTo>
                    <a:pt x="213" y="153"/>
                  </a:lnTo>
                  <a:lnTo>
                    <a:pt x="213" y="157"/>
                  </a:lnTo>
                  <a:lnTo>
                    <a:pt x="215" y="157"/>
                  </a:lnTo>
                  <a:lnTo>
                    <a:pt x="215" y="162"/>
                  </a:lnTo>
                  <a:lnTo>
                    <a:pt x="217" y="165"/>
                  </a:lnTo>
                  <a:lnTo>
                    <a:pt x="220" y="167"/>
                  </a:lnTo>
                  <a:lnTo>
                    <a:pt x="218" y="164"/>
                  </a:lnTo>
                  <a:lnTo>
                    <a:pt x="220" y="162"/>
                  </a:lnTo>
                  <a:lnTo>
                    <a:pt x="227" y="165"/>
                  </a:lnTo>
                  <a:lnTo>
                    <a:pt x="230" y="165"/>
                  </a:lnTo>
                  <a:lnTo>
                    <a:pt x="232" y="164"/>
                  </a:lnTo>
                  <a:lnTo>
                    <a:pt x="236" y="165"/>
                  </a:lnTo>
                  <a:lnTo>
                    <a:pt x="234" y="164"/>
                  </a:lnTo>
                  <a:lnTo>
                    <a:pt x="236" y="164"/>
                  </a:lnTo>
                  <a:lnTo>
                    <a:pt x="236" y="162"/>
                  </a:lnTo>
                  <a:lnTo>
                    <a:pt x="234" y="160"/>
                  </a:lnTo>
                  <a:lnTo>
                    <a:pt x="229" y="159"/>
                  </a:lnTo>
                  <a:lnTo>
                    <a:pt x="227" y="155"/>
                  </a:lnTo>
                  <a:lnTo>
                    <a:pt x="236" y="153"/>
                  </a:lnTo>
                  <a:lnTo>
                    <a:pt x="237" y="155"/>
                  </a:lnTo>
                  <a:lnTo>
                    <a:pt x="241" y="162"/>
                  </a:lnTo>
                  <a:lnTo>
                    <a:pt x="242" y="171"/>
                  </a:lnTo>
                  <a:lnTo>
                    <a:pt x="242" y="174"/>
                  </a:lnTo>
                  <a:lnTo>
                    <a:pt x="244" y="174"/>
                  </a:lnTo>
                  <a:lnTo>
                    <a:pt x="241" y="183"/>
                  </a:lnTo>
                  <a:lnTo>
                    <a:pt x="241" y="184"/>
                  </a:lnTo>
                  <a:lnTo>
                    <a:pt x="244" y="186"/>
                  </a:lnTo>
                  <a:lnTo>
                    <a:pt x="242" y="188"/>
                  </a:lnTo>
                  <a:lnTo>
                    <a:pt x="242" y="193"/>
                  </a:lnTo>
                  <a:lnTo>
                    <a:pt x="241" y="196"/>
                  </a:lnTo>
                  <a:lnTo>
                    <a:pt x="237" y="198"/>
                  </a:lnTo>
                  <a:lnTo>
                    <a:pt x="234" y="201"/>
                  </a:lnTo>
                  <a:lnTo>
                    <a:pt x="232" y="198"/>
                  </a:lnTo>
                  <a:lnTo>
                    <a:pt x="227" y="196"/>
                  </a:lnTo>
                  <a:lnTo>
                    <a:pt x="220" y="189"/>
                  </a:lnTo>
                  <a:lnTo>
                    <a:pt x="218" y="186"/>
                  </a:lnTo>
                  <a:lnTo>
                    <a:pt x="215" y="188"/>
                  </a:lnTo>
                  <a:lnTo>
                    <a:pt x="213" y="189"/>
                  </a:lnTo>
                  <a:lnTo>
                    <a:pt x="218" y="191"/>
                  </a:lnTo>
                  <a:lnTo>
                    <a:pt x="218" y="194"/>
                  </a:lnTo>
                  <a:lnTo>
                    <a:pt x="225" y="200"/>
                  </a:lnTo>
                  <a:lnTo>
                    <a:pt x="225" y="205"/>
                  </a:lnTo>
                  <a:lnTo>
                    <a:pt x="224" y="208"/>
                  </a:lnTo>
                  <a:lnTo>
                    <a:pt x="220" y="206"/>
                  </a:lnTo>
                  <a:lnTo>
                    <a:pt x="218" y="203"/>
                  </a:lnTo>
                  <a:lnTo>
                    <a:pt x="215" y="205"/>
                  </a:lnTo>
                  <a:lnTo>
                    <a:pt x="218" y="206"/>
                  </a:lnTo>
                  <a:lnTo>
                    <a:pt x="215" y="208"/>
                  </a:lnTo>
                  <a:lnTo>
                    <a:pt x="215" y="201"/>
                  </a:lnTo>
                  <a:lnTo>
                    <a:pt x="208" y="196"/>
                  </a:lnTo>
                  <a:lnTo>
                    <a:pt x="205" y="194"/>
                  </a:lnTo>
                  <a:lnTo>
                    <a:pt x="203" y="194"/>
                  </a:lnTo>
                  <a:lnTo>
                    <a:pt x="195" y="201"/>
                  </a:lnTo>
                  <a:lnTo>
                    <a:pt x="191" y="201"/>
                  </a:lnTo>
                  <a:lnTo>
                    <a:pt x="191" y="200"/>
                  </a:lnTo>
                  <a:lnTo>
                    <a:pt x="189" y="201"/>
                  </a:lnTo>
                  <a:lnTo>
                    <a:pt x="188" y="200"/>
                  </a:lnTo>
                  <a:lnTo>
                    <a:pt x="188" y="201"/>
                  </a:lnTo>
                  <a:lnTo>
                    <a:pt x="184" y="198"/>
                  </a:lnTo>
                  <a:lnTo>
                    <a:pt x="176" y="205"/>
                  </a:lnTo>
                  <a:lnTo>
                    <a:pt x="166" y="206"/>
                  </a:lnTo>
                  <a:lnTo>
                    <a:pt x="160" y="203"/>
                  </a:lnTo>
                  <a:lnTo>
                    <a:pt x="160" y="205"/>
                  </a:lnTo>
                  <a:lnTo>
                    <a:pt x="154" y="210"/>
                  </a:lnTo>
                  <a:lnTo>
                    <a:pt x="147" y="210"/>
                  </a:lnTo>
                  <a:lnTo>
                    <a:pt x="147" y="212"/>
                  </a:lnTo>
                  <a:lnTo>
                    <a:pt x="145" y="213"/>
                  </a:lnTo>
                  <a:lnTo>
                    <a:pt x="143" y="218"/>
                  </a:lnTo>
                  <a:lnTo>
                    <a:pt x="140" y="224"/>
                  </a:lnTo>
                  <a:lnTo>
                    <a:pt x="137" y="225"/>
                  </a:lnTo>
                  <a:lnTo>
                    <a:pt x="138" y="227"/>
                  </a:lnTo>
                  <a:lnTo>
                    <a:pt x="138" y="234"/>
                  </a:lnTo>
                  <a:lnTo>
                    <a:pt x="140" y="239"/>
                  </a:lnTo>
                  <a:lnTo>
                    <a:pt x="147" y="242"/>
                  </a:lnTo>
                  <a:lnTo>
                    <a:pt x="147" y="244"/>
                  </a:lnTo>
                  <a:lnTo>
                    <a:pt x="148" y="244"/>
                  </a:lnTo>
                  <a:lnTo>
                    <a:pt x="145" y="246"/>
                  </a:lnTo>
                  <a:lnTo>
                    <a:pt x="140" y="251"/>
                  </a:lnTo>
                  <a:lnTo>
                    <a:pt x="138" y="251"/>
                  </a:lnTo>
                  <a:lnTo>
                    <a:pt x="137" y="254"/>
                  </a:lnTo>
                  <a:lnTo>
                    <a:pt x="135" y="254"/>
                  </a:lnTo>
                  <a:lnTo>
                    <a:pt x="135" y="253"/>
                  </a:lnTo>
                  <a:lnTo>
                    <a:pt x="133" y="254"/>
                  </a:lnTo>
                  <a:lnTo>
                    <a:pt x="123" y="253"/>
                  </a:lnTo>
                  <a:lnTo>
                    <a:pt x="118" y="251"/>
                  </a:lnTo>
                  <a:lnTo>
                    <a:pt x="113" y="247"/>
                  </a:lnTo>
                  <a:lnTo>
                    <a:pt x="109" y="247"/>
                  </a:lnTo>
                  <a:lnTo>
                    <a:pt x="102" y="247"/>
                  </a:lnTo>
                  <a:lnTo>
                    <a:pt x="99" y="249"/>
                  </a:lnTo>
                  <a:lnTo>
                    <a:pt x="97" y="249"/>
                  </a:lnTo>
                  <a:lnTo>
                    <a:pt x="94" y="244"/>
                  </a:lnTo>
                  <a:lnTo>
                    <a:pt x="90" y="244"/>
                  </a:lnTo>
                  <a:lnTo>
                    <a:pt x="90" y="241"/>
                  </a:lnTo>
                  <a:lnTo>
                    <a:pt x="89" y="242"/>
                  </a:lnTo>
                  <a:lnTo>
                    <a:pt x="80" y="239"/>
                  </a:lnTo>
                  <a:lnTo>
                    <a:pt x="75" y="235"/>
                  </a:lnTo>
                  <a:lnTo>
                    <a:pt x="75" y="232"/>
                  </a:lnTo>
                  <a:lnTo>
                    <a:pt x="73" y="230"/>
                  </a:lnTo>
                  <a:lnTo>
                    <a:pt x="72" y="229"/>
                  </a:lnTo>
                  <a:lnTo>
                    <a:pt x="72" y="220"/>
                  </a:lnTo>
                  <a:lnTo>
                    <a:pt x="72" y="213"/>
                  </a:lnTo>
                  <a:lnTo>
                    <a:pt x="75" y="208"/>
                  </a:lnTo>
                  <a:lnTo>
                    <a:pt x="77" y="201"/>
                  </a:lnTo>
                  <a:lnTo>
                    <a:pt x="78" y="194"/>
                  </a:lnTo>
                  <a:lnTo>
                    <a:pt x="77" y="188"/>
                  </a:lnTo>
                  <a:lnTo>
                    <a:pt x="78" y="181"/>
                  </a:lnTo>
                  <a:lnTo>
                    <a:pt x="78" y="176"/>
                  </a:lnTo>
                  <a:lnTo>
                    <a:pt x="82" y="176"/>
                  </a:lnTo>
                  <a:lnTo>
                    <a:pt x="80" y="177"/>
                  </a:lnTo>
                  <a:lnTo>
                    <a:pt x="82" y="179"/>
                  </a:lnTo>
                  <a:lnTo>
                    <a:pt x="85" y="176"/>
                  </a:lnTo>
                  <a:lnTo>
                    <a:pt x="87" y="169"/>
                  </a:lnTo>
                  <a:lnTo>
                    <a:pt x="85" y="169"/>
                  </a:lnTo>
                  <a:lnTo>
                    <a:pt x="89" y="169"/>
                  </a:lnTo>
                  <a:lnTo>
                    <a:pt x="89" y="165"/>
                  </a:lnTo>
                  <a:lnTo>
                    <a:pt x="89" y="155"/>
                  </a:lnTo>
                  <a:lnTo>
                    <a:pt x="84" y="152"/>
                  </a:lnTo>
                  <a:lnTo>
                    <a:pt x="77" y="148"/>
                  </a:lnTo>
                  <a:lnTo>
                    <a:pt x="70" y="148"/>
                  </a:lnTo>
                  <a:lnTo>
                    <a:pt x="70" y="150"/>
                  </a:lnTo>
                  <a:lnTo>
                    <a:pt x="65" y="147"/>
                  </a:lnTo>
                  <a:lnTo>
                    <a:pt x="60" y="147"/>
                  </a:lnTo>
                  <a:lnTo>
                    <a:pt x="58" y="145"/>
                  </a:lnTo>
                  <a:lnTo>
                    <a:pt x="53" y="140"/>
                  </a:lnTo>
                  <a:lnTo>
                    <a:pt x="51" y="133"/>
                  </a:lnTo>
                  <a:lnTo>
                    <a:pt x="48" y="133"/>
                  </a:lnTo>
                  <a:lnTo>
                    <a:pt x="46" y="138"/>
                  </a:lnTo>
                  <a:lnTo>
                    <a:pt x="44" y="135"/>
                  </a:lnTo>
                  <a:lnTo>
                    <a:pt x="48" y="133"/>
                  </a:lnTo>
                  <a:lnTo>
                    <a:pt x="44" y="131"/>
                  </a:lnTo>
                  <a:lnTo>
                    <a:pt x="46" y="130"/>
                  </a:lnTo>
                  <a:lnTo>
                    <a:pt x="44" y="126"/>
                  </a:lnTo>
                  <a:lnTo>
                    <a:pt x="36" y="126"/>
                  </a:lnTo>
                  <a:lnTo>
                    <a:pt x="34" y="123"/>
                  </a:lnTo>
                  <a:lnTo>
                    <a:pt x="27" y="116"/>
                  </a:lnTo>
                  <a:lnTo>
                    <a:pt x="26" y="112"/>
                  </a:lnTo>
                  <a:lnTo>
                    <a:pt x="17" y="109"/>
                  </a:lnTo>
                  <a:lnTo>
                    <a:pt x="14" y="104"/>
                  </a:lnTo>
                  <a:lnTo>
                    <a:pt x="8" y="101"/>
                  </a:lnTo>
                  <a:lnTo>
                    <a:pt x="5" y="95"/>
                  </a:lnTo>
                  <a:lnTo>
                    <a:pt x="5" y="94"/>
                  </a:lnTo>
                  <a:lnTo>
                    <a:pt x="2" y="90"/>
                  </a:lnTo>
                  <a:lnTo>
                    <a:pt x="0" y="80"/>
                  </a:lnTo>
                  <a:lnTo>
                    <a:pt x="0" y="78"/>
                  </a:lnTo>
                  <a:lnTo>
                    <a:pt x="2" y="77"/>
                  </a:lnTo>
                  <a:lnTo>
                    <a:pt x="7" y="70"/>
                  </a:lnTo>
                  <a:lnTo>
                    <a:pt x="10" y="66"/>
                  </a:lnTo>
                  <a:lnTo>
                    <a:pt x="10" y="63"/>
                  </a:lnTo>
                  <a:lnTo>
                    <a:pt x="12" y="58"/>
                  </a:lnTo>
                  <a:lnTo>
                    <a:pt x="19" y="56"/>
                  </a:lnTo>
                  <a:lnTo>
                    <a:pt x="20" y="51"/>
                  </a:lnTo>
                  <a:lnTo>
                    <a:pt x="24" y="51"/>
                  </a:lnTo>
                  <a:lnTo>
                    <a:pt x="22" y="49"/>
                  </a:lnTo>
                  <a:lnTo>
                    <a:pt x="22" y="41"/>
                  </a:lnTo>
                  <a:lnTo>
                    <a:pt x="20" y="39"/>
                  </a:lnTo>
                  <a:lnTo>
                    <a:pt x="24" y="36"/>
                  </a:lnTo>
                  <a:lnTo>
                    <a:pt x="20" y="32"/>
                  </a:lnTo>
                  <a:lnTo>
                    <a:pt x="22" y="31"/>
                  </a:lnTo>
                  <a:lnTo>
                    <a:pt x="26" y="31"/>
                  </a:lnTo>
                  <a:lnTo>
                    <a:pt x="26" y="29"/>
                  </a:lnTo>
                  <a:lnTo>
                    <a:pt x="27" y="29"/>
                  </a:lnTo>
                  <a:lnTo>
                    <a:pt x="27" y="27"/>
                  </a:lnTo>
                  <a:lnTo>
                    <a:pt x="26" y="27"/>
                  </a:lnTo>
                  <a:lnTo>
                    <a:pt x="24" y="22"/>
                  </a:lnTo>
                  <a:lnTo>
                    <a:pt x="26" y="24"/>
                  </a:lnTo>
                  <a:lnTo>
                    <a:pt x="27" y="20"/>
                  </a:lnTo>
                  <a:lnTo>
                    <a:pt x="24" y="13"/>
                  </a:lnTo>
                  <a:lnTo>
                    <a:pt x="26" y="10"/>
                  </a:lnTo>
                  <a:lnTo>
                    <a:pt x="24" y="10"/>
                  </a:lnTo>
                  <a:lnTo>
                    <a:pt x="24" y="12"/>
                  </a:lnTo>
                  <a:lnTo>
                    <a:pt x="22" y="10"/>
                  </a:lnTo>
                  <a:lnTo>
                    <a:pt x="20" y="3"/>
                  </a:lnTo>
                  <a:lnTo>
                    <a:pt x="19" y="8"/>
                  </a:lnTo>
                  <a:lnTo>
                    <a:pt x="15" y="8"/>
                  </a:lnTo>
                  <a:lnTo>
                    <a:pt x="17" y="12"/>
                  </a:lnTo>
                  <a:lnTo>
                    <a:pt x="15" y="12"/>
                  </a:lnTo>
                  <a:lnTo>
                    <a:pt x="15" y="7"/>
                  </a:lnTo>
                  <a:lnTo>
                    <a:pt x="19" y="5"/>
                  </a:lnTo>
                  <a:lnTo>
                    <a:pt x="20" y="1"/>
                  </a:lnTo>
                  <a:lnTo>
                    <a:pt x="26" y="0"/>
                  </a:lnTo>
                  <a:lnTo>
                    <a:pt x="34" y="5"/>
                  </a:lnTo>
                  <a:lnTo>
                    <a:pt x="36" y="5"/>
                  </a:lnTo>
                  <a:lnTo>
                    <a:pt x="39" y="10"/>
                  </a:lnTo>
                  <a:lnTo>
                    <a:pt x="43" y="10"/>
                  </a:lnTo>
                  <a:lnTo>
                    <a:pt x="46" y="7"/>
                  </a:lnTo>
                  <a:lnTo>
                    <a:pt x="55" y="5"/>
                  </a:lnTo>
                  <a:lnTo>
                    <a:pt x="56" y="7"/>
                  </a:lnTo>
                  <a:lnTo>
                    <a:pt x="60" y="15"/>
                  </a:lnTo>
                  <a:lnTo>
                    <a:pt x="55" y="20"/>
                  </a:lnTo>
                  <a:lnTo>
                    <a:pt x="60" y="24"/>
                  </a:lnTo>
                  <a:lnTo>
                    <a:pt x="63" y="25"/>
                  </a:lnTo>
                  <a:lnTo>
                    <a:pt x="67" y="29"/>
                  </a:lnTo>
                  <a:lnTo>
                    <a:pt x="72" y="27"/>
                  </a:lnTo>
                  <a:lnTo>
                    <a:pt x="78" y="22"/>
                  </a:lnTo>
                  <a:lnTo>
                    <a:pt x="82" y="17"/>
                  </a:lnTo>
                  <a:lnTo>
                    <a:pt x="87" y="15"/>
                  </a:lnTo>
                  <a:lnTo>
                    <a:pt x="97" y="1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4" name="Freeform 67"/>
            <p:cNvSpPr>
              <a:spLocks noEditPoints="1"/>
            </p:cNvSpPr>
            <p:nvPr/>
          </p:nvSpPr>
          <p:spPr bwMode="gray">
            <a:xfrm>
              <a:off x="5714747" y="3568797"/>
              <a:ext cx="1019718" cy="1245917"/>
            </a:xfrm>
            <a:custGeom>
              <a:avLst/>
              <a:gdLst>
                <a:gd name="T0" fmla="*/ 17 w 559"/>
                <a:gd name="T1" fmla="*/ 676 h 683"/>
                <a:gd name="T2" fmla="*/ 0 w 559"/>
                <a:gd name="T3" fmla="*/ 671 h 683"/>
                <a:gd name="T4" fmla="*/ 84 w 559"/>
                <a:gd name="T5" fmla="*/ 664 h 683"/>
                <a:gd name="T6" fmla="*/ 547 w 559"/>
                <a:gd name="T7" fmla="*/ 659 h 683"/>
                <a:gd name="T8" fmla="*/ 470 w 559"/>
                <a:gd name="T9" fmla="*/ 649 h 683"/>
                <a:gd name="T10" fmla="*/ 460 w 559"/>
                <a:gd name="T11" fmla="*/ 645 h 683"/>
                <a:gd name="T12" fmla="*/ 547 w 559"/>
                <a:gd name="T13" fmla="*/ 639 h 683"/>
                <a:gd name="T14" fmla="*/ 412 w 559"/>
                <a:gd name="T15" fmla="*/ 625 h 683"/>
                <a:gd name="T16" fmla="*/ 427 w 559"/>
                <a:gd name="T17" fmla="*/ 622 h 683"/>
                <a:gd name="T18" fmla="*/ 415 w 559"/>
                <a:gd name="T19" fmla="*/ 625 h 683"/>
                <a:gd name="T20" fmla="*/ 234 w 559"/>
                <a:gd name="T21" fmla="*/ 593 h 683"/>
                <a:gd name="T22" fmla="*/ 434 w 559"/>
                <a:gd name="T23" fmla="*/ 586 h 683"/>
                <a:gd name="T24" fmla="*/ 391 w 559"/>
                <a:gd name="T25" fmla="*/ 562 h 683"/>
                <a:gd name="T26" fmla="*/ 391 w 559"/>
                <a:gd name="T27" fmla="*/ 505 h 683"/>
                <a:gd name="T28" fmla="*/ 400 w 559"/>
                <a:gd name="T29" fmla="*/ 470 h 683"/>
                <a:gd name="T30" fmla="*/ 403 w 559"/>
                <a:gd name="T31" fmla="*/ 519 h 683"/>
                <a:gd name="T32" fmla="*/ 395 w 559"/>
                <a:gd name="T33" fmla="*/ 538 h 683"/>
                <a:gd name="T34" fmla="*/ 396 w 559"/>
                <a:gd name="T35" fmla="*/ 504 h 683"/>
                <a:gd name="T36" fmla="*/ 400 w 559"/>
                <a:gd name="T37" fmla="*/ 463 h 683"/>
                <a:gd name="T38" fmla="*/ 256 w 559"/>
                <a:gd name="T39" fmla="*/ 432 h 683"/>
                <a:gd name="T40" fmla="*/ 255 w 559"/>
                <a:gd name="T41" fmla="*/ 432 h 683"/>
                <a:gd name="T42" fmla="*/ 248 w 559"/>
                <a:gd name="T43" fmla="*/ 425 h 683"/>
                <a:gd name="T44" fmla="*/ 93 w 559"/>
                <a:gd name="T45" fmla="*/ 415 h 683"/>
                <a:gd name="T46" fmla="*/ 120 w 559"/>
                <a:gd name="T47" fmla="*/ 386 h 683"/>
                <a:gd name="T48" fmla="*/ 279 w 559"/>
                <a:gd name="T49" fmla="*/ 215 h 683"/>
                <a:gd name="T50" fmla="*/ 524 w 559"/>
                <a:gd name="T51" fmla="*/ 128 h 683"/>
                <a:gd name="T52" fmla="*/ 489 w 559"/>
                <a:gd name="T53" fmla="*/ 116 h 683"/>
                <a:gd name="T54" fmla="*/ 463 w 559"/>
                <a:gd name="T55" fmla="*/ 109 h 683"/>
                <a:gd name="T56" fmla="*/ 466 w 559"/>
                <a:gd name="T57" fmla="*/ 97 h 683"/>
                <a:gd name="T58" fmla="*/ 441 w 559"/>
                <a:gd name="T59" fmla="*/ 87 h 683"/>
                <a:gd name="T60" fmla="*/ 400 w 559"/>
                <a:gd name="T61" fmla="*/ 107 h 683"/>
                <a:gd name="T62" fmla="*/ 369 w 559"/>
                <a:gd name="T63" fmla="*/ 138 h 683"/>
                <a:gd name="T64" fmla="*/ 393 w 559"/>
                <a:gd name="T65" fmla="*/ 166 h 683"/>
                <a:gd name="T66" fmla="*/ 393 w 559"/>
                <a:gd name="T67" fmla="*/ 207 h 683"/>
                <a:gd name="T68" fmla="*/ 384 w 559"/>
                <a:gd name="T69" fmla="*/ 256 h 683"/>
                <a:gd name="T70" fmla="*/ 390 w 559"/>
                <a:gd name="T71" fmla="*/ 311 h 683"/>
                <a:gd name="T72" fmla="*/ 378 w 559"/>
                <a:gd name="T73" fmla="*/ 359 h 683"/>
                <a:gd name="T74" fmla="*/ 376 w 559"/>
                <a:gd name="T75" fmla="*/ 386 h 683"/>
                <a:gd name="T76" fmla="*/ 395 w 559"/>
                <a:gd name="T77" fmla="*/ 430 h 683"/>
                <a:gd name="T78" fmla="*/ 347 w 559"/>
                <a:gd name="T79" fmla="*/ 442 h 683"/>
                <a:gd name="T80" fmla="*/ 323 w 559"/>
                <a:gd name="T81" fmla="*/ 451 h 683"/>
                <a:gd name="T82" fmla="*/ 287 w 559"/>
                <a:gd name="T83" fmla="*/ 451 h 683"/>
                <a:gd name="T84" fmla="*/ 279 w 559"/>
                <a:gd name="T85" fmla="*/ 446 h 683"/>
                <a:gd name="T86" fmla="*/ 265 w 559"/>
                <a:gd name="T87" fmla="*/ 415 h 683"/>
                <a:gd name="T88" fmla="*/ 275 w 559"/>
                <a:gd name="T89" fmla="*/ 382 h 683"/>
                <a:gd name="T90" fmla="*/ 284 w 559"/>
                <a:gd name="T91" fmla="*/ 338 h 683"/>
                <a:gd name="T92" fmla="*/ 299 w 559"/>
                <a:gd name="T93" fmla="*/ 289 h 683"/>
                <a:gd name="T94" fmla="*/ 297 w 559"/>
                <a:gd name="T95" fmla="*/ 249 h 683"/>
                <a:gd name="T96" fmla="*/ 285 w 559"/>
                <a:gd name="T97" fmla="*/ 241 h 683"/>
                <a:gd name="T98" fmla="*/ 277 w 559"/>
                <a:gd name="T99" fmla="*/ 210 h 683"/>
                <a:gd name="T100" fmla="*/ 275 w 559"/>
                <a:gd name="T101" fmla="*/ 166 h 683"/>
                <a:gd name="T102" fmla="*/ 297 w 559"/>
                <a:gd name="T103" fmla="*/ 142 h 683"/>
                <a:gd name="T104" fmla="*/ 304 w 559"/>
                <a:gd name="T105" fmla="*/ 104 h 683"/>
                <a:gd name="T106" fmla="*/ 304 w 559"/>
                <a:gd name="T107" fmla="*/ 55 h 683"/>
                <a:gd name="T108" fmla="*/ 333 w 559"/>
                <a:gd name="T109" fmla="*/ 17 h 683"/>
                <a:gd name="T110" fmla="*/ 378 w 559"/>
                <a:gd name="T111" fmla="*/ 19 h 683"/>
                <a:gd name="T112" fmla="*/ 408 w 559"/>
                <a:gd name="T113" fmla="*/ 20 h 683"/>
                <a:gd name="T114" fmla="*/ 441 w 559"/>
                <a:gd name="T115" fmla="*/ 39 h 683"/>
                <a:gd name="T116" fmla="*/ 490 w 559"/>
                <a:gd name="T117" fmla="*/ 56 h 683"/>
                <a:gd name="T118" fmla="*/ 540 w 559"/>
                <a:gd name="T119" fmla="*/ 78 h 683"/>
                <a:gd name="T120" fmla="*/ 545 w 559"/>
                <a:gd name="T121" fmla="*/ 118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9" h="683">
                  <a:moveTo>
                    <a:pt x="33" y="681"/>
                  </a:moveTo>
                  <a:lnTo>
                    <a:pt x="35" y="681"/>
                  </a:lnTo>
                  <a:lnTo>
                    <a:pt x="35" y="683"/>
                  </a:lnTo>
                  <a:lnTo>
                    <a:pt x="33" y="683"/>
                  </a:lnTo>
                  <a:lnTo>
                    <a:pt x="33" y="681"/>
                  </a:lnTo>
                  <a:close/>
                  <a:moveTo>
                    <a:pt x="17" y="676"/>
                  </a:moveTo>
                  <a:lnTo>
                    <a:pt x="21" y="676"/>
                  </a:lnTo>
                  <a:lnTo>
                    <a:pt x="17" y="676"/>
                  </a:lnTo>
                  <a:lnTo>
                    <a:pt x="14" y="676"/>
                  </a:lnTo>
                  <a:lnTo>
                    <a:pt x="17" y="676"/>
                  </a:lnTo>
                  <a:close/>
                  <a:moveTo>
                    <a:pt x="31" y="675"/>
                  </a:moveTo>
                  <a:lnTo>
                    <a:pt x="33" y="675"/>
                  </a:lnTo>
                  <a:lnTo>
                    <a:pt x="33" y="676"/>
                  </a:lnTo>
                  <a:lnTo>
                    <a:pt x="31" y="676"/>
                  </a:lnTo>
                  <a:lnTo>
                    <a:pt x="31" y="675"/>
                  </a:lnTo>
                  <a:close/>
                  <a:moveTo>
                    <a:pt x="0" y="671"/>
                  </a:moveTo>
                  <a:lnTo>
                    <a:pt x="4" y="671"/>
                  </a:lnTo>
                  <a:lnTo>
                    <a:pt x="4" y="673"/>
                  </a:lnTo>
                  <a:lnTo>
                    <a:pt x="0" y="673"/>
                  </a:lnTo>
                  <a:lnTo>
                    <a:pt x="0" y="671"/>
                  </a:lnTo>
                  <a:close/>
                  <a:moveTo>
                    <a:pt x="36" y="669"/>
                  </a:moveTo>
                  <a:lnTo>
                    <a:pt x="38" y="669"/>
                  </a:lnTo>
                  <a:lnTo>
                    <a:pt x="38" y="673"/>
                  </a:lnTo>
                  <a:lnTo>
                    <a:pt x="36" y="673"/>
                  </a:lnTo>
                  <a:lnTo>
                    <a:pt x="36" y="669"/>
                  </a:lnTo>
                  <a:close/>
                  <a:moveTo>
                    <a:pt x="555" y="669"/>
                  </a:moveTo>
                  <a:lnTo>
                    <a:pt x="553" y="671"/>
                  </a:lnTo>
                  <a:lnTo>
                    <a:pt x="545" y="671"/>
                  </a:lnTo>
                  <a:lnTo>
                    <a:pt x="555" y="669"/>
                  </a:lnTo>
                  <a:close/>
                  <a:moveTo>
                    <a:pt x="84" y="664"/>
                  </a:moveTo>
                  <a:lnTo>
                    <a:pt x="86" y="664"/>
                  </a:lnTo>
                  <a:lnTo>
                    <a:pt x="86" y="668"/>
                  </a:lnTo>
                  <a:lnTo>
                    <a:pt x="84" y="668"/>
                  </a:lnTo>
                  <a:lnTo>
                    <a:pt x="84" y="664"/>
                  </a:lnTo>
                  <a:close/>
                  <a:moveTo>
                    <a:pt x="557" y="652"/>
                  </a:moveTo>
                  <a:lnTo>
                    <a:pt x="559" y="654"/>
                  </a:lnTo>
                  <a:lnTo>
                    <a:pt x="557" y="659"/>
                  </a:lnTo>
                  <a:lnTo>
                    <a:pt x="552" y="663"/>
                  </a:lnTo>
                  <a:lnTo>
                    <a:pt x="548" y="663"/>
                  </a:lnTo>
                  <a:lnTo>
                    <a:pt x="547" y="659"/>
                  </a:lnTo>
                  <a:lnTo>
                    <a:pt x="548" y="654"/>
                  </a:lnTo>
                  <a:lnTo>
                    <a:pt x="557" y="652"/>
                  </a:lnTo>
                  <a:close/>
                  <a:moveTo>
                    <a:pt x="470" y="649"/>
                  </a:moveTo>
                  <a:lnTo>
                    <a:pt x="478" y="654"/>
                  </a:lnTo>
                  <a:lnTo>
                    <a:pt x="478" y="657"/>
                  </a:lnTo>
                  <a:lnTo>
                    <a:pt x="470" y="661"/>
                  </a:lnTo>
                  <a:lnTo>
                    <a:pt x="466" y="657"/>
                  </a:lnTo>
                  <a:lnTo>
                    <a:pt x="468" y="656"/>
                  </a:lnTo>
                  <a:lnTo>
                    <a:pt x="468" y="649"/>
                  </a:lnTo>
                  <a:lnTo>
                    <a:pt x="470" y="649"/>
                  </a:lnTo>
                  <a:close/>
                  <a:moveTo>
                    <a:pt x="550" y="644"/>
                  </a:moveTo>
                  <a:lnTo>
                    <a:pt x="552" y="645"/>
                  </a:lnTo>
                  <a:lnTo>
                    <a:pt x="552" y="647"/>
                  </a:lnTo>
                  <a:lnTo>
                    <a:pt x="545" y="647"/>
                  </a:lnTo>
                  <a:lnTo>
                    <a:pt x="547" y="645"/>
                  </a:lnTo>
                  <a:lnTo>
                    <a:pt x="550" y="644"/>
                  </a:lnTo>
                  <a:close/>
                  <a:moveTo>
                    <a:pt x="437" y="644"/>
                  </a:moveTo>
                  <a:lnTo>
                    <a:pt x="446" y="645"/>
                  </a:lnTo>
                  <a:lnTo>
                    <a:pt x="449" y="647"/>
                  </a:lnTo>
                  <a:lnTo>
                    <a:pt x="460" y="645"/>
                  </a:lnTo>
                  <a:lnTo>
                    <a:pt x="466" y="649"/>
                  </a:lnTo>
                  <a:lnTo>
                    <a:pt x="465" y="652"/>
                  </a:lnTo>
                  <a:lnTo>
                    <a:pt x="458" y="652"/>
                  </a:lnTo>
                  <a:lnTo>
                    <a:pt x="449" y="649"/>
                  </a:lnTo>
                  <a:lnTo>
                    <a:pt x="446" y="649"/>
                  </a:lnTo>
                  <a:lnTo>
                    <a:pt x="441" y="647"/>
                  </a:lnTo>
                  <a:lnTo>
                    <a:pt x="439" y="649"/>
                  </a:lnTo>
                  <a:lnTo>
                    <a:pt x="434" y="645"/>
                  </a:lnTo>
                  <a:lnTo>
                    <a:pt x="437" y="644"/>
                  </a:lnTo>
                  <a:close/>
                  <a:moveTo>
                    <a:pt x="547" y="639"/>
                  </a:moveTo>
                  <a:lnTo>
                    <a:pt x="548" y="639"/>
                  </a:lnTo>
                  <a:lnTo>
                    <a:pt x="548" y="640"/>
                  </a:lnTo>
                  <a:lnTo>
                    <a:pt x="547" y="640"/>
                  </a:lnTo>
                  <a:lnTo>
                    <a:pt x="547" y="639"/>
                  </a:lnTo>
                  <a:close/>
                  <a:moveTo>
                    <a:pt x="149" y="634"/>
                  </a:moveTo>
                  <a:lnTo>
                    <a:pt x="144" y="637"/>
                  </a:lnTo>
                  <a:lnTo>
                    <a:pt x="149" y="634"/>
                  </a:lnTo>
                  <a:close/>
                  <a:moveTo>
                    <a:pt x="407" y="622"/>
                  </a:moveTo>
                  <a:lnTo>
                    <a:pt x="412" y="623"/>
                  </a:lnTo>
                  <a:lnTo>
                    <a:pt x="412" y="625"/>
                  </a:lnTo>
                  <a:lnTo>
                    <a:pt x="407" y="623"/>
                  </a:lnTo>
                  <a:lnTo>
                    <a:pt x="407" y="622"/>
                  </a:lnTo>
                  <a:close/>
                  <a:moveTo>
                    <a:pt x="118" y="622"/>
                  </a:moveTo>
                  <a:lnTo>
                    <a:pt x="122" y="622"/>
                  </a:lnTo>
                  <a:lnTo>
                    <a:pt x="122" y="623"/>
                  </a:lnTo>
                  <a:lnTo>
                    <a:pt x="118" y="623"/>
                  </a:lnTo>
                  <a:lnTo>
                    <a:pt x="118" y="622"/>
                  </a:lnTo>
                  <a:close/>
                  <a:moveTo>
                    <a:pt x="415" y="613"/>
                  </a:moveTo>
                  <a:lnTo>
                    <a:pt x="420" y="618"/>
                  </a:lnTo>
                  <a:lnTo>
                    <a:pt x="427" y="622"/>
                  </a:lnTo>
                  <a:lnTo>
                    <a:pt x="431" y="622"/>
                  </a:lnTo>
                  <a:lnTo>
                    <a:pt x="434" y="620"/>
                  </a:lnTo>
                  <a:lnTo>
                    <a:pt x="431" y="628"/>
                  </a:lnTo>
                  <a:lnTo>
                    <a:pt x="422" y="628"/>
                  </a:lnTo>
                  <a:lnTo>
                    <a:pt x="419" y="627"/>
                  </a:lnTo>
                  <a:lnTo>
                    <a:pt x="417" y="628"/>
                  </a:lnTo>
                  <a:lnTo>
                    <a:pt x="420" y="630"/>
                  </a:lnTo>
                  <a:lnTo>
                    <a:pt x="419" y="630"/>
                  </a:lnTo>
                  <a:lnTo>
                    <a:pt x="415" y="628"/>
                  </a:lnTo>
                  <a:lnTo>
                    <a:pt x="415" y="625"/>
                  </a:lnTo>
                  <a:lnTo>
                    <a:pt x="414" y="623"/>
                  </a:lnTo>
                  <a:lnTo>
                    <a:pt x="412" y="622"/>
                  </a:lnTo>
                  <a:lnTo>
                    <a:pt x="414" y="618"/>
                  </a:lnTo>
                  <a:lnTo>
                    <a:pt x="414" y="613"/>
                  </a:lnTo>
                  <a:lnTo>
                    <a:pt x="415" y="613"/>
                  </a:lnTo>
                  <a:close/>
                  <a:moveTo>
                    <a:pt x="234" y="593"/>
                  </a:moveTo>
                  <a:lnTo>
                    <a:pt x="234" y="596"/>
                  </a:lnTo>
                  <a:lnTo>
                    <a:pt x="231" y="596"/>
                  </a:lnTo>
                  <a:lnTo>
                    <a:pt x="231" y="594"/>
                  </a:lnTo>
                  <a:lnTo>
                    <a:pt x="234" y="593"/>
                  </a:lnTo>
                  <a:close/>
                  <a:moveTo>
                    <a:pt x="239" y="591"/>
                  </a:moveTo>
                  <a:lnTo>
                    <a:pt x="243" y="591"/>
                  </a:lnTo>
                  <a:lnTo>
                    <a:pt x="243" y="594"/>
                  </a:lnTo>
                  <a:lnTo>
                    <a:pt x="239" y="594"/>
                  </a:lnTo>
                  <a:lnTo>
                    <a:pt x="239" y="591"/>
                  </a:lnTo>
                  <a:close/>
                  <a:moveTo>
                    <a:pt x="436" y="587"/>
                  </a:moveTo>
                  <a:lnTo>
                    <a:pt x="437" y="593"/>
                  </a:lnTo>
                  <a:lnTo>
                    <a:pt x="434" y="596"/>
                  </a:lnTo>
                  <a:lnTo>
                    <a:pt x="432" y="589"/>
                  </a:lnTo>
                  <a:lnTo>
                    <a:pt x="434" y="586"/>
                  </a:lnTo>
                  <a:lnTo>
                    <a:pt x="436" y="587"/>
                  </a:lnTo>
                  <a:close/>
                  <a:moveTo>
                    <a:pt x="391" y="579"/>
                  </a:moveTo>
                  <a:lnTo>
                    <a:pt x="391" y="572"/>
                  </a:lnTo>
                  <a:lnTo>
                    <a:pt x="393" y="574"/>
                  </a:lnTo>
                  <a:lnTo>
                    <a:pt x="391" y="579"/>
                  </a:lnTo>
                  <a:close/>
                  <a:moveTo>
                    <a:pt x="393" y="563"/>
                  </a:moveTo>
                  <a:lnTo>
                    <a:pt x="393" y="569"/>
                  </a:lnTo>
                  <a:lnTo>
                    <a:pt x="391" y="569"/>
                  </a:lnTo>
                  <a:lnTo>
                    <a:pt x="390" y="563"/>
                  </a:lnTo>
                  <a:lnTo>
                    <a:pt x="391" y="562"/>
                  </a:lnTo>
                  <a:lnTo>
                    <a:pt x="393" y="563"/>
                  </a:lnTo>
                  <a:close/>
                  <a:moveTo>
                    <a:pt x="458" y="552"/>
                  </a:moveTo>
                  <a:lnTo>
                    <a:pt x="460" y="552"/>
                  </a:lnTo>
                  <a:lnTo>
                    <a:pt x="460" y="553"/>
                  </a:lnTo>
                  <a:lnTo>
                    <a:pt x="458" y="553"/>
                  </a:lnTo>
                  <a:lnTo>
                    <a:pt x="458" y="552"/>
                  </a:lnTo>
                  <a:close/>
                  <a:moveTo>
                    <a:pt x="391" y="548"/>
                  </a:moveTo>
                  <a:lnTo>
                    <a:pt x="391" y="552"/>
                  </a:lnTo>
                  <a:lnTo>
                    <a:pt x="391" y="548"/>
                  </a:lnTo>
                  <a:close/>
                  <a:moveTo>
                    <a:pt x="391" y="505"/>
                  </a:moveTo>
                  <a:lnTo>
                    <a:pt x="390" y="509"/>
                  </a:lnTo>
                  <a:lnTo>
                    <a:pt x="391" y="516"/>
                  </a:lnTo>
                  <a:lnTo>
                    <a:pt x="390" y="517"/>
                  </a:lnTo>
                  <a:lnTo>
                    <a:pt x="388" y="517"/>
                  </a:lnTo>
                  <a:lnTo>
                    <a:pt x="388" y="514"/>
                  </a:lnTo>
                  <a:lnTo>
                    <a:pt x="390" y="507"/>
                  </a:lnTo>
                  <a:lnTo>
                    <a:pt x="391" y="505"/>
                  </a:lnTo>
                  <a:close/>
                  <a:moveTo>
                    <a:pt x="400" y="464"/>
                  </a:moveTo>
                  <a:lnTo>
                    <a:pt x="402" y="466"/>
                  </a:lnTo>
                  <a:lnTo>
                    <a:pt x="400" y="470"/>
                  </a:lnTo>
                  <a:lnTo>
                    <a:pt x="403" y="473"/>
                  </a:lnTo>
                  <a:lnTo>
                    <a:pt x="405" y="482"/>
                  </a:lnTo>
                  <a:lnTo>
                    <a:pt x="407" y="492"/>
                  </a:lnTo>
                  <a:lnTo>
                    <a:pt x="408" y="499"/>
                  </a:lnTo>
                  <a:lnTo>
                    <a:pt x="407" y="502"/>
                  </a:lnTo>
                  <a:lnTo>
                    <a:pt x="407" y="507"/>
                  </a:lnTo>
                  <a:lnTo>
                    <a:pt x="405" y="507"/>
                  </a:lnTo>
                  <a:lnTo>
                    <a:pt x="407" y="509"/>
                  </a:lnTo>
                  <a:lnTo>
                    <a:pt x="403" y="516"/>
                  </a:lnTo>
                  <a:lnTo>
                    <a:pt x="403" y="519"/>
                  </a:lnTo>
                  <a:lnTo>
                    <a:pt x="405" y="523"/>
                  </a:lnTo>
                  <a:lnTo>
                    <a:pt x="405" y="531"/>
                  </a:lnTo>
                  <a:lnTo>
                    <a:pt x="402" y="533"/>
                  </a:lnTo>
                  <a:lnTo>
                    <a:pt x="400" y="540"/>
                  </a:lnTo>
                  <a:lnTo>
                    <a:pt x="402" y="546"/>
                  </a:lnTo>
                  <a:lnTo>
                    <a:pt x="398" y="552"/>
                  </a:lnTo>
                  <a:lnTo>
                    <a:pt x="396" y="545"/>
                  </a:lnTo>
                  <a:lnTo>
                    <a:pt x="395" y="541"/>
                  </a:lnTo>
                  <a:lnTo>
                    <a:pt x="396" y="541"/>
                  </a:lnTo>
                  <a:lnTo>
                    <a:pt x="395" y="538"/>
                  </a:lnTo>
                  <a:lnTo>
                    <a:pt x="396" y="538"/>
                  </a:lnTo>
                  <a:lnTo>
                    <a:pt x="396" y="528"/>
                  </a:lnTo>
                  <a:lnTo>
                    <a:pt x="398" y="526"/>
                  </a:lnTo>
                  <a:lnTo>
                    <a:pt x="393" y="524"/>
                  </a:lnTo>
                  <a:lnTo>
                    <a:pt x="393" y="517"/>
                  </a:lnTo>
                  <a:lnTo>
                    <a:pt x="391" y="516"/>
                  </a:lnTo>
                  <a:lnTo>
                    <a:pt x="393" y="512"/>
                  </a:lnTo>
                  <a:lnTo>
                    <a:pt x="391" y="514"/>
                  </a:lnTo>
                  <a:lnTo>
                    <a:pt x="393" y="512"/>
                  </a:lnTo>
                  <a:lnTo>
                    <a:pt x="396" y="504"/>
                  </a:lnTo>
                  <a:lnTo>
                    <a:pt x="395" y="500"/>
                  </a:lnTo>
                  <a:lnTo>
                    <a:pt x="395" y="493"/>
                  </a:lnTo>
                  <a:lnTo>
                    <a:pt x="393" y="487"/>
                  </a:lnTo>
                  <a:lnTo>
                    <a:pt x="395" y="480"/>
                  </a:lnTo>
                  <a:lnTo>
                    <a:pt x="395" y="475"/>
                  </a:lnTo>
                  <a:lnTo>
                    <a:pt x="396" y="468"/>
                  </a:lnTo>
                  <a:lnTo>
                    <a:pt x="400" y="464"/>
                  </a:lnTo>
                  <a:close/>
                  <a:moveTo>
                    <a:pt x="396" y="461"/>
                  </a:moveTo>
                  <a:lnTo>
                    <a:pt x="400" y="461"/>
                  </a:lnTo>
                  <a:lnTo>
                    <a:pt x="400" y="463"/>
                  </a:lnTo>
                  <a:lnTo>
                    <a:pt x="396" y="463"/>
                  </a:lnTo>
                  <a:lnTo>
                    <a:pt x="396" y="461"/>
                  </a:lnTo>
                  <a:close/>
                  <a:moveTo>
                    <a:pt x="391" y="449"/>
                  </a:moveTo>
                  <a:lnTo>
                    <a:pt x="393" y="449"/>
                  </a:lnTo>
                  <a:lnTo>
                    <a:pt x="393" y="451"/>
                  </a:lnTo>
                  <a:lnTo>
                    <a:pt x="391" y="451"/>
                  </a:lnTo>
                  <a:lnTo>
                    <a:pt x="391" y="449"/>
                  </a:lnTo>
                  <a:close/>
                  <a:moveTo>
                    <a:pt x="256" y="427"/>
                  </a:moveTo>
                  <a:lnTo>
                    <a:pt x="260" y="430"/>
                  </a:lnTo>
                  <a:lnTo>
                    <a:pt x="256" y="432"/>
                  </a:lnTo>
                  <a:lnTo>
                    <a:pt x="260" y="430"/>
                  </a:lnTo>
                  <a:lnTo>
                    <a:pt x="260" y="434"/>
                  </a:lnTo>
                  <a:lnTo>
                    <a:pt x="256" y="434"/>
                  </a:lnTo>
                  <a:lnTo>
                    <a:pt x="258" y="435"/>
                  </a:lnTo>
                  <a:lnTo>
                    <a:pt x="253" y="437"/>
                  </a:lnTo>
                  <a:lnTo>
                    <a:pt x="253" y="435"/>
                  </a:lnTo>
                  <a:lnTo>
                    <a:pt x="250" y="434"/>
                  </a:lnTo>
                  <a:lnTo>
                    <a:pt x="251" y="430"/>
                  </a:lnTo>
                  <a:lnTo>
                    <a:pt x="251" y="434"/>
                  </a:lnTo>
                  <a:lnTo>
                    <a:pt x="255" y="432"/>
                  </a:lnTo>
                  <a:lnTo>
                    <a:pt x="255" y="430"/>
                  </a:lnTo>
                  <a:lnTo>
                    <a:pt x="256" y="429"/>
                  </a:lnTo>
                  <a:lnTo>
                    <a:pt x="253" y="429"/>
                  </a:lnTo>
                  <a:lnTo>
                    <a:pt x="253" y="427"/>
                  </a:lnTo>
                  <a:lnTo>
                    <a:pt x="256" y="427"/>
                  </a:lnTo>
                  <a:close/>
                  <a:moveTo>
                    <a:pt x="248" y="425"/>
                  </a:moveTo>
                  <a:lnTo>
                    <a:pt x="250" y="425"/>
                  </a:lnTo>
                  <a:lnTo>
                    <a:pt x="250" y="429"/>
                  </a:lnTo>
                  <a:lnTo>
                    <a:pt x="248" y="429"/>
                  </a:lnTo>
                  <a:lnTo>
                    <a:pt x="248" y="425"/>
                  </a:lnTo>
                  <a:close/>
                  <a:moveTo>
                    <a:pt x="152" y="420"/>
                  </a:moveTo>
                  <a:lnTo>
                    <a:pt x="154" y="420"/>
                  </a:lnTo>
                  <a:lnTo>
                    <a:pt x="154" y="423"/>
                  </a:lnTo>
                  <a:lnTo>
                    <a:pt x="152" y="423"/>
                  </a:lnTo>
                  <a:lnTo>
                    <a:pt x="152" y="420"/>
                  </a:lnTo>
                  <a:close/>
                  <a:moveTo>
                    <a:pt x="93" y="415"/>
                  </a:moveTo>
                  <a:lnTo>
                    <a:pt x="96" y="418"/>
                  </a:lnTo>
                  <a:lnTo>
                    <a:pt x="96" y="422"/>
                  </a:lnTo>
                  <a:lnTo>
                    <a:pt x="93" y="420"/>
                  </a:lnTo>
                  <a:lnTo>
                    <a:pt x="93" y="415"/>
                  </a:lnTo>
                  <a:close/>
                  <a:moveTo>
                    <a:pt x="89" y="408"/>
                  </a:moveTo>
                  <a:lnTo>
                    <a:pt x="87" y="401"/>
                  </a:lnTo>
                  <a:lnTo>
                    <a:pt x="89" y="405"/>
                  </a:lnTo>
                  <a:lnTo>
                    <a:pt x="89" y="408"/>
                  </a:lnTo>
                  <a:close/>
                  <a:moveTo>
                    <a:pt x="60" y="400"/>
                  </a:moveTo>
                  <a:lnTo>
                    <a:pt x="62" y="394"/>
                  </a:lnTo>
                  <a:lnTo>
                    <a:pt x="64" y="396"/>
                  </a:lnTo>
                  <a:lnTo>
                    <a:pt x="60" y="400"/>
                  </a:lnTo>
                  <a:close/>
                  <a:moveTo>
                    <a:pt x="118" y="386"/>
                  </a:moveTo>
                  <a:lnTo>
                    <a:pt x="120" y="386"/>
                  </a:lnTo>
                  <a:lnTo>
                    <a:pt x="120" y="389"/>
                  </a:lnTo>
                  <a:lnTo>
                    <a:pt x="118" y="389"/>
                  </a:lnTo>
                  <a:lnTo>
                    <a:pt x="118" y="386"/>
                  </a:lnTo>
                  <a:close/>
                  <a:moveTo>
                    <a:pt x="292" y="294"/>
                  </a:moveTo>
                  <a:lnTo>
                    <a:pt x="294" y="294"/>
                  </a:lnTo>
                  <a:lnTo>
                    <a:pt x="294" y="297"/>
                  </a:lnTo>
                  <a:lnTo>
                    <a:pt x="292" y="297"/>
                  </a:lnTo>
                  <a:lnTo>
                    <a:pt x="292" y="294"/>
                  </a:lnTo>
                  <a:close/>
                  <a:moveTo>
                    <a:pt x="279" y="212"/>
                  </a:moveTo>
                  <a:lnTo>
                    <a:pt x="279" y="215"/>
                  </a:lnTo>
                  <a:lnTo>
                    <a:pt x="282" y="215"/>
                  </a:lnTo>
                  <a:lnTo>
                    <a:pt x="280" y="218"/>
                  </a:lnTo>
                  <a:lnTo>
                    <a:pt x="279" y="215"/>
                  </a:lnTo>
                  <a:lnTo>
                    <a:pt x="275" y="215"/>
                  </a:lnTo>
                  <a:lnTo>
                    <a:pt x="277" y="212"/>
                  </a:lnTo>
                  <a:lnTo>
                    <a:pt x="279" y="212"/>
                  </a:lnTo>
                  <a:close/>
                  <a:moveTo>
                    <a:pt x="543" y="119"/>
                  </a:moveTo>
                  <a:lnTo>
                    <a:pt x="533" y="121"/>
                  </a:lnTo>
                  <a:lnTo>
                    <a:pt x="528" y="123"/>
                  </a:lnTo>
                  <a:lnTo>
                    <a:pt x="524" y="128"/>
                  </a:lnTo>
                  <a:lnTo>
                    <a:pt x="518" y="133"/>
                  </a:lnTo>
                  <a:lnTo>
                    <a:pt x="513" y="135"/>
                  </a:lnTo>
                  <a:lnTo>
                    <a:pt x="509" y="131"/>
                  </a:lnTo>
                  <a:lnTo>
                    <a:pt x="506" y="130"/>
                  </a:lnTo>
                  <a:lnTo>
                    <a:pt x="501" y="126"/>
                  </a:lnTo>
                  <a:lnTo>
                    <a:pt x="506" y="121"/>
                  </a:lnTo>
                  <a:lnTo>
                    <a:pt x="502" y="113"/>
                  </a:lnTo>
                  <a:lnTo>
                    <a:pt x="501" y="111"/>
                  </a:lnTo>
                  <a:lnTo>
                    <a:pt x="492" y="113"/>
                  </a:lnTo>
                  <a:lnTo>
                    <a:pt x="489" y="116"/>
                  </a:lnTo>
                  <a:lnTo>
                    <a:pt x="485" y="116"/>
                  </a:lnTo>
                  <a:lnTo>
                    <a:pt x="482" y="111"/>
                  </a:lnTo>
                  <a:lnTo>
                    <a:pt x="480" y="111"/>
                  </a:lnTo>
                  <a:lnTo>
                    <a:pt x="472" y="106"/>
                  </a:lnTo>
                  <a:lnTo>
                    <a:pt x="466" y="107"/>
                  </a:lnTo>
                  <a:lnTo>
                    <a:pt x="465" y="111"/>
                  </a:lnTo>
                  <a:lnTo>
                    <a:pt x="461" y="113"/>
                  </a:lnTo>
                  <a:lnTo>
                    <a:pt x="460" y="109"/>
                  </a:lnTo>
                  <a:lnTo>
                    <a:pt x="461" y="111"/>
                  </a:lnTo>
                  <a:lnTo>
                    <a:pt x="463" y="109"/>
                  </a:lnTo>
                  <a:lnTo>
                    <a:pt x="465" y="111"/>
                  </a:lnTo>
                  <a:lnTo>
                    <a:pt x="466" y="106"/>
                  </a:lnTo>
                  <a:lnTo>
                    <a:pt x="470" y="106"/>
                  </a:lnTo>
                  <a:lnTo>
                    <a:pt x="470" y="102"/>
                  </a:lnTo>
                  <a:lnTo>
                    <a:pt x="472" y="102"/>
                  </a:lnTo>
                  <a:lnTo>
                    <a:pt x="473" y="99"/>
                  </a:lnTo>
                  <a:lnTo>
                    <a:pt x="472" y="97"/>
                  </a:lnTo>
                  <a:lnTo>
                    <a:pt x="468" y="97"/>
                  </a:lnTo>
                  <a:lnTo>
                    <a:pt x="468" y="96"/>
                  </a:lnTo>
                  <a:lnTo>
                    <a:pt x="466" y="97"/>
                  </a:lnTo>
                  <a:lnTo>
                    <a:pt x="466" y="94"/>
                  </a:lnTo>
                  <a:lnTo>
                    <a:pt x="468" y="92"/>
                  </a:lnTo>
                  <a:lnTo>
                    <a:pt x="465" y="90"/>
                  </a:lnTo>
                  <a:lnTo>
                    <a:pt x="465" y="94"/>
                  </a:lnTo>
                  <a:lnTo>
                    <a:pt x="461" y="94"/>
                  </a:lnTo>
                  <a:lnTo>
                    <a:pt x="460" y="92"/>
                  </a:lnTo>
                  <a:lnTo>
                    <a:pt x="451" y="92"/>
                  </a:lnTo>
                  <a:lnTo>
                    <a:pt x="449" y="90"/>
                  </a:lnTo>
                  <a:lnTo>
                    <a:pt x="444" y="92"/>
                  </a:lnTo>
                  <a:lnTo>
                    <a:pt x="441" y="87"/>
                  </a:lnTo>
                  <a:lnTo>
                    <a:pt x="432" y="87"/>
                  </a:lnTo>
                  <a:lnTo>
                    <a:pt x="432" y="89"/>
                  </a:lnTo>
                  <a:lnTo>
                    <a:pt x="422" y="90"/>
                  </a:lnTo>
                  <a:lnTo>
                    <a:pt x="422" y="92"/>
                  </a:lnTo>
                  <a:lnTo>
                    <a:pt x="419" y="96"/>
                  </a:lnTo>
                  <a:lnTo>
                    <a:pt x="412" y="96"/>
                  </a:lnTo>
                  <a:lnTo>
                    <a:pt x="410" y="96"/>
                  </a:lnTo>
                  <a:lnTo>
                    <a:pt x="412" y="97"/>
                  </a:lnTo>
                  <a:lnTo>
                    <a:pt x="407" y="104"/>
                  </a:lnTo>
                  <a:lnTo>
                    <a:pt x="400" y="107"/>
                  </a:lnTo>
                  <a:lnTo>
                    <a:pt x="396" y="113"/>
                  </a:lnTo>
                  <a:lnTo>
                    <a:pt x="395" y="113"/>
                  </a:lnTo>
                  <a:lnTo>
                    <a:pt x="384" y="118"/>
                  </a:lnTo>
                  <a:lnTo>
                    <a:pt x="381" y="121"/>
                  </a:lnTo>
                  <a:lnTo>
                    <a:pt x="376" y="123"/>
                  </a:lnTo>
                  <a:lnTo>
                    <a:pt x="373" y="126"/>
                  </a:lnTo>
                  <a:lnTo>
                    <a:pt x="366" y="128"/>
                  </a:lnTo>
                  <a:lnTo>
                    <a:pt x="366" y="130"/>
                  </a:lnTo>
                  <a:lnTo>
                    <a:pt x="367" y="131"/>
                  </a:lnTo>
                  <a:lnTo>
                    <a:pt x="369" y="138"/>
                  </a:lnTo>
                  <a:lnTo>
                    <a:pt x="373" y="140"/>
                  </a:lnTo>
                  <a:lnTo>
                    <a:pt x="374" y="143"/>
                  </a:lnTo>
                  <a:lnTo>
                    <a:pt x="373" y="152"/>
                  </a:lnTo>
                  <a:lnTo>
                    <a:pt x="378" y="154"/>
                  </a:lnTo>
                  <a:lnTo>
                    <a:pt x="384" y="157"/>
                  </a:lnTo>
                  <a:lnTo>
                    <a:pt x="388" y="157"/>
                  </a:lnTo>
                  <a:lnTo>
                    <a:pt x="390" y="164"/>
                  </a:lnTo>
                  <a:lnTo>
                    <a:pt x="391" y="164"/>
                  </a:lnTo>
                  <a:lnTo>
                    <a:pt x="391" y="162"/>
                  </a:lnTo>
                  <a:lnTo>
                    <a:pt x="393" y="166"/>
                  </a:lnTo>
                  <a:lnTo>
                    <a:pt x="390" y="167"/>
                  </a:lnTo>
                  <a:lnTo>
                    <a:pt x="391" y="169"/>
                  </a:lnTo>
                  <a:lnTo>
                    <a:pt x="390" y="171"/>
                  </a:lnTo>
                  <a:lnTo>
                    <a:pt x="391" y="174"/>
                  </a:lnTo>
                  <a:lnTo>
                    <a:pt x="390" y="177"/>
                  </a:lnTo>
                  <a:lnTo>
                    <a:pt x="391" y="184"/>
                  </a:lnTo>
                  <a:lnTo>
                    <a:pt x="390" y="186"/>
                  </a:lnTo>
                  <a:lnTo>
                    <a:pt x="388" y="193"/>
                  </a:lnTo>
                  <a:lnTo>
                    <a:pt x="391" y="201"/>
                  </a:lnTo>
                  <a:lnTo>
                    <a:pt x="393" y="207"/>
                  </a:lnTo>
                  <a:lnTo>
                    <a:pt x="391" y="213"/>
                  </a:lnTo>
                  <a:lnTo>
                    <a:pt x="395" y="215"/>
                  </a:lnTo>
                  <a:lnTo>
                    <a:pt x="395" y="222"/>
                  </a:lnTo>
                  <a:lnTo>
                    <a:pt x="390" y="227"/>
                  </a:lnTo>
                  <a:lnTo>
                    <a:pt x="386" y="234"/>
                  </a:lnTo>
                  <a:lnTo>
                    <a:pt x="384" y="236"/>
                  </a:lnTo>
                  <a:lnTo>
                    <a:pt x="383" y="246"/>
                  </a:lnTo>
                  <a:lnTo>
                    <a:pt x="384" y="249"/>
                  </a:lnTo>
                  <a:lnTo>
                    <a:pt x="383" y="253"/>
                  </a:lnTo>
                  <a:lnTo>
                    <a:pt x="384" y="256"/>
                  </a:lnTo>
                  <a:lnTo>
                    <a:pt x="384" y="261"/>
                  </a:lnTo>
                  <a:lnTo>
                    <a:pt x="381" y="265"/>
                  </a:lnTo>
                  <a:lnTo>
                    <a:pt x="388" y="273"/>
                  </a:lnTo>
                  <a:lnTo>
                    <a:pt x="386" y="280"/>
                  </a:lnTo>
                  <a:lnTo>
                    <a:pt x="384" y="289"/>
                  </a:lnTo>
                  <a:lnTo>
                    <a:pt x="388" y="292"/>
                  </a:lnTo>
                  <a:lnTo>
                    <a:pt x="386" y="297"/>
                  </a:lnTo>
                  <a:lnTo>
                    <a:pt x="384" y="297"/>
                  </a:lnTo>
                  <a:lnTo>
                    <a:pt x="383" y="304"/>
                  </a:lnTo>
                  <a:lnTo>
                    <a:pt x="390" y="311"/>
                  </a:lnTo>
                  <a:lnTo>
                    <a:pt x="386" y="314"/>
                  </a:lnTo>
                  <a:lnTo>
                    <a:pt x="388" y="316"/>
                  </a:lnTo>
                  <a:lnTo>
                    <a:pt x="390" y="324"/>
                  </a:lnTo>
                  <a:lnTo>
                    <a:pt x="396" y="331"/>
                  </a:lnTo>
                  <a:lnTo>
                    <a:pt x="390" y="338"/>
                  </a:lnTo>
                  <a:lnTo>
                    <a:pt x="390" y="343"/>
                  </a:lnTo>
                  <a:lnTo>
                    <a:pt x="386" y="350"/>
                  </a:lnTo>
                  <a:lnTo>
                    <a:pt x="388" y="353"/>
                  </a:lnTo>
                  <a:lnTo>
                    <a:pt x="381" y="353"/>
                  </a:lnTo>
                  <a:lnTo>
                    <a:pt x="378" y="359"/>
                  </a:lnTo>
                  <a:lnTo>
                    <a:pt x="378" y="362"/>
                  </a:lnTo>
                  <a:lnTo>
                    <a:pt x="376" y="364"/>
                  </a:lnTo>
                  <a:lnTo>
                    <a:pt x="378" y="365"/>
                  </a:lnTo>
                  <a:lnTo>
                    <a:pt x="376" y="367"/>
                  </a:lnTo>
                  <a:lnTo>
                    <a:pt x="378" y="372"/>
                  </a:lnTo>
                  <a:lnTo>
                    <a:pt x="376" y="377"/>
                  </a:lnTo>
                  <a:lnTo>
                    <a:pt x="378" y="379"/>
                  </a:lnTo>
                  <a:lnTo>
                    <a:pt x="376" y="386"/>
                  </a:lnTo>
                  <a:lnTo>
                    <a:pt x="374" y="386"/>
                  </a:lnTo>
                  <a:lnTo>
                    <a:pt x="376" y="386"/>
                  </a:lnTo>
                  <a:lnTo>
                    <a:pt x="374" y="389"/>
                  </a:lnTo>
                  <a:lnTo>
                    <a:pt x="378" y="398"/>
                  </a:lnTo>
                  <a:lnTo>
                    <a:pt x="381" y="406"/>
                  </a:lnTo>
                  <a:lnTo>
                    <a:pt x="384" y="410"/>
                  </a:lnTo>
                  <a:lnTo>
                    <a:pt x="384" y="411"/>
                  </a:lnTo>
                  <a:lnTo>
                    <a:pt x="390" y="413"/>
                  </a:lnTo>
                  <a:lnTo>
                    <a:pt x="390" y="418"/>
                  </a:lnTo>
                  <a:lnTo>
                    <a:pt x="393" y="427"/>
                  </a:lnTo>
                  <a:lnTo>
                    <a:pt x="391" y="429"/>
                  </a:lnTo>
                  <a:lnTo>
                    <a:pt x="395" y="430"/>
                  </a:lnTo>
                  <a:lnTo>
                    <a:pt x="395" y="439"/>
                  </a:lnTo>
                  <a:lnTo>
                    <a:pt x="396" y="447"/>
                  </a:lnTo>
                  <a:lnTo>
                    <a:pt x="388" y="442"/>
                  </a:lnTo>
                  <a:lnTo>
                    <a:pt x="383" y="435"/>
                  </a:lnTo>
                  <a:lnTo>
                    <a:pt x="379" y="434"/>
                  </a:lnTo>
                  <a:lnTo>
                    <a:pt x="374" y="437"/>
                  </a:lnTo>
                  <a:lnTo>
                    <a:pt x="367" y="437"/>
                  </a:lnTo>
                  <a:lnTo>
                    <a:pt x="364" y="441"/>
                  </a:lnTo>
                  <a:lnTo>
                    <a:pt x="355" y="444"/>
                  </a:lnTo>
                  <a:lnTo>
                    <a:pt x="347" y="442"/>
                  </a:lnTo>
                  <a:lnTo>
                    <a:pt x="342" y="441"/>
                  </a:lnTo>
                  <a:lnTo>
                    <a:pt x="333" y="437"/>
                  </a:lnTo>
                  <a:lnTo>
                    <a:pt x="332" y="439"/>
                  </a:lnTo>
                  <a:lnTo>
                    <a:pt x="325" y="446"/>
                  </a:lnTo>
                  <a:lnTo>
                    <a:pt x="323" y="449"/>
                  </a:lnTo>
                  <a:lnTo>
                    <a:pt x="321" y="449"/>
                  </a:lnTo>
                  <a:lnTo>
                    <a:pt x="321" y="451"/>
                  </a:lnTo>
                  <a:lnTo>
                    <a:pt x="320" y="452"/>
                  </a:lnTo>
                  <a:lnTo>
                    <a:pt x="321" y="452"/>
                  </a:lnTo>
                  <a:lnTo>
                    <a:pt x="323" y="451"/>
                  </a:lnTo>
                  <a:lnTo>
                    <a:pt x="321" y="452"/>
                  </a:lnTo>
                  <a:lnTo>
                    <a:pt x="316" y="456"/>
                  </a:lnTo>
                  <a:lnTo>
                    <a:pt x="306" y="458"/>
                  </a:lnTo>
                  <a:lnTo>
                    <a:pt x="297" y="454"/>
                  </a:lnTo>
                  <a:lnTo>
                    <a:pt x="297" y="452"/>
                  </a:lnTo>
                  <a:lnTo>
                    <a:pt x="299" y="449"/>
                  </a:lnTo>
                  <a:lnTo>
                    <a:pt x="294" y="446"/>
                  </a:lnTo>
                  <a:lnTo>
                    <a:pt x="291" y="446"/>
                  </a:lnTo>
                  <a:lnTo>
                    <a:pt x="291" y="451"/>
                  </a:lnTo>
                  <a:lnTo>
                    <a:pt x="287" y="451"/>
                  </a:lnTo>
                  <a:lnTo>
                    <a:pt x="285" y="449"/>
                  </a:lnTo>
                  <a:lnTo>
                    <a:pt x="287" y="444"/>
                  </a:lnTo>
                  <a:lnTo>
                    <a:pt x="282" y="441"/>
                  </a:lnTo>
                  <a:lnTo>
                    <a:pt x="284" y="437"/>
                  </a:lnTo>
                  <a:lnTo>
                    <a:pt x="282" y="439"/>
                  </a:lnTo>
                  <a:lnTo>
                    <a:pt x="279" y="439"/>
                  </a:lnTo>
                  <a:lnTo>
                    <a:pt x="275" y="442"/>
                  </a:lnTo>
                  <a:lnTo>
                    <a:pt x="279" y="444"/>
                  </a:lnTo>
                  <a:lnTo>
                    <a:pt x="279" y="442"/>
                  </a:lnTo>
                  <a:lnTo>
                    <a:pt x="279" y="446"/>
                  </a:lnTo>
                  <a:lnTo>
                    <a:pt x="277" y="446"/>
                  </a:lnTo>
                  <a:lnTo>
                    <a:pt x="272" y="442"/>
                  </a:lnTo>
                  <a:lnTo>
                    <a:pt x="272" y="439"/>
                  </a:lnTo>
                  <a:lnTo>
                    <a:pt x="274" y="437"/>
                  </a:lnTo>
                  <a:lnTo>
                    <a:pt x="270" y="432"/>
                  </a:lnTo>
                  <a:lnTo>
                    <a:pt x="272" y="430"/>
                  </a:lnTo>
                  <a:lnTo>
                    <a:pt x="272" y="429"/>
                  </a:lnTo>
                  <a:lnTo>
                    <a:pt x="270" y="432"/>
                  </a:lnTo>
                  <a:lnTo>
                    <a:pt x="265" y="423"/>
                  </a:lnTo>
                  <a:lnTo>
                    <a:pt x="265" y="415"/>
                  </a:lnTo>
                  <a:lnTo>
                    <a:pt x="263" y="411"/>
                  </a:lnTo>
                  <a:lnTo>
                    <a:pt x="267" y="405"/>
                  </a:lnTo>
                  <a:lnTo>
                    <a:pt x="267" y="396"/>
                  </a:lnTo>
                  <a:lnTo>
                    <a:pt x="270" y="396"/>
                  </a:lnTo>
                  <a:lnTo>
                    <a:pt x="267" y="396"/>
                  </a:lnTo>
                  <a:lnTo>
                    <a:pt x="268" y="393"/>
                  </a:lnTo>
                  <a:lnTo>
                    <a:pt x="270" y="391"/>
                  </a:lnTo>
                  <a:lnTo>
                    <a:pt x="270" y="386"/>
                  </a:lnTo>
                  <a:lnTo>
                    <a:pt x="275" y="386"/>
                  </a:lnTo>
                  <a:lnTo>
                    <a:pt x="275" y="382"/>
                  </a:lnTo>
                  <a:lnTo>
                    <a:pt x="279" y="379"/>
                  </a:lnTo>
                  <a:lnTo>
                    <a:pt x="277" y="376"/>
                  </a:lnTo>
                  <a:lnTo>
                    <a:pt x="279" y="372"/>
                  </a:lnTo>
                  <a:lnTo>
                    <a:pt x="284" y="364"/>
                  </a:lnTo>
                  <a:lnTo>
                    <a:pt x="282" y="360"/>
                  </a:lnTo>
                  <a:lnTo>
                    <a:pt x="284" y="359"/>
                  </a:lnTo>
                  <a:lnTo>
                    <a:pt x="282" y="355"/>
                  </a:lnTo>
                  <a:lnTo>
                    <a:pt x="280" y="345"/>
                  </a:lnTo>
                  <a:lnTo>
                    <a:pt x="279" y="343"/>
                  </a:lnTo>
                  <a:lnTo>
                    <a:pt x="284" y="338"/>
                  </a:lnTo>
                  <a:lnTo>
                    <a:pt x="284" y="333"/>
                  </a:lnTo>
                  <a:lnTo>
                    <a:pt x="287" y="331"/>
                  </a:lnTo>
                  <a:lnTo>
                    <a:pt x="287" y="330"/>
                  </a:lnTo>
                  <a:lnTo>
                    <a:pt x="294" y="321"/>
                  </a:lnTo>
                  <a:lnTo>
                    <a:pt x="291" y="316"/>
                  </a:lnTo>
                  <a:lnTo>
                    <a:pt x="294" y="307"/>
                  </a:lnTo>
                  <a:lnTo>
                    <a:pt x="294" y="302"/>
                  </a:lnTo>
                  <a:lnTo>
                    <a:pt x="297" y="297"/>
                  </a:lnTo>
                  <a:lnTo>
                    <a:pt x="296" y="294"/>
                  </a:lnTo>
                  <a:lnTo>
                    <a:pt x="299" y="289"/>
                  </a:lnTo>
                  <a:lnTo>
                    <a:pt x="292" y="282"/>
                  </a:lnTo>
                  <a:lnTo>
                    <a:pt x="297" y="282"/>
                  </a:lnTo>
                  <a:lnTo>
                    <a:pt x="296" y="277"/>
                  </a:lnTo>
                  <a:lnTo>
                    <a:pt x="299" y="273"/>
                  </a:lnTo>
                  <a:lnTo>
                    <a:pt x="296" y="270"/>
                  </a:lnTo>
                  <a:lnTo>
                    <a:pt x="296" y="266"/>
                  </a:lnTo>
                  <a:lnTo>
                    <a:pt x="294" y="265"/>
                  </a:lnTo>
                  <a:lnTo>
                    <a:pt x="297" y="258"/>
                  </a:lnTo>
                  <a:lnTo>
                    <a:pt x="296" y="253"/>
                  </a:lnTo>
                  <a:lnTo>
                    <a:pt x="297" y="249"/>
                  </a:lnTo>
                  <a:lnTo>
                    <a:pt x="296" y="251"/>
                  </a:lnTo>
                  <a:lnTo>
                    <a:pt x="292" y="249"/>
                  </a:lnTo>
                  <a:lnTo>
                    <a:pt x="292" y="253"/>
                  </a:lnTo>
                  <a:lnTo>
                    <a:pt x="296" y="253"/>
                  </a:lnTo>
                  <a:lnTo>
                    <a:pt x="292" y="256"/>
                  </a:lnTo>
                  <a:lnTo>
                    <a:pt x="294" y="258"/>
                  </a:lnTo>
                  <a:lnTo>
                    <a:pt x="292" y="258"/>
                  </a:lnTo>
                  <a:lnTo>
                    <a:pt x="292" y="256"/>
                  </a:lnTo>
                  <a:lnTo>
                    <a:pt x="291" y="246"/>
                  </a:lnTo>
                  <a:lnTo>
                    <a:pt x="285" y="241"/>
                  </a:lnTo>
                  <a:lnTo>
                    <a:pt x="282" y="230"/>
                  </a:lnTo>
                  <a:lnTo>
                    <a:pt x="280" y="224"/>
                  </a:lnTo>
                  <a:lnTo>
                    <a:pt x="277" y="218"/>
                  </a:lnTo>
                  <a:lnTo>
                    <a:pt x="277" y="215"/>
                  </a:lnTo>
                  <a:lnTo>
                    <a:pt x="279" y="217"/>
                  </a:lnTo>
                  <a:lnTo>
                    <a:pt x="280" y="218"/>
                  </a:lnTo>
                  <a:lnTo>
                    <a:pt x="282" y="215"/>
                  </a:lnTo>
                  <a:lnTo>
                    <a:pt x="279" y="215"/>
                  </a:lnTo>
                  <a:lnTo>
                    <a:pt x="280" y="212"/>
                  </a:lnTo>
                  <a:lnTo>
                    <a:pt x="277" y="210"/>
                  </a:lnTo>
                  <a:lnTo>
                    <a:pt x="284" y="205"/>
                  </a:lnTo>
                  <a:lnTo>
                    <a:pt x="284" y="201"/>
                  </a:lnTo>
                  <a:lnTo>
                    <a:pt x="279" y="193"/>
                  </a:lnTo>
                  <a:lnTo>
                    <a:pt x="282" y="189"/>
                  </a:lnTo>
                  <a:lnTo>
                    <a:pt x="279" y="188"/>
                  </a:lnTo>
                  <a:lnTo>
                    <a:pt x="279" y="177"/>
                  </a:lnTo>
                  <a:lnTo>
                    <a:pt x="274" y="174"/>
                  </a:lnTo>
                  <a:lnTo>
                    <a:pt x="275" y="172"/>
                  </a:lnTo>
                  <a:lnTo>
                    <a:pt x="275" y="171"/>
                  </a:lnTo>
                  <a:lnTo>
                    <a:pt x="275" y="166"/>
                  </a:lnTo>
                  <a:lnTo>
                    <a:pt x="267" y="159"/>
                  </a:lnTo>
                  <a:lnTo>
                    <a:pt x="267" y="157"/>
                  </a:lnTo>
                  <a:lnTo>
                    <a:pt x="270" y="157"/>
                  </a:lnTo>
                  <a:lnTo>
                    <a:pt x="274" y="154"/>
                  </a:lnTo>
                  <a:lnTo>
                    <a:pt x="279" y="155"/>
                  </a:lnTo>
                  <a:lnTo>
                    <a:pt x="284" y="154"/>
                  </a:lnTo>
                  <a:lnTo>
                    <a:pt x="287" y="150"/>
                  </a:lnTo>
                  <a:lnTo>
                    <a:pt x="296" y="147"/>
                  </a:lnTo>
                  <a:lnTo>
                    <a:pt x="299" y="148"/>
                  </a:lnTo>
                  <a:lnTo>
                    <a:pt x="297" y="142"/>
                  </a:lnTo>
                  <a:lnTo>
                    <a:pt x="292" y="137"/>
                  </a:lnTo>
                  <a:lnTo>
                    <a:pt x="291" y="131"/>
                  </a:lnTo>
                  <a:lnTo>
                    <a:pt x="292" y="128"/>
                  </a:lnTo>
                  <a:lnTo>
                    <a:pt x="289" y="121"/>
                  </a:lnTo>
                  <a:lnTo>
                    <a:pt x="291" y="118"/>
                  </a:lnTo>
                  <a:lnTo>
                    <a:pt x="291" y="111"/>
                  </a:lnTo>
                  <a:lnTo>
                    <a:pt x="292" y="104"/>
                  </a:lnTo>
                  <a:lnTo>
                    <a:pt x="296" y="102"/>
                  </a:lnTo>
                  <a:lnTo>
                    <a:pt x="297" y="104"/>
                  </a:lnTo>
                  <a:lnTo>
                    <a:pt x="304" y="104"/>
                  </a:lnTo>
                  <a:lnTo>
                    <a:pt x="313" y="99"/>
                  </a:lnTo>
                  <a:lnTo>
                    <a:pt x="313" y="94"/>
                  </a:lnTo>
                  <a:lnTo>
                    <a:pt x="318" y="90"/>
                  </a:lnTo>
                  <a:lnTo>
                    <a:pt x="315" y="87"/>
                  </a:lnTo>
                  <a:lnTo>
                    <a:pt x="308" y="82"/>
                  </a:lnTo>
                  <a:lnTo>
                    <a:pt x="311" y="73"/>
                  </a:lnTo>
                  <a:lnTo>
                    <a:pt x="306" y="68"/>
                  </a:lnTo>
                  <a:lnTo>
                    <a:pt x="309" y="61"/>
                  </a:lnTo>
                  <a:lnTo>
                    <a:pt x="306" y="53"/>
                  </a:lnTo>
                  <a:lnTo>
                    <a:pt x="304" y="55"/>
                  </a:lnTo>
                  <a:lnTo>
                    <a:pt x="297" y="49"/>
                  </a:lnTo>
                  <a:lnTo>
                    <a:pt x="297" y="43"/>
                  </a:lnTo>
                  <a:lnTo>
                    <a:pt x="308" y="37"/>
                  </a:lnTo>
                  <a:lnTo>
                    <a:pt x="315" y="31"/>
                  </a:lnTo>
                  <a:lnTo>
                    <a:pt x="315" y="27"/>
                  </a:lnTo>
                  <a:lnTo>
                    <a:pt x="320" y="27"/>
                  </a:lnTo>
                  <a:lnTo>
                    <a:pt x="321" y="20"/>
                  </a:lnTo>
                  <a:lnTo>
                    <a:pt x="326" y="15"/>
                  </a:lnTo>
                  <a:lnTo>
                    <a:pt x="332" y="20"/>
                  </a:lnTo>
                  <a:lnTo>
                    <a:pt x="333" y="17"/>
                  </a:lnTo>
                  <a:lnTo>
                    <a:pt x="337" y="17"/>
                  </a:lnTo>
                  <a:lnTo>
                    <a:pt x="340" y="10"/>
                  </a:lnTo>
                  <a:lnTo>
                    <a:pt x="344" y="8"/>
                  </a:lnTo>
                  <a:lnTo>
                    <a:pt x="349" y="12"/>
                  </a:lnTo>
                  <a:lnTo>
                    <a:pt x="355" y="12"/>
                  </a:lnTo>
                  <a:lnTo>
                    <a:pt x="357" y="15"/>
                  </a:lnTo>
                  <a:lnTo>
                    <a:pt x="362" y="17"/>
                  </a:lnTo>
                  <a:lnTo>
                    <a:pt x="369" y="17"/>
                  </a:lnTo>
                  <a:lnTo>
                    <a:pt x="373" y="15"/>
                  </a:lnTo>
                  <a:lnTo>
                    <a:pt x="378" y="19"/>
                  </a:lnTo>
                  <a:lnTo>
                    <a:pt x="383" y="19"/>
                  </a:lnTo>
                  <a:lnTo>
                    <a:pt x="386" y="17"/>
                  </a:lnTo>
                  <a:lnTo>
                    <a:pt x="386" y="12"/>
                  </a:lnTo>
                  <a:lnTo>
                    <a:pt x="388" y="7"/>
                  </a:lnTo>
                  <a:lnTo>
                    <a:pt x="390" y="0"/>
                  </a:lnTo>
                  <a:lnTo>
                    <a:pt x="391" y="0"/>
                  </a:lnTo>
                  <a:lnTo>
                    <a:pt x="398" y="7"/>
                  </a:lnTo>
                  <a:lnTo>
                    <a:pt x="400" y="14"/>
                  </a:lnTo>
                  <a:lnTo>
                    <a:pt x="405" y="19"/>
                  </a:lnTo>
                  <a:lnTo>
                    <a:pt x="408" y="20"/>
                  </a:lnTo>
                  <a:lnTo>
                    <a:pt x="410" y="24"/>
                  </a:lnTo>
                  <a:lnTo>
                    <a:pt x="414" y="27"/>
                  </a:lnTo>
                  <a:lnTo>
                    <a:pt x="414" y="29"/>
                  </a:lnTo>
                  <a:lnTo>
                    <a:pt x="415" y="29"/>
                  </a:lnTo>
                  <a:lnTo>
                    <a:pt x="417" y="32"/>
                  </a:lnTo>
                  <a:lnTo>
                    <a:pt x="422" y="34"/>
                  </a:lnTo>
                  <a:lnTo>
                    <a:pt x="425" y="37"/>
                  </a:lnTo>
                  <a:lnTo>
                    <a:pt x="429" y="39"/>
                  </a:lnTo>
                  <a:lnTo>
                    <a:pt x="432" y="43"/>
                  </a:lnTo>
                  <a:lnTo>
                    <a:pt x="441" y="39"/>
                  </a:lnTo>
                  <a:lnTo>
                    <a:pt x="446" y="39"/>
                  </a:lnTo>
                  <a:lnTo>
                    <a:pt x="448" y="39"/>
                  </a:lnTo>
                  <a:lnTo>
                    <a:pt x="456" y="41"/>
                  </a:lnTo>
                  <a:lnTo>
                    <a:pt x="460" y="41"/>
                  </a:lnTo>
                  <a:lnTo>
                    <a:pt x="466" y="46"/>
                  </a:lnTo>
                  <a:lnTo>
                    <a:pt x="473" y="44"/>
                  </a:lnTo>
                  <a:lnTo>
                    <a:pt x="480" y="51"/>
                  </a:lnTo>
                  <a:lnTo>
                    <a:pt x="482" y="56"/>
                  </a:lnTo>
                  <a:lnTo>
                    <a:pt x="485" y="58"/>
                  </a:lnTo>
                  <a:lnTo>
                    <a:pt x="490" y="56"/>
                  </a:lnTo>
                  <a:lnTo>
                    <a:pt x="495" y="58"/>
                  </a:lnTo>
                  <a:lnTo>
                    <a:pt x="501" y="60"/>
                  </a:lnTo>
                  <a:lnTo>
                    <a:pt x="509" y="61"/>
                  </a:lnTo>
                  <a:lnTo>
                    <a:pt x="516" y="61"/>
                  </a:lnTo>
                  <a:lnTo>
                    <a:pt x="521" y="65"/>
                  </a:lnTo>
                  <a:lnTo>
                    <a:pt x="523" y="68"/>
                  </a:lnTo>
                  <a:lnTo>
                    <a:pt x="524" y="66"/>
                  </a:lnTo>
                  <a:lnTo>
                    <a:pt x="530" y="72"/>
                  </a:lnTo>
                  <a:lnTo>
                    <a:pt x="536" y="72"/>
                  </a:lnTo>
                  <a:lnTo>
                    <a:pt x="540" y="78"/>
                  </a:lnTo>
                  <a:lnTo>
                    <a:pt x="547" y="77"/>
                  </a:lnTo>
                  <a:lnTo>
                    <a:pt x="550" y="84"/>
                  </a:lnTo>
                  <a:lnTo>
                    <a:pt x="555" y="87"/>
                  </a:lnTo>
                  <a:lnTo>
                    <a:pt x="557" y="94"/>
                  </a:lnTo>
                  <a:lnTo>
                    <a:pt x="553" y="97"/>
                  </a:lnTo>
                  <a:lnTo>
                    <a:pt x="552" y="104"/>
                  </a:lnTo>
                  <a:lnTo>
                    <a:pt x="548" y="104"/>
                  </a:lnTo>
                  <a:lnTo>
                    <a:pt x="548" y="109"/>
                  </a:lnTo>
                  <a:lnTo>
                    <a:pt x="542" y="114"/>
                  </a:lnTo>
                  <a:lnTo>
                    <a:pt x="545" y="118"/>
                  </a:lnTo>
                  <a:lnTo>
                    <a:pt x="543" y="119"/>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5" name="Freeform 68"/>
            <p:cNvSpPr>
              <a:spLocks noEditPoints="1"/>
            </p:cNvSpPr>
            <p:nvPr/>
          </p:nvSpPr>
          <p:spPr bwMode="gray">
            <a:xfrm>
              <a:off x="5101821" y="3441104"/>
              <a:ext cx="485233" cy="793520"/>
            </a:xfrm>
            <a:custGeom>
              <a:avLst/>
              <a:gdLst>
                <a:gd name="T0" fmla="*/ 181 w 266"/>
                <a:gd name="T1" fmla="*/ 417 h 435"/>
                <a:gd name="T2" fmla="*/ 164 w 266"/>
                <a:gd name="T3" fmla="*/ 410 h 435"/>
                <a:gd name="T4" fmla="*/ 220 w 266"/>
                <a:gd name="T5" fmla="*/ 328 h 435"/>
                <a:gd name="T6" fmla="*/ 237 w 266"/>
                <a:gd name="T7" fmla="*/ 302 h 435"/>
                <a:gd name="T8" fmla="*/ 202 w 266"/>
                <a:gd name="T9" fmla="*/ 258 h 435"/>
                <a:gd name="T10" fmla="*/ 248 w 266"/>
                <a:gd name="T11" fmla="*/ 266 h 435"/>
                <a:gd name="T12" fmla="*/ 241 w 266"/>
                <a:gd name="T13" fmla="*/ 271 h 435"/>
                <a:gd name="T14" fmla="*/ 203 w 266"/>
                <a:gd name="T15" fmla="*/ 247 h 435"/>
                <a:gd name="T16" fmla="*/ 232 w 266"/>
                <a:gd name="T17" fmla="*/ 229 h 435"/>
                <a:gd name="T18" fmla="*/ 232 w 266"/>
                <a:gd name="T19" fmla="*/ 266 h 435"/>
                <a:gd name="T20" fmla="*/ 239 w 266"/>
                <a:gd name="T21" fmla="*/ 290 h 435"/>
                <a:gd name="T22" fmla="*/ 236 w 266"/>
                <a:gd name="T23" fmla="*/ 312 h 435"/>
                <a:gd name="T24" fmla="*/ 212 w 266"/>
                <a:gd name="T25" fmla="*/ 328 h 435"/>
                <a:gd name="T26" fmla="*/ 205 w 266"/>
                <a:gd name="T27" fmla="*/ 326 h 435"/>
                <a:gd name="T28" fmla="*/ 208 w 266"/>
                <a:gd name="T29" fmla="*/ 302 h 435"/>
                <a:gd name="T30" fmla="*/ 203 w 266"/>
                <a:gd name="T31" fmla="*/ 261 h 435"/>
                <a:gd name="T32" fmla="*/ 213 w 266"/>
                <a:gd name="T33" fmla="*/ 239 h 435"/>
                <a:gd name="T34" fmla="*/ 266 w 266"/>
                <a:gd name="T35" fmla="*/ 131 h 435"/>
                <a:gd name="T36" fmla="*/ 251 w 266"/>
                <a:gd name="T37" fmla="*/ 143 h 435"/>
                <a:gd name="T38" fmla="*/ 239 w 266"/>
                <a:gd name="T39" fmla="*/ 152 h 435"/>
                <a:gd name="T40" fmla="*/ 243 w 266"/>
                <a:gd name="T41" fmla="*/ 148 h 435"/>
                <a:gd name="T42" fmla="*/ 243 w 266"/>
                <a:gd name="T43" fmla="*/ 188 h 435"/>
                <a:gd name="T44" fmla="*/ 222 w 266"/>
                <a:gd name="T45" fmla="*/ 193 h 435"/>
                <a:gd name="T46" fmla="*/ 219 w 266"/>
                <a:gd name="T47" fmla="*/ 184 h 435"/>
                <a:gd name="T48" fmla="*/ 213 w 266"/>
                <a:gd name="T49" fmla="*/ 188 h 435"/>
                <a:gd name="T50" fmla="*/ 208 w 266"/>
                <a:gd name="T51" fmla="*/ 201 h 435"/>
                <a:gd name="T52" fmla="*/ 215 w 266"/>
                <a:gd name="T53" fmla="*/ 200 h 435"/>
                <a:gd name="T54" fmla="*/ 232 w 266"/>
                <a:gd name="T55" fmla="*/ 218 h 435"/>
                <a:gd name="T56" fmla="*/ 208 w 266"/>
                <a:gd name="T57" fmla="*/ 224 h 435"/>
                <a:gd name="T58" fmla="*/ 208 w 266"/>
                <a:gd name="T59" fmla="*/ 241 h 435"/>
                <a:gd name="T60" fmla="*/ 198 w 266"/>
                <a:gd name="T61" fmla="*/ 271 h 435"/>
                <a:gd name="T62" fmla="*/ 159 w 266"/>
                <a:gd name="T63" fmla="*/ 292 h 435"/>
                <a:gd name="T64" fmla="*/ 111 w 266"/>
                <a:gd name="T65" fmla="*/ 311 h 435"/>
                <a:gd name="T66" fmla="*/ 82 w 266"/>
                <a:gd name="T67" fmla="*/ 324 h 435"/>
                <a:gd name="T68" fmla="*/ 50 w 266"/>
                <a:gd name="T69" fmla="*/ 341 h 435"/>
                <a:gd name="T70" fmla="*/ 33 w 266"/>
                <a:gd name="T71" fmla="*/ 309 h 435"/>
                <a:gd name="T72" fmla="*/ 21 w 266"/>
                <a:gd name="T73" fmla="*/ 268 h 435"/>
                <a:gd name="T74" fmla="*/ 4 w 266"/>
                <a:gd name="T75" fmla="*/ 258 h 435"/>
                <a:gd name="T76" fmla="*/ 12 w 266"/>
                <a:gd name="T77" fmla="*/ 224 h 435"/>
                <a:gd name="T78" fmla="*/ 27 w 266"/>
                <a:gd name="T79" fmla="*/ 188 h 435"/>
                <a:gd name="T80" fmla="*/ 55 w 266"/>
                <a:gd name="T81" fmla="*/ 164 h 435"/>
                <a:gd name="T82" fmla="*/ 84 w 266"/>
                <a:gd name="T83" fmla="*/ 126 h 435"/>
                <a:gd name="T84" fmla="*/ 114 w 266"/>
                <a:gd name="T85" fmla="*/ 111 h 435"/>
                <a:gd name="T86" fmla="*/ 128 w 266"/>
                <a:gd name="T87" fmla="*/ 78 h 435"/>
                <a:gd name="T88" fmla="*/ 130 w 266"/>
                <a:gd name="T89" fmla="*/ 70 h 435"/>
                <a:gd name="T90" fmla="*/ 118 w 266"/>
                <a:gd name="T91" fmla="*/ 63 h 435"/>
                <a:gd name="T92" fmla="*/ 126 w 266"/>
                <a:gd name="T93" fmla="*/ 24 h 435"/>
                <a:gd name="T94" fmla="*/ 149 w 266"/>
                <a:gd name="T95" fmla="*/ 10 h 435"/>
                <a:gd name="T96" fmla="*/ 164 w 266"/>
                <a:gd name="T97" fmla="*/ 14 h 435"/>
                <a:gd name="T98" fmla="*/ 157 w 266"/>
                <a:gd name="T99" fmla="*/ 36 h 435"/>
                <a:gd name="T100" fmla="*/ 167 w 266"/>
                <a:gd name="T101" fmla="*/ 60 h 435"/>
                <a:gd name="T102" fmla="*/ 169 w 266"/>
                <a:gd name="T103" fmla="*/ 82 h 435"/>
                <a:gd name="T104" fmla="*/ 176 w 266"/>
                <a:gd name="T105" fmla="*/ 106 h 435"/>
                <a:gd name="T106" fmla="*/ 186 w 266"/>
                <a:gd name="T107" fmla="*/ 123 h 435"/>
                <a:gd name="T108" fmla="*/ 237 w 266"/>
                <a:gd name="T109" fmla="*/ 12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435">
                  <a:moveTo>
                    <a:pt x="155" y="435"/>
                  </a:moveTo>
                  <a:lnTo>
                    <a:pt x="155" y="434"/>
                  </a:lnTo>
                  <a:lnTo>
                    <a:pt x="161" y="430"/>
                  </a:lnTo>
                  <a:lnTo>
                    <a:pt x="155" y="435"/>
                  </a:lnTo>
                  <a:close/>
                  <a:moveTo>
                    <a:pt x="181" y="413"/>
                  </a:moveTo>
                  <a:lnTo>
                    <a:pt x="179" y="417"/>
                  </a:lnTo>
                  <a:lnTo>
                    <a:pt x="181" y="417"/>
                  </a:lnTo>
                  <a:lnTo>
                    <a:pt x="179" y="418"/>
                  </a:lnTo>
                  <a:lnTo>
                    <a:pt x="174" y="422"/>
                  </a:lnTo>
                  <a:lnTo>
                    <a:pt x="171" y="423"/>
                  </a:lnTo>
                  <a:lnTo>
                    <a:pt x="174" y="418"/>
                  </a:lnTo>
                  <a:lnTo>
                    <a:pt x="181" y="413"/>
                  </a:lnTo>
                  <a:close/>
                  <a:moveTo>
                    <a:pt x="169" y="406"/>
                  </a:moveTo>
                  <a:lnTo>
                    <a:pt x="164" y="410"/>
                  </a:lnTo>
                  <a:lnTo>
                    <a:pt x="164" y="408"/>
                  </a:lnTo>
                  <a:lnTo>
                    <a:pt x="169" y="406"/>
                  </a:lnTo>
                  <a:close/>
                  <a:moveTo>
                    <a:pt x="205" y="331"/>
                  </a:moveTo>
                  <a:lnTo>
                    <a:pt x="205" y="335"/>
                  </a:lnTo>
                  <a:lnTo>
                    <a:pt x="205" y="331"/>
                  </a:lnTo>
                  <a:close/>
                  <a:moveTo>
                    <a:pt x="219" y="328"/>
                  </a:moveTo>
                  <a:lnTo>
                    <a:pt x="220" y="328"/>
                  </a:lnTo>
                  <a:lnTo>
                    <a:pt x="220" y="329"/>
                  </a:lnTo>
                  <a:lnTo>
                    <a:pt x="219" y="329"/>
                  </a:lnTo>
                  <a:lnTo>
                    <a:pt x="219" y="328"/>
                  </a:lnTo>
                  <a:close/>
                  <a:moveTo>
                    <a:pt x="237" y="302"/>
                  </a:moveTo>
                  <a:lnTo>
                    <a:pt x="234" y="304"/>
                  </a:lnTo>
                  <a:lnTo>
                    <a:pt x="237" y="300"/>
                  </a:lnTo>
                  <a:lnTo>
                    <a:pt x="237" y="302"/>
                  </a:lnTo>
                  <a:close/>
                  <a:moveTo>
                    <a:pt x="239" y="273"/>
                  </a:moveTo>
                  <a:lnTo>
                    <a:pt x="241" y="273"/>
                  </a:lnTo>
                  <a:lnTo>
                    <a:pt x="241" y="277"/>
                  </a:lnTo>
                  <a:lnTo>
                    <a:pt x="239" y="277"/>
                  </a:lnTo>
                  <a:lnTo>
                    <a:pt x="239" y="273"/>
                  </a:lnTo>
                  <a:close/>
                  <a:moveTo>
                    <a:pt x="203" y="253"/>
                  </a:moveTo>
                  <a:lnTo>
                    <a:pt x="202" y="258"/>
                  </a:lnTo>
                  <a:lnTo>
                    <a:pt x="202" y="256"/>
                  </a:lnTo>
                  <a:lnTo>
                    <a:pt x="203" y="253"/>
                  </a:lnTo>
                  <a:close/>
                  <a:moveTo>
                    <a:pt x="248" y="246"/>
                  </a:moveTo>
                  <a:lnTo>
                    <a:pt x="251" y="247"/>
                  </a:lnTo>
                  <a:lnTo>
                    <a:pt x="251" y="254"/>
                  </a:lnTo>
                  <a:lnTo>
                    <a:pt x="249" y="258"/>
                  </a:lnTo>
                  <a:lnTo>
                    <a:pt x="248" y="266"/>
                  </a:lnTo>
                  <a:lnTo>
                    <a:pt x="248" y="271"/>
                  </a:lnTo>
                  <a:lnTo>
                    <a:pt x="248" y="278"/>
                  </a:lnTo>
                  <a:lnTo>
                    <a:pt x="246" y="278"/>
                  </a:lnTo>
                  <a:lnTo>
                    <a:pt x="244" y="282"/>
                  </a:lnTo>
                  <a:lnTo>
                    <a:pt x="243" y="282"/>
                  </a:lnTo>
                  <a:lnTo>
                    <a:pt x="241" y="275"/>
                  </a:lnTo>
                  <a:lnTo>
                    <a:pt x="241" y="271"/>
                  </a:lnTo>
                  <a:lnTo>
                    <a:pt x="236" y="270"/>
                  </a:lnTo>
                  <a:lnTo>
                    <a:pt x="239" y="263"/>
                  </a:lnTo>
                  <a:lnTo>
                    <a:pt x="241" y="258"/>
                  </a:lnTo>
                  <a:lnTo>
                    <a:pt x="246" y="253"/>
                  </a:lnTo>
                  <a:lnTo>
                    <a:pt x="248" y="246"/>
                  </a:lnTo>
                  <a:close/>
                  <a:moveTo>
                    <a:pt x="203" y="251"/>
                  </a:moveTo>
                  <a:lnTo>
                    <a:pt x="203" y="247"/>
                  </a:lnTo>
                  <a:lnTo>
                    <a:pt x="205" y="246"/>
                  </a:lnTo>
                  <a:lnTo>
                    <a:pt x="203" y="251"/>
                  </a:lnTo>
                  <a:close/>
                  <a:moveTo>
                    <a:pt x="208" y="246"/>
                  </a:moveTo>
                  <a:lnTo>
                    <a:pt x="207" y="249"/>
                  </a:lnTo>
                  <a:lnTo>
                    <a:pt x="207" y="246"/>
                  </a:lnTo>
                  <a:lnTo>
                    <a:pt x="208" y="246"/>
                  </a:lnTo>
                  <a:close/>
                  <a:moveTo>
                    <a:pt x="232" y="229"/>
                  </a:moveTo>
                  <a:lnTo>
                    <a:pt x="232" y="232"/>
                  </a:lnTo>
                  <a:lnTo>
                    <a:pt x="231" y="242"/>
                  </a:lnTo>
                  <a:lnTo>
                    <a:pt x="229" y="247"/>
                  </a:lnTo>
                  <a:lnTo>
                    <a:pt x="236" y="256"/>
                  </a:lnTo>
                  <a:lnTo>
                    <a:pt x="237" y="259"/>
                  </a:lnTo>
                  <a:lnTo>
                    <a:pt x="236" y="263"/>
                  </a:lnTo>
                  <a:lnTo>
                    <a:pt x="232" y="266"/>
                  </a:lnTo>
                  <a:lnTo>
                    <a:pt x="232" y="270"/>
                  </a:lnTo>
                  <a:lnTo>
                    <a:pt x="236" y="273"/>
                  </a:lnTo>
                  <a:lnTo>
                    <a:pt x="234" y="277"/>
                  </a:lnTo>
                  <a:lnTo>
                    <a:pt x="236" y="280"/>
                  </a:lnTo>
                  <a:lnTo>
                    <a:pt x="236" y="288"/>
                  </a:lnTo>
                  <a:lnTo>
                    <a:pt x="237" y="290"/>
                  </a:lnTo>
                  <a:lnTo>
                    <a:pt x="239" y="290"/>
                  </a:lnTo>
                  <a:lnTo>
                    <a:pt x="237" y="295"/>
                  </a:lnTo>
                  <a:lnTo>
                    <a:pt x="232" y="299"/>
                  </a:lnTo>
                  <a:lnTo>
                    <a:pt x="232" y="300"/>
                  </a:lnTo>
                  <a:lnTo>
                    <a:pt x="234" y="306"/>
                  </a:lnTo>
                  <a:lnTo>
                    <a:pt x="237" y="306"/>
                  </a:lnTo>
                  <a:lnTo>
                    <a:pt x="236" y="309"/>
                  </a:lnTo>
                  <a:lnTo>
                    <a:pt x="236" y="312"/>
                  </a:lnTo>
                  <a:lnTo>
                    <a:pt x="232" y="312"/>
                  </a:lnTo>
                  <a:lnTo>
                    <a:pt x="229" y="316"/>
                  </a:lnTo>
                  <a:lnTo>
                    <a:pt x="224" y="318"/>
                  </a:lnTo>
                  <a:lnTo>
                    <a:pt x="224" y="321"/>
                  </a:lnTo>
                  <a:lnTo>
                    <a:pt x="220" y="323"/>
                  </a:lnTo>
                  <a:lnTo>
                    <a:pt x="215" y="328"/>
                  </a:lnTo>
                  <a:lnTo>
                    <a:pt x="212" y="328"/>
                  </a:lnTo>
                  <a:lnTo>
                    <a:pt x="210" y="333"/>
                  </a:lnTo>
                  <a:lnTo>
                    <a:pt x="210" y="331"/>
                  </a:lnTo>
                  <a:lnTo>
                    <a:pt x="208" y="331"/>
                  </a:lnTo>
                  <a:lnTo>
                    <a:pt x="210" y="329"/>
                  </a:lnTo>
                  <a:lnTo>
                    <a:pt x="207" y="328"/>
                  </a:lnTo>
                  <a:lnTo>
                    <a:pt x="205" y="329"/>
                  </a:lnTo>
                  <a:lnTo>
                    <a:pt x="205" y="326"/>
                  </a:lnTo>
                  <a:lnTo>
                    <a:pt x="203" y="326"/>
                  </a:lnTo>
                  <a:lnTo>
                    <a:pt x="205" y="324"/>
                  </a:lnTo>
                  <a:lnTo>
                    <a:pt x="208" y="314"/>
                  </a:lnTo>
                  <a:lnTo>
                    <a:pt x="208" y="312"/>
                  </a:lnTo>
                  <a:lnTo>
                    <a:pt x="205" y="311"/>
                  </a:lnTo>
                  <a:lnTo>
                    <a:pt x="207" y="306"/>
                  </a:lnTo>
                  <a:lnTo>
                    <a:pt x="208" y="302"/>
                  </a:lnTo>
                  <a:lnTo>
                    <a:pt x="205" y="294"/>
                  </a:lnTo>
                  <a:lnTo>
                    <a:pt x="202" y="290"/>
                  </a:lnTo>
                  <a:lnTo>
                    <a:pt x="200" y="285"/>
                  </a:lnTo>
                  <a:lnTo>
                    <a:pt x="200" y="280"/>
                  </a:lnTo>
                  <a:lnTo>
                    <a:pt x="203" y="273"/>
                  </a:lnTo>
                  <a:lnTo>
                    <a:pt x="205" y="268"/>
                  </a:lnTo>
                  <a:lnTo>
                    <a:pt x="203" y="261"/>
                  </a:lnTo>
                  <a:lnTo>
                    <a:pt x="207" y="256"/>
                  </a:lnTo>
                  <a:lnTo>
                    <a:pt x="208" y="253"/>
                  </a:lnTo>
                  <a:lnTo>
                    <a:pt x="212" y="246"/>
                  </a:lnTo>
                  <a:lnTo>
                    <a:pt x="212" y="244"/>
                  </a:lnTo>
                  <a:lnTo>
                    <a:pt x="213" y="244"/>
                  </a:lnTo>
                  <a:lnTo>
                    <a:pt x="212" y="244"/>
                  </a:lnTo>
                  <a:lnTo>
                    <a:pt x="213" y="239"/>
                  </a:lnTo>
                  <a:lnTo>
                    <a:pt x="215" y="239"/>
                  </a:lnTo>
                  <a:lnTo>
                    <a:pt x="217" y="239"/>
                  </a:lnTo>
                  <a:lnTo>
                    <a:pt x="220" y="236"/>
                  </a:lnTo>
                  <a:lnTo>
                    <a:pt x="227" y="230"/>
                  </a:lnTo>
                  <a:lnTo>
                    <a:pt x="229" y="229"/>
                  </a:lnTo>
                  <a:lnTo>
                    <a:pt x="232" y="229"/>
                  </a:lnTo>
                  <a:close/>
                  <a:moveTo>
                    <a:pt x="266" y="131"/>
                  </a:moveTo>
                  <a:lnTo>
                    <a:pt x="265" y="138"/>
                  </a:lnTo>
                  <a:lnTo>
                    <a:pt x="263" y="145"/>
                  </a:lnTo>
                  <a:lnTo>
                    <a:pt x="263" y="147"/>
                  </a:lnTo>
                  <a:lnTo>
                    <a:pt x="261" y="150"/>
                  </a:lnTo>
                  <a:lnTo>
                    <a:pt x="258" y="152"/>
                  </a:lnTo>
                  <a:lnTo>
                    <a:pt x="256" y="145"/>
                  </a:lnTo>
                  <a:lnTo>
                    <a:pt x="251" y="143"/>
                  </a:lnTo>
                  <a:lnTo>
                    <a:pt x="248" y="147"/>
                  </a:lnTo>
                  <a:lnTo>
                    <a:pt x="243" y="145"/>
                  </a:lnTo>
                  <a:lnTo>
                    <a:pt x="239" y="147"/>
                  </a:lnTo>
                  <a:lnTo>
                    <a:pt x="236" y="145"/>
                  </a:lnTo>
                  <a:lnTo>
                    <a:pt x="232" y="148"/>
                  </a:lnTo>
                  <a:lnTo>
                    <a:pt x="237" y="147"/>
                  </a:lnTo>
                  <a:lnTo>
                    <a:pt x="239" y="152"/>
                  </a:lnTo>
                  <a:lnTo>
                    <a:pt x="234" y="157"/>
                  </a:lnTo>
                  <a:lnTo>
                    <a:pt x="232" y="157"/>
                  </a:lnTo>
                  <a:lnTo>
                    <a:pt x="232" y="160"/>
                  </a:lnTo>
                  <a:lnTo>
                    <a:pt x="229" y="157"/>
                  </a:lnTo>
                  <a:lnTo>
                    <a:pt x="231" y="162"/>
                  </a:lnTo>
                  <a:lnTo>
                    <a:pt x="237" y="157"/>
                  </a:lnTo>
                  <a:lnTo>
                    <a:pt x="243" y="148"/>
                  </a:lnTo>
                  <a:lnTo>
                    <a:pt x="246" y="154"/>
                  </a:lnTo>
                  <a:lnTo>
                    <a:pt x="249" y="152"/>
                  </a:lnTo>
                  <a:lnTo>
                    <a:pt x="246" y="159"/>
                  </a:lnTo>
                  <a:lnTo>
                    <a:pt x="244" y="162"/>
                  </a:lnTo>
                  <a:lnTo>
                    <a:pt x="243" y="172"/>
                  </a:lnTo>
                  <a:lnTo>
                    <a:pt x="244" y="179"/>
                  </a:lnTo>
                  <a:lnTo>
                    <a:pt x="243" y="188"/>
                  </a:lnTo>
                  <a:lnTo>
                    <a:pt x="241" y="191"/>
                  </a:lnTo>
                  <a:lnTo>
                    <a:pt x="237" y="196"/>
                  </a:lnTo>
                  <a:lnTo>
                    <a:pt x="232" y="203"/>
                  </a:lnTo>
                  <a:lnTo>
                    <a:pt x="225" y="203"/>
                  </a:lnTo>
                  <a:lnTo>
                    <a:pt x="224" y="196"/>
                  </a:lnTo>
                  <a:lnTo>
                    <a:pt x="222" y="195"/>
                  </a:lnTo>
                  <a:lnTo>
                    <a:pt x="222" y="193"/>
                  </a:lnTo>
                  <a:lnTo>
                    <a:pt x="220" y="193"/>
                  </a:lnTo>
                  <a:lnTo>
                    <a:pt x="224" y="196"/>
                  </a:lnTo>
                  <a:lnTo>
                    <a:pt x="222" y="196"/>
                  </a:lnTo>
                  <a:lnTo>
                    <a:pt x="217" y="195"/>
                  </a:lnTo>
                  <a:lnTo>
                    <a:pt x="217" y="191"/>
                  </a:lnTo>
                  <a:lnTo>
                    <a:pt x="219" y="191"/>
                  </a:lnTo>
                  <a:lnTo>
                    <a:pt x="219" y="184"/>
                  </a:lnTo>
                  <a:lnTo>
                    <a:pt x="217" y="184"/>
                  </a:lnTo>
                  <a:lnTo>
                    <a:pt x="215" y="183"/>
                  </a:lnTo>
                  <a:lnTo>
                    <a:pt x="217" y="177"/>
                  </a:lnTo>
                  <a:lnTo>
                    <a:pt x="215" y="181"/>
                  </a:lnTo>
                  <a:lnTo>
                    <a:pt x="213" y="181"/>
                  </a:lnTo>
                  <a:lnTo>
                    <a:pt x="215" y="186"/>
                  </a:lnTo>
                  <a:lnTo>
                    <a:pt x="213" y="188"/>
                  </a:lnTo>
                  <a:lnTo>
                    <a:pt x="215" y="189"/>
                  </a:lnTo>
                  <a:lnTo>
                    <a:pt x="212" y="195"/>
                  </a:lnTo>
                  <a:lnTo>
                    <a:pt x="213" y="198"/>
                  </a:lnTo>
                  <a:lnTo>
                    <a:pt x="212" y="198"/>
                  </a:lnTo>
                  <a:lnTo>
                    <a:pt x="213" y="200"/>
                  </a:lnTo>
                  <a:lnTo>
                    <a:pt x="210" y="201"/>
                  </a:lnTo>
                  <a:lnTo>
                    <a:pt x="208" y="201"/>
                  </a:lnTo>
                  <a:lnTo>
                    <a:pt x="210" y="201"/>
                  </a:lnTo>
                  <a:lnTo>
                    <a:pt x="207" y="205"/>
                  </a:lnTo>
                  <a:lnTo>
                    <a:pt x="210" y="203"/>
                  </a:lnTo>
                  <a:lnTo>
                    <a:pt x="207" y="205"/>
                  </a:lnTo>
                  <a:lnTo>
                    <a:pt x="210" y="203"/>
                  </a:lnTo>
                  <a:lnTo>
                    <a:pt x="208" y="205"/>
                  </a:lnTo>
                  <a:lnTo>
                    <a:pt x="215" y="200"/>
                  </a:lnTo>
                  <a:lnTo>
                    <a:pt x="220" y="203"/>
                  </a:lnTo>
                  <a:lnTo>
                    <a:pt x="220" y="207"/>
                  </a:lnTo>
                  <a:lnTo>
                    <a:pt x="222" y="208"/>
                  </a:lnTo>
                  <a:lnTo>
                    <a:pt x="220" y="210"/>
                  </a:lnTo>
                  <a:lnTo>
                    <a:pt x="225" y="213"/>
                  </a:lnTo>
                  <a:lnTo>
                    <a:pt x="231" y="217"/>
                  </a:lnTo>
                  <a:lnTo>
                    <a:pt x="232" y="218"/>
                  </a:lnTo>
                  <a:lnTo>
                    <a:pt x="224" y="218"/>
                  </a:lnTo>
                  <a:lnTo>
                    <a:pt x="220" y="222"/>
                  </a:lnTo>
                  <a:lnTo>
                    <a:pt x="215" y="220"/>
                  </a:lnTo>
                  <a:lnTo>
                    <a:pt x="212" y="220"/>
                  </a:lnTo>
                  <a:lnTo>
                    <a:pt x="212" y="218"/>
                  </a:lnTo>
                  <a:lnTo>
                    <a:pt x="208" y="222"/>
                  </a:lnTo>
                  <a:lnTo>
                    <a:pt x="208" y="224"/>
                  </a:lnTo>
                  <a:lnTo>
                    <a:pt x="212" y="220"/>
                  </a:lnTo>
                  <a:lnTo>
                    <a:pt x="219" y="222"/>
                  </a:lnTo>
                  <a:lnTo>
                    <a:pt x="222" y="230"/>
                  </a:lnTo>
                  <a:lnTo>
                    <a:pt x="220" y="234"/>
                  </a:lnTo>
                  <a:lnTo>
                    <a:pt x="212" y="237"/>
                  </a:lnTo>
                  <a:lnTo>
                    <a:pt x="208" y="236"/>
                  </a:lnTo>
                  <a:lnTo>
                    <a:pt x="208" y="241"/>
                  </a:lnTo>
                  <a:lnTo>
                    <a:pt x="207" y="241"/>
                  </a:lnTo>
                  <a:lnTo>
                    <a:pt x="207" y="242"/>
                  </a:lnTo>
                  <a:lnTo>
                    <a:pt x="203" y="246"/>
                  </a:lnTo>
                  <a:lnTo>
                    <a:pt x="200" y="254"/>
                  </a:lnTo>
                  <a:lnTo>
                    <a:pt x="202" y="261"/>
                  </a:lnTo>
                  <a:lnTo>
                    <a:pt x="198" y="265"/>
                  </a:lnTo>
                  <a:lnTo>
                    <a:pt x="198" y="271"/>
                  </a:lnTo>
                  <a:lnTo>
                    <a:pt x="195" y="277"/>
                  </a:lnTo>
                  <a:lnTo>
                    <a:pt x="190" y="277"/>
                  </a:lnTo>
                  <a:lnTo>
                    <a:pt x="183" y="278"/>
                  </a:lnTo>
                  <a:lnTo>
                    <a:pt x="178" y="280"/>
                  </a:lnTo>
                  <a:lnTo>
                    <a:pt x="174" y="285"/>
                  </a:lnTo>
                  <a:lnTo>
                    <a:pt x="166" y="290"/>
                  </a:lnTo>
                  <a:lnTo>
                    <a:pt x="159" y="292"/>
                  </a:lnTo>
                  <a:lnTo>
                    <a:pt x="152" y="295"/>
                  </a:lnTo>
                  <a:lnTo>
                    <a:pt x="142" y="297"/>
                  </a:lnTo>
                  <a:lnTo>
                    <a:pt x="138" y="300"/>
                  </a:lnTo>
                  <a:lnTo>
                    <a:pt x="135" y="300"/>
                  </a:lnTo>
                  <a:lnTo>
                    <a:pt x="125" y="306"/>
                  </a:lnTo>
                  <a:lnTo>
                    <a:pt x="120" y="309"/>
                  </a:lnTo>
                  <a:lnTo>
                    <a:pt x="111" y="311"/>
                  </a:lnTo>
                  <a:lnTo>
                    <a:pt x="109" y="312"/>
                  </a:lnTo>
                  <a:lnTo>
                    <a:pt x="109" y="311"/>
                  </a:lnTo>
                  <a:lnTo>
                    <a:pt x="109" y="312"/>
                  </a:lnTo>
                  <a:lnTo>
                    <a:pt x="104" y="314"/>
                  </a:lnTo>
                  <a:lnTo>
                    <a:pt x="94" y="319"/>
                  </a:lnTo>
                  <a:lnTo>
                    <a:pt x="89" y="321"/>
                  </a:lnTo>
                  <a:lnTo>
                    <a:pt x="82" y="324"/>
                  </a:lnTo>
                  <a:lnTo>
                    <a:pt x="74" y="328"/>
                  </a:lnTo>
                  <a:lnTo>
                    <a:pt x="72" y="329"/>
                  </a:lnTo>
                  <a:lnTo>
                    <a:pt x="70" y="329"/>
                  </a:lnTo>
                  <a:lnTo>
                    <a:pt x="63" y="333"/>
                  </a:lnTo>
                  <a:lnTo>
                    <a:pt x="60" y="335"/>
                  </a:lnTo>
                  <a:lnTo>
                    <a:pt x="53" y="338"/>
                  </a:lnTo>
                  <a:lnTo>
                    <a:pt x="50" y="341"/>
                  </a:lnTo>
                  <a:lnTo>
                    <a:pt x="43" y="343"/>
                  </a:lnTo>
                  <a:lnTo>
                    <a:pt x="36" y="343"/>
                  </a:lnTo>
                  <a:lnTo>
                    <a:pt x="34" y="341"/>
                  </a:lnTo>
                  <a:lnTo>
                    <a:pt x="34" y="331"/>
                  </a:lnTo>
                  <a:lnTo>
                    <a:pt x="36" y="326"/>
                  </a:lnTo>
                  <a:lnTo>
                    <a:pt x="34" y="319"/>
                  </a:lnTo>
                  <a:lnTo>
                    <a:pt x="33" y="309"/>
                  </a:lnTo>
                  <a:lnTo>
                    <a:pt x="33" y="302"/>
                  </a:lnTo>
                  <a:lnTo>
                    <a:pt x="33" y="292"/>
                  </a:lnTo>
                  <a:lnTo>
                    <a:pt x="34" y="288"/>
                  </a:lnTo>
                  <a:lnTo>
                    <a:pt x="34" y="283"/>
                  </a:lnTo>
                  <a:lnTo>
                    <a:pt x="33" y="278"/>
                  </a:lnTo>
                  <a:lnTo>
                    <a:pt x="27" y="271"/>
                  </a:lnTo>
                  <a:lnTo>
                    <a:pt x="21" y="268"/>
                  </a:lnTo>
                  <a:lnTo>
                    <a:pt x="22" y="258"/>
                  </a:lnTo>
                  <a:lnTo>
                    <a:pt x="21" y="251"/>
                  </a:lnTo>
                  <a:lnTo>
                    <a:pt x="19" y="251"/>
                  </a:lnTo>
                  <a:lnTo>
                    <a:pt x="21" y="256"/>
                  </a:lnTo>
                  <a:lnTo>
                    <a:pt x="17" y="263"/>
                  </a:lnTo>
                  <a:lnTo>
                    <a:pt x="12" y="263"/>
                  </a:lnTo>
                  <a:lnTo>
                    <a:pt x="4" y="258"/>
                  </a:lnTo>
                  <a:lnTo>
                    <a:pt x="0" y="258"/>
                  </a:lnTo>
                  <a:lnTo>
                    <a:pt x="4" y="249"/>
                  </a:lnTo>
                  <a:lnTo>
                    <a:pt x="2" y="246"/>
                  </a:lnTo>
                  <a:lnTo>
                    <a:pt x="4" y="242"/>
                  </a:lnTo>
                  <a:lnTo>
                    <a:pt x="5" y="236"/>
                  </a:lnTo>
                  <a:lnTo>
                    <a:pt x="14" y="229"/>
                  </a:lnTo>
                  <a:lnTo>
                    <a:pt x="12" y="224"/>
                  </a:lnTo>
                  <a:lnTo>
                    <a:pt x="14" y="220"/>
                  </a:lnTo>
                  <a:lnTo>
                    <a:pt x="26" y="212"/>
                  </a:lnTo>
                  <a:lnTo>
                    <a:pt x="19" y="205"/>
                  </a:lnTo>
                  <a:lnTo>
                    <a:pt x="26" y="196"/>
                  </a:lnTo>
                  <a:lnTo>
                    <a:pt x="22" y="195"/>
                  </a:lnTo>
                  <a:lnTo>
                    <a:pt x="24" y="195"/>
                  </a:lnTo>
                  <a:lnTo>
                    <a:pt x="27" y="188"/>
                  </a:lnTo>
                  <a:lnTo>
                    <a:pt x="34" y="189"/>
                  </a:lnTo>
                  <a:lnTo>
                    <a:pt x="33" y="181"/>
                  </a:lnTo>
                  <a:lnTo>
                    <a:pt x="39" y="179"/>
                  </a:lnTo>
                  <a:lnTo>
                    <a:pt x="41" y="171"/>
                  </a:lnTo>
                  <a:lnTo>
                    <a:pt x="46" y="172"/>
                  </a:lnTo>
                  <a:lnTo>
                    <a:pt x="51" y="169"/>
                  </a:lnTo>
                  <a:lnTo>
                    <a:pt x="55" y="164"/>
                  </a:lnTo>
                  <a:lnTo>
                    <a:pt x="55" y="154"/>
                  </a:lnTo>
                  <a:lnTo>
                    <a:pt x="62" y="147"/>
                  </a:lnTo>
                  <a:lnTo>
                    <a:pt x="67" y="143"/>
                  </a:lnTo>
                  <a:lnTo>
                    <a:pt x="68" y="138"/>
                  </a:lnTo>
                  <a:lnTo>
                    <a:pt x="70" y="138"/>
                  </a:lnTo>
                  <a:lnTo>
                    <a:pt x="79" y="133"/>
                  </a:lnTo>
                  <a:lnTo>
                    <a:pt x="84" y="126"/>
                  </a:lnTo>
                  <a:lnTo>
                    <a:pt x="92" y="121"/>
                  </a:lnTo>
                  <a:lnTo>
                    <a:pt x="96" y="118"/>
                  </a:lnTo>
                  <a:lnTo>
                    <a:pt x="101" y="114"/>
                  </a:lnTo>
                  <a:lnTo>
                    <a:pt x="109" y="109"/>
                  </a:lnTo>
                  <a:lnTo>
                    <a:pt x="109" y="107"/>
                  </a:lnTo>
                  <a:lnTo>
                    <a:pt x="111" y="111"/>
                  </a:lnTo>
                  <a:lnTo>
                    <a:pt x="114" y="111"/>
                  </a:lnTo>
                  <a:lnTo>
                    <a:pt x="116" y="101"/>
                  </a:lnTo>
                  <a:lnTo>
                    <a:pt x="118" y="97"/>
                  </a:lnTo>
                  <a:lnTo>
                    <a:pt x="118" y="92"/>
                  </a:lnTo>
                  <a:lnTo>
                    <a:pt x="121" y="94"/>
                  </a:lnTo>
                  <a:lnTo>
                    <a:pt x="128" y="90"/>
                  </a:lnTo>
                  <a:lnTo>
                    <a:pt x="125" y="84"/>
                  </a:lnTo>
                  <a:lnTo>
                    <a:pt x="128" y="78"/>
                  </a:lnTo>
                  <a:lnTo>
                    <a:pt x="128" y="80"/>
                  </a:lnTo>
                  <a:lnTo>
                    <a:pt x="132" y="80"/>
                  </a:lnTo>
                  <a:lnTo>
                    <a:pt x="133" y="77"/>
                  </a:lnTo>
                  <a:lnTo>
                    <a:pt x="130" y="75"/>
                  </a:lnTo>
                  <a:lnTo>
                    <a:pt x="132" y="73"/>
                  </a:lnTo>
                  <a:lnTo>
                    <a:pt x="130" y="73"/>
                  </a:lnTo>
                  <a:lnTo>
                    <a:pt x="130" y="70"/>
                  </a:lnTo>
                  <a:lnTo>
                    <a:pt x="128" y="72"/>
                  </a:lnTo>
                  <a:lnTo>
                    <a:pt x="128" y="70"/>
                  </a:lnTo>
                  <a:lnTo>
                    <a:pt x="128" y="72"/>
                  </a:lnTo>
                  <a:lnTo>
                    <a:pt x="125" y="70"/>
                  </a:lnTo>
                  <a:lnTo>
                    <a:pt x="118" y="70"/>
                  </a:lnTo>
                  <a:lnTo>
                    <a:pt x="116" y="61"/>
                  </a:lnTo>
                  <a:lnTo>
                    <a:pt x="118" y="63"/>
                  </a:lnTo>
                  <a:lnTo>
                    <a:pt x="116" y="60"/>
                  </a:lnTo>
                  <a:lnTo>
                    <a:pt x="120" y="53"/>
                  </a:lnTo>
                  <a:lnTo>
                    <a:pt x="121" y="43"/>
                  </a:lnTo>
                  <a:lnTo>
                    <a:pt x="123" y="43"/>
                  </a:lnTo>
                  <a:lnTo>
                    <a:pt x="121" y="41"/>
                  </a:lnTo>
                  <a:lnTo>
                    <a:pt x="125" y="32"/>
                  </a:lnTo>
                  <a:lnTo>
                    <a:pt x="126" y="24"/>
                  </a:lnTo>
                  <a:lnTo>
                    <a:pt x="126" y="22"/>
                  </a:lnTo>
                  <a:lnTo>
                    <a:pt x="130" y="15"/>
                  </a:lnTo>
                  <a:lnTo>
                    <a:pt x="130" y="14"/>
                  </a:lnTo>
                  <a:lnTo>
                    <a:pt x="133" y="15"/>
                  </a:lnTo>
                  <a:lnTo>
                    <a:pt x="138" y="12"/>
                  </a:lnTo>
                  <a:lnTo>
                    <a:pt x="147" y="10"/>
                  </a:lnTo>
                  <a:lnTo>
                    <a:pt x="149" y="10"/>
                  </a:lnTo>
                  <a:lnTo>
                    <a:pt x="154" y="7"/>
                  </a:lnTo>
                  <a:lnTo>
                    <a:pt x="159" y="3"/>
                  </a:lnTo>
                  <a:lnTo>
                    <a:pt x="161" y="3"/>
                  </a:lnTo>
                  <a:lnTo>
                    <a:pt x="166" y="3"/>
                  </a:lnTo>
                  <a:lnTo>
                    <a:pt x="171" y="0"/>
                  </a:lnTo>
                  <a:lnTo>
                    <a:pt x="169" y="7"/>
                  </a:lnTo>
                  <a:lnTo>
                    <a:pt x="164" y="14"/>
                  </a:lnTo>
                  <a:lnTo>
                    <a:pt x="161" y="19"/>
                  </a:lnTo>
                  <a:lnTo>
                    <a:pt x="159" y="20"/>
                  </a:lnTo>
                  <a:lnTo>
                    <a:pt x="159" y="25"/>
                  </a:lnTo>
                  <a:lnTo>
                    <a:pt x="155" y="27"/>
                  </a:lnTo>
                  <a:lnTo>
                    <a:pt x="157" y="31"/>
                  </a:lnTo>
                  <a:lnTo>
                    <a:pt x="155" y="32"/>
                  </a:lnTo>
                  <a:lnTo>
                    <a:pt x="157" y="36"/>
                  </a:lnTo>
                  <a:lnTo>
                    <a:pt x="161" y="39"/>
                  </a:lnTo>
                  <a:lnTo>
                    <a:pt x="161" y="48"/>
                  </a:lnTo>
                  <a:lnTo>
                    <a:pt x="164" y="51"/>
                  </a:lnTo>
                  <a:lnTo>
                    <a:pt x="162" y="58"/>
                  </a:lnTo>
                  <a:lnTo>
                    <a:pt x="162" y="60"/>
                  </a:lnTo>
                  <a:lnTo>
                    <a:pt x="164" y="58"/>
                  </a:lnTo>
                  <a:lnTo>
                    <a:pt x="167" y="60"/>
                  </a:lnTo>
                  <a:lnTo>
                    <a:pt x="167" y="66"/>
                  </a:lnTo>
                  <a:lnTo>
                    <a:pt x="166" y="73"/>
                  </a:lnTo>
                  <a:lnTo>
                    <a:pt x="167" y="73"/>
                  </a:lnTo>
                  <a:lnTo>
                    <a:pt x="164" y="80"/>
                  </a:lnTo>
                  <a:lnTo>
                    <a:pt x="166" y="82"/>
                  </a:lnTo>
                  <a:lnTo>
                    <a:pt x="166" y="80"/>
                  </a:lnTo>
                  <a:lnTo>
                    <a:pt x="169" y="82"/>
                  </a:lnTo>
                  <a:lnTo>
                    <a:pt x="167" y="87"/>
                  </a:lnTo>
                  <a:lnTo>
                    <a:pt x="171" y="89"/>
                  </a:lnTo>
                  <a:lnTo>
                    <a:pt x="176" y="89"/>
                  </a:lnTo>
                  <a:lnTo>
                    <a:pt x="179" y="90"/>
                  </a:lnTo>
                  <a:lnTo>
                    <a:pt x="178" y="95"/>
                  </a:lnTo>
                  <a:lnTo>
                    <a:pt x="176" y="104"/>
                  </a:lnTo>
                  <a:lnTo>
                    <a:pt x="176" y="106"/>
                  </a:lnTo>
                  <a:lnTo>
                    <a:pt x="179" y="111"/>
                  </a:lnTo>
                  <a:lnTo>
                    <a:pt x="178" y="114"/>
                  </a:lnTo>
                  <a:lnTo>
                    <a:pt x="183" y="118"/>
                  </a:lnTo>
                  <a:lnTo>
                    <a:pt x="179" y="121"/>
                  </a:lnTo>
                  <a:lnTo>
                    <a:pt x="181" y="130"/>
                  </a:lnTo>
                  <a:lnTo>
                    <a:pt x="186" y="128"/>
                  </a:lnTo>
                  <a:lnTo>
                    <a:pt x="186" y="123"/>
                  </a:lnTo>
                  <a:lnTo>
                    <a:pt x="193" y="123"/>
                  </a:lnTo>
                  <a:lnTo>
                    <a:pt x="198" y="121"/>
                  </a:lnTo>
                  <a:lnTo>
                    <a:pt x="200" y="121"/>
                  </a:lnTo>
                  <a:lnTo>
                    <a:pt x="202" y="121"/>
                  </a:lnTo>
                  <a:lnTo>
                    <a:pt x="222" y="121"/>
                  </a:lnTo>
                  <a:lnTo>
                    <a:pt x="229" y="121"/>
                  </a:lnTo>
                  <a:lnTo>
                    <a:pt x="237" y="125"/>
                  </a:lnTo>
                  <a:lnTo>
                    <a:pt x="244" y="126"/>
                  </a:lnTo>
                  <a:lnTo>
                    <a:pt x="248" y="126"/>
                  </a:lnTo>
                  <a:lnTo>
                    <a:pt x="258" y="128"/>
                  </a:lnTo>
                  <a:lnTo>
                    <a:pt x="266" y="13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6" name="Freeform 69"/>
            <p:cNvSpPr>
              <a:spLocks noEditPoints="1"/>
            </p:cNvSpPr>
            <p:nvPr/>
          </p:nvSpPr>
          <p:spPr bwMode="gray">
            <a:xfrm>
              <a:off x="3850431" y="2698662"/>
              <a:ext cx="1224027" cy="1121873"/>
            </a:xfrm>
            <a:custGeom>
              <a:avLst/>
              <a:gdLst>
                <a:gd name="T0" fmla="*/ 177 w 671"/>
                <a:gd name="T1" fmla="*/ 581 h 615"/>
                <a:gd name="T2" fmla="*/ 19 w 671"/>
                <a:gd name="T3" fmla="*/ 439 h 615"/>
                <a:gd name="T4" fmla="*/ 25 w 671"/>
                <a:gd name="T5" fmla="*/ 448 h 615"/>
                <a:gd name="T6" fmla="*/ 61 w 671"/>
                <a:gd name="T7" fmla="*/ 405 h 615"/>
                <a:gd name="T8" fmla="*/ 66 w 671"/>
                <a:gd name="T9" fmla="*/ 403 h 615"/>
                <a:gd name="T10" fmla="*/ 124 w 671"/>
                <a:gd name="T11" fmla="*/ 369 h 615"/>
                <a:gd name="T12" fmla="*/ 130 w 671"/>
                <a:gd name="T13" fmla="*/ 397 h 615"/>
                <a:gd name="T14" fmla="*/ 101 w 671"/>
                <a:gd name="T15" fmla="*/ 374 h 615"/>
                <a:gd name="T16" fmla="*/ 118 w 671"/>
                <a:gd name="T17" fmla="*/ 333 h 615"/>
                <a:gd name="T18" fmla="*/ 90 w 671"/>
                <a:gd name="T19" fmla="*/ 328 h 615"/>
                <a:gd name="T20" fmla="*/ 56 w 671"/>
                <a:gd name="T21" fmla="*/ 282 h 615"/>
                <a:gd name="T22" fmla="*/ 63 w 671"/>
                <a:gd name="T23" fmla="*/ 270 h 615"/>
                <a:gd name="T24" fmla="*/ 65 w 671"/>
                <a:gd name="T25" fmla="*/ 270 h 615"/>
                <a:gd name="T26" fmla="*/ 0 w 671"/>
                <a:gd name="T27" fmla="*/ 236 h 615"/>
                <a:gd name="T28" fmla="*/ 12 w 671"/>
                <a:gd name="T29" fmla="*/ 161 h 615"/>
                <a:gd name="T30" fmla="*/ 666 w 671"/>
                <a:gd name="T31" fmla="*/ 99 h 615"/>
                <a:gd name="T32" fmla="*/ 637 w 671"/>
                <a:gd name="T33" fmla="*/ 132 h 615"/>
                <a:gd name="T34" fmla="*/ 608 w 671"/>
                <a:gd name="T35" fmla="*/ 190 h 615"/>
                <a:gd name="T36" fmla="*/ 573 w 671"/>
                <a:gd name="T37" fmla="*/ 234 h 615"/>
                <a:gd name="T38" fmla="*/ 553 w 671"/>
                <a:gd name="T39" fmla="*/ 287 h 615"/>
                <a:gd name="T40" fmla="*/ 512 w 671"/>
                <a:gd name="T41" fmla="*/ 316 h 615"/>
                <a:gd name="T42" fmla="*/ 464 w 671"/>
                <a:gd name="T43" fmla="*/ 339 h 615"/>
                <a:gd name="T44" fmla="*/ 427 w 671"/>
                <a:gd name="T45" fmla="*/ 337 h 615"/>
                <a:gd name="T46" fmla="*/ 381 w 671"/>
                <a:gd name="T47" fmla="*/ 359 h 615"/>
                <a:gd name="T48" fmla="*/ 357 w 671"/>
                <a:gd name="T49" fmla="*/ 393 h 615"/>
                <a:gd name="T50" fmla="*/ 304 w 671"/>
                <a:gd name="T51" fmla="*/ 426 h 615"/>
                <a:gd name="T52" fmla="*/ 275 w 671"/>
                <a:gd name="T53" fmla="*/ 456 h 615"/>
                <a:gd name="T54" fmla="*/ 293 w 671"/>
                <a:gd name="T55" fmla="*/ 492 h 615"/>
                <a:gd name="T56" fmla="*/ 300 w 671"/>
                <a:gd name="T57" fmla="*/ 555 h 615"/>
                <a:gd name="T58" fmla="*/ 270 w 671"/>
                <a:gd name="T59" fmla="*/ 598 h 615"/>
                <a:gd name="T60" fmla="*/ 229 w 671"/>
                <a:gd name="T61" fmla="*/ 591 h 615"/>
                <a:gd name="T62" fmla="*/ 184 w 671"/>
                <a:gd name="T63" fmla="*/ 564 h 615"/>
                <a:gd name="T64" fmla="*/ 181 w 671"/>
                <a:gd name="T65" fmla="*/ 506 h 615"/>
                <a:gd name="T66" fmla="*/ 160 w 671"/>
                <a:gd name="T67" fmla="*/ 461 h 615"/>
                <a:gd name="T68" fmla="*/ 162 w 671"/>
                <a:gd name="T69" fmla="*/ 403 h 615"/>
                <a:gd name="T70" fmla="*/ 135 w 671"/>
                <a:gd name="T71" fmla="*/ 361 h 615"/>
                <a:gd name="T72" fmla="*/ 101 w 671"/>
                <a:gd name="T73" fmla="*/ 352 h 615"/>
                <a:gd name="T74" fmla="*/ 77 w 671"/>
                <a:gd name="T75" fmla="*/ 333 h 615"/>
                <a:gd name="T76" fmla="*/ 101 w 671"/>
                <a:gd name="T77" fmla="*/ 335 h 615"/>
                <a:gd name="T78" fmla="*/ 94 w 671"/>
                <a:gd name="T79" fmla="*/ 321 h 615"/>
                <a:gd name="T80" fmla="*/ 60 w 671"/>
                <a:gd name="T81" fmla="*/ 294 h 615"/>
                <a:gd name="T82" fmla="*/ 68 w 671"/>
                <a:gd name="T83" fmla="*/ 246 h 615"/>
                <a:gd name="T84" fmla="*/ 41 w 671"/>
                <a:gd name="T85" fmla="*/ 204 h 615"/>
                <a:gd name="T86" fmla="*/ 39 w 671"/>
                <a:gd name="T87" fmla="*/ 146 h 615"/>
                <a:gd name="T88" fmla="*/ 53 w 671"/>
                <a:gd name="T89" fmla="*/ 76 h 615"/>
                <a:gd name="T90" fmla="*/ 89 w 671"/>
                <a:gd name="T91" fmla="*/ 26 h 615"/>
                <a:gd name="T92" fmla="*/ 116 w 671"/>
                <a:gd name="T93" fmla="*/ 19 h 615"/>
                <a:gd name="T94" fmla="*/ 142 w 671"/>
                <a:gd name="T95" fmla="*/ 69 h 615"/>
                <a:gd name="T96" fmla="*/ 174 w 671"/>
                <a:gd name="T97" fmla="*/ 106 h 615"/>
                <a:gd name="T98" fmla="*/ 208 w 671"/>
                <a:gd name="T99" fmla="*/ 130 h 615"/>
                <a:gd name="T100" fmla="*/ 258 w 671"/>
                <a:gd name="T101" fmla="*/ 142 h 615"/>
                <a:gd name="T102" fmla="*/ 317 w 671"/>
                <a:gd name="T103" fmla="*/ 123 h 615"/>
                <a:gd name="T104" fmla="*/ 365 w 671"/>
                <a:gd name="T105" fmla="*/ 125 h 615"/>
                <a:gd name="T106" fmla="*/ 423 w 671"/>
                <a:gd name="T107" fmla="*/ 115 h 615"/>
                <a:gd name="T108" fmla="*/ 440 w 671"/>
                <a:gd name="T109" fmla="*/ 74 h 615"/>
                <a:gd name="T110" fmla="*/ 500 w 671"/>
                <a:gd name="T111" fmla="*/ 64 h 615"/>
                <a:gd name="T112" fmla="*/ 529 w 671"/>
                <a:gd name="T113" fmla="*/ 82 h 615"/>
                <a:gd name="T114" fmla="*/ 592 w 671"/>
                <a:gd name="T115" fmla="*/ 93 h 615"/>
                <a:gd name="T116" fmla="*/ 628 w 671"/>
                <a:gd name="T117" fmla="*/ 8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615">
                  <a:moveTo>
                    <a:pt x="191" y="596"/>
                  </a:moveTo>
                  <a:lnTo>
                    <a:pt x="189" y="600"/>
                  </a:lnTo>
                  <a:lnTo>
                    <a:pt x="188" y="600"/>
                  </a:lnTo>
                  <a:lnTo>
                    <a:pt x="183" y="596"/>
                  </a:lnTo>
                  <a:lnTo>
                    <a:pt x="186" y="596"/>
                  </a:lnTo>
                  <a:lnTo>
                    <a:pt x="188" y="593"/>
                  </a:lnTo>
                  <a:lnTo>
                    <a:pt x="191" y="596"/>
                  </a:lnTo>
                  <a:close/>
                  <a:moveTo>
                    <a:pt x="181" y="571"/>
                  </a:moveTo>
                  <a:lnTo>
                    <a:pt x="183" y="574"/>
                  </a:lnTo>
                  <a:lnTo>
                    <a:pt x="181" y="576"/>
                  </a:lnTo>
                  <a:lnTo>
                    <a:pt x="183" y="579"/>
                  </a:lnTo>
                  <a:lnTo>
                    <a:pt x="177" y="581"/>
                  </a:lnTo>
                  <a:lnTo>
                    <a:pt x="172" y="579"/>
                  </a:lnTo>
                  <a:lnTo>
                    <a:pt x="176" y="578"/>
                  </a:lnTo>
                  <a:lnTo>
                    <a:pt x="179" y="571"/>
                  </a:lnTo>
                  <a:lnTo>
                    <a:pt x="181" y="571"/>
                  </a:lnTo>
                  <a:close/>
                  <a:moveTo>
                    <a:pt x="17" y="455"/>
                  </a:moveTo>
                  <a:lnTo>
                    <a:pt x="20" y="455"/>
                  </a:lnTo>
                  <a:lnTo>
                    <a:pt x="22" y="456"/>
                  </a:lnTo>
                  <a:lnTo>
                    <a:pt x="14" y="458"/>
                  </a:lnTo>
                  <a:lnTo>
                    <a:pt x="8" y="456"/>
                  </a:lnTo>
                  <a:lnTo>
                    <a:pt x="10" y="455"/>
                  </a:lnTo>
                  <a:lnTo>
                    <a:pt x="17" y="455"/>
                  </a:lnTo>
                  <a:close/>
                  <a:moveTo>
                    <a:pt x="19" y="439"/>
                  </a:moveTo>
                  <a:lnTo>
                    <a:pt x="20" y="439"/>
                  </a:lnTo>
                  <a:lnTo>
                    <a:pt x="20" y="441"/>
                  </a:lnTo>
                  <a:lnTo>
                    <a:pt x="19" y="441"/>
                  </a:lnTo>
                  <a:lnTo>
                    <a:pt x="19" y="439"/>
                  </a:lnTo>
                  <a:close/>
                  <a:moveTo>
                    <a:pt x="36" y="436"/>
                  </a:moveTo>
                  <a:lnTo>
                    <a:pt x="43" y="438"/>
                  </a:lnTo>
                  <a:lnTo>
                    <a:pt x="46" y="443"/>
                  </a:lnTo>
                  <a:lnTo>
                    <a:pt x="44" y="446"/>
                  </a:lnTo>
                  <a:lnTo>
                    <a:pt x="39" y="450"/>
                  </a:lnTo>
                  <a:lnTo>
                    <a:pt x="32" y="451"/>
                  </a:lnTo>
                  <a:lnTo>
                    <a:pt x="27" y="450"/>
                  </a:lnTo>
                  <a:lnTo>
                    <a:pt x="25" y="448"/>
                  </a:lnTo>
                  <a:lnTo>
                    <a:pt x="29" y="446"/>
                  </a:lnTo>
                  <a:lnTo>
                    <a:pt x="27" y="441"/>
                  </a:lnTo>
                  <a:lnTo>
                    <a:pt x="29" y="441"/>
                  </a:lnTo>
                  <a:lnTo>
                    <a:pt x="24" y="441"/>
                  </a:lnTo>
                  <a:lnTo>
                    <a:pt x="22" y="439"/>
                  </a:lnTo>
                  <a:lnTo>
                    <a:pt x="25" y="439"/>
                  </a:lnTo>
                  <a:lnTo>
                    <a:pt x="27" y="436"/>
                  </a:lnTo>
                  <a:lnTo>
                    <a:pt x="29" y="439"/>
                  </a:lnTo>
                  <a:lnTo>
                    <a:pt x="32" y="438"/>
                  </a:lnTo>
                  <a:lnTo>
                    <a:pt x="34" y="434"/>
                  </a:lnTo>
                  <a:lnTo>
                    <a:pt x="36" y="436"/>
                  </a:lnTo>
                  <a:close/>
                  <a:moveTo>
                    <a:pt x="61" y="405"/>
                  </a:moveTo>
                  <a:lnTo>
                    <a:pt x="63" y="405"/>
                  </a:lnTo>
                  <a:lnTo>
                    <a:pt x="63" y="409"/>
                  </a:lnTo>
                  <a:lnTo>
                    <a:pt x="61" y="409"/>
                  </a:lnTo>
                  <a:lnTo>
                    <a:pt x="61" y="405"/>
                  </a:lnTo>
                  <a:close/>
                  <a:moveTo>
                    <a:pt x="65" y="405"/>
                  </a:moveTo>
                  <a:lnTo>
                    <a:pt x="66" y="405"/>
                  </a:lnTo>
                  <a:lnTo>
                    <a:pt x="63" y="410"/>
                  </a:lnTo>
                  <a:lnTo>
                    <a:pt x="65" y="405"/>
                  </a:lnTo>
                  <a:close/>
                  <a:moveTo>
                    <a:pt x="66" y="402"/>
                  </a:moveTo>
                  <a:lnTo>
                    <a:pt x="68" y="403"/>
                  </a:lnTo>
                  <a:lnTo>
                    <a:pt x="68" y="405"/>
                  </a:lnTo>
                  <a:lnTo>
                    <a:pt x="66" y="403"/>
                  </a:lnTo>
                  <a:lnTo>
                    <a:pt x="66" y="402"/>
                  </a:lnTo>
                  <a:close/>
                  <a:moveTo>
                    <a:pt x="80" y="395"/>
                  </a:moveTo>
                  <a:lnTo>
                    <a:pt x="80" y="397"/>
                  </a:lnTo>
                  <a:lnTo>
                    <a:pt x="77" y="400"/>
                  </a:lnTo>
                  <a:lnTo>
                    <a:pt x="73" y="398"/>
                  </a:lnTo>
                  <a:lnTo>
                    <a:pt x="75" y="395"/>
                  </a:lnTo>
                  <a:lnTo>
                    <a:pt x="78" y="391"/>
                  </a:lnTo>
                  <a:lnTo>
                    <a:pt x="80" y="395"/>
                  </a:lnTo>
                  <a:close/>
                  <a:moveTo>
                    <a:pt x="109" y="369"/>
                  </a:moveTo>
                  <a:lnTo>
                    <a:pt x="114" y="371"/>
                  </a:lnTo>
                  <a:lnTo>
                    <a:pt x="119" y="368"/>
                  </a:lnTo>
                  <a:lnTo>
                    <a:pt x="124" y="369"/>
                  </a:lnTo>
                  <a:lnTo>
                    <a:pt x="124" y="371"/>
                  </a:lnTo>
                  <a:lnTo>
                    <a:pt x="128" y="373"/>
                  </a:lnTo>
                  <a:lnTo>
                    <a:pt x="133" y="369"/>
                  </a:lnTo>
                  <a:lnTo>
                    <a:pt x="138" y="371"/>
                  </a:lnTo>
                  <a:lnTo>
                    <a:pt x="138" y="373"/>
                  </a:lnTo>
                  <a:lnTo>
                    <a:pt x="140" y="380"/>
                  </a:lnTo>
                  <a:lnTo>
                    <a:pt x="140" y="383"/>
                  </a:lnTo>
                  <a:lnTo>
                    <a:pt x="142" y="388"/>
                  </a:lnTo>
                  <a:lnTo>
                    <a:pt x="140" y="388"/>
                  </a:lnTo>
                  <a:lnTo>
                    <a:pt x="138" y="390"/>
                  </a:lnTo>
                  <a:lnTo>
                    <a:pt x="130" y="393"/>
                  </a:lnTo>
                  <a:lnTo>
                    <a:pt x="130" y="397"/>
                  </a:lnTo>
                  <a:lnTo>
                    <a:pt x="126" y="397"/>
                  </a:lnTo>
                  <a:lnTo>
                    <a:pt x="118" y="400"/>
                  </a:lnTo>
                  <a:lnTo>
                    <a:pt x="111" y="403"/>
                  </a:lnTo>
                  <a:lnTo>
                    <a:pt x="107" y="407"/>
                  </a:lnTo>
                  <a:lnTo>
                    <a:pt x="106" y="407"/>
                  </a:lnTo>
                  <a:lnTo>
                    <a:pt x="99" y="405"/>
                  </a:lnTo>
                  <a:lnTo>
                    <a:pt x="92" y="402"/>
                  </a:lnTo>
                  <a:lnTo>
                    <a:pt x="95" y="400"/>
                  </a:lnTo>
                  <a:lnTo>
                    <a:pt x="99" y="395"/>
                  </a:lnTo>
                  <a:lnTo>
                    <a:pt x="99" y="388"/>
                  </a:lnTo>
                  <a:lnTo>
                    <a:pt x="101" y="383"/>
                  </a:lnTo>
                  <a:lnTo>
                    <a:pt x="101" y="374"/>
                  </a:lnTo>
                  <a:lnTo>
                    <a:pt x="102" y="371"/>
                  </a:lnTo>
                  <a:lnTo>
                    <a:pt x="106" y="368"/>
                  </a:lnTo>
                  <a:lnTo>
                    <a:pt x="109" y="369"/>
                  </a:lnTo>
                  <a:close/>
                  <a:moveTo>
                    <a:pt x="94" y="330"/>
                  </a:moveTo>
                  <a:lnTo>
                    <a:pt x="95" y="332"/>
                  </a:lnTo>
                  <a:lnTo>
                    <a:pt x="92" y="332"/>
                  </a:lnTo>
                  <a:lnTo>
                    <a:pt x="89" y="328"/>
                  </a:lnTo>
                  <a:lnTo>
                    <a:pt x="94" y="330"/>
                  </a:lnTo>
                  <a:close/>
                  <a:moveTo>
                    <a:pt x="106" y="327"/>
                  </a:moveTo>
                  <a:lnTo>
                    <a:pt x="113" y="328"/>
                  </a:lnTo>
                  <a:lnTo>
                    <a:pt x="118" y="328"/>
                  </a:lnTo>
                  <a:lnTo>
                    <a:pt x="118" y="333"/>
                  </a:lnTo>
                  <a:lnTo>
                    <a:pt x="113" y="335"/>
                  </a:lnTo>
                  <a:lnTo>
                    <a:pt x="106" y="333"/>
                  </a:lnTo>
                  <a:lnTo>
                    <a:pt x="104" y="330"/>
                  </a:lnTo>
                  <a:lnTo>
                    <a:pt x="99" y="328"/>
                  </a:lnTo>
                  <a:lnTo>
                    <a:pt x="106" y="327"/>
                  </a:lnTo>
                  <a:close/>
                  <a:moveTo>
                    <a:pt x="94" y="325"/>
                  </a:moveTo>
                  <a:lnTo>
                    <a:pt x="101" y="330"/>
                  </a:lnTo>
                  <a:lnTo>
                    <a:pt x="104" y="333"/>
                  </a:lnTo>
                  <a:lnTo>
                    <a:pt x="101" y="330"/>
                  </a:lnTo>
                  <a:lnTo>
                    <a:pt x="95" y="332"/>
                  </a:lnTo>
                  <a:lnTo>
                    <a:pt x="92" y="328"/>
                  </a:lnTo>
                  <a:lnTo>
                    <a:pt x="90" y="328"/>
                  </a:lnTo>
                  <a:lnTo>
                    <a:pt x="90" y="325"/>
                  </a:lnTo>
                  <a:lnTo>
                    <a:pt x="94" y="325"/>
                  </a:lnTo>
                  <a:close/>
                  <a:moveTo>
                    <a:pt x="82" y="321"/>
                  </a:moveTo>
                  <a:lnTo>
                    <a:pt x="84" y="321"/>
                  </a:lnTo>
                  <a:lnTo>
                    <a:pt x="84" y="323"/>
                  </a:lnTo>
                  <a:lnTo>
                    <a:pt x="82" y="323"/>
                  </a:lnTo>
                  <a:lnTo>
                    <a:pt x="82" y="321"/>
                  </a:lnTo>
                  <a:close/>
                  <a:moveTo>
                    <a:pt x="65" y="275"/>
                  </a:moveTo>
                  <a:lnTo>
                    <a:pt x="70" y="277"/>
                  </a:lnTo>
                  <a:lnTo>
                    <a:pt x="63" y="279"/>
                  </a:lnTo>
                  <a:lnTo>
                    <a:pt x="61" y="282"/>
                  </a:lnTo>
                  <a:lnTo>
                    <a:pt x="56" y="282"/>
                  </a:lnTo>
                  <a:lnTo>
                    <a:pt x="60" y="287"/>
                  </a:lnTo>
                  <a:lnTo>
                    <a:pt x="60" y="291"/>
                  </a:lnTo>
                  <a:lnTo>
                    <a:pt x="54" y="284"/>
                  </a:lnTo>
                  <a:lnTo>
                    <a:pt x="54" y="277"/>
                  </a:lnTo>
                  <a:lnTo>
                    <a:pt x="65" y="275"/>
                  </a:lnTo>
                  <a:close/>
                  <a:moveTo>
                    <a:pt x="61" y="270"/>
                  </a:moveTo>
                  <a:lnTo>
                    <a:pt x="68" y="275"/>
                  </a:lnTo>
                  <a:lnTo>
                    <a:pt x="58" y="274"/>
                  </a:lnTo>
                  <a:lnTo>
                    <a:pt x="58" y="272"/>
                  </a:lnTo>
                  <a:lnTo>
                    <a:pt x="61" y="270"/>
                  </a:lnTo>
                  <a:close/>
                  <a:moveTo>
                    <a:pt x="66" y="272"/>
                  </a:moveTo>
                  <a:lnTo>
                    <a:pt x="63" y="270"/>
                  </a:lnTo>
                  <a:lnTo>
                    <a:pt x="63" y="269"/>
                  </a:lnTo>
                  <a:lnTo>
                    <a:pt x="66" y="272"/>
                  </a:lnTo>
                  <a:close/>
                  <a:moveTo>
                    <a:pt x="63" y="269"/>
                  </a:moveTo>
                  <a:lnTo>
                    <a:pt x="63" y="270"/>
                  </a:lnTo>
                  <a:lnTo>
                    <a:pt x="60" y="269"/>
                  </a:lnTo>
                  <a:lnTo>
                    <a:pt x="58" y="269"/>
                  </a:lnTo>
                  <a:lnTo>
                    <a:pt x="61" y="265"/>
                  </a:lnTo>
                  <a:lnTo>
                    <a:pt x="63" y="269"/>
                  </a:lnTo>
                  <a:close/>
                  <a:moveTo>
                    <a:pt x="68" y="265"/>
                  </a:moveTo>
                  <a:lnTo>
                    <a:pt x="70" y="267"/>
                  </a:lnTo>
                  <a:lnTo>
                    <a:pt x="68" y="274"/>
                  </a:lnTo>
                  <a:lnTo>
                    <a:pt x="65" y="270"/>
                  </a:lnTo>
                  <a:lnTo>
                    <a:pt x="63" y="265"/>
                  </a:lnTo>
                  <a:lnTo>
                    <a:pt x="66" y="258"/>
                  </a:lnTo>
                  <a:lnTo>
                    <a:pt x="68" y="265"/>
                  </a:lnTo>
                  <a:close/>
                  <a:moveTo>
                    <a:pt x="72" y="245"/>
                  </a:moveTo>
                  <a:lnTo>
                    <a:pt x="77" y="248"/>
                  </a:lnTo>
                  <a:lnTo>
                    <a:pt x="68" y="246"/>
                  </a:lnTo>
                  <a:lnTo>
                    <a:pt x="68" y="245"/>
                  </a:lnTo>
                  <a:lnTo>
                    <a:pt x="72" y="245"/>
                  </a:lnTo>
                  <a:close/>
                  <a:moveTo>
                    <a:pt x="0" y="234"/>
                  </a:moveTo>
                  <a:lnTo>
                    <a:pt x="2" y="234"/>
                  </a:lnTo>
                  <a:lnTo>
                    <a:pt x="2" y="236"/>
                  </a:lnTo>
                  <a:lnTo>
                    <a:pt x="0" y="236"/>
                  </a:lnTo>
                  <a:lnTo>
                    <a:pt x="0" y="234"/>
                  </a:lnTo>
                  <a:close/>
                  <a:moveTo>
                    <a:pt x="31" y="188"/>
                  </a:moveTo>
                  <a:lnTo>
                    <a:pt x="31" y="193"/>
                  </a:lnTo>
                  <a:lnTo>
                    <a:pt x="27" y="190"/>
                  </a:lnTo>
                  <a:lnTo>
                    <a:pt x="31" y="188"/>
                  </a:lnTo>
                  <a:close/>
                  <a:moveTo>
                    <a:pt x="20" y="163"/>
                  </a:moveTo>
                  <a:lnTo>
                    <a:pt x="19" y="163"/>
                  </a:lnTo>
                  <a:lnTo>
                    <a:pt x="19" y="159"/>
                  </a:lnTo>
                  <a:lnTo>
                    <a:pt x="20" y="163"/>
                  </a:lnTo>
                  <a:close/>
                  <a:moveTo>
                    <a:pt x="14" y="157"/>
                  </a:moveTo>
                  <a:lnTo>
                    <a:pt x="15" y="163"/>
                  </a:lnTo>
                  <a:lnTo>
                    <a:pt x="12" y="161"/>
                  </a:lnTo>
                  <a:lnTo>
                    <a:pt x="10" y="156"/>
                  </a:lnTo>
                  <a:lnTo>
                    <a:pt x="14" y="154"/>
                  </a:lnTo>
                  <a:lnTo>
                    <a:pt x="14" y="157"/>
                  </a:lnTo>
                  <a:close/>
                  <a:moveTo>
                    <a:pt x="20" y="149"/>
                  </a:moveTo>
                  <a:lnTo>
                    <a:pt x="22" y="149"/>
                  </a:lnTo>
                  <a:lnTo>
                    <a:pt x="22" y="152"/>
                  </a:lnTo>
                  <a:lnTo>
                    <a:pt x="20" y="152"/>
                  </a:lnTo>
                  <a:lnTo>
                    <a:pt x="20" y="149"/>
                  </a:lnTo>
                  <a:close/>
                  <a:moveTo>
                    <a:pt x="671" y="81"/>
                  </a:moveTo>
                  <a:lnTo>
                    <a:pt x="664" y="87"/>
                  </a:lnTo>
                  <a:lnTo>
                    <a:pt x="664" y="96"/>
                  </a:lnTo>
                  <a:lnTo>
                    <a:pt x="666" y="99"/>
                  </a:lnTo>
                  <a:lnTo>
                    <a:pt x="662" y="101"/>
                  </a:lnTo>
                  <a:lnTo>
                    <a:pt x="664" y="108"/>
                  </a:lnTo>
                  <a:lnTo>
                    <a:pt x="661" y="113"/>
                  </a:lnTo>
                  <a:lnTo>
                    <a:pt x="659" y="113"/>
                  </a:lnTo>
                  <a:lnTo>
                    <a:pt x="657" y="110"/>
                  </a:lnTo>
                  <a:lnTo>
                    <a:pt x="652" y="115"/>
                  </a:lnTo>
                  <a:lnTo>
                    <a:pt x="645" y="113"/>
                  </a:lnTo>
                  <a:lnTo>
                    <a:pt x="642" y="116"/>
                  </a:lnTo>
                  <a:lnTo>
                    <a:pt x="640" y="122"/>
                  </a:lnTo>
                  <a:lnTo>
                    <a:pt x="633" y="125"/>
                  </a:lnTo>
                  <a:lnTo>
                    <a:pt x="633" y="127"/>
                  </a:lnTo>
                  <a:lnTo>
                    <a:pt x="637" y="132"/>
                  </a:lnTo>
                  <a:lnTo>
                    <a:pt x="631" y="139"/>
                  </a:lnTo>
                  <a:lnTo>
                    <a:pt x="631" y="144"/>
                  </a:lnTo>
                  <a:lnTo>
                    <a:pt x="637" y="149"/>
                  </a:lnTo>
                  <a:lnTo>
                    <a:pt x="633" y="156"/>
                  </a:lnTo>
                  <a:lnTo>
                    <a:pt x="633" y="164"/>
                  </a:lnTo>
                  <a:lnTo>
                    <a:pt x="626" y="168"/>
                  </a:lnTo>
                  <a:lnTo>
                    <a:pt x="628" y="171"/>
                  </a:lnTo>
                  <a:lnTo>
                    <a:pt x="625" y="175"/>
                  </a:lnTo>
                  <a:lnTo>
                    <a:pt x="620" y="183"/>
                  </a:lnTo>
                  <a:lnTo>
                    <a:pt x="616" y="183"/>
                  </a:lnTo>
                  <a:lnTo>
                    <a:pt x="614" y="187"/>
                  </a:lnTo>
                  <a:lnTo>
                    <a:pt x="608" y="190"/>
                  </a:lnTo>
                  <a:lnTo>
                    <a:pt x="606" y="197"/>
                  </a:lnTo>
                  <a:lnTo>
                    <a:pt x="597" y="202"/>
                  </a:lnTo>
                  <a:lnTo>
                    <a:pt x="596" y="204"/>
                  </a:lnTo>
                  <a:lnTo>
                    <a:pt x="589" y="210"/>
                  </a:lnTo>
                  <a:lnTo>
                    <a:pt x="589" y="212"/>
                  </a:lnTo>
                  <a:lnTo>
                    <a:pt x="580" y="217"/>
                  </a:lnTo>
                  <a:lnTo>
                    <a:pt x="579" y="219"/>
                  </a:lnTo>
                  <a:lnTo>
                    <a:pt x="568" y="217"/>
                  </a:lnTo>
                  <a:lnTo>
                    <a:pt x="560" y="222"/>
                  </a:lnTo>
                  <a:lnTo>
                    <a:pt x="563" y="229"/>
                  </a:lnTo>
                  <a:lnTo>
                    <a:pt x="572" y="233"/>
                  </a:lnTo>
                  <a:lnTo>
                    <a:pt x="573" y="234"/>
                  </a:lnTo>
                  <a:lnTo>
                    <a:pt x="575" y="236"/>
                  </a:lnTo>
                  <a:lnTo>
                    <a:pt x="573" y="243"/>
                  </a:lnTo>
                  <a:lnTo>
                    <a:pt x="579" y="250"/>
                  </a:lnTo>
                  <a:lnTo>
                    <a:pt x="577" y="257"/>
                  </a:lnTo>
                  <a:lnTo>
                    <a:pt x="580" y="258"/>
                  </a:lnTo>
                  <a:lnTo>
                    <a:pt x="575" y="265"/>
                  </a:lnTo>
                  <a:lnTo>
                    <a:pt x="577" y="269"/>
                  </a:lnTo>
                  <a:lnTo>
                    <a:pt x="573" y="274"/>
                  </a:lnTo>
                  <a:lnTo>
                    <a:pt x="568" y="277"/>
                  </a:lnTo>
                  <a:lnTo>
                    <a:pt x="561" y="279"/>
                  </a:lnTo>
                  <a:lnTo>
                    <a:pt x="558" y="284"/>
                  </a:lnTo>
                  <a:lnTo>
                    <a:pt x="553" y="287"/>
                  </a:lnTo>
                  <a:lnTo>
                    <a:pt x="553" y="292"/>
                  </a:lnTo>
                  <a:lnTo>
                    <a:pt x="558" y="298"/>
                  </a:lnTo>
                  <a:lnTo>
                    <a:pt x="558" y="301"/>
                  </a:lnTo>
                  <a:lnTo>
                    <a:pt x="553" y="311"/>
                  </a:lnTo>
                  <a:lnTo>
                    <a:pt x="551" y="311"/>
                  </a:lnTo>
                  <a:lnTo>
                    <a:pt x="550" y="306"/>
                  </a:lnTo>
                  <a:lnTo>
                    <a:pt x="543" y="304"/>
                  </a:lnTo>
                  <a:lnTo>
                    <a:pt x="536" y="309"/>
                  </a:lnTo>
                  <a:lnTo>
                    <a:pt x="527" y="309"/>
                  </a:lnTo>
                  <a:lnTo>
                    <a:pt x="522" y="311"/>
                  </a:lnTo>
                  <a:lnTo>
                    <a:pt x="514" y="315"/>
                  </a:lnTo>
                  <a:lnTo>
                    <a:pt x="512" y="316"/>
                  </a:lnTo>
                  <a:lnTo>
                    <a:pt x="507" y="320"/>
                  </a:lnTo>
                  <a:lnTo>
                    <a:pt x="497" y="318"/>
                  </a:lnTo>
                  <a:lnTo>
                    <a:pt x="495" y="320"/>
                  </a:lnTo>
                  <a:lnTo>
                    <a:pt x="497" y="325"/>
                  </a:lnTo>
                  <a:lnTo>
                    <a:pt x="492" y="325"/>
                  </a:lnTo>
                  <a:lnTo>
                    <a:pt x="490" y="328"/>
                  </a:lnTo>
                  <a:lnTo>
                    <a:pt x="480" y="330"/>
                  </a:lnTo>
                  <a:lnTo>
                    <a:pt x="478" y="333"/>
                  </a:lnTo>
                  <a:lnTo>
                    <a:pt x="471" y="333"/>
                  </a:lnTo>
                  <a:lnTo>
                    <a:pt x="466" y="333"/>
                  </a:lnTo>
                  <a:lnTo>
                    <a:pt x="466" y="337"/>
                  </a:lnTo>
                  <a:lnTo>
                    <a:pt x="464" y="339"/>
                  </a:lnTo>
                  <a:lnTo>
                    <a:pt x="459" y="332"/>
                  </a:lnTo>
                  <a:lnTo>
                    <a:pt x="452" y="335"/>
                  </a:lnTo>
                  <a:lnTo>
                    <a:pt x="449" y="337"/>
                  </a:lnTo>
                  <a:lnTo>
                    <a:pt x="447" y="335"/>
                  </a:lnTo>
                  <a:lnTo>
                    <a:pt x="444" y="339"/>
                  </a:lnTo>
                  <a:lnTo>
                    <a:pt x="442" y="339"/>
                  </a:lnTo>
                  <a:lnTo>
                    <a:pt x="442" y="333"/>
                  </a:lnTo>
                  <a:lnTo>
                    <a:pt x="437" y="327"/>
                  </a:lnTo>
                  <a:lnTo>
                    <a:pt x="432" y="323"/>
                  </a:lnTo>
                  <a:lnTo>
                    <a:pt x="427" y="328"/>
                  </a:lnTo>
                  <a:lnTo>
                    <a:pt x="425" y="333"/>
                  </a:lnTo>
                  <a:lnTo>
                    <a:pt x="427" y="337"/>
                  </a:lnTo>
                  <a:lnTo>
                    <a:pt x="422" y="337"/>
                  </a:lnTo>
                  <a:lnTo>
                    <a:pt x="416" y="335"/>
                  </a:lnTo>
                  <a:lnTo>
                    <a:pt x="410" y="335"/>
                  </a:lnTo>
                  <a:lnTo>
                    <a:pt x="411" y="345"/>
                  </a:lnTo>
                  <a:lnTo>
                    <a:pt x="410" y="347"/>
                  </a:lnTo>
                  <a:lnTo>
                    <a:pt x="401" y="349"/>
                  </a:lnTo>
                  <a:lnTo>
                    <a:pt x="396" y="344"/>
                  </a:lnTo>
                  <a:lnTo>
                    <a:pt x="394" y="349"/>
                  </a:lnTo>
                  <a:lnTo>
                    <a:pt x="396" y="356"/>
                  </a:lnTo>
                  <a:lnTo>
                    <a:pt x="392" y="354"/>
                  </a:lnTo>
                  <a:lnTo>
                    <a:pt x="387" y="361"/>
                  </a:lnTo>
                  <a:lnTo>
                    <a:pt x="381" y="359"/>
                  </a:lnTo>
                  <a:lnTo>
                    <a:pt x="375" y="361"/>
                  </a:lnTo>
                  <a:lnTo>
                    <a:pt x="374" y="362"/>
                  </a:lnTo>
                  <a:lnTo>
                    <a:pt x="370" y="364"/>
                  </a:lnTo>
                  <a:lnTo>
                    <a:pt x="362" y="369"/>
                  </a:lnTo>
                  <a:lnTo>
                    <a:pt x="362" y="373"/>
                  </a:lnTo>
                  <a:lnTo>
                    <a:pt x="362" y="374"/>
                  </a:lnTo>
                  <a:lnTo>
                    <a:pt x="358" y="380"/>
                  </a:lnTo>
                  <a:lnTo>
                    <a:pt x="355" y="380"/>
                  </a:lnTo>
                  <a:lnTo>
                    <a:pt x="353" y="383"/>
                  </a:lnTo>
                  <a:lnTo>
                    <a:pt x="355" y="388"/>
                  </a:lnTo>
                  <a:lnTo>
                    <a:pt x="353" y="390"/>
                  </a:lnTo>
                  <a:lnTo>
                    <a:pt x="357" y="393"/>
                  </a:lnTo>
                  <a:lnTo>
                    <a:pt x="355" y="395"/>
                  </a:lnTo>
                  <a:lnTo>
                    <a:pt x="346" y="398"/>
                  </a:lnTo>
                  <a:lnTo>
                    <a:pt x="336" y="400"/>
                  </a:lnTo>
                  <a:lnTo>
                    <a:pt x="334" y="403"/>
                  </a:lnTo>
                  <a:lnTo>
                    <a:pt x="333" y="403"/>
                  </a:lnTo>
                  <a:lnTo>
                    <a:pt x="329" y="409"/>
                  </a:lnTo>
                  <a:lnTo>
                    <a:pt x="328" y="410"/>
                  </a:lnTo>
                  <a:lnTo>
                    <a:pt x="322" y="417"/>
                  </a:lnTo>
                  <a:lnTo>
                    <a:pt x="314" y="421"/>
                  </a:lnTo>
                  <a:lnTo>
                    <a:pt x="311" y="422"/>
                  </a:lnTo>
                  <a:lnTo>
                    <a:pt x="305" y="422"/>
                  </a:lnTo>
                  <a:lnTo>
                    <a:pt x="304" y="426"/>
                  </a:lnTo>
                  <a:lnTo>
                    <a:pt x="300" y="432"/>
                  </a:lnTo>
                  <a:lnTo>
                    <a:pt x="300" y="436"/>
                  </a:lnTo>
                  <a:lnTo>
                    <a:pt x="295" y="438"/>
                  </a:lnTo>
                  <a:lnTo>
                    <a:pt x="293" y="434"/>
                  </a:lnTo>
                  <a:lnTo>
                    <a:pt x="288" y="438"/>
                  </a:lnTo>
                  <a:lnTo>
                    <a:pt x="285" y="434"/>
                  </a:lnTo>
                  <a:lnTo>
                    <a:pt x="282" y="439"/>
                  </a:lnTo>
                  <a:lnTo>
                    <a:pt x="276" y="441"/>
                  </a:lnTo>
                  <a:lnTo>
                    <a:pt x="270" y="446"/>
                  </a:lnTo>
                  <a:lnTo>
                    <a:pt x="270" y="451"/>
                  </a:lnTo>
                  <a:lnTo>
                    <a:pt x="273" y="451"/>
                  </a:lnTo>
                  <a:lnTo>
                    <a:pt x="275" y="456"/>
                  </a:lnTo>
                  <a:lnTo>
                    <a:pt x="280" y="455"/>
                  </a:lnTo>
                  <a:lnTo>
                    <a:pt x="283" y="451"/>
                  </a:lnTo>
                  <a:lnTo>
                    <a:pt x="285" y="451"/>
                  </a:lnTo>
                  <a:lnTo>
                    <a:pt x="288" y="455"/>
                  </a:lnTo>
                  <a:lnTo>
                    <a:pt x="288" y="463"/>
                  </a:lnTo>
                  <a:lnTo>
                    <a:pt x="285" y="472"/>
                  </a:lnTo>
                  <a:lnTo>
                    <a:pt x="283" y="475"/>
                  </a:lnTo>
                  <a:lnTo>
                    <a:pt x="287" y="479"/>
                  </a:lnTo>
                  <a:lnTo>
                    <a:pt x="285" y="484"/>
                  </a:lnTo>
                  <a:lnTo>
                    <a:pt x="288" y="485"/>
                  </a:lnTo>
                  <a:lnTo>
                    <a:pt x="293" y="489"/>
                  </a:lnTo>
                  <a:lnTo>
                    <a:pt x="293" y="492"/>
                  </a:lnTo>
                  <a:lnTo>
                    <a:pt x="297" y="492"/>
                  </a:lnTo>
                  <a:lnTo>
                    <a:pt x="297" y="496"/>
                  </a:lnTo>
                  <a:lnTo>
                    <a:pt x="293" y="497"/>
                  </a:lnTo>
                  <a:lnTo>
                    <a:pt x="293" y="502"/>
                  </a:lnTo>
                  <a:lnTo>
                    <a:pt x="297" y="509"/>
                  </a:lnTo>
                  <a:lnTo>
                    <a:pt x="295" y="513"/>
                  </a:lnTo>
                  <a:lnTo>
                    <a:pt x="290" y="520"/>
                  </a:lnTo>
                  <a:lnTo>
                    <a:pt x="293" y="523"/>
                  </a:lnTo>
                  <a:lnTo>
                    <a:pt x="297" y="532"/>
                  </a:lnTo>
                  <a:lnTo>
                    <a:pt x="297" y="537"/>
                  </a:lnTo>
                  <a:lnTo>
                    <a:pt x="299" y="545"/>
                  </a:lnTo>
                  <a:lnTo>
                    <a:pt x="300" y="555"/>
                  </a:lnTo>
                  <a:lnTo>
                    <a:pt x="304" y="562"/>
                  </a:lnTo>
                  <a:lnTo>
                    <a:pt x="300" y="569"/>
                  </a:lnTo>
                  <a:lnTo>
                    <a:pt x="304" y="571"/>
                  </a:lnTo>
                  <a:lnTo>
                    <a:pt x="307" y="571"/>
                  </a:lnTo>
                  <a:lnTo>
                    <a:pt x="307" y="574"/>
                  </a:lnTo>
                  <a:lnTo>
                    <a:pt x="302" y="581"/>
                  </a:lnTo>
                  <a:lnTo>
                    <a:pt x="299" y="583"/>
                  </a:lnTo>
                  <a:lnTo>
                    <a:pt x="292" y="584"/>
                  </a:lnTo>
                  <a:lnTo>
                    <a:pt x="288" y="584"/>
                  </a:lnTo>
                  <a:lnTo>
                    <a:pt x="283" y="593"/>
                  </a:lnTo>
                  <a:lnTo>
                    <a:pt x="273" y="595"/>
                  </a:lnTo>
                  <a:lnTo>
                    <a:pt x="270" y="598"/>
                  </a:lnTo>
                  <a:lnTo>
                    <a:pt x="261" y="600"/>
                  </a:lnTo>
                  <a:lnTo>
                    <a:pt x="258" y="603"/>
                  </a:lnTo>
                  <a:lnTo>
                    <a:pt x="254" y="608"/>
                  </a:lnTo>
                  <a:lnTo>
                    <a:pt x="254" y="610"/>
                  </a:lnTo>
                  <a:lnTo>
                    <a:pt x="244" y="615"/>
                  </a:lnTo>
                  <a:lnTo>
                    <a:pt x="241" y="608"/>
                  </a:lnTo>
                  <a:lnTo>
                    <a:pt x="244" y="608"/>
                  </a:lnTo>
                  <a:lnTo>
                    <a:pt x="242" y="602"/>
                  </a:lnTo>
                  <a:lnTo>
                    <a:pt x="242" y="596"/>
                  </a:lnTo>
                  <a:lnTo>
                    <a:pt x="239" y="593"/>
                  </a:lnTo>
                  <a:lnTo>
                    <a:pt x="234" y="591"/>
                  </a:lnTo>
                  <a:lnTo>
                    <a:pt x="229" y="591"/>
                  </a:lnTo>
                  <a:lnTo>
                    <a:pt x="223" y="595"/>
                  </a:lnTo>
                  <a:lnTo>
                    <a:pt x="217" y="598"/>
                  </a:lnTo>
                  <a:lnTo>
                    <a:pt x="210" y="603"/>
                  </a:lnTo>
                  <a:lnTo>
                    <a:pt x="203" y="610"/>
                  </a:lnTo>
                  <a:lnTo>
                    <a:pt x="198" y="605"/>
                  </a:lnTo>
                  <a:lnTo>
                    <a:pt x="194" y="596"/>
                  </a:lnTo>
                  <a:lnTo>
                    <a:pt x="198" y="590"/>
                  </a:lnTo>
                  <a:lnTo>
                    <a:pt x="198" y="581"/>
                  </a:lnTo>
                  <a:lnTo>
                    <a:pt x="193" y="579"/>
                  </a:lnTo>
                  <a:lnTo>
                    <a:pt x="194" y="574"/>
                  </a:lnTo>
                  <a:lnTo>
                    <a:pt x="193" y="567"/>
                  </a:lnTo>
                  <a:lnTo>
                    <a:pt x="184" y="564"/>
                  </a:lnTo>
                  <a:lnTo>
                    <a:pt x="189" y="559"/>
                  </a:lnTo>
                  <a:lnTo>
                    <a:pt x="191" y="554"/>
                  </a:lnTo>
                  <a:lnTo>
                    <a:pt x="189" y="545"/>
                  </a:lnTo>
                  <a:lnTo>
                    <a:pt x="184" y="542"/>
                  </a:lnTo>
                  <a:lnTo>
                    <a:pt x="186" y="540"/>
                  </a:lnTo>
                  <a:lnTo>
                    <a:pt x="184" y="530"/>
                  </a:lnTo>
                  <a:lnTo>
                    <a:pt x="183" y="523"/>
                  </a:lnTo>
                  <a:lnTo>
                    <a:pt x="177" y="520"/>
                  </a:lnTo>
                  <a:lnTo>
                    <a:pt x="174" y="520"/>
                  </a:lnTo>
                  <a:lnTo>
                    <a:pt x="177" y="518"/>
                  </a:lnTo>
                  <a:lnTo>
                    <a:pt x="177" y="511"/>
                  </a:lnTo>
                  <a:lnTo>
                    <a:pt x="181" y="506"/>
                  </a:lnTo>
                  <a:lnTo>
                    <a:pt x="181" y="499"/>
                  </a:lnTo>
                  <a:lnTo>
                    <a:pt x="181" y="496"/>
                  </a:lnTo>
                  <a:lnTo>
                    <a:pt x="179" y="487"/>
                  </a:lnTo>
                  <a:lnTo>
                    <a:pt x="174" y="482"/>
                  </a:lnTo>
                  <a:lnTo>
                    <a:pt x="167" y="479"/>
                  </a:lnTo>
                  <a:lnTo>
                    <a:pt x="157" y="473"/>
                  </a:lnTo>
                  <a:lnTo>
                    <a:pt x="155" y="470"/>
                  </a:lnTo>
                  <a:lnTo>
                    <a:pt x="159" y="470"/>
                  </a:lnTo>
                  <a:lnTo>
                    <a:pt x="157" y="467"/>
                  </a:lnTo>
                  <a:lnTo>
                    <a:pt x="157" y="463"/>
                  </a:lnTo>
                  <a:lnTo>
                    <a:pt x="160" y="463"/>
                  </a:lnTo>
                  <a:lnTo>
                    <a:pt x="160" y="461"/>
                  </a:lnTo>
                  <a:lnTo>
                    <a:pt x="164" y="460"/>
                  </a:lnTo>
                  <a:lnTo>
                    <a:pt x="171" y="451"/>
                  </a:lnTo>
                  <a:lnTo>
                    <a:pt x="171" y="448"/>
                  </a:lnTo>
                  <a:lnTo>
                    <a:pt x="172" y="439"/>
                  </a:lnTo>
                  <a:lnTo>
                    <a:pt x="171" y="432"/>
                  </a:lnTo>
                  <a:lnTo>
                    <a:pt x="174" y="426"/>
                  </a:lnTo>
                  <a:lnTo>
                    <a:pt x="174" y="422"/>
                  </a:lnTo>
                  <a:lnTo>
                    <a:pt x="176" y="419"/>
                  </a:lnTo>
                  <a:lnTo>
                    <a:pt x="174" y="412"/>
                  </a:lnTo>
                  <a:lnTo>
                    <a:pt x="169" y="405"/>
                  </a:lnTo>
                  <a:lnTo>
                    <a:pt x="167" y="403"/>
                  </a:lnTo>
                  <a:lnTo>
                    <a:pt x="162" y="403"/>
                  </a:lnTo>
                  <a:lnTo>
                    <a:pt x="160" y="400"/>
                  </a:lnTo>
                  <a:lnTo>
                    <a:pt x="160" y="398"/>
                  </a:lnTo>
                  <a:lnTo>
                    <a:pt x="159" y="397"/>
                  </a:lnTo>
                  <a:lnTo>
                    <a:pt x="155" y="395"/>
                  </a:lnTo>
                  <a:lnTo>
                    <a:pt x="160" y="385"/>
                  </a:lnTo>
                  <a:lnTo>
                    <a:pt x="150" y="381"/>
                  </a:lnTo>
                  <a:lnTo>
                    <a:pt x="145" y="381"/>
                  </a:lnTo>
                  <a:lnTo>
                    <a:pt x="143" y="376"/>
                  </a:lnTo>
                  <a:lnTo>
                    <a:pt x="140" y="376"/>
                  </a:lnTo>
                  <a:lnTo>
                    <a:pt x="138" y="369"/>
                  </a:lnTo>
                  <a:lnTo>
                    <a:pt x="135" y="369"/>
                  </a:lnTo>
                  <a:lnTo>
                    <a:pt x="135" y="361"/>
                  </a:lnTo>
                  <a:lnTo>
                    <a:pt x="135" y="368"/>
                  </a:lnTo>
                  <a:lnTo>
                    <a:pt x="130" y="373"/>
                  </a:lnTo>
                  <a:lnTo>
                    <a:pt x="128" y="369"/>
                  </a:lnTo>
                  <a:lnTo>
                    <a:pt x="124" y="371"/>
                  </a:lnTo>
                  <a:lnTo>
                    <a:pt x="123" y="366"/>
                  </a:lnTo>
                  <a:lnTo>
                    <a:pt x="123" y="368"/>
                  </a:lnTo>
                  <a:lnTo>
                    <a:pt x="121" y="368"/>
                  </a:lnTo>
                  <a:lnTo>
                    <a:pt x="118" y="359"/>
                  </a:lnTo>
                  <a:lnTo>
                    <a:pt x="114" y="357"/>
                  </a:lnTo>
                  <a:lnTo>
                    <a:pt x="111" y="357"/>
                  </a:lnTo>
                  <a:lnTo>
                    <a:pt x="102" y="354"/>
                  </a:lnTo>
                  <a:lnTo>
                    <a:pt x="101" y="352"/>
                  </a:lnTo>
                  <a:lnTo>
                    <a:pt x="97" y="356"/>
                  </a:lnTo>
                  <a:lnTo>
                    <a:pt x="99" y="357"/>
                  </a:lnTo>
                  <a:lnTo>
                    <a:pt x="97" y="361"/>
                  </a:lnTo>
                  <a:lnTo>
                    <a:pt x="95" y="357"/>
                  </a:lnTo>
                  <a:lnTo>
                    <a:pt x="97" y="361"/>
                  </a:lnTo>
                  <a:lnTo>
                    <a:pt x="95" y="362"/>
                  </a:lnTo>
                  <a:lnTo>
                    <a:pt x="90" y="361"/>
                  </a:lnTo>
                  <a:lnTo>
                    <a:pt x="85" y="359"/>
                  </a:lnTo>
                  <a:lnTo>
                    <a:pt x="78" y="352"/>
                  </a:lnTo>
                  <a:lnTo>
                    <a:pt x="75" y="347"/>
                  </a:lnTo>
                  <a:lnTo>
                    <a:pt x="77" y="342"/>
                  </a:lnTo>
                  <a:lnTo>
                    <a:pt x="77" y="333"/>
                  </a:lnTo>
                  <a:lnTo>
                    <a:pt x="77" y="330"/>
                  </a:lnTo>
                  <a:lnTo>
                    <a:pt x="85" y="335"/>
                  </a:lnTo>
                  <a:lnTo>
                    <a:pt x="94" y="335"/>
                  </a:lnTo>
                  <a:lnTo>
                    <a:pt x="104" y="340"/>
                  </a:lnTo>
                  <a:lnTo>
                    <a:pt x="111" y="339"/>
                  </a:lnTo>
                  <a:lnTo>
                    <a:pt x="116" y="342"/>
                  </a:lnTo>
                  <a:lnTo>
                    <a:pt x="116" y="340"/>
                  </a:lnTo>
                  <a:lnTo>
                    <a:pt x="113" y="339"/>
                  </a:lnTo>
                  <a:lnTo>
                    <a:pt x="114" y="337"/>
                  </a:lnTo>
                  <a:lnTo>
                    <a:pt x="113" y="339"/>
                  </a:lnTo>
                  <a:lnTo>
                    <a:pt x="102" y="339"/>
                  </a:lnTo>
                  <a:lnTo>
                    <a:pt x="101" y="335"/>
                  </a:lnTo>
                  <a:lnTo>
                    <a:pt x="102" y="335"/>
                  </a:lnTo>
                  <a:lnTo>
                    <a:pt x="97" y="332"/>
                  </a:lnTo>
                  <a:lnTo>
                    <a:pt x="101" y="330"/>
                  </a:lnTo>
                  <a:lnTo>
                    <a:pt x="107" y="335"/>
                  </a:lnTo>
                  <a:lnTo>
                    <a:pt x="113" y="335"/>
                  </a:lnTo>
                  <a:lnTo>
                    <a:pt x="118" y="333"/>
                  </a:lnTo>
                  <a:lnTo>
                    <a:pt x="118" y="328"/>
                  </a:lnTo>
                  <a:lnTo>
                    <a:pt x="113" y="328"/>
                  </a:lnTo>
                  <a:lnTo>
                    <a:pt x="104" y="325"/>
                  </a:lnTo>
                  <a:lnTo>
                    <a:pt x="97" y="327"/>
                  </a:lnTo>
                  <a:lnTo>
                    <a:pt x="94" y="323"/>
                  </a:lnTo>
                  <a:lnTo>
                    <a:pt x="94" y="321"/>
                  </a:lnTo>
                  <a:lnTo>
                    <a:pt x="95" y="320"/>
                  </a:lnTo>
                  <a:lnTo>
                    <a:pt x="94" y="320"/>
                  </a:lnTo>
                  <a:lnTo>
                    <a:pt x="92" y="321"/>
                  </a:lnTo>
                  <a:lnTo>
                    <a:pt x="84" y="321"/>
                  </a:lnTo>
                  <a:lnTo>
                    <a:pt x="77" y="323"/>
                  </a:lnTo>
                  <a:lnTo>
                    <a:pt x="72" y="316"/>
                  </a:lnTo>
                  <a:lnTo>
                    <a:pt x="70" y="316"/>
                  </a:lnTo>
                  <a:lnTo>
                    <a:pt x="70" y="318"/>
                  </a:lnTo>
                  <a:lnTo>
                    <a:pt x="65" y="318"/>
                  </a:lnTo>
                  <a:lnTo>
                    <a:pt x="61" y="311"/>
                  </a:lnTo>
                  <a:lnTo>
                    <a:pt x="61" y="303"/>
                  </a:lnTo>
                  <a:lnTo>
                    <a:pt x="60" y="294"/>
                  </a:lnTo>
                  <a:lnTo>
                    <a:pt x="60" y="292"/>
                  </a:lnTo>
                  <a:lnTo>
                    <a:pt x="66" y="294"/>
                  </a:lnTo>
                  <a:lnTo>
                    <a:pt x="61" y="292"/>
                  </a:lnTo>
                  <a:lnTo>
                    <a:pt x="58" y="284"/>
                  </a:lnTo>
                  <a:lnTo>
                    <a:pt x="61" y="282"/>
                  </a:lnTo>
                  <a:lnTo>
                    <a:pt x="63" y="279"/>
                  </a:lnTo>
                  <a:lnTo>
                    <a:pt x="72" y="277"/>
                  </a:lnTo>
                  <a:lnTo>
                    <a:pt x="70" y="274"/>
                  </a:lnTo>
                  <a:lnTo>
                    <a:pt x="70" y="267"/>
                  </a:lnTo>
                  <a:lnTo>
                    <a:pt x="70" y="262"/>
                  </a:lnTo>
                  <a:lnTo>
                    <a:pt x="66" y="255"/>
                  </a:lnTo>
                  <a:lnTo>
                    <a:pt x="68" y="246"/>
                  </a:lnTo>
                  <a:lnTo>
                    <a:pt x="73" y="248"/>
                  </a:lnTo>
                  <a:lnTo>
                    <a:pt x="77" y="248"/>
                  </a:lnTo>
                  <a:lnTo>
                    <a:pt x="78" y="248"/>
                  </a:lnTo>
                  <a:lnTo>
                    <a:pt x="75" y="246"/>
                  </a:lnTo>
                  <a:lnTo>
                    <a:pt x="68" y="241"/>
                  </a:lnTo>
                  <a:lnTo>
                    <a:pt x="63" y="234"/>
                  </a:lnTo>
                  <a:lnTo>
                    <a:pt x="61" y="226"/>
                  </a:lnTo>
                  <a:lnTo>
                    <a:pt x="58" y="221"/>
                  </a:lnTo>
                  <a:lnTo>
                    <a:pt x="49" y="216"/>
                  </a:lnTo>
                  <a:lnTo>
                    <a:pt x="43" y="212"/>
                  </a:lnTo>
                  <a:lnTo>
                    <a:pt x="37" y="212"/>
                  </a:lnTo>
                  <a:lnTo>
                    <a:pt x="41" y="204"/>
                  </a:lnTo>
                  <a:lnTo>
                    <a:pt x="41" y="197"/>
                  </a:lnTo>
                  <a:lnTo>
                    <a:pt x="36" y="193"/>
                  </a:lnTo>
                  <a:lnTo>
                    <a:pt x="39" y="183"/>
                  </a:lnTo>
                  <a:lnTo>
                    <a:pt x="39" y="176"/>
                  </a:lnTo>
                  <a:lnTo>
                    <a:pt x="36" y="169"/>
                  </a:lnTo>
                  <a:lnTo>
                    <a:pt x="32" y="166"/>
                  </a:lnTo>
                  <a:lnTo>
                    <a:pt x="32" y="157"/>
                  </a:lnTo>
                  <a:lnTo>
                    <a:pt x="31" y="156"/>
                  </a:lnTo>
                  <a:lnTo>
                    <a:pt x="29" y="152"/>
                  </a:lnTo>
                  <a:lnTo>
                    <a:pt x="36" y="146"/>
                  </a:lnTo>
                  <a:lnTo>
                    <a:pt x="37" y="147"/>
                  </a:lnTo>
                  <a:lnTo>
                    <a:pt x="39" y="146"/>
                  </a:lnTo>
                  <a:lnTo>
                    <a:pt x="44" y="137"/>
                  </a:lnTo>
                  <a:lnTo>
                    <a:pt x="44" y="127"/>
                  </a:lnTo>
                  <a:lnTo>
                    <a:pt x="39" y="118"/>
                  </a:lnTo>
                  <a:lnTo>
                    <a:pt x="39" y="116"/>
                  </a:lnTo>
                  <a:lnTo>
                    <a:pt x="36" y="111"/>
                  </a:lnTo>
                  <a:lnTo>
                    <a:pt x="44" y="110"/>
                  </a:lnTo>
                  <a:lnTo>
                    <a:pt x="43" y="105"/>
                  </a:lnTo>
                  <a:lnTo>
                    <a:pt x="46" y="98"/>
                  </a:lnTo>
                  <a:lnTo>
                    <a:pt x="53" y="91"/>
                  </a:lnTo>
                  <a:lnTo>
                    <a:pt x="53" y="86"/>
                  </a:lnTo>
                  <a:lnTo>
                    <a:pt x="51" y="81"/>
                  </a:lnTo>
                  <a:lnTo>
                    <a:pt x="53" y="76"/>
                  </a:lnTo>
                  <a:lnTo>
                    <a:pt x="53" y="70"/>
                  </a:lnTo>
                  <a:lnTo>
                    <a:pt x="54" y="67"/>
                  </a:lnTo>
                  <a:lnTo>
                    <a:pt x="63" y="60"/>
                  </a:lnTo>
                  <a:lnTo>
                    <a:pt x="65" y="58"/>
                  </a:lnTo>
                  <a:lnTo>
                    <a:pt x="73" y="55"/>
                  </a:lnTo>
                  <a:lnTo>
                    <a:pt x="78" y="52"/>
                  </a:lnTo>
                  <a:lnTo>
                    <a:pt x="80" y="45"/>
                  </a:lnTo>
                  <a:lnTo>
                    <a:pt x="84" y="36"/>
                  </a:lnTo>
                  <a:lnTo>
                    <a:pt x="87" y="36"/>
                  </a:lnTo>
                  <a:lnTo>
                    <a:pt x="82" y="38"/>
                  </a:lnTo>
                  <a:lnTo>
                    <a:pt x="87" y="31"/>
                  </a:lnTo>
                  <a:lnTo>
                    <a:pt x="89" y="26"/>
                  </a:lnTo>
                  <a:lnTo>
                    <a:pt x="85" y="19"/>
                  </a:lnTo>
                  <a:lnTo>
                    <a:pt x="89" y="17"/>
                  </a:lnTo>
                  <a:lnTo>
                    <a:pt x="99" y="17"/>
                  </a:lnTo>
                  <a:lnTo>
                    <a:pt x="104" y="12"/>
                  </a:lnTo>
                  <a:lnTo>
                    <a:pt x="111" y="12"/>
                  </a:lnTo>
                  <a:lnTo>
                    <a:pt x="118" y="12"/>
                  </a:lnTo>
                  <a:lnTo>
                    <a:pt x="123" y="2"/>
                  </a:lnTo>
                  <a:lnTo>
                    <a:pt x="124" y="0"/>
                  </a:lnTo>
                  <a:lnTo>
                    <a:pt x="124" y="7"/>
                  </a:lnTo>
                  <a:lnTo>
                    <a:pt x="121" y="12"/>
                  </a:lnTo>
                  <a:lnTo>
                    <a:pt x="118" y="14"/>
                  </a:lnTo>
                  <a:lnTo>
                    <a:pt x="116" y="19"/>
                  </a:lnTo>
                  <a:lnTo>
                    <a:pt x="111" y="21"/>
                  </a:lnTo>
                  <a:lnTo>
                    <a:pt x="114" y="28"/>
                  </a:lnTo>
                  <a:lnTo>
                    <a:pt x="116" y="29"/>
                  </a:lnTo>
                  <a:lnTo>
                    <a:pt x="118" y="35"/>
                  </a:lnTo>
                  <a:lnTo>
                    <a:pt x="126" y="35"/>
                  </a:lnTo>
                  <a:lnTo>
                    <a:pt x="130" y="36"/>
                  </a:lnTo>
                  <a:lnTo>
                    <a:pt x="128" y="43"/>
                  </a:lnTo>
                  <a:lnTo>
                    <a:pt x="126" y="48"/>
                  </a:lnTo>
                  <a:lnTo>
                    <a:pt x="126" y="57"/>
                  </a:lnTo>
                  <a:lnTo>
                    <a:pt x="130" y="58"/>
                  </a:lnTo>
                  <a:lnTo>
                    <a:pt x="133" y="64"/>
                  </a:lnTo>
                  <a:lnTo>
                    <a:pt x="142" y="69"/>
                  </a:lnTo>
                  <a:lnTo>
                    <a:pt x="143" y="70"/>
                  </a:lnTo>
                  <a:lnTo>
                    <a:pt x="143" y="76"/>
                  </a:lnTo>
                  <a:lnTo>
                    <a:pt x="147" y="72"/>
                  </a:lnTo>
                  <a:lnTo>
                    <a:pt x="148" y="81"/>
                  </a:lnTo>
                  <a:lnTo>
                    <a:pt x="155" y="81"/>
                  </a:lnTo>
                  <a:lnTo>
                    <a:pt x="159" y="81"/>
                  </a:lnTo>
                  <a:lnTo>
                    <a:pt x="162" y="82"/>
                  </a:lnTo>
                  <a:lnTo>
                    <a:pt x="164" y="84"/>
                  </a:lnTo>
                  <a:lnTo>
                    <a:pt x="165" y="94"/>
                  </a:lnTo>
                  <a:lnTo>
                    <a:pt x="174" y="99"/>
                  </a:lnTo>
                  <a:lnTo>
                    <a:pt x="176" y="103"/>
                  </a:lnTo>
                  <a:lnTo>
                    <a:pt x="174" y="106"/>
                  </a:lnTo>
                  <a:lnTo>
                    <a:pt x="177" y="105"/>
                  </a:lnTo>
                  <a:lnTo>
                    <a:pt x="179" y="106"/>
                  </a:lnTo>
                  <a:lnTo>
                    <a:pt x="186" y="106"/>
                  </a:lnTo>
                  <a:lnTo>
                    <a:pt x="191" y="110"/>
                  </a:lnTo>
                  <a:lnTo>
                    <a:pt x="193" y="113"/>
                  </a:lnTo>
                  <a:lnTo>
                    <a:pt x="193" y="116"/>
                  </a:lnTo>
                  <a:lnTo>
                    <a:pt x="196" y="116"/>
                  </a:lnTo>
                  <a:lnTo>
                    <a:pt x="200" y="125"/>
                  </a:lnTo>
                  <a:lnTo>
                    <a:pt x="201" y="125"/>
                  </a:lnTo>
                  <a:lnTo>
                    <a:pt x="200" y="132"/>
                  </a:lnTo>
                  <a:lnTo>
                    <a:pt x="206" y="132"/>
                  </a:lnTo>
                  <a:lnTo>
                    <a:pt x="208" y="130"/>
                  </a:lnTo>
                  <a:lnTo>
                    <a:pt x="210" y="132"/>
                  </a:lnTo>
                  <a:lnTo>
                    <a:pt x="215" y="130"/>
                  </a:lnTo>
                  <a:lnTo>
                    <a:pt x="217" y="137"/>
                  </a:lnTo>
                  <a:lnTo>
                    <a:pt x="220" y="137"/>
                  </a:lnTo>
                  <a:lnTo>
                    <a:pt x="220" y="142"/>
                  </a:lnTo>
                  <a:lnTo>
                    <a:pt x="227" y="146"/>
                  </a:lnTo>
                  <a:lnTo>
                    <a:pt x="237" y="147"/>
                  </a:lnTo>
                  <a:lnTo>
                    <a:pt x="242" y="146"/>
                  </a:lnTo>
                  <a:lnTo>
                    <a:pt x="242" y="144"/>
                  </a:lnTo>
                  <a:lnTo>
                    <a:pt x="247" y="146"/>
                  </a:lnTo>
                  <a:lnTo>
                    <a:pt x="253" y="142"/>
                  </a:lnTo>
                  <a:lnTo>
                    <a:pt x="258" y="142"/>
                  </a:lnTo>
                  <a:lnTo>
                    <a:pt x="259" y="139"/>
                  </a:lnTo>
                  <a:lnTo>
                    <a:pt x="264" y="142"/>
                  </a:lnTo>
                  <a:lnTo>
                    <a:pt x="264" y="137"/>
                  </a:lnTo>
                  <a:lnTo>
                    <a:pt x="270" y="137"/>
                  </a:lnTo>
                  <a:lnTo>
                    <a:pt x="273" y="134"/>
                  </a:lnTo>
                  <a:lnTo>
                    <a:pt x="276" y="127"/>
                  </a:lnTo>
                  <a:lnTo>
                    <a:pt x="280" y="127"/>
                  </a:lnTo>
                  <a:lnTo>
                    <a:pt x="287" y="127"/>
                  </a:lnTo>
                  <a:lnTo>
                    <a:pt x="295" y="125"/>
                  </a:lnTo>
                  <a:lnTo>
                    <a:pt x="305" y="125"/>
                  </a:lnTo>
                  <a:lnTo>
                    <a:pt x="314" y="120"/>
                  </a:lnTo>
                  <a:lnTo>
                    <a:pt x="317" y="123"/>
                  </a:lnTo>
                  <a:lnTo>
                    <a:pt x="319" y="123"/>
                  </a:lnTo>
                  <a:lnTo>
                    <a:pt x="328" y="127"/>
                  </a:lnTo>
                  <a:lnTo>
                    <a:pt x="333" y="128"/>
                  </a:lnTo>
                  <a:lnTo>
                    <a:pt x="338" y="130"/>
                  </a:lnTo>
                  <a:lnTo>
                    <a:pt x="343" y="127"/>
                  </a:lnTo>
                  <a:lnTo>
                    <a:pt x="345" y="127"/>
                  </a:lnTo>
                  <a:lnTo>
                    <a:pt x="348" y="130"/>
                  </a:lnTo>
                  <a:lnTo>
                    <a:pt x="350" y="135"/>
                  </a:lnTo>
                  <a:lnTo>
                    <a:pt x="353" y="137"/>
                  </a:lnTo>
                  <a:lnTo>
                    <a:pt x="353" y="132"/>
                  </a:lnTo>
                  <a:lnTo>
                    <a:pt x="357" y="132"/>
                  </a:lnTo>
                  <a:lnTo>
                    <a:pt x="365" y="125"/>
                  </a:lnTo>
                  <a:lnTo>
                    <a:pt x="374" y="130"/>
                  </a:lnTo>
                  <a:lnTo>
                    <a:pt x="379" y="128"/>
                  </a:lnTo>
                  <a:lnTo>
                    <a:pt x="381" y="130"/>
                  </a:lnTo>
                  <a:lnTo>
                    <a:pt x="386" y="132"/>
                  </a:lnTo>
                  <a:lnTo>
                    <a:pt x="391" y="130"/>
                  </a:lnTo>
                  <a:lnTo>
                    <a:pt x="392" y="123"/>
                  </a:lnTo>
                  <a:lnTo>
                    <a:pt x="398" y="120"/>
                  </a:lnTo>
                  <a:lnTo>
                    <a:pt x="399" y="116"/>
                  </a:lnTo>
                  <a:lnTo>
                    <a:pt x="406" y="115"/>
                  </a:lnTo>
                  <a:lnTo>
                    <a:pt x="410" y="115"/>
                  </a:lnTo>
                  <a:lnTo>
                    <a:pt x="413" y="115"/>
                  </a:lnTo>
                  <a:lnTo>
                    <a:pt x="423" y="115"/>
                  </a:lnTo>
                  <a:lnTo>
                    <a:pt x="425" y="111"/>
                  </a:lnTo>
                  <a:lnTo>
                    <a:pt x="423" y="110"/>
                  </a:lnTo>
                  <a:lnTo>
                    <a:pt x="427" y="105"/>
                  </a:lnTo>
                  <a:lnTo>
                    <a:pt x="425" y="101"/>
                  </a:lnTo>
                  <a:lnTo>
                    <a:pt x="427" y="101"/>
                  </a:lnTo>
                  <a:lnTo>
                    <a:pt x="428" y="94"/>
                  </a:lnTo>
                  <a:lnTo>
                    <a:pt x="432" y="93"/>
                  </a:lnTo>
                  <a:lnTo>
                    <a:pt x="435" y="86"/>
                  </a:lnTo>
                  <a:lnTo>
                    <a:pt x="435" y="82"/>
                  </a:lnTo>
                  <a:lnTo>
                    <a:pt x="430" y="82"/>
                  </a:lnTo>
                  <a:lnTo>
                    <a:pt x="432" y="77"/>
                  </a:lnTo>
                  <a:lnTo>
                    <a:pt x="440" y="74"/>
                  </a:lnTo>
                  <a:lnTo>
                    <a:pt x="445" y="70"/>
                  </a:lnTo>
                  <a:lnTo>
                    <a:pt x="451" y="70"/>
                  </a:lnTo>
                  <a:lnTo>
                    <a:pt x="459" y="67"/>
                  </a:lnTo>
                  <a:lnTo>
                    <a:pt x="461" y="64"/>
                  </a:lnTo>
                  <a:lnTo>
                    <a:pt x="466" y="60"/>
                  </a:lnTo>
                  <a:lnTo>
                    <a:pt x="468" y="62"/>
                  </a:lnTo>
                  <a:lnTo>
                    <a:pt x="476" y="62"/>
                  </a:lnTo>
                  <a:lnTo>
                    <a:pt x="481" y="64"/>
                  </a:lnTo>
                  <a:lnTo>
                    <a:pt x="485" y="62"/>
                  </a:lnTo>
                  <a:lnTo>
                    <a:pt x="486" y="64"/>
                  </a:lnTo>
                  <a:lnTo>
                    <a:pt x="493" y="64"/>
                  </a:lnTo>
                  <a:lnTo>
                    <a:pt x="500" y="64"/>
                  </a:lnTo>
                  <a:lnTo>
                    <a:pt x="507" y="67"/>
                  </a:lnTo>
                  <a:lnTo>
                    <a:pt x="512" y="60"/>
                  </a:lnTo>
                  <a:lnTo>
                    <a:pt x="521" y="62"/>
                  </a:lnTo>
                  <a:lnTo>
                    <a:pt x="524" y="64"/>
                  </a:lnTo>
                  <a:lnTo>
                    <a:pt x="526" y="62"/>
                  </a:lnTo>
                  <a:lnTo>
                    <a:pt x="534" y="64"/>
                  </a:lnTo>
                  <a:lnTo>
                    <a:pt x="534" y="67"/>
                  </a:lnTo>
                  <a:lnTo>
                    <a:pt x="531" y="72"/>
                  </a:lnTo>
                  <a:lnTo>
                    <a:pt x="531" y="74"/>
                  </a:lnTo>
                  <a:lnTo>
                    <a:pt x="524" y="77"/>
                  </a:lnTo>
                  <a:lnTo>
                    <a:pt x="524" y="82"/>
                  </a:lnTo>
                  <a:lnTo>
                    <a:pt x="529" y="82"/>
                  </a:lnTo>
                  <a:lnTo>
                    <a:pt x="532" y="81"/>
                  </a:lnTo>
                  <a:lnTo>
                    <a:pt x="538" y="79"/>
                  </a:lnTo>
                  <a:lnTo>
                    <a:pt x="539" y="77"/>
                  </a:lnTo>
                  <a:lnTo>
                    <a:pt x="544" y="84"/>
                  </a:lnTo>
                  <a:lnTo>
                    <a:pt x="548" y="86"/>
                  </a:lnTo>
                  <a:lnTo>
                    <a:pt x="555" y="82"/>
                  </a:lnTo>
                  <a:lnTo>
                    <a:pt x="565" y="86"/>
                  </a:lnTo>
                  <a:lnTo>
                    <a:pt x="570" y="89"/>
                  </a:lnTo>
                  <a:lnTo>
                    <a:pt x="572" y="93"/>
                  </a:lnTo>
                  <a:lnTo>
                    <a:pt x="579" y="96"/>
                  </a:lnTo>
                  <a:lnTo>
                    <a:pt x="585" y="93"/>
                  </a:lnTo>
                  <a:lnTo>
                    <a:pt x="592" y="93"/>
                  </a:lnTo>
                  <a:lnTo>
                    <a:pt x="596" y="94"/>
                  </a:lnTo>
                  <a:lnTo>
                    <a:pt x="597" y="99"/>
                  </a:lnTo>
                  <a:lnTo>
                    <a:pt x="601" y="101"/>
                  </a:lnTo>
                  <a:lnTo>
                    <a:pt x="601" y="105"/>
                  </a:lnTo>
                  <a:lnTo>
                    <a:pt x="602" y="105"/>
                  </a:lnTo>
                  <a:lnTo>
                    <a:pt x="606" y="105"/>
                  </a:lnTo>
                  <a:lnTo>
                    <a:pt x="611" y="99"/>
                  </a:lnTo>
                  <a:lnTo>
                    <a:pt x="616" y="98"/>
                  </a:lnTo>
                  <a:lnTo>
                    <a:pt x="623" y="94"/>
                  </a:lnTo>
                  <a:lnTo>
                    <a:pt x="626" y="91"/>
                  </a:lnTo>
                  <a:lnTo>
                    <a:pt x="625" y="86"/>
                  </a:lnTo>
                  <a:lnTo>
                    <a:pt x="628" y="84"/>
                  </a:lnTo>
                  <a:lnTo>
                    <a:pt x="637" y="81"/>
                  </a:lnTo>
                  <a:lnTo>
                    <a:pt x="640" y="77"/>
                  </a:lnTo>
                  <a:lnTo>
                    <a:pt x="652" y="77"/>
                  </a:lnTo>
                  <a:lnTo>
                    <a:pt x="655" y="76"/>
                  </a:lnTo>
                  <a:lnTo>
                    <a:pt x="659" y="76"/>
                  </a:lnTo>
                  <a:lnTo>
                    <a:pt x="662" y="76"/>
                  </a:lnTo>
                  <a:lnTo>
                    <a:pt x="671" y="8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7" name="Freeform 70"/>
            <p:cNvSpPr>
              <a:spLocks noEditPoints="1"/>
            </p:cNvSpPr>
            <p:nvPr/>
          </p:nvSpPr>
          <p:spPr bwMode="gray">
            <a:xfrm>
              <a:off x="3087922" y="3406445"/>
              <a:ext cx="749739" cy="470639"/>
            </a:xfrm>
            <a:custGeom>
              <a:avLst/>
              <a:gdLst>
                <a:gd name="T0" fmla="*/ 392 w 411"/>
                <a:gd name="T1" fmla="*/ 251 h 258"/>
                <a:gd name="T2" fmla="*/ 379 w 411"/>
                <a:gd name="T3" fmla="*/ 249 h 258"/>
                <a:gd name="T4" fmla="*/ 290 w 411"/>
                <a:gd name="T5" fmla="*/ 246 h 258"/>
                <a:gd name="T6" fmla="*/ 329 w 411"/>
                <a:gd name="T7" fmla="*/ 234 h 258"/>
                <a:gd name="T8" fmla="*/ 373 w 411"/>
                <a:gd name="T9" fmla="*/ 229 h 258"/>
                <a:gd name="T10" fmla="*/ 285 w 411"/>
                <a:gd name="T11" fmla="*/ 222 h 258"/>
                <a:gd name="T12" fmla="*/ 191 w 411"/>
                <a:gd name="T13" fmla="*/ 220 h 258"/>
                <a:gd name="T14" fmla="*/ 288 w 411"/>
                <a:gd name="T15" fmla="*/ 219 h 258"/>
                <a:gd name="T16" fmla="*/ 286 w 411"/>
                <a:gd name="T17" fmla="*/ 214 h 258"/>
                <a:gd name="T18" fmla="*/ 285 w 411"/>
                <a:gd name="T19" fmla="*/ 212 h 258"/>
                <a:gd name="T20" fmla="*/ 211 w 411"/>
                <a:gd name="T21" fmla="*/ 224 h 258"/>
                <a:gd name="T22" fmla="*/ 204 w 411"/>
                <a:gd name="T23" fmla="*/ 210 h 258"/>
                <a:gd name="T24" fmla="*/ 286 w 411"/>
                <a:gd name="T25" fmla="*/ 203 h 258"/>
                <a:gd name="T26" fmla="*/ 204 w 411"/>
                <a:gd name="T27" fmla="*/ 205 h 258"/>
                <a:gd name="T28" fmla="*/ 278 w 411"/>
                <a:gd name="T29" fmla="*/ 212 h 258"/>
                <a:gd name="T30" fmla="*/ 269 w 411"/>
                <a:gd name="T31" fmla="*/ 208 h 258"/>
                <a:gd name="T32" fmla="*/ 283 w 411"/>
                <a:gd name="T33" fmla="*/ 203 h 258"/>
                <a:gd name="T34" fmla="*/ 228 w 411"/>
                <a:gd name="T35" fmla="*/ 207 h 258"/>
                <a:gd name="T36" fmla="*/ 274 w 411"/>
                <a:gd name="T37" fmla="*/ 200 h 258"/>
                <a:gd name="T38" fmla="*/ 334 w 411"/>
                <a:gd name="T39" fmla="*/ 171 h 258"/>
                <a:gd name="T40" fmla="*/ 350 w 411"/>
                <a:gd name="T41" fmla="*/ 174 h 258"/>
                <a:gd name="T42" fmla="*/ 375 w 411"/>
                <a:gd name="T43" fmla="*/ 191 h 258"/>
                <a:gd name="T44" fmla="*/ 375 w 411"/>
                <a:gd name="T45" fmla="*/ 217 h 258"/>
                <a:gd name="T46" fmla="*/ 355 w 411"/>
                <a:gd name="T47" fmla="*/ 243 h 258"/>
                <a:gd name="T48" fmla="*/ 343 w 411"/>
                <a:gd name="T49" fmla="*/ 246 h 258"/>
                <a:gd name="T50" fmla="*/ 322 w 411"/>
                <a:gd name="T51" fmla="*/ 232 h 258"/>
                <a:gd name="T52" fmla="*/ 295 w 411"/>
                <a:gd name="T53" fmla="*/ 246 h 258"/>
                <a:gd name="T54" fmla="*/ 292 w 411"/>
                <a:gd name="T55" fmla="*/ 214 h 258"/>
                <a:gd name="T56" fmla="*/ 298 w 411"/>
                <a:gd name="T57" fmla="*/ 196 h 258"/>
                <a:gd name="T58" fmla="*/ 302 w 411"/>
                <a:gd name="T59" fmla="*/ 174 h 258"/>
                <a:gd name="T60" fmla="*/ 411 w 411"/>
                <a:gd name="T61" fmla="*/ 162 h 258"/>
                <a:gd name="T62" fmla="*/ 80 w 411"/>
                <a:gd name="T63" fmla="*/ 152 h 258"/>
                <a:gd name="T64" fmla="*/ 112 w 411"/>
                <a:gd name="T65" fmla="*/ 55 h 258"/>
                <a:gd name="T66" fmla="*/ 117 w 411"/>
                <a:gd name="T67" fmla="*/ 73 h 258"/>
                <a:gd name="T68" fmla="*/ 124 w 411"/>
                <a:gd name="T69" fmla="*/ 99 h 258"/>
                <a:gd name="T70" fmla="*/ 134 w 411"/>
                <a:gd name="T71" fmla="*/ 142 h 258"/>
                <a:gd name="T72" fmla="*/ 174 w 411"/>
                <a:gd name="T73" fmla="*/ 164 h 258"/>
                <a:gd name="T74" fmla="*/ 203 w 411"/>
                <a:gd name="T75" fmla="*/ 171 h 258"/>
                <a:gd name="T76" fmla="*/ 181 w 411"/>
                <a:gd name="T77" fmla="*/ 202 h 258"/>
                <a:gd name="T78" fmla="*/ 193 w 411"/>
                <a:gd name="T79" fmla="*/ 226 h 258"/>
                <a:gd name="T80" fmla="*/ 172 w 411"/>
                <a:gd name="T81" fmla="*/ 232 h 258"/>
                <a:gd name="T82" fmla="*/ 157 w 411"/>
                <a:gd name="T83" fmla="*/ 219 h 258"/>
                <a:gd name="T84" fmla="*/ 117 w 411"/>
                <a:gd name="T85" fmla="*/ 203 h 258"/>
                <a:gd name="T86" fmla="*/ 92 w 411"/>
                <a:gd name="T87" fmla="*/ 179 h 258"/>
                <a:gd name="T88" fmla="*/ 82 w 411"/>
                <a:gd name="T89" fmla="*/ 145 h 258"/>
                <a:gd name="T90" fmla="*/ 58 w 411"/>
                <a:gd name="T91" fmla="*/ 116 h 258"/>
                <a:gd name="T92" fmla="*/ 32 w 411"/>
                <a:gd name="T93" fmla="*/ 118 h 258"/>
                <a:gd name="T94" fmla="*/ 1 w 411"/>
                <a:gd name="T95" fmla="*/ 111 h 258"/>
                <a:gd name="T96" fmla="*/ 22 w 411"/>
                <a:gd name="T97" fmla="*/ 87 h 258"/>
                <a:gd name="T98" fmla="*/ 25 w 411"/>
                <a:gd name="T99" fmla="*/ 67 h 258"/>
                <a:gd name="T100" fmla="*/ 42 w 411"/>
                <a:gd name="T101" fmla="*/ 50 h 258"/>
                <a:gd name="T102" fmla="*/ 63 w 411"/>
                <a:gd name="T103" fmla="*/ 60 h 258"/>
                <a:gd name="T104" fmla="*/ 75 w 411"/>
                <a:gd name="T105" fmla="*/ 77 h 258"/>
                <a:gd name="T106" fmla="*/ 78 w 411"/>
                <a:gd name="T107" fmla="*/ 70 h 258"/>
                <a:gd name="T108" fmla="*/ 75 w 411"/>
                <a:gd name="T109" fmla="*/ 56 h 258"/>
                <a:gd name="T110" fmla="*/ 92 w 411"/>
                <a:gd name="T111" fmla="*/ 43 h 258"/>
                <a:gd name="T112" fmla="*/ 20 w 411"/>
                <a:gd name="T11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258">
                  <a:moveTo>
                    <a:pt x="391" y="256"/>
                  </a:moveTo>
                  <a:lnTo>
                    <a:pt x="392" y="256"/>
                  </a:lnTo>
                  <a:lnTo>
                    <a:pt x="392" y="258"/>
                  </a:lnTo>
                  <a:lnTo>
                    <a:pt x="391" y="258"/>
                  </a:lnTo>
                  <a:lnTo>
                    <a:pt x="391" y="256"/>
                  </a:lnTo>
                  <a:close/>
                  <a:moveTo>
                    <a:pt x="391" y="251"/>
                  </a:moveTo>
                  <a:lnTo>
                    <a:pt x="392" y="251"/>
                  </a:lnTo>
                  <a:lnTo>
                    <a:pt x="392" y="253"/>
                  </a:lnTo>
                  <a:lnTo>
                    <a:pt x="391" y="253"/>
                  </a:lnTo>
                  <a:lnTo>
                    <a:pt x="391" y="251"/>
                  </a:lnTo>
                  <a:close/>
                  <a:moveTo>
                    <a:pt x="379" y="248"/>
                  </a:moveTo>
                  <a:lnTo>
                    <a:pt x="380" y="248"/>
                  </a:lnTo>
                  <a:lnTo>
                    <a:pt x="380" y="249"/>
                  </a:lnTo>
                  <a:lnTo>
                    <a:pt x="379" y="249"/>
                  </a:lnTo>
                  <a:lnTo>
                    <a:pt x="379" y="248"/>
                  </a:lnTo>
                  <a:close/>
                  <a:moveTo>
                    <a:pt x="368" y="246"/>
                  </a:moveTo>
                  <a:lnTo>
                    <a:pt x="370" y="246"/>
                  </a:lnTo>
                  <a:lnTo>
                    <a:pt x="370" y="248"/>
                  </a:lnTo>
                  <a:lnTo>
                    <a:pt x="368" y="248"/>
                  </a:lnTo>
                  <a:lnTo>
                    <a:pt x="368" y="246"/>
                  </a:lnTo>
                  <a:close/>
                  <a:moveTo>
                    <a:pt x="290" y="246"/>
                  </a:moveTo>
                  <a:lnTo>
                    <a:pt x="292" y="246"/>
                  </a:lnTo>
                  <a:lnTo>
                    <a:pt x="292" y="248"/>
                  </a:lnTo>
                  <a:lnTo>
                    <a:pt x="288" y="253"/>
                  </a:lnTo>
                  <a:lnTo>
                    <a:pt x="288" y="246"/>
                  </a:lnTo>
                  <a:lnTo>
                    <a:pt x="290" y="246"/>
                  </a:lnTo>
                  <a:close/>
                  <a:moveTo>
                    <a:pt x="326" y="234"/>
                  </a:moveTo>
                  <a:lnTo>
                    <a:pt x="329" y="234"/>
                  </a:lnTo>
                  <a:lnTo>
                    <a:pt x="329" y="237"/>
                  </a:lnTo>
                  <a:lnTo>
                    <a:pt x="326" y="237"/>
                  </a:lnTo>
                  <a:lnTo>
                    <a:pt x="326" y="234"/>
                  </a:lnTo>
                  <a:close/>
                  <a:moveTo>
                    <a:pt x="377" y="227"/>
                  </a:moveTo>
                  <a:lnTo>
                    <a:pt x="379" y="229"/>
                  </a:lnTo>
                  <a:lnTo>
                    <a:pt x="375" y="231"/>
                  </a:lnTo>
                  <a:lnTo>
                    <a:pt x="373" y="229"/>
                  </a:lnTo>
                  <a:lnTo>
                    <a:pt x="377" y="227"/>
                  </a:lnTo>
                  <a:close/>
                  <a:moveTo>
                    <a:pt x="285" y="226"/>
                  </a:moveTo>
                  <a:lnTo>
                    <a:pt x="286" y="226"/>
                  </a:lnTo>
                  <a:lnTo>
                    <a:pt x="286" y="229"/>
                  </a:lnTo>
                  <a:lnTo>
                    <a:pt x="285" y="229"/>
                  </a:lnTo>
                  <a:lnTo>
                    <a:pt x="285" y="226"/>
                  </a:lnTo>
                  <a:close/>
                  <a:moveTo>
                    <a:pt x="285" y="222"/>
                  </a:moveTo>
                  <a:lnTo>
                    <a:pt x="286" y="222"/>
                  </a:lnTo>
                  <a:lnTo>
                    <a:pt x="286" y="224"/>
                  </a:lnTo>
                  <a:lnTo>
                    <a:pt x="285" y="224"/>
                  </a:lnTo>
                  <a:lnTo>
                    <a:pt x="285" y="222"/>
                  </a:lnTo>
                  <a:close/>
                  <a:moveTo>
                    <a:pt x="189" y="219"/>
                  </a:moveTo>
                  <a:lnTo>
                    <a:pt x="191" y="219"/>
                  </a:lnTo>
                  <a:lnTo>
                    <a:pt x="191" y="220"/>
                  </a:lnTo>
                  <a:lnTo>
                    <a:pt x="189" y="220"/>
                  </a:lnTo>
                  <a:lnTo>
                    <a:pt x="189" y="219"/>
                  </a:lnTo>
                  <a:close/>
                  <a:moveTo>
                    <a:pt x="286" y="219"/>
                  </a:moveTo>
                  <a:lnTo>
                    <a:pt x="286" y="222"/>
                  </a:lnTo>
                  <a:lnTo>
                    <a:pt x="286" y="219"/>
                  </a:lnTo>
                  <a:close/>
                  <a:moveTo>
                    <a:pt x="288" y="222"/>
                  </a:moveTo>
                  <a:lnTo>
                    <a:pt x="288" y="219"/>
                  </a:lnTo>
                  <a:lnTo>
                    <a:pt x="290" y="219"/>
                  </a:lnTo>
                  <a:lnTo>
                    <a:pt x="288" y="222"/>
                  </a:lnTo>
                  <a:close/>
                  <a:moveTo>
                    <a:pt x="286" y="214"/>
                  </a:moveTo>
                  <a:lnTo>
                    <a:pt x="288" y="214"/>
                  </a:lnTo>
                  <a:lnTo>
                    <a:pt x="288" y="217"/>
                  </a:lnTo>
                  <a:lnTo>
                    <a:pt x="286" y="217"/>
                  </a:lnTo>
                  <a:lnTo>
                    <a:pt x="286" y="214"/>
                  </a:lnTo>
                  <a:close/>
                  <a:moveTo>
                    <a:pt x="281" y="214"/>
                  </a:moveTo>
                  <a:lnTo>
                    <a:pt x="281" y="219"/>
                  </a:lnTo>
                  <a:lnTo>
                    <a:pt x="278" y="220"/>
                  </a:lnTo>
                  <a:lnTo>
                    <a:pt x="276" y="215"/>
                  </a:lnTo>
                  <a:lnTo>
                    <a:pt x="281" y="214"/>
                  </a:lnTo>
                  <a:close/>
                  <a:moveTo>
                    <a:pt x="283" y="212"/>
                  </a:moveTo>
                  <a:lnTo>
                    <a:pt x="285" y="212"/>
                  </a:lnTo>
                  <a:lnTo>
                    <a:pt x="285" y="215"/>
                  </a:lnTo>
                  <a:lnTo>
                    <a:pt x="283" y="215"/>
                  </a:lnTo>
                  <a:lnTo>
                    <a:pt x="283" y="212"/>
                  </a:lnTo>
                  <a:close/>
                  <a:moveTo>
                    <a:pt x="204" y="210"/>
                  </a:moveTo>
                  <a:lnTo>
                    <a:pt x="208" y="212"/>
                  </a:lnTo>
                  <a:lnTo>
                    <a:pt x="215" y="215"/>
                  </a:lnTo>
                  <a:lnTo>
                    <a:pt x="211" y="224"/>
                  </a:lnTo>
                  <a:lnTo>
                    <a:pt x="213" y="226"/>
                  </a:lnTo>
                  <a:lnTo>
                    <a:pt x="204" y="226"/>
                  </a:lnTo>
                  <a:lnTo>
                    <a:pt x="198" y="222"/>
                  </a:lnTo>
                  <a:lnTo>
                    <a:pt x="191" y="219"/>
                  </a:lnTo>
                  <a:lnTo>
                    <a:pt x="194" y="214"/>
                  </a:lnTo>
                  <a:lnTo>
                    <a:pt x="201" y="208"/>
                  </a:lnTo>
                  <a:lnTo>
                    <a:pt x="204" y="210"/>
                  </a:lnTo>
                  <a:close/>
                  <a:moveTo>
                    <a:pt x="194" y="207"/>
                  </a:moveTo>
                  <a:lnTo>
                    <a:pt x="196" y="208"/>
                  </a:lnTo>
                  <a:lnTo>
                    <a:pt x="193" y="210"/>
                  </a:lnTo>
                  <a:lnTo>
                    <a:pt x="193" y="208"/>
                  </a:lnTo>
                  <a:lnTo>
                    <a:pt x="194" y="205"/>
                  </a:lnTo>
                  <a:lnTo>
                    <a:pt x="194" y="207"/>
                  </a:lnTo>
                  <a:close/>
                  <a:moveTo>
                    <a:pt x="286" y="203"/>
                  </a:moveTo>
                  <a:lnTo>
                    <a:pt x="285" y="207"/>
                  </a:lnTo>
                  <a:lnTo>
                    <a:pt x="283" y="205"/>
                  </a:lnTo>
                  <a:lnTo>
                    <a:pt x="286" y="203"/>
                  </a:lnTo>
                  <a:close/>
                  <a:moveTo>
                    <a:pt x="204" y="203"/>
                  </a:moveTo>
                  <a:lnTo>
                    <a:pt x="208" y="203"/>
                  </a:lnTo>
                  <a:lnTo>
                    <a:pt x="208" y="205"/>
                  </a:lnTo>
                  <a:lnTo>
                    <a:pt x="204" y="205"/>
                  </a:lnTo>
                  <a:lnTo>
                    <a:pt x="204" y="203"/>
                  </a:lnTo>
                  <a:close/>
                  <a:moveTo>
                    <a:pt x="281" y="200"/>
                  </a:moveTo>
                  <a:lnTo>
                    <a:pt x="283" y="203"/>
                  </a:lnTo>
                  <a:lnTo>
                    <a:pt x="281" y="203"/>
                  </a:lnTo>
                  <a:lnTo>
                    <a:pt x="285" y="203"/>
                  </a:lnTo>
                  <a:lnTo>
                    <a:pt x="281" y="210"/>
                  </a:lnTo>
                  <a:lnTo>
                    <a:pt x="278" y="212"/>
                  </a:lnTo>
                  <a:lnTo>
                    <a:pt x="278" y="214"/>
                  </a:lnTo>
                  <a:lnTo>
                    <a:pt x="274" y="212"/>
                  </a:lnTo>
                  <a:lnTo>
                    <a:pt x="276" y="214"/>
                  </a:lnTo>
                  <a:lnTo>
                    <a:pt x="274" y="215"/>
                  </a:lnTo>
                  <a:lnTo>
                    <a:pt x="268" y="208"/>
                  </a:lnTo>
                  <a:lnTo>
                    <a:pt x="266" y="208"/>
                  </a:lnTo>
                  <a:lnTo>
                    <a:pt x="269" y="208"/>
                  </a:lnTo>
                  <a:lnTo>
                    <a:pt x="269" y="207"/>
                  </a:lnTo>
                  <a:lnTo>
                    <a:pt x="271" y="203"/>
                  </a:lnTo>
                  <a:lnTo>
                    <a:pt x="281" y="200"/>
                  </a:lnTo>
                  <a:close/>
                  <a:moveTo>
                    <a:pt x="283" y="200"/>
                  </a:moveTo>
                  <a:lnTo>
                    <a:pt x="286" y="200"/>
                  </a:lnTo>
                  <a:lnTo>
                    <a:pt x="286" y="203"/>
                  </a:lnTo>
                  <a:lnTo>
                    <a:pt x="283" y="203"/>
                  </a:lnTo>
                  <a:lnTo>
                    <a:pt x="283" y="200"/>
                  </a:lnTo>
                  <a:close/>
                  <a:moveTo>
                    <a:pt x="233" y="203"/>
                  </a:moveTo>
                  <a:lnTo>
                    <a:pt x="235" y="203"/>
                  </a:lnTo>
                  <a:lnTo>
                    <a:pt x="237" y="205"/>
                  </a:lnTo>
                  <a:lnTo>
                    <a:pt x="235" y="212"/>
                  </a:lnTo>
                  <a:lnTo>
                    <a:pt x="232" y="210"/>
                  </a:lnTo>
                  <a:lnTo>
                    <a:pt x="228" y="207"/>
                  </a:lnTo>
                  <a:lnTo>
                    <a:pt x="232" y="200"/>
                  </a:lnTo>
                  <a:lnTo>
                    <a:pt x="233" y="203"/>
                  </a:lnTo>
                  <a:close/>
                  <a:moveTo>
                    <a:pt x="276" y="196"/>
                  </a:moveTo>
                  <a:lnTo>
                    <a:pt x="278" y="200"/>
                  </a:lnTo>
                  <a:lnTo>
                    <a:pt x="274" y="202"/>
                  </a:lnTo>
                  <a:lnTo>
                    <a:pt x="269" y="200"/>
                  </a:lnTo>
                  <a:lnTo>
                    <a:pt x="274" y="200"/>
                  </a:lnTo>
                  <a:lnTo>
                    <a:pt x="271" y="198"/>
                  </a:lnTo>
                  <a:lnTo>
                    <a:pt x="276" y="196"/>
                  </a:lnTo>
                  <a:close/>
                  <a:moveTo>
                    <a:pt x="324" y="166"/>
                  </a:moveTo>
                  <a:lnTo>
                    <a:pt x="326" y="166"/>
                  </a:lnTo>
                  <a:lnTo>
                    <a:pt x="326" y="169"/>
                  </a:lnTo>
                  <a:lnTo>
                    <a:pt x="333" y="171"/>
                  </a:lnTo>
                  <a:lnTo>
                    <a:pt x="334" y="171"/>
                  </a:lnTo>
                  <a:lnTo>
                    <a:pt x="336" y="169"/>
                  </a:lnTo>
                  <a:lnTo>
                    <a:pt x="346" y="171"/>
                  </a:lnTo>
                  <a:lnTo>
                    <a:pt x="348" y="174"/>
                  </a:lnTo>
                  <a:lnTo>
                    <a:pt x="346" y="176"/>
                  </a:lnTo>
                  <a:lnTo>
                    <a:pt x="350" y="178"/>
                  </a:lnTo>
                  <a:lnTo>
                    <a:pt x="348" y="181"/>
                  </a:lnTo>
                  <a:lnTo>
                    <a:pt x="350" y="174"/>
                  </a:lnTo>
                  <a:lnTo>
                    <a:pt x="356" y="174"/>
                  </a:lnTo>
                  <a:lnTo>
                    <a:pt x="363" y="181"/>
                  </a:lnTo>
                  <a:lnTo>
                    <a:pt x="363" y="183"/>
                  </a:lnTo>
                  <a:lnTo>
                    <a:pt x="365" y="185"/>
                  </a:lnTo>
                  <a:lnTo>
                    <a:pt x="367" y="183"/>
                  </a:lnTo>
                  <a:lnTo>
                    <a:pt x="368" y="183"/>
                  </a:lnTo>
                  <a:lnTo>
                    <a:pt x="375" y="191"/>
                  </a:lnTo>
                  <a:lnTo>
                    <a:pt x="377" y="191"/>
                  </a:lnTo>
                  <a:lnTo>
                    <a:pt x="377" y="195"/>
                  </a:lnTo>
                  <a:lnTo>
                    <a:pt x="380" y="203"/>
                  </a:lnTo>
                  <a:lnTo>
                    <a:pt x="380" y="205"/>
                  </a:lnTo>
                  <a:lnTo>
                    <a:pt x="380" y="207"/>
                  </a:lnTo>
                  <a:lnTo>
                    <a:pt x="375" y="212"/>
                  </a:lnTo>
                  <a:lnTo>
                    <a:pt x="375" y="217"/>
                  </a:lnTo>
                  <a:lnTo>
                    <a:pt x="370" y="224"/>
                  </a:lnTo>
                  <a:lnTo>
                    <a:pt x="372" y="231"/>
                  </a:lnTo>
                  <a:lnTo>
                    <a:pt x="367" y="236"/>
                  </a:lnTo>
                  <a:lnTo>
                    <a:pt x="370" y="239"/>
                  </a:lnTo>
                  <a:lnTo>
                    <a:pt x="368" y="239"/>
                  </a:lnTo>
                  <a:lnTo>
                    <a:pt x="363" y="243"/>
                  </a:lnTo>
                  <a:lnTo>
                    <a:pt x="355" y="243"/>
                  </a:lnTo>
                  <a:lnTo>
                    <a:pt x="353" y="244"/>
                  </a:lnTo>
                  <a:lnTo>
                    <a:pt x="356" y="248"/>
                  </a:lnTo>
                  <a:lnTo>
                    <a:pt x="355" y="251"/>
                  </a:lnTo>
                  <a:lnTo>
                    <a:pt x="348" y="251"/>
                  </a:lnTo>
                  <a:lnTo>
                    <a:pt x="344" y="255"/>
                  </a:lnTo>
                  <a:lnTo>
                    <a:pt x="341" y="251"/>
                  </a:lnTo>
                  <a:lnTo>
                    <a:pt x="343" y="246"/>
                  </a:lnTo>
                  <a:lnTo>
                    <a:pt x="341" y="243"/>
                  </a:lnTo>
                  <a:lnTo>
                    <a:pt x="338" y="241"/>
                  </a:lnTo>
                  <a:lnTo>
                    <a:pt x="338" y="237"/>
                  </a:lnTo>
                  <a:lnTo>
                    <a:pt x="333" y="236"/>
                  </a:lnTo>
                  <a:lnTo>
                    <a:pt x="333" y="234"/>
                  </a:lnTo>
                  <a:lnTo>
                    <a:pt x="329" y="229"/>
                  </a:lnTo>
                  <a:lnTo>
                    <a:pt x="322" y="232"/>
                  </a:lnTo>
                  <a:lnTo>
                    <a:pt x="327" y="236"/>
                  </a:lnTo>
                  <a:lnTo>
                    <a:pt x="326" y="243"/>
                  </a:lnTo>
                  <a:lnTo>
                    <a:pt x="315" y="246"/>
                  </a:lnTo>
                  <a:lnTo>
                    <a:pt x="310" y="246"/>
                  </a:lnTo>
                  <a:lnTo>
                    <a:pt x="302" y="251"/>
                  </a:lnTo>
                  <a:lnTo>
                    <a:pt x="298" y="251"/>
                  </a:lnTo>
                  <a:lnTo>
                    <a:pt x="295" y="246"/>
                  </a:lnTo>
                  <a:lnTo>
                    <a:pt x="302" y="239"/>
                  </a:lnTo>
                  <a:lnTo>
                    <a:pt x="295" y="232"/>
                  </a:lnTo>
                  <a:lnTo>
                    <a:pt x="295" y="227"/>
                  </a:lnTo>
                  <a:lnTo>
                    <a:pt x="293" y="222"/>
                  </a:lnTo>
                  <a:lnTo>
                    <a:pt x="297" y="219"/>
                  </a:lnTo>
                  <a:lnTo>
                    <a:pt x="300" y="212"/>
                  </a:lnTo>
                  <a:lnTo>
                    <a:pt x="292" y="214"/>
                  </a:lnTo>
                  <a:lnTo>
                    <a:pt x="290" y="214"/>
                  </a:lnTo>
                  <a:lnTo>
                    <a:pt x="288" y="212"/>
                  </a:lnTo>
                  <a:lnTo>
                    <a:pt x="295" y="208"/>
                  </a:lnTo>
                  <a:lnTo>
                    <a:pt x="297" y="205"/>
                  </a:lnTo>
                  <a:lnTo>
                    <a:pt x="297" y="200"/>
                  </a:lnTo>
                  <a:lnTo>
                    <a:pt x="295" y="198"/>
                  </a:lnTo>
                  <a:lnTo>
                    <a:pt x="298" y="196"/>
                  </a:lnTo>
                  <a:lnTo>
                    <a:pt x="298" y="195"/>
                  </a:lnTo>
                  <a:lnTo>
                    <a:pt x="298" y="193"/>
                  </a:lnTo>
                  <a:lnTo>
                    <a:pt x="302" y="191"/>
                  </a:lnTo>
                  <a:lnTo>
                    <a:pt x="300" y="188"/>
                  </a:lnTo>
                  <a:lnTo>
                    <a:pt x="298" y="186"/>
                  </a:lnTo>
                  <a:lnTo>
                    <a:pt x="303" y="178"/>
                  </a:lnTo>
                  <a:lnTo>
                    <a:pt x="302" y="174"/>
                  </a:lnTo>
                  <a:lnTo>
                    <a:pt x="305" y="169"/>
                  </a:lnTo>
                  <a:lnTo>
                    <a:pt x="309" y="169"/>
                  </a:lnTo>
                  <a:lnTo>
                    <a:pt x="312" y="167"/>
                  </a:lnTo>
                  <a:lnTo>
                    <a:pt x="317" y="169"/>
                  </a:lnTo>
                  <a:lnTo>
                    <a:pt x="324" y="166"/>
                  </a:lnTo>
                  <a:close/>
                  <a:moveTo>
                    <a:pt x="409" y="162"/>
                  </a:moveTo>
                  <a:lnTo>
                    <a:pt x="411" y="162"/>
                  </a:lnTo>
                  <a:lnTo>
                    <a:pt x="411" y="164"/>
                  </a:lnTo>
                  <a:lnTo>
                    <a:pt x="409" y="164"/>
                  </a:lnTo>
                  <a:lnTo>
                    <a:pt x="409" y="162"/>
                  </a:lnTo>
                  <a:close/>
                  <a:moveTo>
                    <a:pt x="80" y="150"/>
                  </a:moveTo>
                  <a:lnTo>
                    <a:pt x="83" y="150"/>
                  </a:lnTo>
                  <a:lnTo>
                    <a:pt x="83" y="152"/>
                  </a:lnTo>
                  <a:lnTo>
                    <a:pt x="80" y="152"/>
                  </a:lnTo>
                  <a:lnTo>
                    <a:pt x="80" y="150"/>
                  </a:lnTo>
                  <a:close/>
                  <a:moveTo>
                    <a:pt x="97" y="43"/>
                  </a:moveTo>
                  <a:lnTo>
                    <a:pt x="95" y="46"/>
                  </a:lnTo>
                  <a:lnTo>
                    <a:pt x="97" y="48"/>
                  </a:lnTo>
                  <a:lnTo>
                    <a:pt x="100" y="50"/>
                  </a:lnTo>
                  <a:lnTo>
                    <a:pt x="104" y="48"/>
                  </a:lnTo>
                  <a:lnTo>
                    <a:pt x="112" y="55"/>
                  </a:lnTo>
                  <a:lnTo>
                    <a:pt x="112" y="56"/>
                  </a:lnTo>
                  <a:lnTo>
                    <a:pt x="111" y="56"/>
                  </a:lnTo>
                  <a:lnTo>
                    <a:pt x="109" y="58"/>
                  </a:lnTo>
                  <a:lnTo>
                    <a:pt x="109" y="63"/>
                  </a:lnTo>
                  <a:lnTo>
                    <a:pt x="114" y="68"/>
                  </a:lnTo>
                  <a:lnTo>
                    <a:pt x="116" y="72"/>
                  </a:lnTo>
                  <a:lnTo>
                    <a:pt x="117" y="73"/>
                  </a:lnTo>
                  <a:lnTo>
                    <a:pt x="119" y="77"/>
                  </a:lnTo>
                  <a:lnTo>
                    <a:pt x="123" y="79"/>
                  </a:lnTo>
                  <a:lnTo>
                    <a:pt x="121" y="80"/>
                  </a:lnTo>
                  <a:lnTo>
                    <a:pt x="123" y="85"/>
                  </a:lnTo>
                  <a:lnTo>
                    <a:pt x="128" y="89"/>
                  </a:lnTo>
                  <a:lnTo>
                    <a:pt x="126" y="94"/>
                  </a:lnTo>
                  <a:lnTo>
                    <a:pt x="124" y="99"/>
                  </a:lnTo>
                  <a:lnTo>
                    <a:pt x="126" y="111"/>
                  </a:lnTo>
                  <a:lnTo>
                    <a:pt x="124" y="113"/>
                  </a:lnTo>
                  <a:lnTo>
                    <a:pt x="128" y="118"/>
                  </a:lnTo>
                  <a:lnTo>
                    <a:pt x="128" y="120"/>
                  </a:lnTo>
                  <a:lnTo>
                    <a:pt x="131" y="125"/>
                  </a:lnTo>
                  <a:lnTo>
                    <a:pt x="133" y="133"/>
                  </a:lnTo>
                  <a:lnTo>
                    <a:pt x="134" y="142"/>
                  </a:lnTo>
                  <a:lnTo>
                    <a:pt x="136" y="144"/>
                  </a:lnTo>
                  <a:lnTo>
                    <a:pt x="141" y="152"/>
                  </a:lnTo>
                  <a:lnTo>
                    <a:pt x="146" y="157"/>
                  </a:lnTo>
                  <a:lnTo>
                    <a:pt x="152" y="159"/>
                  </a:lnTo>
                  <a:lnTo>
                    <a:pt x="160" y="159"/>
                  </a:lnTo>
                  <a:lnTo>
                    <a:pt x="165" y="162"/>
                  </a:lnTo>
                  <a:lnTo>
                    <a:pt x="174" y="164"/>
                  </a:lnTo>
                  <a:lnTo>
                    <a:pt x="181" y="166"/>
                  </a:lnTo>
                  <a:lnTo>
                    <a:pt x="189" y="167"/>
                  </a:lnTo>
                  <a:lnTo>
                    <a:pt x="196" y="169"/>
                  </a:lnTo>
                  <a:lnTo>
                    <a:pt x="206" y="171"/>
                  </a:lnTo>
                  <a:lnTo>
                    <a:pt x="208" y="171"/>
                  </a:lnTo>
                  <a:lnTo>
                    <a:pt x="206" y="173"/>
                  </a:lnTo>
                  <a:lnTo>
                    <a:pt x="203" y="171"/>
                  </a:lnTo>
                  <a:lnTo>
                    <a:pt x="198" y="174"/>
                  </a:lnTo>
                  <a:lnTo>
                    <a:pt x="196" y="174"/>
                  </a:lnTo>
                  <a:lnTo>
                    <a:pt x="191" y="179"/>
                  </a:lnTo>
                  <a:lnTo>
                    <a:pt x="189" y="183"/>
                  </a:lnTo>
                  <a:lnTo>
                    <a:pt x="186" y="188"/>
                  </a:lnTo>
                  <a:lnTo>
                    <a:pt x="182" y="196"/>
                  </a:lnTo>
                  <a:lnTo>
                    <a:pt x="181" y="202"/>
                  </a:lnTo>
                  <a:lnTo>
                    <a:pt x="179" y="205"/>
                  </a:lnTo>
                  <a:lnTo>
                    <a:pt x="177" y="210"/>
                  </a:lnTo>
                  <a:lnTo>
                    <a:pt x="179" y="217"/>
                  </a:lnTo>
                  <a:lnTo>
                    <a:pt x="187" y="219"/>
                  </a:lnTo>
                  <a:lnTo>
                    <a:pt x="189" y="222"/>
                  </a:lnTo>
                  <a:lnTo>
                    <a:pt x="194" y="222"/>
                  </a:lnTo>
                  <a:lnTo>
                    <a:pt x="193" y="226"/>
                  </a:lnTo>
                  <a:lnTo>
                    <a:pt x="194" y="229"/>
                  </a:lnTo>
                  <a:lnTo>
                    <a:pt x="194" y="232"/>
                  </a:lnTo>
                  <a:lnTo>
                    <a:pt x="184" y="234"/>
                  </a:lnTo>
                  <a:lnTo>
                    <a:pt x="184" y="232"/>
                  </a:lnTo>
                  <a:lnTo>
                    <a:pt x="179" y="232"/>
                  </a:lnTo>
                  <a:lnTo>
                    <a:pt x="175" y="231"/>
                  </a:lnTo>
                  <a:lnTo>
                    <a:pt x="172" y="232"/>
                  </a:lnTo>
                  <a:lnTo>
                    <a:pt x="172" y="236"/>
                  </a:lnTo>
                  <a:lnTo>
                    <a:pt x="170" y="234"/>
                  </a:lnTo>
                  <a:lnTo>
                    <a:pt x="167" y="236"/>
                  </a:lnTo>
                  <a:lnTo>
                    <a:pt x="165" y="232"/>
                  </a:lnTo>
                  <a:lnTo>
                    <a:pt x="165" y="229"/>
                  </a:lnTo>
                  <a:lnTo>
                    <a:pt x="158" y="224"/>
                  </a:lnTo>
                  <a:lnTo>
                    <a:pt x="157" y="219"/>
                  </a:lnTo>
                  <a:lnTo>
                    <a:pt x="146" y="219"/>
                  </a:lnTo>
                  <a:lnTo>
                    <a:pt x="145" y="214"/>
                  </a:lnTo>
                  <a:lnTo>
                    <a:pt x="140" y="210"/>
                  </a:lnTo>
                  <a:lnTo>
                    <a:pt x="134" y="210"/>
                  </a:lnTo>
                  <a:lnTo>
                    <a:pt x="128" y="207"/>
                  </a:lnTo>
                  <a:lnTo>
                    <a:pt x="123" y="207"/>
                  </a:lnTo>
                  <a:lnTo>
                    <a:pt x="117" y="203"/>
                  </a:lnTo>
                  <a:lnTo>
                    <a:pt x="111" y="202"/>
                  </a:lnTo>
                  <a:lnTo>
                    <a:pt x="104" y="200"/>
                  </a:lnTo>
                  <a:lnTo>
                    <a:pt x="100" y="200"/>
                  </a:lnTo>
                  <a:lnTo>
                    <a:pt x="100" y="196"/>
                  </a:lnTo>
                  <a:lnTo>
                    <a:pt x="97" y="191"/>
                  </a:lnTo>
                  <a:lnTo>
                    <a:pt x="94" y="181"/>
                  </a:lnTo>
                  <a:lnTo>
                    <a:pt x="92" y="179"/>
                  </a:lnTo>
                  <a:lnTo>
                    <a:pt x="94" y="174"/>
                  </a:lnTo>
                  <a:lnTo>
                    <a:pt x="94" y="173"/>
                  </a:lnTo>
                  <a:lnTo>
                    <a:pt x="99" y="166"/>
                  </a:lnTo>
                  <a:lnTo>
                    <a:pt x="99" y="159"/>
                  </a:lnTo>
                  <a:lnTo>
                    <a:pt x="92" y="154"/>
                  </a:lnTo>
                  <a:lnTo>
                    <a:pt x="87" y="152"/>
                  </a:lnTo>
                  <a:lnTo>
                    <a:pt x="82" y="145"/>
                  </a:lnTo>
                  <a:lnTo>
                    <a:pt x="85" y="138"/>
                  </a:lnTo>
                  <a:lnTo>
                    <a:pt x="80" y="132"/>
                  </a:lnTo>
                  <a:lnTo>
                    <a:pt x="82" y="123"/>
                  </a:lnTo>
                  <a:lnTo>
                    <a:pt x="76" y="118"/>
                  </a:lnTo>
                  <a:lnTo>
                    <a:pt x="66" y="118"/>
                  </a:lnTo>
                  <a:lnTo>
                    <a:pt x="64" y="116"/>
                  </a:lnTo>
                  <a:lnTo>
                    <a:pt x="58" y="116"/>
                  </a:lnTo>
                  <a:lnTo>
                    <a:pt x="53" y="113"/>
                  </a:lnTo>
                  <a:lnTo>
                    <a:pt x="54" y="109"/>
                  </a:lnTo>
                  <a:lnTo>
                    <a:pt x="49" y="113"/>
                  </a:lnTo>
                  <a:lnTo>
                    <a:pt x="44" y="113"/>
                  </a:lnTo>
                  <a:lnTo>
                    <a:pt x="41" y="118"/>
                  </a:lnTo>
                  <a:lnTo>
                    <a:pt x="37" y="116"/>
                  </a:lnTo>
                  <a:lnTo>
                    <a:pt x="32" y="118"/>
                  </a:lnTo>
                  <a:lnTo>
                    <a:pt x="29" y="116"/>
                  </a:lnTo>
                  <a:lnTo>
                    <a:pt x="22" y="121"/>
                  </a:lnTo>
                  <a:lnTo>
                    <a:pt x="17" y="113"/>
                  </a:lnTo>
                  <a:lnTo>
                    <a:pt x="15" y="111"/>
                  </a:lnTo>
                  <a:lnTo>
                    <a:pt x="5" y="111"/>
                  </a:lnTo>
                  <a:lnTo>
                    <a:pt x="1" y="113"/>
                  </a:lnTo>
                  <a:lnTo>
                    <a:pt x="1" y="111"/>
                  </a:lnTo>
                  <a:lnTo>
                    <a:pt x="0" y="104"/>
                  </a:lnTo>
                  <a:lnTo>
                    <a:pt x="1" y="99"/>
                  </a:lnTo>
                  <a:lnTo>
                    <a:pt x="1" y="97"/>
                  </a:lnTo>
                  <a:lnTo>
                    <a:pt x="6" y="94"/>
                  </a:lnTo>
                  <a:lnTo>
                    <a:pt x="15" y="91"/>
                  </a:lnTo>
                  <a:lnTo>
                    <a:pt x="18" y="91"/>
                  </a:lnTo>
                  <a:lnTo>
                    <a:pt x="22" y="87"/>
                  </a:lnTo>
                  <a:lnTo>
                    <a:pt x="29" y="84"/>
                  </a:lnTo>
                  <a:lnTo>
                    <a:pt x="32" y="79"/>
                  </a:lnTo>
                  <a:lnTo>
                    <a:pt x="34" y="72"/>
                  </a:lnTo>
                  <a:lnTo>
                    <a:pt x="35" y="72"/>
                  </a:lnTo>
                  <a:lnTo>
                    <a:pt x="32" y="72"/>
                  </a:lnTo>
                  <a:lnTo>
                    <a:pt x="34" y="70"/>
                  </a:lnTo>
                  <a:lnTo>
                    <a:pt x="25" y="67"/>
                  </a:lnTo>
                  <a:lnTo>
                    <a:pt x="30" y="63"/>
                  </a:lnTo>
                  <a:lnTo>
                    <a:pt x="27" y="63"/>
                  </a:lnTo>
                  <a:lnTo>
                    <a:pt x="27" y="60"/>
                  </a:lnTo>
                  <a:lnTo>
                    <a:pt x="32" y="60"/>
                  </a:lnTo>
                  <a:lnTo>
                    <a:pt x="34" y="55"/>
                  </a:lnTo>
                  <a:lnTo>
                    <a:pt x="37" y="55"/>
                  </a:lnTo>
                  <a:lnTo>
                    <a:pt x="42" y="50"/>
                  </a:lnTo>
                  <a:lnTo>
                    <a:pt x="51" y="50"/>
                  </a:lnTo>
                  <a:lnTo>
                    <a:pt x="53" y="48"/>
                  </a:lnTo>
                  <a:lnTo>
                    <a:pt x="54" y="46"/>
                  </a:lnTo>
                  <a:lnTo>
                    <a:pt x="58" y="46"/>
                  </a:lnTo>
                  <a:lnTo>
                    <a:pt x="58" y="48"/>
                  </a:lnTo>
                  <a:lnTo>
                    <a:pt x="61" y="56"/>
                  </a:lnTo>
                  <a:lnTo>
                    <a:pt x="63" y="60"/>
                  </a:lnTo>
                  <a:lnTo>
                    <a:pt x="68" y="62"/>
                  </a:lnTo>
                  <a:lnTo>
                    <a:pt x="73" y="60"/>
                  </a:lnTo>
                  <a:lnTo>
                    <a:pt x="70" y="63"/>
                  </a:lnTo>
                  <a:lnTo>
                    <a:pt x="64" y="68"/>
                  </a:lnTo>
                  <a:lnTo>
                    <a:pt x="64" y="72"/>
                  </a:lnTo>
                  <a:lnTo>
                    <a:pt x="70" y="77"/>
                  </a:lnTo>
                  <a:lnTo>
                    <a:pt x="75" y="77"/>
                  </a:lnTo>
                  <a:lnTo>
                    <a:pt x="80" y="73"/>
                  </a:lnTo>
                  <a:lnTo>
                    <a:pt x="80" y="79"/>
                  </a:lnTo>
                  <a:lnTo>
                    <a:pt x="83" y="80"/>
                  </a:lnTo>
                  <a:lnTo>
                    <a:pt x="85" y="79"/>
                  </a:lnTo>
                  <a:lnTo>
                    <a:pt x="82" y="75"/>
                  </a:lnTo>
                  <a:lnTo>
                    <a:pt x="80" y="73"/>
                  </a:lnTo>
                  <a:lnTo>
                    <a:pt x="78" y="70"/>
                  </a:lnTo>
                  <a:lnTo>
                    <a:pt x="76" y="70"/>
                  </a:lnTo>
                  <a:lnTo>
                    <a:pt x="75" y="65"/>
                  </a:lnTo>
                  <a:lnTo>
                    <a:pt x="78" y="63"/>
                  </a:lnTo>
                  <a:lnTo>
                    <a:pt x="76" y="60"/>
                  </a:lnTo>
                  <a:lnTo>
                    <a:pt x="78" y="60"/>
                  </a:lnTo>
                  <a:lnTo>
                    <a:pt x="75" y="58"/>
                  </a:lnTo>
                  <a:lnTo>
                    <a:pt x="75" y="56"/>
                  </a:lnTo>
                  <a:lnTo>
                    <a:pt x="73" y="53"/>
                  </a:lnTo>
                  <a:lnTo>
                    <a:pt x="73" y="48"/>
                  </a:lnTo>
                  <a:lnTo>
                    <a:pt x="71" y="46"/>
                  </a:lnTo>
                  <a:lnTo>
                    <a:pt x="76" y="46"/>
                  </a:lnTo>
                  <a:lnTo>
                    <a:pt x="82" y="46"/>
                  </a:lnTo>
                  <a:lnTo>
                    <a:pt x="92" y="44"/>
                  </a:lnTo>
                  <a:lnTo>
                    <a:pt x="92" y="43"/>
                  </a:lnTo>
                  <a:lnTo>
                    <a:pt x="97" y="43"/>
                  </a:lnTo>
                  <a:close/>
                  <a:moveTo>
                    <a:pt x="17" y="7"/>
                  </a:moveTo>
                  <a:lnTo>
                    <a:pt x="18" y="7"/>
                  </a:lnTo>
                  <a:lnTo>
                    <a:pt x="18" y="9"/>
                  </a:lnTo>
                  <a:lnTo>
                    <a:pt x="17" y="9"/>
                  </a:lnTo>
                  <a:lnTo>
                    <a:pt x="17" y="7"/>
                  </a:lnTo>
                  <a:close/>
                  <a:moveTo>
                    <a:pt x="20" y="0"/>
                  </a:moveTo>
                  <a:lnTo>
                    <a:pt x="24" y="0"/>
                  </a:lnTo>
                  <a:lnTo>
                    <a:pt x="24" y="3"/>
                  </a:lnTo>
                  <a:lnTo>
                    <a:pt x="20" y="3"/>
                  </a:lnTo>
                  <a:lnTo>
                    <a:pt x="2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8" name="Freeform 71"/>
            <p:cNvSpPr>
              <a:spLocks noEditPoints="1"/>
            </p:cNvSpPr>
            <p:nvPr/>
          </p:nvSpPr>
          <p:spPr bwMode="gray">
            <a:xfrm>
              <a:off x="2692074" y="2107627"/>
              <a:ext cx="1269632" cy="2307592"/>
            </a:xfrm>
            <a:custGeom>
              <a:avLst/>
              <a:gdLst>
                <a:gd name="T0" fmla="*/ 116 w 696"/>
                <a:gd name="T1" fmla="*/ 618 h 1265"/>
                <a:gd name="T2" fmla="*/ 126 w 696"/>
                <a:gd name="T3" fmla="*/ 656 h 1265"/>
                <a:gd name="T4" fmla="*/ 111 w 696"/>
                <a:gd name="T5" fmla="*/ 615 h 1265"/>
                <a:gd name="T6" fmla="*/ 186 w 696"/>
                <a:gd name="T7" fmla="*/ 582 h 1265"/>
                <a:gd name="T8" fmla="*/ 162 w 696"/>
                <a:gd name="T9" fmla="*/ 586 h 1265"/>
                <a:gd name="T10" fmla="*/ 174 w 696"/>
                <a:gd name="T11" fmla="*/ 604 h 1265"/>
                <a:gd name="T12" fmla="*/ 150 w 696"/>
                <a:gd name="T13" fmla="*/ 574 h 1265"/>
                <a:gd name="T14" fmla="*/ 176 w 696"/>
                <a:gd name="T15" fmla="*/ 567 h 1265"/>
                <a:gd name="T16" fmla="*/ 468 w 696"/>
                <a:gd name="T17" fmla="*/ 558 h 1265"/>
                <a:gd name="T18" fmla="*/ 130 w 696"/>
                <a:gd name="T19" fmla="*/ 560 h 1265"/>
                <a:gd name="T20" fmla="*/ 138 w 696"/>
                <a:gd name="T21" fmla="*/ 553 h 1265"/>
                <a:gd name="T22" fmla="*/ 142 w 696"/>
                <a:gd name="T23" fmla="*/ 548 h 1265"/>
                <a:gd name="T24" fmla="*/ 143 w 696"/>
                <a:gd name="T25" fmla="*/ 552 h 1265"/>
                <a:gd name="T26" fmla="*/ 130 w 696"/>
                <a:gd name="T27" fmla="*/ 541 h 1265"/>
                <a:gd name="T28" fmla="*/ 130 w 696"/>
                <a:gd name="T29" fmla="*/ 538 h 1265"/>
                <a:gd name="T30" fmla="*/ 147 w 696"/>
                <a:gd name="T31" fmla="*/ 531 h 1265"/>
                <a:gd name="T32" fmla="*/ 130 w 696"/>
                <a:gd name="T33" fmla="*/ 516 h 1265"/>
                <a:gd name="T34" fmla="*/ 36 w 696"/>
                <a:gd name="T35" fmla="*/ 511 h 1265"/>
                <a:gd name="T36" fmla="*/ 94 w 696"/>
                <a:gd name="T37" fmla="*/ 497 h 1265"/>
                <a:gd name="T38" fmla="*/ 119 w 696"/>
                <a:gd name="T39" fmla="*/ 492 h 1265"/>
                <a:gd name="T40" fmla="*/ 109 w 696"/>
                <a:gd name="T41" fmla="*/ 488 h 1265"/>
                <a:gd name="T42" fmla="*/ 49 w 696"/>
                <a:gd name="T43" fmla="*/ 485 h 1265"/>
                <a:gd name="T44" fmla="*/ 66 w 696"/>
                <a:gd name="T45" fmla="*/ 480 h 1265"/>
                <a:gd name="T46" fmla="*/ 145 w 696"/>
                <a:gd name="T47" fmla="*/ 481 h 1265"/>
                <a:gd name="T48" fmla="*/ 48 w 696"/>
                <a:gd name="T49" fmla="*/ 483 h 1265"/>
                <a:gd name="T50" fmla="*/ 164 w 696"/>
                <a:gd name="T51" fmla="*/ 473 h 1265"/>
                <a:gd name="T52" fmla="*/ 49 w 696"/>
                <a:gd name="T53" fmla="*/ 473 h 1265"/>
                <a:gd name="T54" fmla="*/ 10 w 696"/>
                <a:gd name="T55" fmla="*/ 468 h 1265"/>
                <a:gd name="T56" fmla="*/ 73 w 696"/>
                <a:gd name="T57" fmla="*/ 481 h 1265"/>
                <a:gd name="T58" fmla="*/ 107 w 696"/>
                <a:gd name="T59" fmla="*/ 466 h 1265"/>
                <a:gd name="T60" fmla="*/ 102 w 696"/>
                <a:gd name="T61" fmla="*/ 463 h 1265"/>
                <a:gd name="T62" fmla="*/ 112 w 696"/>
                <a:gd name="T63" fmla="*/ 471 h 1265"/>
                <a:gd name="T64" fmla="*/ 493 w 696"/>
                <a:gd name="T65" fmla="*/ 461 h 1265"/>
                <a:gd name="T66" fmla="*/ 498 w 696"/>
                <a:gd name="T67" fmla="*/ 464 h 1265"/>
                <a:gd name="T68" fmla="*/ 490 w 696"/>
                <a:gd name="T69" fmla="*/ 454 h 1265"/>
                <a:gd name="T70" fmla="*/ 507 w 696"/>
                <a:gd name="T71" fmla="*/ 451 h 1265"/>
                <a:gd name="T72" fmla="*/ 73 w 696"/>
                <a:gd name="T73" fmla="*/ 463 h 1265"/>
                <a:gd name="T74" fmla="*/ 106 w 696"/>
                <a:gd name="T75" fmla="*/ 451 h 1265"/>
                <a:gd name="T76" fmla="*/ 490 w 696"/>
                <a:gd name="T77" fmla="*/ 444 h 1265"/>
                <a:gd name="T78" fmla="*/ 68 w 696"/>
                <a:gd name="T79" fmla="*/ 437 h 1265"/>
                <a:gd name="T80" fmla="*/ 92 w 696"/>
                <a:gd name="T81" fmla="*/ 449 h 1265"/>
                <a:gd name="T82" fmla="*/ 82 w 696"/>
                <a:gd name="T83" fmla="*/ 437 h 1265"/>
                <a:gd name="T84" fmla="*/ 155 w 696"/>
                <a:gd name="T85" fmla="*/ 478 h 1265"/>
                <a:gd name="T86" fmla="*/ 138 w 696"/>
                <a:gd name="T87" fmla="*/ 447 h 1265"/>
                <a:gd name="T88" fmla="*/ 143 w 696"/>
                <a:gd name="T89" fmla="*/ 434 h 1265"/>
                <a:gd name="T90" fmla="*/ 684 w 696"/>
                <a:gd name="T91" fmla="*/ 277 h 1265"/>
                <a:gd name="T92" fmla="*/ 353 w 696"/>
                <a:gd name="T93" fmla="*/ 242 h 1265"/>
                <a:gd name="T94" fmla="*/ 666 w 696"/>
                <a:gd name="T95" fmla="*/ 213 h 1265"/>
                <a:gd name="T96" fmla="*/ 664 w 696"/>
                <a:gd name="T97" fmla="*/ 208 h 1265"/>
                <a:gd name="T98" fmla="*/ 293 w 696"/>
                <a:gd name="T99" fmla="*/ 232 h 1265"/>
                <a:gd name="T100" fmla="*/ 316 w 696"/>
                <a:gd name="T101" fmla="*/ 205 h 1265"/>
                <a:gd name="T102" fmla="*/ 370 w 696"/>
                <a:gd name="T103" fmla="*/ 200 h 1265"/>
                <a:gd name="T104" fmla="*/ 363 w 696"/>
                <a:gd name="T105" fmla="*/ 196 h 1265"/>
                <a:gd name="T106" fmla="*/ 360 w 696"/>
                <a:gd name="T107" fmla="*/ 191 h 1265"/>
                <a:gd name="T108" fmla="*/ 346 w 696"/>
                <a:gd name="T109" fmla="*/ 188 h 1265"/>
                <a:gd name="T110" fmla="*/ 372 w 696"/>
                <a:gd name="T111" fmla="*/ 181 h 1265"/>
                <a:gd name="T112" fmla="*/ 355 w 696"/>
                <a:gd name="T113" fmla="*/ 169 h 1265"/>
                <a:gd name="T114" fmla="*/ 363 w 696"/>
                <a:gd name="T115" fmla="*/ 166 h 1265"/>
                <a:gd name="T116" fmla="*/ 572 w 696"/>
                <a:gd name="T117" fmla="*/ 131 h 1265"/>
                <a:gd name="T118" fmla="*/ 597 w 696"/>
                <a:gd name="T119" fmla="*/ 89 h 1265"/>
                <a:gd name="T120" fmla="*/ 577 w 696"/>
                <a:gd name="T121" fmla="*/ 135 h 1265"/>
                <a:gd name="T122" fmla="*/ 563 w 696"/>
                <a:gd name="T123" fmla="*/ 106 h 1265"/>
                <a:gd name="T124" fmla="*/ 553 w 696"/>
                <a:gd name="T125" fmla="*/ 12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6" h="1265">
                  <a:moveTo>
                    <a:pt x="273" y="1262"/>
                  </a:moveTo>
                  <a:lnTo>
                    <a:pt x="273" y="1265"/>
                  </a:lnTo>
                  <a:lnTo>
                    <a:pt x="273" y="1262"/>
                  </a:lnTo>
                  <a:close/>
                  <a:moveTo>
                    <a:pt x="107" y="622"/>
                  </a:moveTo>
                  <a:lnTo>
                    <a:pt x="111" y="622"/>
                  </a:lnTo>
                  <a:lnTo>
                    <a:pt x="111" y="627"/>
                  </a:lnTo>
                  <a:lnTo>
                    <a:pt x="107" y="625"/>
                  </a:lnTo>
                  <a:lnTo>
                    <a:pt x="107" y="622"/>
                  </a:lnTo>
                  <a:close/>
                  <a:moveTo>
                    <a:pt x="102" y="618"/>
                  </a:moveTo>
                  <a:lnTo>
                    <a:pt x="104" y="618"/>
                  </a:lnTo>
                  <a:lnTo>
                    <a:pt x="104" y="622"/>
                  </a:lnTo>
                  <a:lnTo>
                    <a:pt x="102" y="622"/>
                  </a:lnTo>
                  <a:lnTo>
                    <a:pt x="102" y="618"/>
                  </a:lnTo>
                  <a:close/>
                  <a:moveTo>
                    <a:pt x="106" y="618"/>
                  </a:moveTo>
                  <a:lnTo>
                    <a:pt x="107" y="620"/>
                  </a:lnTo>
                  <a:lnTo>
                    <a:pt x="111" y="618"/>
                  </a:lnTo>
                  <a:lnTo>
                    <a:pt x="111" y="622"/>
                  </a:lnTo>
                  <a:lnTo>
                    <a:pt x="106" y="622"/>
                  </a:lnTo>
                  <a:lnTo>
                    <a:pt x="104" y="620"/>
                  </a:lnTo>
                  <a:lnTo>
                    <a:pt x="106" y="618"/>
                  </a:lnTo>
                  <a:close/>
                  <a:moveTo>
                    <a:pt x="114" y="615"/>
                  </a:moveTo>
                  <a:lnTo>
                    <a:pt x="116" y="615"/>
                  </a:lnTo>
                  <a:lnTo>
                    <a:pt x="116" y="618"/>
                  </a:lnTo>
                  <a:lnTo>
                    <a:pt x="114" y="618"/>
                  </a:lnTo>
                  <a:lnTo>
                    <a:pt x="114" y="615"/>
                  </a:lnTo>
                  <a:close/>
                  <a:moveTo>
                    <a:pt x="102" y="615"/>
                  </a:moveTo>
                  <a:lnTo>
                    <a:pt x="106" y="616"/>
                  </a:lnTo>
                  <a:lnTo>
                    <a:pt x="102" y="616"/>
                  </a:lnTo>
                  <a:lnTo>
                    <a:pt x="102" y="618"/>
                  </a:lnTo>
                  <a:lnTo>
                    <a:pt x="101" y="616"/>
                  </a:lnTo>
                  <a:lnTo>
                    <a:pt x="102" y="615"/>
                  </a:lnTo>
                  <a:close/>
                  <a:moveTo>
                    <a:pt x="142" y="615"/>
                  </a:moveTo>
                  <a:lnTo>
                    <a:pt x="143" y="618"/>
                  </a:lnTo>
                  <a:lnTo>
                    <a:pt x="148" y="620"/>
                  </a:lnTo>
                  <a:lnTo>
                    <a:pt x="152" y="627"/>
                  </a:lnTo>
                  <a:lnTo>
                    <a:pt x="155" y="630"/>
                  </a:lnTo>
                  <a:lnTo>
                    <a:pt x="155" y="633"/>
                  </a:lnTo>
                  <a:lnTo>
                    <a:pt x="152" y="633"/>
                  </a:lnTo>
                  <a:lnTo>
                    <a:pt x="148" y="639"/>
                  </a:lnTo>
                  <a:lnTo>
                    <a:pt x="145" y="645"/>
                  </a:lnTo>
                  <a:lnTo>
                    <a:pt x="143" y="652"/>
                  </a:lnTo>
                  <a:lnTo>
                    <a:pt x="138" y="649"/>
                  </a:lnTo>
                  <a:lnTo>
                    <a:pt x="135" y="644"/>
                  </a:lnTo>
                  <a:lnTo>
                    <a:pt x="131" y="647"/>
                  </a:lnTo>
                  <a:lnTo>
                    <a:pt x="130" y="654"/>
                  </a:lnTo>
                  <a:lnTo>
                    <a:pt x="126" y="656"/>
                  </a:lnTo>
                  <a:lnTo>
                    <a:pt x="124" y="652"/>
                  </a:lnTo>
                  <a:lnTo>
                    <a:pt x="124" y="649"/>
                  </a:lnTo>
                  <a:lnTo>
                    <a:pt x="121" y="640"/>
                  </a:lnTo>
                  <a:lnTo>
                    <a:pt x="123" y="637"/>
                  </a:lnTo>
                  <a:lnTo>
                    <a:pt x="121" y="639"/>
                  </a:lnTo>
                  <a:lnTo>
                    <a:pt x="112" y="633"/>
                  </a:lnTo>
                  <a:lnTo>
                    <a:pt x="114" y="632"/>
                  </a:lnTo>
                  <a:lnTo>
                    <a:pt x="116" y="622"/>
                  </a:lnTo>
                  <a:lnTo>
                    <a:pt x="121" y="622"/>
                  </a:lnTo>
                  <a:lnTo>
                    <a:pt x="123" y="615"/>
                  </a:lnTo>
                  <a:lnTo>
                    <a:pt x="124" y="622"/>
                  </a:lnTo>
                  <a:lnTo>
                    <a:pt x="121" y="625"/>
                  </a:lnTo>
                  <a:lnTo>
                    <a:pt x="124" y="628"/>
                  </a:lnTo>
                  <a:lnTo>
                    <a:pt x="124" y="625"/>
                  </a:lnTo>
                  <a:lnTo>
                    <a:pt x="124" y="622"/>
                  </a:lnTo>
                  <a:lnTo>
                    <a:pt x="130" y="623"/>
                  </a:lnTo>
                  <a:lnTo>
                    <a:pt x="135" y="620"/>
                  </a:lnTo>
                  <a:lnTo>
                    <a:pt x="135" y="618"/>
                  </a:lnTo>
                  <a:lnTo>
                    <a:pt x="136" y="615"/>
                  </a:lnTo>
                  <a:lnTo>
                    <a:pt x="142" y="615"/>
                  </a:lnTo>
                  <a:close/>
                  <a:moveTo>
                    <a:pt x="111" y="615"/>
                  </a:moveTo>
                  <a:lnTo>
                    <a:pt x="111" y="616"/>
                  </a:lnTo>
                  <a:lnTo>
                    <a:pt x="111" y="615"/>
                  </a:lnTo>
                  <a:close/>
                  <a:moveTo>
                    <a:pt x="140" y="608"/>
                  </a:moveTo>
                  <a:lnTo>
                    <a:pt x="143" y="611"/>
                  </a:lnTo>
                  <a:lnTo>
                    <a:pt x="140" y="611"/>
                  </a:lnTo>
                  <a:lnTo>
                    <a:pt x="138" y="613"/>
                  </a:lnTo>
                  <a:lnTo>
                    <a:pt x="133" y="613"/>
                  </a:lnTo>
                  <a:lnTo>
                    <a:pt x="130" y="610"/>
                  </a:lnTo>
                  <a:lnTo>
                    <a:pt x="133" y="608"/>
                  </a:lnTo>
                  <a:lnTo>
                    <a:pt x="135" y="610"/>
                  </a:lnTo>
                  <a:lnTo>
                    <a:pt x="140" y="608"/>
                  </a:lnTo>
                  <a:close/>
                  <a:moveTo>
                    <a:pt x="174" y="593"/>
                  </a:moveTo>
                  <a:lnTo>
                    <a:pt x="171" y="586"/>
                  </a:lnTo>
                  <a:lnTo>
                    <a:pt x="176" y="593"/>
                  </a:lnTo>
                  <a:lnTo>
                    <a:pt x="174" y="593"/>
                  </a:lnTo>
                  <a:close/>
                  <a:moveTo>
                    <a:pt x="184" y="581"/>
                  </a:moveTo>
                  <a:lnTo>
                    <a:pt x="184" y="582"/>
                  </a:lnTo>
                  <a:lnTo>
                    <a:pt x="184" y="581"/>
                  </a:lnTo>
                  <a:close/>
                  <a:moveTo>
                    <a:pt x="167" y="581"/>
                  </a:moveTo>
                  <a:lnTo>
                    <a:pt x="171" y="586"/>
                  </a:lnTo>
                  <a:lnTo>
                    <a:pt x="167" y="582"/>
                  </a:lnTo>
                  <a:lnTo>
                    <a:pt x="167" y="581"/>
                  </a:lnTo>
                  <a:close/>
                  <a:moveTo>
                    <a:pt x="184" y="579"/>
                  </a:moveTo>
                  <a:lnTo>
                    <a:pt x="189" y="584"/>
                  </a:lnTo>
                  <a:lnTo>
                    <a:pt x="186" y="582"/>
                  </a:lnTo>
                  <a:lnTo>
                    <a:pt x="184" y="581"/>
                  </a:lnTo>
                  <a:lnTo>
                    <a:pt x="184" y="579"/>
                  </a:lnTo>
                  <a:close/>
                  <a:moveTo>
                    <a:pt x="162" y="575"/>
                  </a:moveTo>
                  <a:lnTo>
                    <a:pt x="164" y="575"/>
                  </a:lnTo>
                  <a:lnTo>
                    <a:pt x="164" y="579"/>
                  </a:lnTo>
                  <a:lnTo>
                    <a:pt x="162" y="579"/>
                  </a:lnTo>
                  <a:lnTo>
                    <a:pt x="162" y="575"/>
                  </a:lnTo>
                  <a:close/>
                  <a:moveTo>
                    <a:pt x="148" y="572"/>
                  </a:moveTo>
                  <a:lnTo>
                    <a:pt x="148" y="574"/>
                  </a:lnTo>
                  <a:lnTo>
                    <a:pt x="147" y="575"/>
                  </a:lnTo>
                  <a:lnTo>
                    <a:pt x="145" y="572"/>
                  </a:lnTo>
                  <a:lnTo>
                    <a:pt x="148" y="572"/>
                  </a:lnTo>
                  <a:close/>
                  <a:moveTo>
                    <a:pt x="150" y="570"/>
                  </a:moveTo>
                  <a:lnTo>
                    <a:pt x="155" y="575"/>
                  </a:lnTo>
                  <a:lnTo>
                    <a:pt x="159" y="579"/>
                  </a:lnTo>
                  <a:lnTo>
                    <a:pt x="160" y="579"/>
                  </a:lnTo>
                  <a:lnTo>
                    <a:pt x="162" y="581"/>
                  </a:lnTo>
                  <a:lnTo>
                    <a:pt x="164" y="584"/>
                  </a:lnTo>
                  <a:lnTo>
                    <a:pt x="162" y="584"/>
                  </a:lnTo>
                  <a:lnTo>
                    <a:pt x="159" y="584"/>
                  </a:lnTo>
                  <a:lnTo>
                    <a:pt x="160" y="587"/>
                  </a:lnTo>
                  <a:lnTo>
                    <a:pt x="164" y="589"/>
                  </a:lnTo>
                  <a:lnTo>
                    <a:pt x="162" y="586"/>
                  </a:lnTo>
                  <a:lnTo>
                    <a:pt x="165" y="584"/>
                  </a:lnTo>
                  <a:lnTo>
                    <a:pt x="172" y="591"/>
                  </a:lnTo>
                  <a:lnTo>
                    <a:pt x="174" y="598"/>
                  </a:lnTo>
                  <a:lnTo>
                    <a:pt x="177" y="599"/>
                  </a:lnTo>
                  <a:lnTo>
                    <a:pt x="182" y="598"/>
                  </a:lnTo>
                  <a:lnTo>
                    <a:pt x="181" y="593"/>
                  </a:lnTo>
                  <a:lnTo>
                    <a:pt x="182" y="591"/>
                  </a:lnTo>
                  <a:lnTo>
                    <a:pt x="189" y="598"/>
                  </a:lnTo>
                  <a:lnTo>
                    <a:pt x="191" y="603"/>
                  </a:lnTo>
                  <a:lnTo>
                    <a:pt x="198" y="608"/>
                  </a:lnTo>
                  <a:lnTo>
                    <a:pt x="203" y="608"/>
                  </a:lnTo>
                  <a:lnTo>
                    <a:pt x="203" y="611"/>
                  </a:lnTo>
                  <a:lnTo>
                    <a:pt x="201" y="611"/>
                  </a:lnTo>
                  <a:lnTo>
                    <a:pt x="194" y="608"/>
                  </a:lnTo>
                  <a:lnTo>
                    <a:pt x="191" y="610"/>
                  </a:lnTo>
                  <a:lnTo>
                    <a:pt x="194" y="613"/>
                  </a:lnTo>
                  <a:lnTo>
                    <a:pt x="193" y="615"/>
                  </a:lnTo>
                  <a:lnTo>
                    <a:pt x="188" y="611"/>
                  </a:lnTo>
                  <a:lnTo>
                    <a:pt x="186" y="613"/>
                  </a:lnTo>
                  <a:lnTo>
                    <a:pt x="182" y="610"/>
                  </a:lnTo>
                  <a:lnTo>
                    <a:pt x="177" y="608"/>
                  </a:lnTo>
                  <a:lnTo>
                    <a:pt x="177" y="606"/>
                  </a:lnTo>
                  <a:lnTo>
                    <a:pt x="174" y="604"/>
                  </a:lnTo>
                  <a:lnTo>
                    <a:pt x="174" y="603"/>
                  </a:lnTo>
                  <a:lnTo>
                    <a:pt x="167" y="599"/>
                  </a:lnTo>
                  <a:lnTo>
                    <a:pt x="162" y="601"/>
                  </a:lnTo>
                  <a:lnTo>
                    <a:pt x="155" y="604"/>
                  </a:lnTo>
                  <a:lnTo>
                    <a:pt x="152" y="603"/>
                  </a:lnTo>
                  <a:lnTo>
                    <a:pt x="147" y="608"/>
                  </a:lnTo>
                  <a:lnTo>
                    <a:pt x="143" y="606"/>
                  </a:lnTo>
                  <a:lnTo>
                    <a:pt x="143" y="603"/>
                  </a:lnTo>
                  <a:lnTo>
                    <a:pt x="135" y="603"/>
                  </a:lnTo>
                  <a:lnTo>
                    <a:pt x="135" y="596"/>
                  </a:lnTo>
                  <a:lnTo>
                    <a:pt x="138" y="596"/>
                  </a:lnTo>
                  <a:lnTo>
                    <a:pt x="138" y="594"/>
                  </a:lnTo>
                  <a:lnTo>
                    <a:pt x="140" y="594"/>
                  </a:lnTo>
                  <a:lnTo>
                    <a:pt x="140" y="591"/>
                  </a:lnTo>
                  <a:lnTo>
                    <a:pt x="143" y="591"/>
                  </a:lnTo>
                  <a:lnTo>
                    <a:pt x="145" y="582"/>
                  </a:lnTo>
                  <a:lnTo>
                    <a:pt x="143" y="581"/>
                  </a:lnTo>
                  <a:lnTo>
                    <a:pt x="143" y="575"/>
                  </a:lnTo>
                  <a:lnTo>
                    <a:pt x="143" y="574"/>
                  </a:lnTo>
                  <a:lnTo>
                    <a:pt x="145" y="575"/>
                  </a:lnTo>
                  <a:lnTo>
                    <a:pt x="148" y="575"/>
                  </a:lnTo>
                  <a:lnTo>
                    <a:pt x="147" y="577"/>
                  </a:lnTo>
                  <a:lnTo>
                    <a:pt x="150" y="574"/>
                  </a:lnTo>
                  <a:lnTo>
                    <a:pt x="152" y="575"/>
                  </a:lnTo>
                  <a:lnTo>
                    <a:pt x="150" y="570"/>
                  </a:lnTo>
                  <a:close/>
                  <a:moveTo>
                    <a:pt x="160" y="569"/>
                  </a:moveTo>
                  <a:lnTo>
                    <a:pt x="162" y="569"/>
                  </a:lnTo>
                  <a:lnTo>
                    <a:pt x="162" y="570"/>
                  </a:lnTo>
                  <a:lnTo>
                    <a:pt x="160" y="570"/>
                  </a:lnTo>
                  <a:lnTo>
                    <a:pt x="160" y="569"/>
                  </a:lnTo>
                  <a:close/>
                  <a:moveTo>
                    <a:pt x="143" y="569"/>
                  </a:moveTo>
                  <a:lnTo>
                    <a:pt x="145" y="569"/>
                  </a:lnTo>
                  <a:lnTo>
                    <a:pt x="145" y="570"/>
                  </a:lnTo>
                  <a:lnTo>
                    <a:pt x="143" y="570"/>
                  </a:lnTo>
                  <a:lnTo>
                    <a:pt x="143" y="569"/>
                  </a:lnTo>
                  <a:close/>
                  <a:moveTo>
                    <a:pt x="147" y="569"/>
                  </a:moveTo>
                  <a:lnTo>
                    <a:pt x="148" y="569"/>
                  </a:lnTo>
                  <a:lnTo>
                    <a:pt x="148" y="570"/>
                  </a:lnTo>
                  <a:lnTo>
                    <a:pt x="147" y="570"/>
                  </a:lnTo>
                  <a:lnTo>
                    <a:pt x="147" y="569"/>
                  </a:lnTo>
                  <a:close/>
                  <a:moveTo>
                    <a:pt x="176" y="567"/>
                  </a:moveTo>
                  <a:lnTo>
                    <a:pt x="177" y="570"/>
                  </a:lnTo>
                  <a:lnTo>
                    <a:pt x="172" y="570"/>
                  </a:lnTo>
                  <a:lnTo>
                    <a:pt x="172" y="569"/>
                  </a:lnTo>
                  <a:lnTo>
                    <a:pt x="174" y="569"/>
                  </a:lnTo>
                  <a:lnTo>
                    <a:pt x="176" y="567"/>
                  </a:lnTo>
                  <a:close/>
                  <a:moveTo>
                    <a:pt x="145" y="567"/>
                  </a:moveTo>
                  <a:lnTo>
                    <a:pt x="147" y="567"/>
                  </a:lnTo>
                  <a:lnTo>
                    <a:pt x="147" y="569"/>
                  </a:lnTo>
                  <a:lnTo>
                    <a:pt x="145" y="569"/>
                  </a:lnTo>
                  <a:lnTo>
                    <a:pt x="145" y="567"/>
                  </a:lnTo>
                  <a:close/>
                  <a:moveTo>
                    <a:pt x="142" y="563"/>
                  </a:moveTo>
                  <a:lnTo>
                    <a:pt x="143" y="563"/>
                  </a:lnTo>
                  <a:lnTo>
                    <a:pt x="143" y="565"/>
                  </a:lnTo>
                  <a:lnTo>
                    <a:pt x="142" y="565"/>
                  </a:lnTo>
                  <a:lnTo>
                    <a:pt x="142" y="563"/>
                  </a:lnTo>
                  <a:close/>
                  <a:moveTo>
                    <a:pt x="148" y="562"/>
                  </a:moveTo>
                  <a:lnTo>
                    <a:pt x="150" y="565"/>
                  </a:lnTo>
                  <a:lnTo>
                    <a:pt x="148" y="563"/>
                  </a:lnTo>
                  <a:lnTo>
                    <a:pt x="148" y="562"/>
                  </a:lnTo>
                  <a:close/>
                  <a:moveTo>
                    <a:pt x="138" y="558"/>
                  </a:moveTo>
                  <a:lnTo>
                    <a:pt x="142" y="563"/>
                  </a:lnTo>
                  <a:lnTo>
                    <a:pt x="136" y="560"/>
                  </a:lnTo>
                  <a:lnTo>
                    <a:pt x="138" y="558"/>
                  </a:lnTo>
                  <a:close/>
                  <a:moveTo>
                    <a:pt x="473" y="557"/>
                  </a:moveTo>
                  <a:lnTo>
                    <a:pt x="471" y="560"/>
                  </a:lnTo>
                  <a:lnTo>
                    <a:pt x="471" y="562"/>
                  </a:lnTo>
                  <a:lnTo>
                    <a:pt x="469" y="562"/>
                  </a:lnTo>
                  <a:lnTo>
                    <a:pt x="468" y="558"/>
                  </a:lnTo>
                  <a:lnTo>
                    <a:pt x="473" y="557"/>
                  </a:lnTo>
                  <a:close/>
                  <a:moveTo>
                    <a:pt x="143" y="557"/>
                  </a:moveTo>
                  <a:lnTo>
                    <a:pt x="145" y="558"/>
                  </a:lnTo>
                  <a:lnTo>
                    <a:pt x="145" y="562"/>
                  </a:lnTo>
                  <a:lnTo>
                    <a:pt x="142" y="558"/>
                  </a:lnTo>
                  <a:lnTo>
                    <a:pt x="143" y="557"/>
                  </a:lnTo>
                  <a:close/>
                  <a:moveTo>
                    <a:pt x="135" y="555"/>
                  </a:moveTo>
                  <a:lnTo>
                    <a:pt x="136" y="555"/>
                  </a:lnTo>
                  <a:lnTo>
                    <a:pt x="136" y="557"/>
                  </a:lnTo>
                  <a:lnTo>
                    <a:pt x="135" y="557"/>
                  </a:lnTo>
                  <a:lnTo>
                    <a:pt x="135" y="555"/>
                  </a:lnTo>
                  <a:close/>
                  <a:moveTo>
                    <a:pt x="133" y="557"/>
                  </a:moveTo>
                  <a:lnTo>
                    <a:pt x="138" y="562"/>
                  </a:lnTo>
                  <a:lnTo>
                    <a:pt x="140" y="562"/>
                  </a:lnTo>
                  <a:lnTo>
                    <a:pt x="142" y="565"/>
                  </a:lnTo>
                  <a:lnTo>
                    <a:pt x="143" y="565"/>
                  </a:lnTo>
                  <a:lnTo>
                    <a:pt x="142" y="569"/>
                  </a:lnTo>
                  <a:lnTo>
                    <a:pt x="140" y="567"/>
                  </a:lnTo>
                  <a:lnTo>
                    <a:pt x="143" y="572"/>
                  </a:lnTo>
                  <a:lnTo>
                    <a:pt x="140" y="572"/>
                  </a:lnTo>
                  <a:lnTo>
                    <a:pt x="133" y="563"/>
                  </a:lnTo>
                  <a:lnTo>
                    <a:pt x="131" y="563"/>
                  </a:lnTo>
                  <a:lnTo>
                    <a:pt x="130" y="560"/>
                  </a:lnTo>
                  <a:lnTo>
                    <a:pt x="135" y="563"/>
                  </a:lnTo>
                  <a:lnTo>
                    <a:pt x="133" y="560"/>
                  </a:lnTo>
                  <a:lnTo>
                    <a:pt x="135" y="560"/>
                  </a:lnTo>
                  <a:lnTo>
                    <a:pt x="131" y="557"/>
                  </a:lnTo>
                  <a:lnTo>
                    <a:pt x="131" y="555"/>
                  </a:lnTo>
                  <a:lnTo>
                    <a:pt x="133" y="557"/>
                  </a:lnTo>
                  <a:close/>
                  <a:moveTo>
                    <a:pt x="116" y="555"/>
                  </a:moveTo>
                  <a:lnTo>
                    <a:pt x="119" y="555"/>
                  </a:lnTo>
                  <a:lnTo>
                    <a:pt x="119" y="557"/>
                  </a:lnTo>
                  <a:lnTo>
                    <a:pt x="116" y="557"/>
                  </a:lnTo>
                  <a:lnTo>
                    <a:pt x="116" y="555"/>
                  </a:lnTo>
                  <a:close/>
                  <a:moveTo>
                    <a:pt x="119" y="555"/>
                  </a:moveTo>
                  <a:lnTo>
                    <a:pt x="124" y="558"/>
                  </a:lnTo>
                  <a:lnTo>
                    <a:pt x="124" y="562"/>
                  </a:lnTo>
                  <a:lnTo>
                    <a:pt x="123" y="562"/>
                  </a:lnTo>
                  <a:lnTo>
                    <a:pt x="121" y="558"/>
                  </a:lnTo>
                  <a:lnTo>
                    <a:pt x="119" y="558"/>
                  </a:lnTo>
                  <a:lnTo>
                    <a:pt x="119" y="555"/>
                  </a:lnTo>
                  <a:close/>
                  <a:moveTo>
                    <a:pt x="138" y="553"/>
                  </a:moveTo>
                  <a:lnTo>
                    <a:pt x="142" y="553"/>
                  </a:lnTo>
                  <a:lnTo>
                    <a:pt x="142" y="555"/>
                  </a:lnTo>
                  <a:lnTo>
                    <a:pt x="138" y="555"/>
                  </a:lnTo>
                  <a:lnTo>
                    <a:pt x="138" y="553"/>
                  </a:lnTo>
                  <a:close/>
                  <a:moveTo>
                    <a:pt x="131" y="553"/>
                  </a:moveTo>
                  <a:lnTo>
                    <a:pt x="135" y="553"/>
                  </a:lnTo>
                  <a:lnTo>
                    <a:pt x="135" y="555"/>
                  </a:lnTo>
                  <a:lnTo>
                    <a:pt x="131" y="555"/>
                  </a:lnTo>
                  <a:lnTo>
                    <a:pt x="131" y="553"/>
                  </a:lnTo>
                  <a:close/>
                  <a:moveTo>
                    <a:pt x="126" y="552"/>
                  </a:moveTo>
                  <a:lnTo>
                    <a:pt x="128" y="555"/>
                  </a:lnTo>
                  <a:lnTo>
                    <a:pt x="130" y="557"/>
                  </a:lnTo>
                  <a:lnTo>
                    <a:pt x="128" y="555"/>
                  </a:lnTo>
                  <a:lnTo>
                    <a:pt x="130" y="557"/>
                  </a:lnTo>
                  <a:lnTo>
                    <a:pt x="131" y="560"/>
                  </a:lnTo>
                  <a:lnTo>
                    <a:pt x="126" y="555"/>
                  </a:lnTo>
                  <a:lnTo>
                    <a:pt x="126" y="552"/>
                  </a:lnTo>
                  <a:close/>
                  <a:moveTo>
                    <a:pt x="111" y="550"/>
                  </a:moveTo>
                  <a:lnTo>
                    <a:pt x="112" y="553"/>
                  </a:lnTo>
                  <a:lnTo>
                    <a:pt x="111" y="557"/>
                  </a:lnTo>
                  <a:lnTo>
                    <a:pt x="107" y="553"/>
                  </a:lnTo>
                  <a:lnTo>
                    <a:pt x="111" y="550"/>
                  </a:lnTo>
                  <a:close/>
                  <a:moveTo>
                    <a:pt x="124" y="553"/>
                  </a:moveTo>
                  <a:lnTo>
                    <a:pt x="123" y="550"/>
                  </a:lnTo>
                  <a:lnTo>
                    <a:pt x="124" y="552"/>
                  </a:lnTo>
                  <a:lnTo>
                    <a:pt x="124" y="553"/>
                  </a:lnTo>
                  <a:close/>
                  <a:moveTo>
                    <a:pt x="142" y="548"/>
                  </a:moveTo>
                  <a:lnTo>
                    <a:pt x="143" y="548"/>
                  </a:lnTo>
                  <a:lnTo>
                    <a:pt x="143" y="552"/>
                  </a:lnTo>
                  <a:lnTo>
                    <a:pt x="142" y="552"/>
                  </a:lnTo>
                  <a:lnTo>
                    <a:pt x="142" y="548"/>
                  </a:lnTo>
                  <a:close/>
                  <a:moveTo>
                    <a:pt x="150" y="550"/>
                  </a:moveTo>
                  <a:lnTo>
                    <a:pt x="153" y="555"/>
                  </a:lnTo>
                  <a:lnTo>
                    <a:pt x="159" y="560"/>
                  </a:lnTo>
                  <a:lnTo>
                    <a:pt x="164" y="565"/>
                  </a:lnTo>
                  <a:lnTo>
                    <a:pt x="167" y="569"/>
                  </a:lnTo>
                  <a:lnTo>
                    <a:pt x="167" y="572"/>
                  </a:lnTo>
                  <a:lnTo>
                    <a:pt x="165" y="572"/>
                  </a:lnTo>
                  <a:lnTo>
                    <a:pt x="159" y="565"/>
                  </a:lnTo>
                  <a:lnTo>
                    <a:pt x="160" y="565"/>
                  </a:lnTo>
                  <a:lnTo>
                    <a:pt x="159" y="563"/>
                  </a:lnTo>
                  <a:lnTo>
                    <a:pt x="157" y="563"/>
                  </a:lnTo>
                  <a:lnTo>
                    <a:pt x="157" y="565"/>
                  </a:lnTo>
                  <a:lnTo>
                    <a:pt x="150" y="560"/>
                  </a:lnTo>
                  <a:lnTo>
                    <a:pt x="150" y="557"/>
                  </a:lnTo>
                  <a:lnTo>
                    <a:pt x="152" y="557"/>
                  </a:lnTo>
                  <a:lnTo>
                    <a:pt x="148" y="555"/>
                  </a:lnTo>
                  <a:lnTo>
                    <a:pt x="150" y="557"/>
                  </a:lnTo>
                  <a:lnTo>
                    <a:pt x="148" y="557"/>
                  </a:lnTo>
                  <a:lnTo>
                    <a:pt x="143" y="552"/>
                  </a:lnTo>
                  <a:lnTo>
                    <a:pt x="147" y="552"/>
                  </a:lnTo>
                  <a:lnTo>
                    <a:pt x="140" y="545"/>
                  </a:lnTo>
                  <a:lnTo>
                    <a:pt x="143" y="545"/>
                  </a:lnTo>
                  <a:lnTo>
                    <a:pt x="147" y="550"/>
                  </a:lnTo>
                  <a:lnTo>
                    <a:pt x="145" y="545"/>
                  </a:lnTo>
                  <a:lnTo>
                    <a:pt x="150" y="550"/>
                  </a:lnTo>
                  <a:close/>
                  <a:moveTo>
                    <a:pt x="136" y="545"/>
                  </a:moveTo>
                  <a:lnTo>
                    <a:pt x="140" y="546"/>
                  </a:lnTo>
                  <a:lnTo>
                    <a:pt x="136" y="546"/>
                  </a:lnTo>
                  <a:lnTo>
                    <a:pt x="136" y="545"/>
                  </a:lnTo>
                  <a:close/>
                  <a:moveTo>
                    <a:pt x="123" y="541"/>
                  </a:moveTo>
                  <a:lnTo>
                    <a:pt x="126" y="541"/>
                  </a:lnTo>
                  <a:lnTo>
                    <a:pt x="126" y="543"/>
                  </a:lnTo>
                  <a:lnTo>
                    <a:pt x="123" y="543"/>
                  </a:lnTo>
                  <a:lnTo>
                    <a:pt x="123" y="541"/>
                  </a:lnTo>
                  <a:close/>
                  <a:moveTo>
                    <a:pt x="123" y="540"/>
                  </a:moveTo>
                  <a:lnTo>
                    <a:pt x="124" y="540"/>
                  </a:lnTo>
                  <a:lnTo>
                    <a:pt x="124" y="541"/>
                  </a:lnTo>
                  <a:lnTo>
                    <a:pt x="123" y="541"/>
                  </a:lnTo>
                  <a:lnTo>
                    <a:pt x="123" y="540"/>
                  </a:lnTo>
                  <a:close/>
                  <a:moveTo>
                    <a:pt x="123" y="536"/>
                  </a:moveTo>
                  <a:lnTo>
                    <a:pt x="128" y="538"/>
                  </a:lnTo>
                  <a:lnTo>
                    <a:pt x="130" y="541"/>
                  </a:lnTo>
                  <a:lnTo>
                    <a:pt x="126" y="541"/>
                  </a:lnTo>
                  <a:lnTo>
                    <a:pt x="126" y="540"/>
                  </a:lnTo>
                  <a:lnTo>
                    <a:pt x="123" y="538"/>
                  </a:lnTo>
                  <a:lnTo>
                    <a:pt x="123" y="536"/>
                  </a:lnTo>
                  <a:close/>
                  <a:moveTo>
                    <a:pt x="119" y="533"/>
                  </a:moveTo>
                  <a:lnTo>
                    <a:pt x="123" y="534"/>
                  </a:lnTo>
                  <a:lnTo>
                    <a:pt x="121" y="538"/>
                  </a:lnTo>
                  <a:lnTo>
                    <a:pt x="119" y="538"/>
                  </a:lnTo>
                  <a:lnTo>
                    <a:pt x="119" y="533"/>
                  </a:lnTo>
                  <a:close/>
                  <a:moveTo>
                    <a:pt x="140" y="531"/>
                  </a:moveTo>
                  <a:lnTo>
                    <a:pt x="142" y="533"/>
                  </a:lnTo>
                  <a:lnTo>
                    <a:pt x="138" y="533"/>
                  </a:lnTo>
                  <a:lnTo>
                    <a:pt x="140" y="531"/>
                  </a:lnTo>
                  <a:close/>
                  <a:moveTo>
                    <a:pt x="124" y="529"/>
                  </a:moveTo>
                  <a:lnTo>
                    <a:pt x="128" y="533"/>
                  </a:lnTo>
                  <a:lnTo>
                    <a:pt x="135" y="536"/>
                  </a:lnTo>
                  <a:lnTo>
                    <a:pt x="136" y="538"/>
                  </a:lnTo>
                  <a:lnTo>
                    <a:pt x="131" y="536"/>
                  </a:lnTo>
                  <a:lnTo>
                    <a:pt x="135" y="540"/>
                  </a:lnTo>
                  <a:lnTo>
                    <a:pt x="131" y="540"/>
                  </a:lnTo>
                  <a:lnTo>
                    <a:pt x="130" y="538"/>
                  </a:lnTo>
                  <a:lnTo>
                    <a:pt x="130" y="540"/>
                  </a:lnTo>
                  <a:lnTo>
                    <a:pt x="130" y="538"/>
                  </a:lnTo>
                  <a:lnTo>
                    <a:pt x="124" y="534"/>
                  </a:lnTo>
                  <a:lnTo>
                    <a:pt x="126" y="533"/>
                  </a:lnTo>
                  <a:lnTo>
                    <a:pt x="123" y="531"/>
                  </a:lnTo>
                  <a:lnTo>
                    <a:pt x="124" y="529"/>
                  </a:lnTo>
                  <a:close/>
                  <a:moveTo>
                    <a:pt x="140" y="529"/>
                  </a:moveTo>
                  <a:lnTo>
                    <a:pt x="142" y="529"/>
                  </a:lnTo>
                  <a:lnTo>
                    <a:pt x="142" y="531"/>
                  </a:lnTo>
                  <a:lnTo>
                    <a:pt x="140" y="531"/>
                  </a:lnTo>
                  <a:lnTo>
                    <a:pt x="140" y="529"/>
                  </a:lnTo>
                  <a:close/>
                  <a:moveTo>
                    <a:pt x="133" y="528"/>
                  </a:moveTo>
                  <a:lnTo>
                    <a:pt x="135" y="528"/>
                  </a:lnTo>
                  <a:lnTo>
                    <a:pt x="135" y="529"/>
                  </a:lnTo>
                  <a:lnTo>
                    <a:pt x="133" y="529"/>
                  </a:lnTo>
                  <a:lnTo>
                    <a:pt x="133" y="528"/>
                  </a:lnTo>
                  <a:close/>
                  <a:moveTo>
                    <a:pt x="136" y="526"/>
                  </a:moveTo>
                  <a:lnTo>
                    <a:pt x="138" y="526"/>
                  </a:lnTo>
                  <a:lnTo>
                    <a:pt x="138" y="528"/>
                  </a:lnTo>
                  <a:lnTo>
                    <a:pt x="136" y="528"/>
                  </a:lnTo>
                  <a:lnTo>
                    <a:pt x="136" y="526"/>
                  </a:lnTo>
                  <a:close/>
                  <a:moveTo>
                    <a:pt x="147" y="524"/>
                  </a:moveTo>
                  <a:lnTo>
                    <a:pt x="152" y="526"/>
                  </a:lnTo>
                  <a:lnTo>
                    <a:pt x="147" y="526"/>
                  </a:lnTo>
                  <a:lnTo>
                    <a:pt x="147" y="531"/>
                  </a:lnTo>
                  <a:lnTo>
                    <a:pt x="145" y="522"/>
                  </a:lnTo>
                  <a:lnTo>
                    <a:pt x="147" y="524"/>
                  </a:lnTo>
                  <a:close/>
                  <a:moveTo>
                    <a:pt x="133" y="521"/>
                  </a:moveTo>
                  <a:lnTo>
                    <a:pt x="131" y="522"/>
                  </a:lnTo>
                  <a:lnTo>
                    <a:pt x="130" y="522"/>
                  </a:lnTo>
                  <a:lnTo>
                    <a:pt x="133" y="521"/>
                  </a:lnTo>
                  <a:close/>
                  <a:moveTo>
                    <a:pt x="130" y="521"/>
                  </a:moveTo>
                  <a:lnTo>
                    <a:pt x="131" y="521"/>
                  </a:lnTo>
                  <a:lnTo>
                    <a:pt x="131" y="522"/>
                  </a:lnTo>
                  <a:lnTo>
                    <a:pt x="130" y="522"/>
                  </a:lnTo>
                  <a:lnTo>
                    <a:pt x="130" y="521"/>
                  </a:lnTo>
                  <a:close/>
                  <a:moveTo>
                    <a:pt x="131" y="517"/>
                  </a:moveTo>
                  <a:lnTo>
                    <a:pt x="135" y="517"/>
                  </a:lnTo>
                  <a:lnTo>
                    <a:pt x="135" y="519"/>
                  </a:lnTo>
                  <a:lnTo>
                    <a:pt x="131" y="519"/>
                  </a:lnTo>
                  <a:lnTo>
                    <a:pt x="131" y="517"/>
                  </a:lnTo>
                  <a:close/>
                  <a:moveTo>
                    <a:pt x="136" y="517"/>
                  </a:moveTo>
                  <a:lnTo>
                    <a:pt x="138" y="517"/>
                  </a:lnTo>
                  <a:lnTo>
                    <a:pt x="138" y="521"/>
                  </a:lnTo>
                  <a:lnTo>
                    <a:pt x="136" y="521"/>
                  </a:lnTo>
                  <a:lnTo>
                    <a:pt x="136" y="517"/>
                  </a:lnTo>
                  <a:close/>
                  <a:moveTo>
                    <a:pt x="128" y="516"/>
                  </a:moveTo>
                  <a:lnTo>
                    <a:pt x="130" y="516"/>
                  </a:lnTo>
                  <a:lnTo>
                    <a:pt x="130" y="517"/>
                  </a:lnTo>
                  <a:lnTo>
                    <a:pt x="128" y="517"/>
                  </a:lnTo>
                  <a:lnTo>
                    <a:pt x="128" y="516"/>
                  </a:lnTo>
                  <a:close/>
                  <a:moveTo>
                    <a:pt x="114" y="514"/>
                  </a:moveTo>
                  <a:lnTo>
                    <a:pt x="116" y="514"/>
                  </a:lnTo>
                  <a:lnTo>
                    <a:pt x="116" y="517"/>
                  </a:lnTo>
                  <a:lnTo>
                    <a:pt x="114" y="517"/>
                  </a:lnTo>
                  <a:lnTo>
                    <a:pt x="114" y="514"/>
                  </a:lnTo>
                  <a:close/>
                  <a:moveTo>
                    <a:pt x="118" y="512"/>
                  </a:moveTo>
                  <a:lnTo>
                    <a:pt x="119" y="517"/>
                  </a:lnTo>
                  <a:lnTo>
                    <a:pt x="118" y="512"/>
                  </a:lnTo>
                  <a:close/>
                  <a:moveTo>
                    <a:pt x="111" y="507"/>
                  </a:moveTo>
                  <a:lnTo>
                    <a:pt x="112" y="507"/>
                  </a:lnTo>
                  <a:lnTo>
                    <a:pt x="112" y="511"/>
                  </a:lnTo>
                  <a:lnTo>
                    <a:pt x="111" y="511"/>
                  </a:lnTo>
                  <a:lnTo>
                    <a:pt x="111" y="507"/>
                  </a:lnTo>
                  <a:close/>
                  <a:moveTo>
                    <a:pt x="36" y="511"/>
                  </a:moveTo>
                  <a:lnTo>
                    <a:pt x="39" y="514"/>
                  </a:lnTo>
                  <a:lnTo>
                    <a:pt x="37" y="516"/>
                  </a:lnTo>
                  <a:lnTo>
                    <a:pt x="36" y="516"/>
                  </a:lnTo>
                  <a:lnTo>
                    <a:pt x="32" y="509"/>
                  </a:lnTo>
                  <a:lnTo>
                    <a:pt x="32" y="507"/>
                  </a:lnTo>
                  <a:lnTo>
                    <a:pt x="36" y="511"/>
                  </a:lnTo>
                  <a:close/>
                  <a:moveTo>
                    <a:pt x="43" y="505"/>
                  </a:moveTo>
                  <a:lnTo>
                    <a:pt x="44" y="505"/>
                  </a:lnTo>
                  <a:lnTo>
                    <a:pt x="44" y="509"/>
                  </a:lnTo>
                  <a:lnTo>
                    <a:pt x="43" y="509"/>
                  </a:lnTo>
                  <a:lnTo>
                    <a:pt x="43" y="505"/>
                  </a:lnTo>
                  <a:close/>
                  <a:moveTo>
                    <a:pt x="107" y="502"/>
                  </a:moveTo>
                  <a:lnTo>
                    <a:pt x="111" y="505"/>
                  </a:lnTo>
                  <a:lnTo>
                    <a:pt x="107" y="505"/>
                  </a:lnTo>
                  <a:lnTo>
                    <a:pt x="107" y="509"/>
                  </a:lnTo>
                  <a:lnTo>
                    <a:pt x="106" y="504"/>
                  </a:lnTo>
                  <a:lnTo>
                    <a:pt x="107" y="502"/>
                  </a:lnTo>
                  <a:close/>
                  <a:moveTo>
                    <a:pt x="41" y="500"/>
                  </a:moveTo>
                  <a:lnTo>
                    <a:pt x="43" y="500"/>
                  </a:lnTo>
                  <a:lnTo>
                    <a:pt x="41" y="500"/>
                  </a:lnTo>
                  <a:lnTo>
                    <a:pt x="39" y="500"/>
                  </a:lnTo>
                  <a:lnTo>
                    <a:pt x="41" y="500"/>
                  </a:lnTo>
                  <a:close/>
                  <a:moveTo>
                    <a:pt x="46" y="499"/>
                  </a:moveTo>
                  <a:lnTo>
                    <a:pt x="48" y="500"/>
                  </a:lnTo>
                  <a:lnTo>
                    <a:pt x="46" y="502"/>
                  </a:lnTo>
                  <a:lnTo>
                    <a:pt x="44" y="500"/>
                  </a:lnTo>
                  <a:lnTo>
                    <a:pt x="44" y="499"/>
                  </a:lnTo>
                  <a:lnTo>
                    <a:pt x="46" y="499"/>
                  </a:lnTo>
                  <a:close/>
                  <a:moveTo>
                    <a:pt x="94" y="497"/>
                  </a:moveTo>
                  <a:lnTo>
                    <a:pt x="95" y="500"/>
                  </a:lnTo>
                  <a:lnTo>
                    <a:pt x="94" y="502"/>
                  </a:lnTo>
                  <a:lnTo>
                    <a:pt x="92" y="499"/>
                  </a:lnTo>
                  <a:lnTo>
                    <a:pt x="94" y="497"/>
                  </a:lnTo>
                  <a:close/>
                  <a:moveTo>
                    <a:pt x="444" y="497"/>
                  </a:moveTo>
                  <a:lnTo>
                    <a:pt x="445" y="497"/>
                  </a:lnTo>
                  <a:lnTo>
                    <a:pt x="445" y="500"/>
                  </a:lnTo>
                  <a:lnTo>
                    <a:pt x="444" y="500"/>
                  </a:lnTo>
                  <a:lnTo>
                    <a:pt x="444" y="497"/>
                  </a:lnTo>
                  <a:close/>
                  <a:moveTo>
                    <a:pt x="111" y="495"/>
                  </a:moveTo>
                  <a:lnTo>
                    <a:pt x="114" y="495"/>
                  </a:lnTo>
                  <a:lnTo>
                    <a:pt x="114" y="499"/>
                  </a:lnTo>
                  <a:lnTo>
                    <a:pt x="111" y="499"/>
                  </a:lnTo>
                  <a:lnTo>
                    <a:pt x="111" y="495"/>
                  </a:lnTo>
                  <a:close/>
                  <a:moveTo>
                    <a:pt x="121" y="492"/>
                  </a:moveTo>
                  <a:lnTo>
                    <a:pt x="123" y="492"/>
                  </a:lnTo>
                  <a:lnTo>
                    <a:pt x="123" y="495"/>
                  </a:lnTo>
                  <a:lnTo>
                    <a:pt x="121" y="495"/>
                  </a:lnTo>
                  <a:lnTo>
                    <a:pt x="121" y="492"/>
                  </a:lnTo>
                  <a:close/>
                  <a:moveTo>
                    <a:pt x="119" y="492"/>
                  </a:moveTo>
                  <a:lnTo>
                    <a:pt x="119" y="493"/>
                  </a:lnTo>
                  <a:lnTo>
                    <a:pt x="116" y="493"/>
                  </a:lnTo>
                  <a:lnTo>
                    <a:pt x="119" y="492"/>
                  </a:lnTo>
                  <a:close/>
                  <a:moveTo>
                    <a:pt x="25" y="492"/>
                  </a:moveTo>
                  <a:lnTo>
                    <a:pt x="22" y="500"/>
                  </a:lnTo>
                  <a:lnTo>
                    <a:pt x="19" y="500"/>
                  </a:lnTo>
                  <a:lnTo>
                    <a:pt x="22" y="493"/>
                  </a:lnTo>
                  <a:lnTo>
                    <a:pt x="25" y="492"/>
                  </a:lnTo>
                  <a:close/>
                  <a:moveTo>
                    <a:pt x="32" y="490"/>
                  </a:moveTo>
                  <a:lnTo>
                    <a:pt x="34" y="490"/>
                  </a:lnTo>
                  <a:lnTo>
                    <a:pt x="34" y="493"/>
                  </a:lnTo>
                  <a:lnTo>
                    <a:pt x="32" y="493"/>
                  </a:lnTo>
                  <a:lnTo>
                    <a:pt x="32" y="490"/>
                  </a:lnTo>
                  <a:close/>
                  <a:moveTo>
                    <a:pt x="121" y="490"/>
                  </a:moveTo>
                  <a:lnTo>
                    <a:pt x="124" y="490"/>
                  </a:lnTo>
                  <a:lnTo>
                    <a:pt x="124" y="493"/>
                  </a:lnTo>
                  <a:lnTo>
                    <a:pt x="121" y="493"/>
                  </a:lnTo>
                  <a:lnTo>
                    <a:pt x="121" y="490"/>
                  </a:lnTo>
                  <a:close/>
                  <a:moveTo>
                    <a:pt x="111" y="490"/>
                  </a:moveTo>
                  <a:lnTo>
                    <a:pt x="118" y="495"/>
                  </a:lnTo>
                  <a:lnTo>
                    <a:pt x="118" y="502"/>
                  </a:lnTo>
                  <a:lnTo>
                    <a:pt x="116" y="500"/>
                  </a:lnTo>
                  <a:lnTo>
                    <a:pt x="116" y="499"/>
                  </a:lnTo>
                  <a:lnTo>
                    <a:pt x="112" y="495"/>
                  </a:lnTo>
                  <a:lnTo>
                    <a:pt x="111" y="492"/>
                  </a:lnTo>
                  <a:lnTo>
                    <a:pt x="109" y="488"/>
                  </a:lnTo>
                  <a:lnTo>
                    <a:pt x="111" y="490"/>
                  </a:lnTo>
                  <a:close/>
                  <a:moveTo>
                    <a:pt x="53" y="487"/>
                  </a:moveTo>
                  <a:lnTo>
                    <a:pt x="51" y="488"/>
                  </a:lnTo>
                  <a:lnTo>
                    <a:pt x="53" y="492"/>
                  </a:lnTo>
                  <a:lnTo>
                    <a:pt x="48" y="490"/>
                  </a:lnTo>
                  <a:lnTo>
                    <a:pt x="46" y="487"/>
                  </a:lnTo>
                  <a:lnTo>
                    <a:pt x="53" y="487"/>
                  </a:lnTo>
                  <a:close/>
                  <a:moveTo>
                    <a:pt x="43" y="485"/>
                  </a:moveTo>
                  <a:lnTo>
                    <a:pt x="46" y="488"/>
                  </a:lnTo>
                  <a:lnTo>
                    <a:pt x="44" y="488"/>
                  </a:lnTo>
                  <a:lnTo>
                    <a:pt x="43" y="485"/>
                  </a:lnTo>
                  <a:close/>
                  <a:moveTo>
                    <a:pt x="31" y="485"/>
                  </a:moveTo>
                  <a:lnTo>
                    <a:pt x="32" y="485"/>
                  </a:lnTo>
                  <a:lnTo>
                    <a:pt x="32" y="488"/>
                  </a:lnTo>
                  <a:lnTo>
                    <a:pt x="31" y="488"/>
                  </a:lnTo>
                  <a:lnTo>
                    <a:pt x="31" y="485"/>
                  </a:lnTo>
                  <a:close/>
                  <a:moveTo>
                    <a:pt x="162" y="485"/>
                  </a:moveTo>
                  <a:lnTo>
                    <a:pt x="159" y="488"/>
                  </a:lnTo>
                  <a:lnTo>
                    <a:pt x="159" y="492"/>
                  </a:lnTo>
                  <a:lnTo>
                    <a:pt x="155" y="490"/>
                  </a:lnTo>
                  <a:lnTo>
                    <a:pt x="157" y="487"/>
                  </a:lnTo>
                  <a:lnTo>
                    <a:pt x="162" y="485"/>
                  </a:lnTo>
                  <a:close/>
                  <a:moveTo>
                    <a:pt x="49" y="485"/>
                  </a:moveTo>
                  <a:lnTo>
                    <a:pt x="53" y="485"/>
                  </a:lnTo>
                  <a:lnTo>
                    <a:pt x="49" y="485"/>
                  </a:lnTo>
                  <a:close/>
                  <a:moveTo>
                    <a:pt x="123" y="483"/>
                  </a:moveTo>
                  <a:lnTo>
                    <a:pt x="126" y="485"/>
                  </a:lnTo>
                  <a:lnTo>
                    <a:pt x="119" y="483"/>
                  </a:lnTo>
                  <a:lnTo>
                    <a:pt x="123" y="483"/>
                  </a:lnTo>
                  <a:close/>
                  <a:moveTo>
                    <a:pt x="167" y="483"/>
                  </a:moveTo>
                  <a:lnTo>
                    <a:pt x="174" y="485"/>
                  </a:lnTo>
                  <a:lnTo>
                    <a:pt x="176" y="487"/>
                  </a:lnTo>
                  <a:lnTo>
                    <a:pt x="172" y="488"/>
                  </a:lnTo>
                  <a:lnTo>
                    <a:pt x="169" y="485"/>
                  </a:lnTo>
                  <a:lnTo>
                    <a:pt x="167" y="487"/>
                  </a:lnTo>
                  <a:lnTo>
                    <a:pt x="167" y="483"/>
                  </a:lnTo>
                  <a:close/>
                  <a:moveTo>
                    <a:pt x="78" y="481"/>
                  </a:moveTo>
                  <a:lnTo>
                    <a:pt x="80" y="481"/>
                  </a:lnTo>
                  <a:lnTo>
                    <a:pt x="80" y="483"/>
                  </a:lnTo>
                  <a:lnTo>
                    <a:pt x="78" y="483"/>
                  </a:lnTo>
                  <a:lnTo>
                    <a:pt x="78" y="481"/>
                  </a:lnTo>
                  <a:close/>
                  <a:moveTo>
                    <a:pt x="66" y="480"/>
                  </a:moveTo>
                  <a:lnTo>
                    <a:pt x="68" y="480"/>
                  </a:lnTo>
                  <a:lnTo>
                    <a:pt x="68" y="481"/>
                  </a:lnTo>
                  <a:lnTo>
                    <a:pt x="66" y="481"/>
                  </a:lnTo>
                  <a:lnTo>
                    <a:pt x="66" y="480"/>
                  </a:lnTo>
                  <a:close/>
                  <a:moveTo>
                    <a:pt x="169" y="480"/>
                  </a:moveTo>
                  <a:lnTo>
                    <a:pt x="172" y="480"/>
                  </a:lnTo>
                  <a:lnTo>
                    <a:pt x="174" y="485"/>
                  </a:lnTo>
                  <a:lnTo>
                    <a:pt x="165" y="481"/>
                  </a:lnTo>
                  <a:lnTo>
                    <a:pt x="169" y="480"/>
                  </a:lnTo>
                  <a:close/>
                  <a:moveTo>
                    <a:pt x="155" y="480"/>
                  </a:moveTo>
                  <a:lnTo>
                    <a:pt x="160" y="480"/>
                  </a:lnTo>
                  <a:lnTo>
                    <a:pt x="153" y="485"/>
                  </a:lnTo>
                  <a:lnTo>
                    <a:pt x="153" y="483"/>
                  </a:lnTo>
                  <a:lnTo>
                    <a:pt x="153" y="481"/>
                  </a:lnTo>
                  <a:lnTo>
                    <a:pt x="153" y="480"/>
                  </a:lnTo>
                  <a:lnTo>
                    <a:pt x="155" y="480"/>
                  </a:lnTo>
                  <a:close/>
                  <a:moveTo>
                    <a:pt x="29" y="480"/>
                  </a:moveTo>
                  <a:lnTo>
                    <a:pt x="31" y="481"/>
                  </a:lnTo>
                  <a:lnTo>
                    <a:pt x="29" y="483"/>
                  </a:lnTo>
                  <a:lnTo>
                    <a:pt x="27" y="481"/>
                  </a:lnTo>
                  <a:lnTo>
                    <a:pt x="29" y="480"/>
                  </a:lnTo>
                  <a:close/>
                  <a:moveTo>
                    <a:pt x="150" y="480"/>
                  </a:moveTo>
                  <a:lnTo>
                    <a:pt x="152" y="480"/>
                  </a:lnTo>
                  <a:lnTo>
                    <a:pt x="153" y="481"/>
                  </a:lnTo>
                  <a:lnTo>
                    <a:pt x="148" y="481"/>
                  </a:lnTo>
                  <a:lnTo>
                    <a:pt x="145" y="485"/>
                  </a:lnTo>
                  <a:lnTo>
                    <a:pt x="145" y="481"/>
                  </a:lnTo>
                  <a:lnTo>
                    <a:pt x="150" y="480"/>
                  </a:lnTo>
                  <a:close/>
                  <a:moveTo>
                    <a:pt x="114" y="478"/>
                  </a:moveTo>
                  <a:lnTo>
                    <a:pt x="118" y="480"/>
                  </a:lnTo>
                  <a:lnTo>
                    <a:pt x="114" y="481"/>
                  </a:lnTo>
                  <a:lnTo>
                    <a:pt x="116" y="485"/>
                  </a:lnTo>
                  <a:lnTo>
                    <a:pt x="121" y="490"/>
                  </a:lnTo>
                  <a:lnTo>
                    <a:pt x="114" y="490"/>
                  </a:lnTo>
                  <a:lnTo>
                    <a:pt x="114" y="488"/>
                  </a:lnTo>
                  <a:lnTo>
                    <a:pt x="114" y="492"/>
                  </a:lnTo>
                  <a:lnTo>
                    <a:pt x="109" y="488"/>
                  </a:lnTo>
                  <a:lnTo>
                    <a:pt x="107" y="488"/>
                  </a:lnTo>
                  <a:lnTo>
                    <a:pt x="104" y="481"/>
                  </a:lnTo>
                  <a:lnTo>
                    <a:pt x="104" y="480"/>
                  </a:lnTo>
                  <a:lnTo>
                    <a:pt x="106" y="481"/>
                  </a:lnTo>
                  <a:lnTo>
                    <a:pt x="107" y="480"/>
                  </a:lnTo>
                  <a:lnTo>
                    <a:pt x="109" y="481"/>
                  </a:lnTo>
                  <a:lnTo>
                    <a:pt x="114" y="478"/>
                  </a:lnTo>
                  <a:close/>
                  <a:moveTo>
                    <a:pt x="102" y="480"/>
                  </a:moveTo>
                  <a:lnTo>
                    <a:pt x="101" y="476"/>
                  </a:lnTo>
                  <a:lnTo>
                    <a:pt x="101" y="478"/>
                  </a:lnTo>
                  <a:lnTo>
                    <a:pt x="102" y="480"/>
                  </a:lnTo>
                  <a:close/>
                  <a:moveTo>
                    <a:pt x="51" y="483"/>
                  </a:moveTo>
                  <a:lnTo>
                    <a:pt x="48" y="483"/>
                  </a:lnTo>
                  <a:lnTo>
                    <a:pt x="44" y="475"/>
                  </a:lnTo>
                  <a:lnTo>
                    <a:pt x="48" y="478"/>
                  </a:lnTo>
                  <a:lnTo>
                    <a:pt x="51" y="483"/>
                  </a:lnTo>
                  <a:close/>
                  <a:moveTo>
                    <a:pt x="157" y="475"/>
                  </a:moveTo>
                  <a:lnTo>
                    <a:pt x="159" y="475"/>
                  </a:lnTo>
                  <a:lnTo>
                    <a:pt x="159" y="476"/>
                  </a:lnTo>
                  <a:lnTo>
                    <a:pt x="157" y="476"/>
                  </a:lnTo>
                  <a:lnTo>
                    <a:pt x="157" y="475"/>
                  </a:lnTo>
                  <a:close/>
                  <a:moveTo>
                    <a:pt x="128" y="473"/>
                  </a:moveTo>
                  <a:lnTo>
                    <a:pt x="126" y="476"/>
                  </a:lnTo>
                  <a:lnTo>
                    <a:pt x="126" y="473"/>
                  </a:lnTo>
                  <a:lnTo>
                    <a:pt x="128" y="473"/>
                  </a:lnTo>
                  <a:close/>
                  <a:moveTo>
                    <a:pt x="48" y="471"/>
                  </a:moveTo>
                  <a:lnTo>
                    <a:pt x="48" y="475"/>
                  </a:lnTo>
                  <a:lnTo>
                    <a:pt x="48" y="471"/>
                  </a:lnTo>
                  <a:close/>
                  <a:moveTo>
                    <a:pt x="13" y="471"/>
                  </a:moveTo>
                  <a:lnTo>
                    <a:pt x="13" y="473"/>
                  </a:lnTo>
                  <a:lnTo>
                    <a:pt x="13" y="471"/>
                  </a:lnTo>
                  <a:close/>
                  <a:moveTo>
                    <a:pt x="164" y="476"/>
                  </a:moveTo>
                  <a:lnTo>
                    <a:pt x="159" y="478"/>
                  </a:lnTo>
                  <a:lnTo>
                    <a:pt x="160" y="476"/>
                  </a:lnTo>
                  <a:lnTo>
                    <a:pt x="160" y="470"/>
                  </a:lnTo>
                  <a:lnTo>
                    <a:pt x="164" y="473"/>
                  </a:lnTo>
                  <a:lnTo>
                    <a:pt x="164" y="476"/>
                  </a:lnTo>
                  <a:close/>
                  <a:moveTo>
                    <a:pt x="46" y="476"/>
                  </a:moveTo>
                  <a:lnTo>
                    <a:pt x="43" y="470"/>
                  </a:lnTo>
                  <a:lnTo>
                    <a:pt x="44" y="471"/>
                  </a:lnTo>
                  <a:lnTo>
                    <a:pt x="46" y="476"/>
                  </a:lnTo>
                  <a:close/>
                  <a:moveTo>
                    <a:pt x="19" y="471"/>
                  </a:moveTo>
                  <a:lnTo>
                    <a:pt x="24" y="473"/>
                  </a:lnTo>
                  <a:lnTo>
                    <a:pt x="27" y="478"/>
                  </a:lnTo>
                  <a:lnTo>
                    <a:pt x="27" y="483"/>
                  </a:lnTo>
                  <a:lnTo>
                    <a:pt x="20" y="476"/>
                  </a:lnTo>
                  <a:lnTo>
                    <a:pt x="13" y="473"/>
                  </a:lnTo>
                  <a:lnTo>
                    <a:pt x="13" y="468"/>
                  </a:lnTo>
                  <a:lnTo>
                    <a:pt x="19" y="471"/>
                  </a:lnTo>
                  <a:close/>
                  <a:moveTo>
                    <a:pt x="54" y="470"/>
                  </a:moveTo>
                  <a:lnTo>
                    <a:pt x="58" y="470"/>
                  </a:lnTo>
                  <a:lnTo>
                    <a:pt x="63" y="476"/>
                  </a:lnTo>
                  <a:lnTo>
                    <a:pt x="65" y="481"/>
                  </a:lnTo>
                  <a:lnTo>
                    <a:pt x="63" y="480"/>
                  </a:lnTo>
                  <a:lnTo>
                    <a:pt x="63" y="485"/>
                  </a:lnTo>
                  <a:lnTo>
                    <a:pt x="61" y="485"/>
                  </a:lnTo>
                  <a:lnTo>
                    <a:pt x="61" y="481"/>
                  </a:lnTo>
                  <a:lnTo>
                    <a:pt x="54" y="478"/>
                  </a:lnTo>
                  <a:lnTo>
                    <a:pt x="49" y="473"/>
                  </a:lnTo>
                  <a:lnTo>
                    <a:pt x="51" y="470"/>
                  </a:lnTo>
                  <a:lnTo>
                    <a:pt x="54" y="470"/>
                  </a:lnTo>
                  <a:close/>
                  <a:moveTo>
                    <a:pt x="138" y="470"/>
                  </a:moveTo>
                  <a:lnTo>
                    <a:pt x="142" y="470"/>
                  </a:lnTo>
                  <a:lnTo>
                    <a:pt x="140" y="471"/>
                  </a:lnTo>
                  <a:lnTo>
                    <a:pt x="133" y="470"/>
                  </a:lnTo>
                  <a:lnTo>
                    <a:pt x="138" y="470"/>
                  </a:lnTo>
                  <a:close/>
                  <a:moveTo>
                    <a:pt x="165" y="468"/>
                  </a:moveTo>
                  <a:lnTo>
                    <a:pt x="167" y="468"/>
                  </a:lnTo>
                  <a:lnTo>
                    <a:pt x="167" y="473"/>
                  </a:lnTo>
                  <a:lnTo>
                    <a:pt x="165" y="473"/>
                  </a:lnTo>
                  <a:lnTo>
                    <a:pt x="162" y="471"/>
                  </a:lnTo>
                  <a:lnTo>
                    <a:pt x="165" y="468"/>
                  </a:lnTo>
                  <a:close/>
                  <a:moveTo>
                    <a:pt x="509" y="471"/>
                  </a:moveTo>
                  <a:lnTo>
                    <a:pt x="509" y="468"/>
                  </a:lnTo>
                  <a:lnTo>
                    <a:pt x="509" y="471"/>
                  </a:lnTo>
                  <a:close/>
                  <a:moveTo>
                    <a:pt x="159" y="468"/>
                  </a:moveTo>
                  <a:lnTo>
                    <a:pt x="162" y="468"/>
                  </a:lnTo>
                  <a:lnTo>
                    <a:pt x="162" y="470"/>
                  </a:lnTo>
                  <a:lnTo>
                    <a:pt x="159" y="471"/>
                  </a:lnTo>
                  <a:lnTo>
                    <a:pt x="157" y="470"/>
                  </a:lnTo>
                  <a:lnTo>
                    <a:pt x="159" y="468"/>
                  </a:lnTo>
                  <a:close/>
                  <a:moveTo>
                    <a:pt x="10" y="468"/>
                  </a:moveTo>
                  <a:lnTo>
                    <a:pt x="12" y="470"/>
                  </a:lnTo>
                  <a:lnTo>
                    <a:pt x="12" y="471"/>
                  </a:lnTo>
                  <a:lnTo>
                    <a:pt x="13" y="473"/>
                  </a:lnTo>
                  <a:lnTo>
                    <a:pt x="20" y="478"/>
                  </a:lnTo>
                  <a:lnTo>
                    <a:pt x="25" y="483"/>
                  </a:lnTo>
                  <a:lnTo>
                    <a:pt x="24" y="488"/>
                  </a:lnTo>
                  <a:lnTo>
                    <a:pt x="20" y="493"/>
                  </a:lnTo>
                  <a:lnTo>
                    <a:pt x="19" y="499"/>
                  </a:lnTo>
                  <a:lnTo>
                    <a:pt x="12" y="497"/>
                  </a:lnTo>
                  <a:lnTo>
                    <a:pt x="12" y="493"/>
                  </a:lnTo>
                  <a:lnTo>
                    <a:pt x="7" y="485"/>
                  </a:lnTo>
                  <a:lnTo>
                    <a:pt x="5" y="478"/>
                  </a:lnTo>
                  <a:lnTo>
                    <a:pt x="5" y="475"/>
                  </a:lnTo>
                  <a:lnTo>
                    <a:pt x="8" y="471"/>
                  </a:lnTo>
                  <a:lnTo>
                    <a:pt x="8" y="468"/>
                  </a:lnTo>
                  <a:lnTo>
                    <a:pt x="10" y="468"/>
                  </a:lnTo>
                  <a:close/>
                  <a:moveTo>
                    <a:pt x="65" y="468"/>
                  </a:moveTo>
                  <a:lnTo>
                    <a:pt x="72" y="471"/>
                  </a:lnTo>
                  <a:lnTo>
                    <a:pt x="72" y="476"/>
                  </a:lnTo>
                  <a:lnTo>
                    <a:pt x="75" y="478"/>
                  </a:lnTo>
                  <a:lnTo>
                    <a:pt x="77" y="481"/>
                  </a:lnTo>
                  <a:lnTo>
                    <a:pt x="75" y="483"/>
                  </a:lnTo>
                  <a:lnTo>
                    <a:pt x="73" y="481"/>
                  </a:lnTo>
                  <a:lnTo>
                    <a:pt x="70" y="480"/>
                  </a:lnTo>
                  <a:lnTo>
                    <a:pt x="63" y="473"/>
                  </a:lnTo>
                  <a:lnTo>
                    <a:pt x="61" y="468"/>
                  </a:lnTo>
                  <a:lnTo>
                    <a:pt x="65" y="468"/>
                  </a:lnTo>
                  <a:close/>
                  <a:moveTo>
                    <a:pt x="53" y="466"/>
                  </a:moveTo>
                  <a:lnTo>
                    <a:pt x="56" y="466"/>
                  </a:lnTo>
                  <a:lnTo>
                    <a:pt x="56" y="470"/>
                  </a:lnTo>
                  <a:lnTo>
                    <a:pt x="53" y="470"/>
                  </a:lnTo>
                  <a:lnTo>
                    <a:pt x="53" y="466"/>
                  </a:lnTo>
                  <a:close/>
                  <a:moveTo>
                    <a:pt x="3" y="464"/>
                  </a:moveTo>
                  <a:lnTo>
                    <a:pt x="5" y="464"/>
                  </a:lnTo>
                  <a:lnTo>
                    <a:pt x="5" y="468"/>
                  </a:lnTo>
                  <a:lnTo>
                    <a:pt x="3" y="468"/>
                  </a:lnTo>
                  <a:lnTo>
                    <a:pt x="3" y="464"/>
                  </a:lnTo>
                  <a:close/>
                  <a:moveTo>
                    <a:pt x="89" y="464"/>
                  </a:moveTo>
                  <a:lnTo>
                    <a:pt x="90" y="464"/>
                  </a:lnTo>
                  <a:lnTo>
                    <a:pt x="90" y="468"/>
                  </a:lnTo>
                  <a:lnTo>
                    <a:pt x="89" y="468"/>
                  </a:lnTo>
                  <a:lnTo>
                    <a:pt x="89" y="464"/>
                  </a:lnTo>
                  <a:close/>
                  <a:moveTo>
                    <a:pt x="107" y="464"/>
                  </a:moveTo>
                  <a:lnTo>
                    <a:pt x="109" y="464"/>
                  </a:lnTo>
                  <a:lnTo>
                    <a:pt x="109" y="466"/>
                  </a:lnTo>
                  <a:lnTo>
                    <a:pt x="107" y="466"/>
                  </a:lnTo>
                  <a:lnTo>
                    <a:pt x="107" y="464"/>
                  </a:lnTo>
                  <a:close/>
                  <a:moveTo>
                    <a:pt x="77" y="464"/>
                  </a:moveTo>
                  <a:lnTo>
                    <a:pt x="80" y="464"/>
                  </a:lnTo>
                  <a:lnTo>
                    <a:pt x="80" y="466"/>
                  </a:lnTo>
                  <a:lnTo>
                    <a:pt x="77" y="466"/>
                  </a:lnTo>
                  <a:lnTo>
                    <a:pt x="77" y="464"/>
                  </a:lnTo>
                  <a:close/>
                  <a:moveTo>
                    <a:pt x="19" y="464"/>
                  </a:moveTo>
                  <a:lnTo>
                    <a:pt x="20" y="466"/>
                  </a:lnTo>
                  <a:lnTo>
                    <a:pt x="22" y="471"/>
                  </a:lnTo>
                  <a:lnTo>
                    <a:pt x="19" y="471"/>
                  </a:lnTo>
                  <a:lnTo>
                    <a:pt x="13" y="468"/>
                  </a:lnTo>
                  <a:lnTo>
                    <a:pt x="12" y="466"/>
                  </a:lnTo>
                  <a:lnTo>
                    <a:pt x="19" y="464"/>
                  </a:lnTo>
                  <a:close/>
                  <a:moveTo>
                    <a:pt x="27" y="471"/>
                  </a:moveTo>
                  <a:lnTo>
                    <a:pt x="24" y="471"/>
                  </a:lnTo>
                  <a:lnTo>
                    <a:pt x="22" y="463"/>
                  </a:lnTo>
                  <a:lnTo>
                    <a:pt x="25" y="464"/>
                  </a:lnTo>
                  <a:lnTo>
                    <a:pt x="27" y="471"/>
                  </a:lnTo>
                  <a:close/>
                  <a:moveTo>
                    <a:pt x="102" y="463"/>
                  </a:moveTo>
                  <a:lnTo>
                    <a:pt x="106" y="463"/>
                  </a:lnTo>
                  <a:lnTo>
                    <a:pt x="106" y="466"/>
                  </a:lnTo>
                  <a:lnTo>
                    <a:pt x="102" y="466"/>
                  </a:lnTo>
                  <a:lnTo>
                    <a:pt x="102" y="463"/>
                  </a:lnTo>
                  <a:close/>
                  <a:moveTo>
                    <a:pt x="171" y="461"/>
                  </a:moveTo>
                  <a:lnTo>
                    <a:pt x="174" y="461"/>
                  </a:lnTo>
                  <a:lnTo>
                    <a:pt x="174" y="464"/>
                  </a:lnTo>
                  <a:lnTo>
                    <a:pt x="171" y="464"/>
                  </a:lnTo>
                  <a:lnTo>
                    <a:pt x="171" y="461"/>
                  </a:lnTo>
                  <a:close/>
                  <a:moveTo>
                    <a:pt x="15" y="461"/>
                  </a:moveTo>
                  <a:lnTo>
                    <a:pt x="17" y="463"/>
                  </a:lnTo>
                  <a:lnTo>
                    <a:pt x="13" y="464"/>
                  </a:lnTo>
                  <a:lnTo>
                    <a:pt x="12" y="461"/>
                  </a:lnTo>
                  <a:lnTo>
                    <a:pt x="13" y="461"/>
                  </a:lnTo>
                  <a:lnTo>
                    <a:pt x="15" y="461"/>
                  </a:lnTo>
                  <a:close/>
                  <a:moveTo>
                    <a:pt x="97" y="459"/>
                  </a:moveTo>
                  <a:lnTo>
                    <a:pt x="99" y="463"/>
                  </a:lnTo>
                  <a:lnTo>
                    <a:pt x="101" y="461"/>
                  </a:lnTo>
                  <a:lnTo>
                    <a:pt x="102" y="464"/>
                  </a:lnTo>
                  <a:lnTo>
                    <a:pt x="102" y="468"/>
                  </a:lnTo>
                  <a:lnTo>
                    <a:pt x="104" y="466"/>
                  </a:lnTo>
                  <a:lnTo>
                    <a:pt x="104" y="471"/>
                  </a:lnTo>
                  <a:lnTo>
                    <a:pt x="106" y="468"/>
                  </a:lnTo>
                  <a:lnTo>
                    <a:pt x="106" y="471"/>
                  </a:lnTo>
                  <a:lnTo>
                    <a:pt x="109" y="470"/>
                  </a:lnTo>
                  <a:lnTo>
                    <a:pt x="112" y="470"/>
                  </a:lnTo>
                  <a:lnTo>
                    <a:pt x="112" y="471"/>
                  </a:lnTo>
                  <a:lnTo>
                    <a:pt x="116" y="471"/>
                  </a:lnTo>
                  <a:lnTo>
                    <a:pt x="112" y="476"/>
                  </a:lnTo>
                  <a:lnTo>
                    <a:pt x="107" y="478"/>
                  </a:lnTo>
                  <a:lnTo>
                    <a:pt x="106" y="481"/>
                  </a:lnTo>
                  <a:lnTo>
                    <a:pt x="101" y="471"/>
                  </a:lnTo>
                  <a:lnTo>
                    <a:pt x="99" y="471"/>
                  </a:lnTo>
                  <a:lnTo>
                    <a:pt x="97" y="470"/>
                  </a:lnTo>
                  <a:lnTo>
                    <a:pt x="95" y="470"/>
                  </a:lnTo>
                  <a:lnTo>
                    <a:pt x="95" y="463"/>
                  </a:lnTo>
                  <a:lnTo>
                    <a:pt x="94" y="459"/>
                  </a:lnTo>
                  <a:lnTo>
                    <a:pt x="95" y="461"/>
                  </a:lnTo>
                  <a:lnTo>
                    <a:pt x="97" y="459"/>
                  </a:lnTo>
                  <a:close/>
                  <a:moveTo>
                    <a:pt x="17" y="459"/>
                  </a:moveTo>
                  <a:lnTo>
                    <a:pt x="20" y="461"/>
                  </a:lnTo>
                  <a:lnTo>
                    <a:pt x="20" y="464"/>
                  </a:lnTo>
                  <a:lnTo>
                    <a:pt x="15" y="459"/>
                  </a:lnTo>
                  <a:lnTo>
                    <a:pt x="17" y="459"/>
                  </a:lnTo>
                  <a:close/>
                  <a:moveTo>
                    <a:pt x="500" y="459"/>
                  </a:moveTo>
                  <a:lnTo>
                    <a:pt x="500" y="461"/>
                  </a:lnTo>
                  <a:lnTo>
                    <a:pt x="500" y="459"/>
                  </a:lnTo>
                  <a:close/>
                  <a:moveTo>
                    <a:pt x="491" y="458"/>
                  </a:moveTo>
                  <a:lnTo>
                    <a:pt x="493" y="458"/>
                  </a:lnTo>
                  <a:lnTo>
                    <a:pt x="493" y="461"/>
                  </a:lnTo>
                  <a:lnTo>
                    <a:pt x="491" y="461"/>
                  </a:lnTo>
                  <a:lnTo>
                    <a:pt x="491" y="458"/>
                  </a:lnTo>
                  <a:close/>
                  <a:moveTo>
                    <a:pt x="90" y="459"/>
                  </a:moveTo>
                  <a:lnTo>
                    <a:pt x="94" y="461"/>
                  </a:lnTo>
                  <a:lnTo>
                    <a:pt x="92" y="464"/>
                  </a:lnTo>
                  <a:lnTo>
                    <a:pt x="89" y="463"/>
                  </a:lnTo>
                  <a:lnTo>
                    <a:pt x="89" y="459"/>
                  </a:lnTo>
                  <a:lnTo>
                    <a:pt x="90" y="459"/>
                  </a:lnTo>
                  <a:close/>
                  <a:moveTo>
                    <a:pt x="102" y="458"/>
                  </a:moveTo>
                  <a:lnTo>
                    <a:pt x="104" y="458"/>
                  </a:lnTo>
                  <a:lnTo>
                    <a:pt x="104" y="459"/>
                  </a:lnTo>
                  <a:lnTo>
                    <a:pt x="107" y="461"/>
                  </a:lnTo>
                  <a:lnTo>
                    <a:pt x="102" y="463"/>
                  </a:lnTo>
                  <a:lnTo>
                    <a:pt x="101" y="461"/>
                  </a:lnTo>
                  <a:lnTo>
                    <a:pt x="101" y="458"/>
                  </a:lnTo>
                  <a:lnTo>
                    <a:pt x="102" y="458"/>
                  </a:lnTo>
                  <a:close/>
                  <a:moveTo>
                    <a:pt x="83" y="461"/>
                  </a:moveTo>
                  <a:lnTo>
                    <a:pt x="82" y="461"/>
                  </a:lnTo>
                  <a:lnTo>
                    <a:pt x="82" y="458"/>
                  </a:lnTo>
                  <a:lnTo>
                    <a:pt x="83" y="461"/>
                  </a:lnTo>
                  <a:close/>
                  <a:moveTo>
                    <a:pt x="495" y="458"/>
                  </a:moveTo>
                  <a:lnTo>
                    <a:pt x="500" y="458"/>
                  </a:lnTo>
                  <a:lnTo>
                    <a:pt x="498" y="464"/>
                  </a:lnTo>
                  <a:lnTo>
                    <a:pt x="495" y="463"/>
                  </a:lnTo>
                  <a:lnTo>
                    <a:pt x="495" y="458"/>
                  </a:lnTo>
                  <a:close/>
                  <a:moveTo>
                    <a:pt x="95" y="456"/>
                  </a:moveTo>
                  <a:lnTo>
                    <a:pt x="99" y="456"/>
                  </a:lnTo>
                  <a:lnTo>
                    <a:pt x="99" y="459"/>
                  </a:lnTo>
                  <a:lnTo>
                    <a:pt x="95" y="459"/>
                  </a:lnTo>
                  <a:lnTo>
                    <a:pt x="95" y="456"/>
                  </a:lnTo>
                  <a:close/>
                  <a:moveTo>
                    <a:pt x="8" y="456"/>
                  </a:moveTo>
                  <a:lnTo>
                    <a:pt x="10" y="456"/>
                  </a:lnTo>
                  <a:lnTo>
                    <a:pt x="8" y="456"/>
                  </a:lnTo>
                  <a:close/>
                  <a:moveTo>
                    <a:pt x="112" y="454"/>
                  </a:moveTo>
                  <a:lnTo>
                    <a:pt x="114" y="456"/>
                  </a:lnTo>
                  <a:lnTo>
                    <a:pt x="114" y="458"/>
                  </a:lnTo>
                  <a:lnTo>
                    <a:pt x="111" y="458"/>
                  </a:lnTo>
                  <a:lnTo>
                    <a:pt x="112" y="454"/>
                  </a:lnTo>
                  <a:close/>
                  <a:moveTo>
                    <a:pt x="77" y="454"/>
                  </a:moveTo>
                  <a:lnTo>
                    <a:pt x="80" y="454"/>
                  </a:lnTo>
                  <a:lnTo>
                    <a:pt x="80" y="458"/>
                  </a:lnTo>
                  <a:lnTo>
                    <a:pt x="77" y="458"/>
                  </a:lnTo>
                  <a:lnTo>
                    <a:pt x="77" y="454"/>
                  </a:lnTo>
                  <a:close/>
                  <a:moveTo>
                    <a:pt x="490" y="454"/>
                  </a:moveTo>
                  <a:lnTo>
                    <a:pt x="490" y="456"/>
                  </a:lnTo>
                  <a:lnTo>
                    <a:pt x="490" y="454"/>
                  </a:lnTo>
                  <a:close/>
                  <a:moveTo>
                    <a:pt x="131" y="452"/>
                  </a:moveTo>
                  <a:lnTo>
                    <a:pt x="131" y="456"/>
                  </a:lnTo>
                  <a:lnTo>
                    <a:pt x="128" y="456"/>
                  </a:lnTo>
                  <a:lnTo>
                    <a:pt x="131" y="452"/>
                  </a:lnTo>
                  <a:close/>
                  <a:moveTo>
                    <a:pt x="95" y="452"/>
                  </a:moveTo>
                  <a:lnTo>
                    <a:pt x="97" y="452"/>
                  </a:lnTo>
                  <a:lnTo>
                    <a:pt x="97" y="454"/>
                  </a:lnTo>
                  <a:lnTo>
                    <a:pt x="95" y="454"/>
                  </a:lnTo>
                  <a:lnTo>
                    <a:pt x="95" y="452"/>
                  </a:lnTo>
                  <a:close/>
                  <a:moveTo>
                    <a:pt x="95" y="452"/>
                  </a:moveTo>
                  <a:lnTo>
                    <a:pt x="95" y="454"/>
                  </a:lnTo>
                  <a:lnTo>
                    <a:pt x="95" y="452"/>
                  </a:lnTo>
                  <a:close/>
                  <a:moveTo>
                    <a:pt x="507" y="451"/>
                  </a:moveTo>
                  <a:lnTo>
                    <a:pt x="515" y="454"/>
                  </a:lnTo>
                  <a:lnTo>
                    <a:pt x="509" y="461"/>
                  </a:lnTo>
                  <a:lnTo>
                    <a:pt x="509" y="458"/>
                  </a:lnTo>
                  <a:lnTo>
                    <a:pt x="512" y="456"/>
                  </a:lnTo>
                  <a:lnTo>
                    <a:pt x="510" y="456"/>
                  </a:lnTo>
                  <a:lnTo>
                    <a:pt x="512" y="454"/>
                  </a:lnTo>
                  <a:lnTo>
                    <a:pt x="509" y="458"/>
                  </a:lnTo>
                  <a:lnTo>
                    <a:pt x="509" y="456"/>
                  </a:lnTo>
                  <a:lnTo>
                    <a:pt x="507" y="456"/>
                  </a:lnTo>
                  <a:lnTo>
                    <a:pt x="507" y="451"/>
                  </a:lnTo>
                  <a:close/>
                  <a:moveTo>
                    <a:pt x="106" y="452"/>
                  </a:moveTo>
                  <a:lnTo>
                    <a:pt x="104" y="456"/>
                  </a:lnTo>
                  <a:lnTo>
                    <a:pt x="102" y="454"/>
                  </a:lnTo>
                  <a:lnTo>
                    <a:pt x="102" y="452"/>
                  </a:lnTo>
                  <a:lnTo>
                    <a:pt x="106" y="452"/>
                  </a:lnTo>
                  <a:close/>
                  <a:moveTo>
                    <a:pt x="177" y="451"/>
                  </a:moveTo>
                  <a:lnTo>
                    <a:pt x="186" y="452"/>
                  </a:lnTo>
                  <a:lnTo>
                    <a:pt x="186" y="458"/>
                  </a:lnTo>
                  <a:lnTo>
                    <a:pt x="184" y="459"/>
                  </a:lnTo>
                  <a:lnTo>
                    <a:pt x="181" y="459"/>
                  </a:lnTo>
                  <a:lnTo>
                    <a:pt x="182" y="458"/>
                  </a:lnTo>
                  <a:lnTo>
                    <a:pt x="179" y="454"/>
                  </a:lnTo>
                  <a:lnTo>
                    <a:pt x="177" y="451"/>
                  </a:lnTo>
                  <a:close/>
                  <a:moveTo>
                    <a:pt x="68" y="451"/>
                  </a:moveTo>
                  <a:lnTo>
                    <a:pt x="70" y="451"/>
                  </a:lnTo>
                  <a:lnTo>
                    <a:pt x="68" y="452"/>
                  </a:lnTo>
                  <a:lnTo>
                    <a:pt x="72" y="454"/>
                  </a:lnTo>
                  <a:lnTo>
                    <a:pt x="75" y="454"/>
                  </a:lnTo>
                  <a:lnTo>
                    <a:pt x="80" y="459"/>
                  </a:lnTo>
                  <a:lnTo>
                    <a:pt x="78" y="463"/>
                  </a:lnTo>
                  <a:lnTo>
                    <a:pt x="77" y="464"/>
                  </a:lnTo>
                  <a:lnTo>
                    <a:pt x="77" y="466"/>
                  </a:lnTo>
                  <a:lnTo>
                    <a:pt x="73" y="463"/>
                  </a:lnTo>
                  <a:lnTo>
                    <a:pt x="72" y="463"/>
                  </a:lnTo>
                  <a:lnTo>
                    <a:pt x="63" y="458"/>
                  </a:lnTo>
                  <a:lnTo>
                    <a:pt x="63" y="452"/>
                  </a:lnTo>
                  <a:lnTo>
                    <a:pt x="66" y="454"/>
                  </a:lnTo>
                  <a:lnTo>
                    <a:pt x="65" y="452"/>
                  </a:lnTo>
                  <a:lnTo>
                    <a:pt x="68" y="451"/>
                  </a:lnTo>
                  <a:close/>
                  <a:moveTo>
                    <a:pt x="72" y="451"/>
                  </a:moveTo>
                  <a:lnTo>
                    <a:pt x="73" y="452"/>
                  </a:lnTo>
                  <a:lnTo>
                    <a:pt x="72" y="454"/>
                  </a:lnTo>
                  <a:lnTo>
                    <a:pt x="70" y="451"/>
                  </a:lnTo>
                  <a:lnTo>
                    <a:pt x="72" y="451"/>
                  </a:lnTo>
                  <a:close/>
                  <a:moveTo>
                    <a:pt x="58" y="449"/>
                  </a:moveTo>
                  <a:lnTo>
                    <a:pt x="60" y="451"/>
                  </a:lnTo>
                  <a:lnTo>
                    <a:pt x="60" y="459"/>
                  </a:lnTo>
                  <a:lnTo>
                    <a:pt x="53" y="451"/>
                  </a:lnTo>
                  <a:lnTo>
                    <a:pt x="56" y="451"/>
                  </a:lnTo>
                  <a:lnTo>
                    <a:pt x="56" y="449"/>
                  </a:lnTo>
                  <a:lnTo>
                    <a:pt x="58" y="449"/>
                  </a:lnTo>
                  <a:close/>
                  <a:moveTo>
                    <a:pt x="72" y="447"/>
                  </a:moveTo>
                  <a:lnTo>
                    <a:pt x="72" y="451"/>
                  </a:lnTo>
                  <a:lnTo>
                    <a:pt x="72" y="447"/>
                  </a:lnTo>
                  <a:close/>
                  <a:moveTo>
                    <a:pt x="106" y="446"/>
                  </a:moveTo>
                  <a:lnTo>
                    <a:pt x="106" y="451"/>
                  </a:lnTo>
                  <a:lnTo>
                    <a:pt x="104" y="452"/>
                  </a:lnTo>
                  <a:lnTo>
                    <a:pt x="102" y="449"/>
                  </a:lnTo>
                  <a:lnTo>
                    <a:pt x="104" y="447"/>
                  </a:lnTo>
                  <a:lnTo>
                    <a:pt x="106" y="446"/>
                  </a:lnTo>
                  <a:close/>
                  <a:moveTo>
                    <a:pt x="65" y="446"/>
                  </a:moveTo>
                  <a:lnTo>
                    <a:pt x="70" y="449"/>
                  </a:lnTo>
                  <a:lnTo>
                    <a:pt x="65" y="451"/>
                  </a:lnTo>
                  <a:lnTo>
                    <a:pt x="63" y="447"/>
                  </a:lnTo>
                  <a:lnTo>
                    <a:pt x="65" y="446"/>
                  </a:lnTo>
                  <a:close/>
                  <a:moveTo>
                    <a:pt x="66" y="444"/>
                  </a:moveTo>
                  <a:lnTo>
                    <a:pt x="68" y="444"/>
                  </a:lnTo>
                  <a:lnTo>
                    <a:pt x="68" y="447"/>
                  </a:lnTo>
                  <a:lnTo>
                    <a:pt x="66" y="447"/>
                  </a:lnTo>
                  <a:lnTo>
                    <a:pt x="66" y="444"/>
                  </a:lnTo>
                  <a:close/>
                  <a:moveTo>
                    <a:pt x="58" y="442"/>
                  </a:moveTo>
                  <a:lnTo>
                    <a:pt x="61" y="442"/>
                  </a:lnTo>
                  <a:lnTo>
                    <a:pt x="61" y="444"/>
                  </a:lnTo>
                  <a:lnTo>
                    <a:pt x="58" y="444"/>
                  </a:lnTo>
                  <a:lnTo>
                    <a:pt x="58" y="442"/>
                  </a:lnTo>
                  <a:close/>
                  <a:moveTo>
                    <a:pt x="490" y="440"/>
                  </a:moveTo>
                  <a:lnTo>
                    <a:pt x="491" y="440"/>
                  </a:lnTo>
                  <a:lnTo>
                    <a:pt x="491" y="444"/>
                  </a:lnTo>
                  <a:lnTo>
                    <a:pt x="490" y="444"/>
                  </a:lnTo>
                  <a:lnTo>
                    <a:pt x="490" y="440"/>
                  </a:lnTo>
                  <a:close/>
                  <a:moveTo>
                    <a:pt x="10" y="440"/>
                  </a:moveTo>
                  <a:lnTo>
                    <a:pt x="10" y="444"/>
                  </a:lnTo>
                  <a:lnTo>
                    <a:pt x="12" y="447"/>
                  </a:lnTo>
                  <a:lnTo>
                    <a:pt x="15" y="449"/>
                  </a:lnTo>
                  <a:lnTo>
                    <a:pt x="17" y="456"/>
                  </a:lnTo>
                  <a:lnTo>
                    <a:pt x="12" y="456"/>
                  </a:lnTo>
                  <a:lnTo>
                    <a:pt x="8" y="454"/>
                  </a:lnTo>
                  <a:lnTo>
                    <a:pt x="5" y="454"/>
                  </a:lnTo>
                  <a:lnTo>
                    <a:pt x="2" y="449"/>
                  </a:lnTo>
                  <a:lnTo>
                    <a:pt x="2" y="447"/>
                  </a:lnTo>
                  <a:lnTo>
                    <a:pt x="2" y="444"/>
                  </a:lnTo>
                  <a:lnTo>
                    <a:pt x="3" y="440"/>
                  </a:lnTo>
                  <a:lnTo>
                    <a:pt x="7" y="439"/>
                  </a:lnTo>
                  <a:lnTo>
                    <a:pt x="8" y="440"/>
                  </a:lnTo>
                  <a:lnTo>
                    <a:pt x="8" y="439"/>
                  </a:lnTo>
                  <a:lnTo>
                    <a:pt x="10" y="440"/>
                  </a:lnTo>
                  <a:close/>
                  <a:moveTo>
                    <a:pt x="0" y="439"/>
                  </a:moveTo>
                  <a:lnTo>
                    <a:pt x="2" y="439"/>
                  </a:lnTo>
                  <a:lnTo>
                    <a:pt x="2" y="440"/>
                  </a:lnTo>
                  <a:lnTo>
                    <a:pt x="0" y="440"/>
                  </a:lnTo>
                  <a:lnTo>
                    <a:pt x="0" y="439"/>
                  </a:lnTo>
                  <a:close/>
                  <a:moveTo>
                    <a:pt x="68" y="437"/>
                  </a:moveTo>
                  <a:lnTo>
                    <a:pt x="72" y="437"/>
                  </a:lnTo>
                  <a:lnTo>
                    <a:pt x="68" y="437"/>
                  </a:lnTo>
                  <a:close/>
                  <a:moveTo>
                    <a:pt x="10" y="435"/>
                  </a:moveTo>
                  <a:lnTo>
                    <a:pt x="13" y="439"/>
                  </a:lnTo>
                  <a:lnTo>
                    <a:pt x="8" y="437"/>
                  </a:lnTo>
                  <a:lnTo>
                    <a:pt x="10" y="435"/>
                  </a:lnTo>
                  <a:close/>
                  <a:moveTo>
                    <a:pt x="95" y="432"/>
                  </a:moveTo>
                  <a:lnTo>
                    <a:pt x="102" y="437"/>
                  </a:lnTo>
                  <a:lnTo>
                    <a:pt x="101" y="444"/>
                  </a:lnTo>
                  <a:lnTo>
                    <a:pt x="101" y="451"/>
                  </a:lnTo>
                  <a:lnTo>
                    <a:pt x="97" y="451"/>
                  </a:lnTo>
                  <a:lnTo>
                    <a:pt x="95" y="444"/>
                  </a:lnTo>
                  <a:lnTo>
                    <a:pt x="95" y="447"/>
                  </a:lnTo>
                  <a:lnTo>
                    <a:pt x="92" y="447"/>
                  </a:lnTo>
                  <a:lnTo>
                    <a:pt x="94" y="444"/>
                  </a:lnTo>
                  <a:lnTo>
                    <a:pt x="92" y="446"/>
                  </a:lnTo>
                  <a:lnTo>
                    <a:pt x="89" y="444"/>
                  </a:lnTo>
                  <a:lnTo>
                    <a:pt x="87" y="446"/>
                  </a:lnTo>
                  <a:lnTo>
                    <a:pt x="89" y="447"/>
                  </a:lnTo>
                  <a:lnTo>
                    <a:pt x="92" y="447"/>
                  </a:lnTo>
                  <a:lnTo>
                    <a:pt x="90" y="447"/>
                  </a:lnTo>
                  <a:lnTo>
                    <a:pt x="90" y="451"/>
                  </a:lnTo>
                  <a:lnTo>
                    <a:pt x="92" y="449"/>
                  </a:lnTo>
                  <a:lnTo>
                    <a:pt x="95" y="449"/>
                  </a:lnTo>
                  <a:lnTo>
                    <a:pt x="95" y="451"/>
                  </a:lnTo>
                  <a:lnTo>
                    <a:pt x="94" y="452"/>
                  </a:lnTo>
                  <a:lnTo>
                    <a:pt x="95" y="458"/>
                  </a:lnTo>
                  <a:lnTo>
                    <a:pt x="92" y="454"/>
                  </a:lnTo>
                  <a:lnTo>
                    <a:pt x="92" y="456"/>
                  </a:lnTo>
                  <a:lnTo>
                    <a:pt x="89" y="454"/>
                  </a:lnTo>
                  <a:lnTo>
                    <a:pt x="87" y="454"/>
                  </a:lnTo>
                  <a:lnTo>
                    <a:pt x="89" y="454"/>
                  </a:lnTo>
                  <a:lnTo>
                    <a:pt x="89" y="458"/>
                  </a:lnTo>
                  <a:lnTo>
                    <a:pt x="85" y="456"/>
                  </a:lnTo>
                  <a:lnTo>
                    <a:pt x="82" y="452"/>
                  </a:lnTo>
                  <a:lnTo>
                    <a:pt x="77" y="454"/>
                  </a:lnTo>
                  <a:lnTo>
                    <a:pt x="73" y="451"/>
                  </a:lnTo>
                  <a:lnTo>
                    <a:pt x="70" y="444"/>
                  </a:lnTo>
                  <a:lnTo>
                    <a:pt x="73" y="442"/>
                  </a:lnTo>
                  <a:lnTo>
                    <a:pt x="75" y="446"/>
                  </a:lnTo>
                  <a:lnTo>
                    <a:pt x="77" y="444"/>
                  </a:lnTo>
                  <a:lnTo>
                    <a:pt x="73" y="437"/>
                  </a:lnTo>
                  <a:lnTo>
                    <a:pt x="78" y="437"/>
                  </a:lnTo>
                  <a:lnTo>
                    <a:pt x="80" y="439"/>
                  </a:lnTo>
                  <a:lnTo>
                    <a:pt x="83" y="440"/>
                  </a:lnTo>
                  <a:lnTo>
                    <a:pt x="82" y="437"/>
                  </a:lnTo>
                  <a:lnTo>
                    <a:pt x="83" y="437"/>
                  </a:lnTo>
                  <a:lnTo>
                    <a:pt x="83" y="434"/>
                  </a:lnTo>
                  <a:lnTo>
                    <a:pt x="85" y="432"/>
                  </a:lnTo>
                  <a:lnTo>
                    <a:pt x="87" y="434"/>
                  </a:lnTo>
                  <a:lnTo>
                    <a:pt x="90" y="435"/>
                  </a:lnTo>
                  <a:lnTo>
                    <a:pt x="89" y="439"/>
                  </a:lnTo>
                  <a:lnTo>
                    <a:pt x="92" y="440"/>
                  </a:lnTo>
                  <a:lnTo>
                    <a:pt x="94" y="437"/>
                  </a:lnTo>
                  <a:lnTo>
                    <a:pt x="95" y="437"/>
                  </a:lnTo>
                  <a:lnTo>
                    <a:pt x="92" y="435"/>
                  </a:lnTo>
                  <a:lnTo>
                    <a:pt x="92" y="432"/>
                  </a:lnTo>
                  <a:lnTo>
                    <a:pt x="95" y="432"/>
                  </a:lnTo>
                  <a:close/>
                  <a:moveTo>
                    <a:pt x="152" y="427"/>
                  </a:moveTo>
                  <a:lnTo>
                    <a:pt x="153" y="430"/>
                  </a:lnTo>
                  <a:lnTo>
                    <a:pt x="153" y="435"/>
                  </a:lnTo>
                  <a:lnTo>
                    <a:pt x="155" y="439"/>
                  </a:lnTo>
                  <a:lnTo>
                    <a:pt x="159" y="442"/>
                  </a:lnTo>
                  <a:lnTo>
                    <a:pt x="162" y="449"/>
                  </a:lnTo>
                  <a:lnTo>
                    <a:pt x="160" y="456"/>
                  </a:lnTo>
                  <a:lnTo>
                    <a:pt x="162" y="464"/>
                  </a:lnTo>
                  <a:lnTo>
                    <a:pt x="159" y="466"/>
                  </a:lnTo>
                  <a:lnTo>
                    <a:pt x="157" y="475"/>
                  </a:lnTo>
                  <a:lnTo>
                    <a:pt x="155" y="478"/>
                  </a:lnTo>
                  <a:lnTo>
                    <a:pt x="147" y="476"/>
                  </a:lnTo>
                  <a:lnTo>
                    <a:pt x="145" y="473"/>
                  </a:lnTo>
                  <a:lnTo>
                    <a:pt x="140" y="473"/>
                  </a:lnTo>
                  <a:lnTo>
                    <a:pt x="143" y="470"/>
                  </a:lnTo>
                  <a:lnTo>
                    <a:pt x="136" y="466"/>
                  </a:lnTo>
                  <a:lnTo>
                    <a:pt x="136" y="463"/>
                  </a:lnTo>
                  <a:lnTo>
                    <a:pt x="140" y="463"/>
                  </a:lnTo>
                  <a:lnTo>
                    <a:pt x="142" y="464"/>
                  </a:lnTo>
                  <a:lnTo>
                    <a:pt x="143" y="463"/>
                  </a:lnTo>
                  <a:lnTo>
                    <a:pt x="142" y="463"/>
                  </a:lnTo>
                  <a:lnTo>
                    <a:pt x="142" y="461"/>
                  </a:lnTo>
                  <a:lnTo>
                    <a:pt x="136" y="463"/>
                  </a:lnTo>
                  <a:lnTo>
                    <a:pt x="133" y="459"/>
                  </a:lnTo>
                  <a:lnTo>
                    <a:pt x="133" y="458"/>
                  </a:lnTo>
                  <a:lnTo>
                    <a:pt x="142" y="458"/>
                  </a:lnTo>
                  <a:lnTo>
                    <a:pt x="143" y="458"/>
                  </a:lnTo>
                  <a:lnTo>
                    <a:pt x="142" y="458"/>
                  </a:lnTo>
                  <a:lnTo>
                    <a:pt x="136" y="454"/>
                  </a:lnTo>
                  <a:lnTo>
                    <a:pt x="136" y="452"/>
                  </a:lnTo>
                  <a:lnTo>
                    <a:pt x="142" y="452"/>
                  </a:lnTo>
                  <a:lnTo>
                    <a:pt x="143" y="451"/>
                  </a:lnTo>
                  <a:lnTo>
                    <a:pt x="140" y="451"/>
                  </a:lnTo>
                  <a:lnTo>
                    <a:pt x="138" y="447"/>
                  </a:lnTo>
                  <a:lnTo>
                    <a:pt x="133" y="449"/>
                  </a:lnTo>
                  <a:lnTo>
                    <a:pt x="133" y="447"/>
                  </a:lnTo>
                  <a:lnTo>
                    <a:pt x="130" y="454"/>
                  </a:lnTo>
                  <a:lnTo>
                    <a:pt x="124" y="452"/>
                  </a:lnTo>
                  <a:lnTo>
                    <a:pt x="124" y="451"/>
                  </a:lnTo>
                  <a:lnTo>
                    <a:pt x="123" y="449"/>
                  </a:lnTo>
                  <a:lnTo>
                    <a:pt x="123" y="452"/>
                  </a:lnTo>
                  <a:lnTo>
                    <a:pt x="124" y="452"/>
                  </a:lnTo>
                  <a:lnTo>
                    <a:pt x="123" y="456"/>
                  </a:lnTo>
                  <a:lnTo>
                    <a:pt x="114" y="454"/>
                  </a:lnTo>
                  <a:lnTo>
                    <a:pt x="111" y="452"/>
                  </a:lnTo>
                  <a:lnTo>
                    <a:pt x="112" y="451"/>
                  </a:lnTo>
                  <a:lnTo>
                    <a:pt x="109" y="446"/>
                  </a:lnTo>
                  <a:lnTo>
                    <a:pt x="112" y="440"/>
                  </a:lnTo>
                  <a:lnTo>
                    <a:pt x="116" y="440"/>
                  </a:lnTo>
                  <a:lnTo>
                    <a:pt x="124" y="437"/>
                  </a:lnTo>
                  <a:lnTo>
                    <a:pt x="121" y="432"/>
                  </a:lnTo>
                  <a:lnTo>
                    <a:pt x="123" y="434"/>
                  </a:lnTo>
                  <a:lnTo>
                    <a:pt x="124" y="432"/>
                  </a:lnTo>
                  <a:lnTo>
                    <a:pt x="128" y="434"/>
                  </a:lnTo>
                  <a:lnTo>
                    <a:pt x="131" y="430"/>
                  </a:lnTo>
                  <a:lnTo>
                    <a:pt x="140" y="432"/>
                  </a:lnTo>
                  <a:lnTo>
                    <a:pt x="143" y="434"/>
                  </a:lnTo>
                  <a:lnTo>
                    <a:pt x="147" y="434"/>
                  </a:lnTo>
                  <a:lnTo>
                    <a:pt x="148" y="430"/>
                  </a:lnTo>
                  <a:lnTo>
                    <a:pt x="150" y="432"/>
                  </a:lnTo>
                  <a:lnTo>
                    <a:pt x="148" y="429"/>
                  </a:lnTo>
                  <a:lnTo>
                    <a:pt x="152" y="427"/>
                  </a:lnTo>
                  <a:close/>
                  <a:moveTo>
                    <a:pt x="693" y="324"/>
                  </a:moveTo>
                  <a:lnTo>
                    <a:pt x="695" y="324"/>
                  </a:lnTo>
                  <a:lnTo>
                    <a:pt x="695" y="328"/>
                  </a:lnTo>
                  <a:lnTo>
                    <a:pt x="693" y="328"/>
                  </a:lnTo>
                  <a:lnTo>
                    <a:pt x="693" y="324"/>
                  </a:lnTo>
                  <a:close/>
                  <a:moveTo>
                    <a:pt x="676" y="275"/>
                  </a:moveTo>
                  <a:lnTo>
                    <a:pt x="678" y="275"/>
                  </a:lnTo>
                  <a:lnTo>
                    <a:pt x="678" y="277"/>
                  </a:lnTo>
                  <a:lnTo>
                    <a:pt x="676" y="277"/>
                  </a:lnTo>
                  <a:lnTo>
                    <a:pt x="676" y="275"/>
                  </a:lnTo>
                  <a:close/>
                  <a:moveTo>
                    <a:pt x="683" y="268"/>
                  </a:moveTo>
                  <a:lnTo>
                    <a:pt x="689" y="271"/>
                  </a:lnTo>
                  <a:lnTo>
                    <a:pt x="696" y="271"/>
                  </a:lnTo>
                  <a:lnTo>
                    <a:pt x="696" y="275"/>
                  </a:lnTo>
                  <a:lnTo>
                    <a:pt x="693" y="277"/>
                  </a:lnTo>
                  <a:lnTo>
                    <a:pt x="688" y="275"/>
                  </a:lnTo>
                  <a:lnTo>
                    <a:pt x="688" y="277"/>
                  </a:lnTo>
                  <a:lnTo>
                    <a:pt x="684" y="277"/>
                  </a:lnTo>
                  <a:lnTo>
                    <a:pt x="683" y="275"/>
                  </a:lnTo>
                  <a:lnTo>
                    <a:pt x="686" y="273"/>
                  </a:lnTo>
                  <a:lnTo>
                    <a:pt x="683" y="271"/>
                  </a:lnTo>
                  <a:lnTo>
                    <a:pt x="679" y="273"/>
                  </a:lnTo>
                  <a:lnTo>
                    <a:pt x="679" y="271"/>
                  </a:lnTo>
                  <a:lnTo>
                    <a:pt x="679" y="268"/>
                  </a:lnTo>
                  <a:lnTo>
                    <a:pt x="683" y="268"/>
                  </a:lnTo>
                  <a:close/>
                  <a:moveTo>
                    <a:pt x="633" y="251"/>
                  </a:moveTo>
                  <a:lnTo>
                    <a:pt x="630" y="256"/>
                  </a:lnTo>
                  <a:lnTo>
                    <a:pt x="631" y="253"/>
                  </a:lnTo>
                  <a:lnTo>
                    <a:pt x="633" y="251"/>
                  </a:lnTo>
                  <a:close/>
                  <a:moveTo>
                    <a:pt x="345" y="244"/>
                  </a:moveTo>
                  <a:lnTo>
                    <a:pt x="346" y="244"/>
                  </a:lnTo>
                  <a:lnTo>
                    <a:pt x="346" y="246"/>
                  </a:lnTo>
                  <a:lnTo>
                    <a:pt x="345" y="246"/>
                  </a:lnTo>
                  <a:lnTo>
                    <a:pt x="345" y="244"/>
                  </a:lnTo>
                  <a:close/>
                  <a:moveTo>
                    <a:pt x="672" y="242"/>
                  </a:moveTo>
                  <a:lnTo>
                    <a:pt x="672" y="244"/>
                  </a:lnTo>
                  <a:lnTo>
                    <a:pt x="669" y="247"/>
                  </a:lnTo>
                  <a:lnTo>
                    <a:pt x="672" y="242"/>
                  </a:lnTo>
                  <a:close/>
                  <a:moveTo>
                    <a:pt x="348" y="237"/>
                  </a:moveTo>
                  <a:lnTo>
                    <a:pt x="350" y="239"/>
                  </a:lnTo>
                  <a:lnTo>
                    <a:pt x="353" y="242"/>
                  </a:lnTo>
                  <a:lnTo>
                    <a:pt x="351" y="244"/>
                  </a:lnTo>
                  <a:lnTo>
                    <a:pt x="353" y="244"/>
                  </a:lnTo>
                  <a:lnTo>
                    <a:pt x="351" y="246"/>
                  </a:lnTo>
                  <a:lnTo>
                    <a:pt x="353" y="247"/>
                  </a:lnTo>
                  <a:lnTo>
                    <a:pt x="346" y="244"/>
                  </a:lnTo>
                  <a:lnTo>
                    <a:pt x="350" y="242"/>
                  </a:lnTo>
                  <a:lnTo>
                    <a:pt x="346" y="239"/>
                  </a:lnTo>
                  <a:lnTo>
                    <a:pt x="348" y="237"/>
                  </a:lnTo>
                  <a:close/>
                  <a:moveTo>
                    <a:pt x="338" y="222"/>
                  </a:moveTo>
                  <a:lnTo>
                    <a:pt x="341" y="225"/>
                  </a:lnTo>
                  <a:lnTo>
                    <a:pt x="336" y="224"/>
                  </a:lnTo>
                  <a:lnTo>
                    <a:pt x="338" y="222"/>
                  </a:lnTo>
                  <a:close/>
                  <a:moveTo>
                    <a:pt x="666" y="213"/>
                  </a:moveTo>
                  <a:lnTo>
                    <a:pt x="669" y="215"/>
                  </a:lnTo>
                  <a:lnTo>
                    <a:pt x="667" y="222"/>
                  </a:lnTo>
                  <a:lnTo>
                    <a:pt x="669" y="222"/>
                  </a:lnTo>
                  <a:lnTo>
                    <a:pt x="669" y="229"/>
                  </a:lnTo>
                  <a:lnTo>
                    <a:pt x="660" y="234"/>
                  </a:lnTo>
                  <a:lnTo>
                    <a:pt x="657" y="230"/>
                  </a:lnTo>
                  <a:lnTo>
                    <a:pt x="655" y="229"/>
                  </a:lnTo>
                  <a:lnTo>
                    <a:pt x="662" y="222"/>
                  </a:lnTo>
                  <a:lnTo>
                    <a:pt x="664" y="215"/>
                  </a:lnTo>
                  <a:lnTo>
                    <a:pt x="666" y="213"/>
                  </a:lnTo>
                  <a:close/>
                  <a:moveTo>
                    <a:pt x="538" y="213"/>
                  </a:moveTo>
                  <a:lnTo>
                    <a:pt x="539" y="213"/>
                  </a:lnTo>
                  <a:lnTo>
                    <a:pt x="539" y="217"/>
                  </a:lnTo>
                  <a:lnTo>
                    <a:pt x="534" y="218"/>
                  </a:lnTo>
                  <a:lnTo>
                    <a:pt x="532" y="215"/>
                  </a:lnTo>
                  <a:lnTo>
                    <a:pt x="538" y="213"/>
                  </a:lnTo>
                  <a:close/>
                  <a:moveTo>
                    <a:pt x="370" y="210"/>
                  </a:moveTo>
                  <a:lnTo>
                    <a:pt x="372" y="210"/>
                  </a:lnTo>
                  <a:lnTo>
                    <a:pt x="372" y="213"/>
                  </a:lnTo>
                  <a:lnTo>
                    <a:pt x="370" y="213"/>
                  </a:lnTo>
                  <a:lnTo>
                    <a:pt x="370" y="210"/>
                  </a:lnTo>
                  <a:close/>
                  <a:moveTo>
                    <a:pt x="316" y="210"/>
                  </a:moveTo>
                  <a:lnTo>
                    <a:pt x="317" y="210"/>
                  </a:lnTo>
                  <a:lnTo>
                    <a:pt x="317" y="213"/>
                  </a:lnTo>
                  <a:lnTo>
                    <a:pt x="316" y="213"/>
                  </a:lnTo>
                  <a:lnTo>
                    <a:pt x="316" y="210"/>
                  </a:lnTo>
                  <a:close/>
                  <a:moveTo>
                    <a:pt x="664" y="208"/>
                  </a:moveTo>
                  <a:lnTo>
                    <a:pt x="666" y="210"/>
                  </a:lnTo>
                  <a:lnTo>
                    <a:pt x="666" y="213"/>
                  </a:lnTo>
                  <a:lnTo>
                    <a:pt x="664" y="213"/>
                  </a:lnTo>
                  <a:lnTo>
                    <a:pt x="664" y="212"/>
                  </a:lnTo>
                  <a:lnTo>
                    <a:pt x="662" y="210"/>
                  </a:lnTo>
                  <a:lnTo>
                    <a:pt x="664" y="208"/>
                  </a:lnTo>
                  <a:close/>
                  <a:moveTo>
                    <a:pt x="287" y="208"/>
                  </a:moveTo>
                  <a:lnTo>
                    <a:pt x="290" y="212"/>
                  </a:lnTo>
                  <a:lnTo>
                    <a:pt x="292" y="208"/>
                  </a:lnTo>
                  <a:lnTo>
                    <a:pt x="290" y="215"/>
                  </a:lnTo>
                  <a:lnTo>
                    <a:pt x="292" y="218"/>
                  </a:lnTo>
                  <a:lnTo>
                    <a:pt x="295" y="217"/>
                  </a:lnTo>
                  <a:lnTo>
                    <a:pt x="297" y="218"/>
                  </a:lnTo>
                  <a:lnTo>
                    <a:pt x="299" y="215"/>
                  </a:lnTo>
                  <a:lnTo>
                    <a:pt x="305" y="217"/>
                  </a:lnTo>
                  <a:lnTo>
                    <a:pt x="304" y="217"/>
                  </a:lnTo>
                  <a:lnTo>
                    <a:pt x="305" y="220"/>
                  </a:lnTo>
                  <a:lnTo>
                    <a:pt x="302" y="218"/>
                  </a:lnTo>
                  <a:lnTo>
                    <a:pt x="300" y="222"/>
                  </a:lnTo>
                  <a:lnTo>
                    <a:pt x="302" y="225"/>
                  </a:lnTo>
                  <a:lnTo>
                    <a:pt x="299" y="225"/>
                  </a:lnTo>
                  <a:lnTo>
                    <a:pt x="302" y="229"/>
                  </a:lnTo>
                  <a:lnTo>
                    <a:pt x="299" y="229"/>
                  </a:lnTo>
                  <a:lnTo>
                    <a:pt x="297" y="225"/>
                  </a:lnTo>
                  <a:lnTo>
                    <a:pt x="295" y="227"/>
                  </a:lnTo>
                  <a:lnTo>
                    <a:pt x="295" y="230"/>
                  </a:lnTo>
                  <a:lnTo>
                    <a:pt x="290" y="230"/>
                  </a:lnTo>
                  <a:lnTo>
                    <a:pt x="292" y="232"/>
                  </a:lnTo>
                  <a:lnTo>
                    <a:pt x="293" y="232"/>
                  </a:lnTo>
                  <a:lnTo>
                    <a:pt x="295" y="234"/>
                  </a:lnTo>
                  <a:lnTo>
                    <a:pt x="292" y="237"/>
                  </a:lnTo>
                  <a:lnTo>
                    <a:pt x="292" y="236"/>
                  </a:lnTo>
                  <a:lnTo>
                    <a:pt x="292" y="237"/>
                  </a:lnTo>
                  <a:lnTo>
                    <a:pt x="287" y="232"/>
                  </a:lnTo>
                  <a:lnTo>
                    <a:pt x="288" y="224"/>
                  </a:lnTo>
                  <a:lnTo>
                    <a:pt x="287" y="224"/>
                  </a:lnTo>
                  <a:lnTo>
                    <a:pt x="288" y="222"/>
                  </a:lnTo>
                  <a:lnTo>
                    <a:pt x="288" y="217"/>
                  </a:lnTo>
                  <a:lnTo>
                    <a:pt x="283" y="213"/>
                  </a:lnTo>
                  <a:lnTo>
                    <a:pt x="287" y="215"/>
                  </a:lnTo>
                  <a:lnTo>
                    <a:pt x="288" y="212"/>
                  </a:lnTo>
                  <a:lnTo>
                    <a:pt x="287" y="208"/>
                  </a:lnTo>
                  <a:close/>
                  <a:moveTo>
                    <a:pt x="321" y="205"/>
                  </a:moveTo>
                  <a:lnTo>
                    <a:pt x="322" y="207"/>
                  </a:lnTo>
                  <a:lnTo>
                    <a:pt x="321" y="213"/>
                  </a:lnTo>
                  <a:lnTo>
                    <a:pt x="319" y="210"/>
                  </a:lnTo>
                  <a:lnTo>
                    <a:pt x="321" y="205"/>
                  </a:lnTo>
                  <a:close/>
                  <a:moveTo>
                    <a:pt x="316" y="205"/>
                  </a:moveTo>
                  <a:lnTo>
                    <a:pt x="317" y="205"/>
                  </a:lnTo>
                  <a:lnTo>
                    <a:pt x="317" y="207"/>
                  </a:lnTo>
                  <a:lnTo>
                    <a:pt x="316" y="207"/>
                  </a:lnTo>
                  <a:lnTo>
                    <a:pt x="316" y="205"/>
                  </a:lnTo>
                  <a:close/>
                  <a:moveTo>
                    <a:pt x="273" y="203"/>
                  </a:moveTo>
                  <a:lnTo>
                    <a:pt x="276" y="203"/>
                  </a:lnTo>
                  <a:lnTo>
                    <a:pt x="276" y="205"/>
                  </a:lnTo>
                  <a:lnTo>
                    <a:pt x="273" y="205"/>
                  </a:lnTo>
                  <a:lnTo>
                    <a:pt x="273" y="203"/>
                  </a:lnTo>
                  <a:close/>
                  <a:moveTo>
                    <a:pt x="365" y="205"/>
                  </a:moveTo>
                  <a:lnTo>
                    <a:pt x="365" y="210"/>
                  </a:lnTo>
                  <a:lnTo>
                    <a:pt x="363" y="208"/>
                  </a:lnTo>
                  <a:lnTo>
                    <a:pt x="363" y="205"/>
                  </a:lnTo>
                  <a:lnTo>
                    <a:pt x="365" y="203"/>
                  </a:lnTo>
                  <a:lnTo>
                    <a:pt x="365" y="205"/>
                  </a:lnTo>
                  <a:close/>
                  <a:moveTo>
                    <a:pt x="287" y="203"/>
                  </a:moveTo>
                  <a:lnTo>
                    <a:pt x="292" y="205"/>
                  </a:lnTo>
                  <a:lnTo>
                    <a:pt x="288" y="207"/>
                  </a:lnTo>
                  <a:lnTo>
                    <a:pt x="287" y="203"/>
                  </a:lnTo>
                  <a:close/>
                  <a:moveTo>
                    <a:pt x="281" y="201"/>
                  </a:moveTo>
                  <a:lnTo>
                    <a:pt x="283" y="205"/>
                  </a:lnTo>
                  <a:lnTo>
                    <a:pt x="280" y="205"/>
                  </a:lnTo>
                  <a:lnTo>
                    <a:pt x="280" y="201"/>
                  </a:lnTo>
                  <a:lnTo>
                    <a:pt x="281" y="201"/>
                  </a:lnTo>
                  <a:close/>
                  <a:moveTo>
                    <a:pt x="370" y="200"/>
                  </a:moveTo>
                  <a:lnTo>
                    <a:pt x="370" y="203"/>
                  </a:lnTo>
                  <a:lnTo>
                    <a:pt x="370" y="200"/>
                  </a:lnTo>
                  <a:close/>
                  <a:moveTo>
                    <a:pt x="336" y="198"/>
                  </a:moveTo>
                  <a:lnTo>
                    <a:pt x="338" y="198"/>
                  </a:lnTo>
                  <a:lnTo>
                    <a:pt x="338" y="201"/>
                  </a:lnTo>
                  <a:lnTo>
                    <a:pt x="336" y="201"/>
                  </a:lnTo>
                  <a:lnTo>
                    <a:pt x="336" y="198"/>
                  </a:lnTo>
                  <a:close/>
                  <a:moveTo>
                    <a:pt x="369" y="196"/>
                  </a:moveTo>
                  <a:lnTo>
                    <a:pt x="370" y="196"/>
                  </a:lnTo>
                  <a:lnTo>
                    <a:pt x="370" y="198"/>
                  </a:lnTo>
                  <a:lnTo>
                    <a:pt x="369" y="198"/>
                  </a:lnTo>
                  <a:lnTo>
                    <a:pt x="369" y="196"/>
                  </a:lnTo>
                  <a:close/>
                  <a:moveTo>
                    <a:pt x="374" y="198"/>
                  </a:moveTo>
                  <a:lnTo>
                    <a:pt x="374" y="196"/>
                  </a:lnTo>
                  <a:lnTo>
                    <a:pt x="375" y="200"/>
                  </a:lnTo>
                  <a:lnTo>
                    <a:pt x="372" y="200"/>
                  </a:lnTo>
                  <a:lnTo>
                    <a:pt x="374" y="198"/>
                  </a:lnTo>
                  <a:close/>
                  <a:moveTo>
                    <a:pt x="333" y="196"/>
                  </a:moveTo>
                  <a:lnTo>
                    <a:pt x="334" y="198"/>
                  </a:lnTo>
                  <a:lnTo>
                    <a:pt x="333" y="200"/>
                  </a:lnTo>
                  <a:lnTo>
                    <a:pt x="331" y="198"/>
                  </a:lnTo>
                  <a:lnTo>
                    <a:pt x="333" y="196"/>
                  </a:lnTo>
                  <a:close/>
                  <a:moveTo>
                    <a:pt x="360" y="196"/>
                  </a:moveTo>
                  <a:lnTo>
                    <a:pt x="360" y="200"/>
                  </a:lnTo>
                  <a:lnTo>
                    <a:pt x="363" y="196"/>
                  </a:lnTo>
                  <a:lnTo>
                    <a:pt x="362" y="198"/>
                  </a:lnTo>
                  <a:lnTo>
                    <a:pt x="363" y="196"/>
                  </a:lnTo>
                  <a:lnTo>
                    <a:pt x="363" y="200"/>
                  </a:lnTo>
                  <a:lnTo>
                    <a:pt x="362" y="201"/>
                  </a:lnTo>
                  <a:lnTo>
                    <a:pt x="362" y="200"/>
                  </a:lnTo>
                  <a:lnTo>
                    <a:pt x="360" y="205"/>
                  </a:lnTo>
                  <a:lnTo>
                    <a:pt x="360" y="201"/>
                  </a:lnTo>
                  <a:lnTo>
                    <a:pt x="358" y="200"/>
                  </a:lnTo>
                  <a:lnTo>
                    <a:pt x="358" y="203"/>
                  </a:lnTo>
                  <a:lnTo>
                    <a:pt x="357" y="200"/>
                  </a:lnTo>
                  <a:lnTo>
                    <a:pt x="360" y="195"/>
                  </a:lnTo>
                  <a:lnTo>
                    <a:pt x="360" y="196"/>
                  </a:lnTo>
                  <a:close/>
                  <a:moveTo>
                    <a:pt x="367" y="196"/>
                  </a:moveTo>
                  <a:lnTo>
                    <a:pt x="367" y="195"/>
                  </a:lnTo>
                  <a:lnTo>
                    <a:pt x="367" y="193"/>
                  </a:lnTo>
                  <a:lnTo>
                    <a:pt x="367" y="196"/>
                  </a:lnTo>
                  <a:close/>
                  <a:moveTo>
                    <a:pt x="375" y="191"/>
                  </a:moveTo>
                  <a:lnTo>
                    <a:pt x="377" y="191"/>
                  </a:lnTo>
                  <a:lnTo>
                    <a:pt x="377" y="195"/>
                  </a:lnTo>
                  <a:lnTo>
                    <a:pt x="375" y="195"/>
                  </a:lnTo>
                  <a:lnTo>
                    <a:pt x="375" y="191"/>
                  </a:lnTo>
                  <a:close/>
                  <a:moveTo>
                    <a:pt x="358" y="191"/>
                  </a:moveTo>
                  <a:lnTo>
                    <a:pt x="360" y="191"/>
                  </a:lnTo>
                  <a:lnTo>
                    <a:pt x="360" y="193"/>
                  </a:lnTo>
                  <a:lnTo>
                    <a:pt x="358" y="193"/>
                  </a:lnTo>
                  <a:lnTo>
                    <a:pt x="358" y="191"/>
                  </a:lnTo>
                  <a:close/>
                  <a:moveTo>
                    <a:pt x="381" y="189"/>
                  </a:moveTo>
                  <a:lnTo>
                    <a:pt x="382" y="189"/>
                  </a:lnTo>
                  <a:lnTo>
                    <a:pt x="382" y="193"/>
                  </a:lnTo>
                  <a:lnTo>
                    <a:pt x="381" y="193"/>
                  </a:lnTo>
                  <a:lnTo>
                    <a:pt x="381" y="189"/>
                  </a:lnTo>
                  <a:close/>
                  <a:moveTo>
                    <a:pt x="351" y="188"/>
                  </a:moveTo>
                  <a:lnTo>
                    <a:pt x="357" y="191"/>
                  </a:lnTo>
                  <a:lnTo>
                    <a:pt x="357" y="195"/>
                  </a:lnTo>
                  <a:lnTo>
                    <a:pt x="357" y="193"/>
                  </a:lnTo>
                  <a:lnTo>
                    <a:pt x="355" y="201"/>
                  </a:lnTo>
                  <a:lnTo>
                    <a:pt x="357" y="201"/>
                  </a:lnTo>
                  <a:lnTo>
                    <a:pt x="358" y="203"/>
                  </a:lnTo>
                  <a:lnTo>
                    <a:pt x="357" y="207"/>
                  </a:lnTo>
                  <a:lnTo>
                    <a:pt x="353" y="201"/>
                  </a:lnTo>
                  <a:lnTo>
                    <a:pt x="351" y="203"/>
                  </a:lnTo>
                  <a:lnTo>
                    <a:pt x="350" y="200"/>
                  </a:lnTo>
                  <a:lnTo>
                    <a:pt x="348" y="201"/>
                  </a:lnTo>
                  <a:lnTo>
                    <a:pt x="348" y="198"/>
                  </a:lnTo>
                  <a:lnTo>
                    <a:pt x="348" y="193"/>
                  </a:lnTo>
                  <a:lnTo>
                    <a:pt x="346" y="188"/>
                  </a:lnTo>
                  <a:lnTo>
                    <a:pt x="350" y="189"/>
                  </a:lnTo>
                  <a:lnTo>
                    <a:pt x="350" y="186"/>
                  </a:lnTo>
                  <a:lnTo>
                    <a:pt x="351" y="188"/>
                  </a:lnTo>
                  <a:close/>
                  <a:moveTo>
                    <a:pt x="375" y="184"/>
                  </a:moveTo>
                  <a:lnTo>
                    <a:pt x="377" y="184"/>
                  </a:lnTo>
                  <a:lnTo>
                    <a:pt x="377" y="188"/>
                  </a:lnTo>
                  <a:lnTo>
                    <a:pt x="375" y="188"/>
                  </a:lnTo>
                  <a:lnTo>
                    <a:pt x="375" y="184"/>
                  </a:lnTo>
                  <a:close/>
                  <a:moveTo>
                    <a:pt x="358" y="186"/>
                  </a:moveTo>
                  <a:lnTo>
                    <a:pt x="358" y="181"/>
                  </a:lnTo>
                  <a:lnTo>
                    <a:pt x="360" y="184"/>
                  </a:lnTo>
                  <a:lnTo>
                    <a:pt x="358" y="186"/>
                  </a:lnTo>
                  <a:close/>
                  <a:moveTo>
                    <a:pt x="358" y="181"/>
                  </a:moveTo>
                  <a:lnTo>
                    <a:pt x="360" y="181"/>
                  </a:lnTo>
                  <a:lnTo>
                    <a:pt x="360" y="183"/>
                  </a:lnTo>
                  <a:lnTo>
                    <a:pt x="358" y="183"/>
                  </a:lnTo>
                  <a:lnTo>
                    <a:pt x="358" y="181"/>
                  </a:lnTo>
                  <a:close/>
                  <a:moveTo>
                    <a:pt x="372" y="179"/>
                  </a:moveTo>
                  <a:lnTo>
                    <a:pt x="372" y="183"/>
                  </a:lnTo>
                  <a:lnTo>
                    <a:pt x="372" y="179"/>
                  </a:lnTo>
                  <a:close/>
                  <a:moveTo>
                    <a:pt x="370" y="177"/>
                  </a:moveTo>
                  <a:lnTo>
                    <a:pt x="372" y="177"/>
                  </a:lnTo>
                  <a:lnTo>
                    <a:pt x="372" y="181"/>
                  </a:lnTo>
                  <a:lnTo>
                    <a:pt x="370" y="181"/>
                  </a:lnTo>
                  <a:lnTo>
                    <a:pt x="370" y="177"/>
                  </a:lnTo>
                  <a:close/>
                  <a:moveTo>
                    <a:pt x="358" y="172"/>
                  </a:moveTo>
                  <a:lnTo>
                    <a:pt x="360" y="172"/>
                  </a:lnTo>
                  <a:lnTo>
                    <a:pt x="360" y="174"/>
                  </a:lnTo>
                  <a:lnTo>
                    <a:pt x="358" y="174"/>
                  </a:lnTo>
                  <a:lnTo>
                    <a:pt x="358" y="172"/>
                  </a:lnTo>
                  <a:close/>
                  <a:moveTo>
                    <a:pt x="357" y="169"/>
                  </a:moveTo>
                  <a:lnTo>
                    <a:pt x="360" y="171"/>
                  </a:lnTo>
                  <a:lnTo>
                    <a:pt x="358" y="174"/>
                  </a:lnTo>
                  <a:lnTo>
                    <a:pt x="358" y="184"/>
                  </a:lnTo>
                  <a:lnTo>
                    <a:pt x="357" y="184"/>
                  </a:lnTo>
                  <a:lnTo>
                    <a:pt x="357" y="183"/>
                  </a:lnTo>
                  <a:lnTo>
                    <a:pt x="355" y="179"/>
                  </a:lnTo>
                  <a:lnTo>
                    <a:pt x="355" y="181"/>
                  </a:lnTo>
                  <a:lnTo>
                    <a:pt x="357" y="188"/>
                  </a:lnTo>
                  <a:lnTo>
                    <a:pt x="350" y="184"/>
                  </a:lnTo>
                  <a:lnTo>
                    <a:pt x="353" y="181"/>
                  </a:lnTo>
                  <a:lnTo>
                    <a:pt x="351" y="179"/>
                  </a:lnTo>
                  <a:lnTo>
                    <a:pt x="351" y="174"/>
                  </a:lnTo>
                  <a:lnTo>
                    <a:pt x="353" y="172"/>
                  </a:lnTo>
                  <a:lnTo>
                    <a:pt x="355" y="174"/>
                  </a:lnTo>
                  <a:lnTo>
                    <a:pt x="355" y="169"/>
                  </a:lnTo>
                  <a:lnTo>
                    <a:pt x="357" y="169"/>
                  </a:lnTo>
                  <a:close/>
                  <a:moveTo>
                    <a:pt x="350" y="171"/>
                  </a:moveTo>
                  <a:lnTo>
                    <a:pt x="350" y="174"/>
                  </a:lnTo>
                  <a:lnTo>
                    <a:pt x="351" y="174"/>
                  </a:lnTo>
                  <a:lnTo>
                    <a:pt x="348" y="179"/>
                  </a:lnTo>
                  <a:lnTo>
                    <a:pt x="346" y="176"/>
                  </a:lnTo>
                  <a:lnTo>
                    <a:pt x="346" y="181"/>
                  </a:lnTo>
                  <a:lnTo>
                    <a:pt x="343" y="176"/>
                  </a:lnTo>
                  <a:lnTo>
                    <a:pt x="346" y="174"/>
                  </a:lnTo>
                  <a:lnTo>
                    <a:pt x="346" y="171"/>
                  </a:lnTo>
                  <a:lnTo>
                    <a:pt x="348" y="169"/>
                  </a:lnTo>
                  <a:lnTo>
                    <a:pt x="350" y="167"/>
                  </a:lnTo>
                  <a:lnTo>
                    <a:pt x="350" y="171"/>
                  </a:lnTo>
                  <a:close/>
                  <a:moveTo>
                    <a:pt x="374" y="167"/>
                  </a:moveTo>
                  <a:lnTo>
                    <a:pt x="375" y="167"/>
                  </a:lnTo>
                  <a:lnTo>
                    <a:pt x="375" y="171"/>
                  </a:lnTo>
                  <a:lnTo>
                    <a:pt x="374" y="171"/>
                  </a:lnTo>
                  <a:lnTo>
                    <a:pt x="374" y="167"/>
                  </a:lnTo>
                  <a:close/>
                  <a:moveTo>
                    <a:pt x="363" y="166"/>
                  </a:moveTo>
                  <a:lnTo>
                    <a:pt x="363" y="172"/>
                  </a:lnTo>
                  <a:lnTo>
                    <a:pt x="362" y="176"/>
                  </a:lnTo>
                  <a:lnTo>
                    <a:pt x="362" y="167"/>
                  </a:lnTo>
                  <a:lnTo>
                    <a:pt x="363" y="166"/>
                  </a:lnTo>
                  <a:close/>
                  <a:moveTo>
                    <a:pt x="568" y="145"/>
                  </a:moveTo>
                  <a:lnTo>
                    <a:pt x="568" y="148"/>
                  </a:lnTo>
                  <a:lnTo>
                    <a:pt x="567" y="147"/>
                  </a:lnTo>
                  <a:lnTo>
                    <a:pt x="568" y="145"/>
                  </a:lnTo>
                  <a:close/>
                  <a:moveTo>
                    <a:pt x="575" y="138"/>
                  </a:moveTo>
                  <a:lnTo>
                    <a:pt x="577" y="140"/>
                  </a:lnTo>
                  <a:lnTo>
                    <a:pt x="577" y="142"/>
                  </a:lnTo>
                  <a:lnTo>
                    <a:pt x="575" y="143"/>
                  </a:lnTo>
                  <a:lnTo>
                    <a:pt x="575" y="145"/>
                  </a:lnTo>
                  <a:lnTo>
                    <a:pt x="573" y="143"/>
                  </a:lnTo>
                  <a:lnTo>
                    <a:pt x="570" y="145"/>
                  </a:lnTo>
                  <a:lnTo>
                    <a:pt x="572" y="142"/>
                  </a:lnTo>
                  <a:lnTo>
                    <a:pt x="575" y="138"/>
                  </a:lnTo>
                  <a:close/>
                  <a:moveTo>
                    <a:pt x="570" y="135"/>
                  </a:moveTo>
                  <a:lnTo>
                    <a:pt x="573" y="138"/>
                  </a:lnTo>
                  <a:lnTo>
                    <a:pt x="568" y="140"/>
                  </a:lnTo>
                  <a:lnTo>
                    <a:pt x="568" y="135"/>
                  </a:lnTo>
                  <a:lnTo>
                    <a:pt x="570" y="135"/>
                  </a:lnTo>
                  <a:close/>
                  <a:moveTo>
                    <a:pt x="572" y="131"/>
                  </a:moveTo>
                  <a:lnTo>
                    <a:pt x="573" y="131"/>
                  </a:lnTo>
                  <a:lnTo>
                    <a:pt x="573" y="133"/>
                  </a:lnTo>
                  <a:lnTo>
                    <a:pt x="572" y="133"/>
                  </a:lnTo>
                  <a:lnTo>
                    <a:pt x="572" y="131"/>
                  </a:lnTo>
                  <a:close/>
                  <a:moveTo>
                    <a:pt x="563" y="118"/>
                  </a:moveTo>
                  <a:lnTo>
                    <a:pt x="567" y="119"/>
                  </a:lnTo>
                  <a:lnTo>
                    <a:pt x="567" y="123"/>
                  </a:lnTo>
                  <a:lnTo>
                    <a:pt x="563" y="121"/>
                  </a:lnTo>
                  <a:lnTo>
                    <a:pt x="563" y="119"/>
                  </a:lnTo>
                  <a:lnTo>
                    <a:pt x="561" y="118"/>
                  </a:lnTo>
                  <a:lnTo>
                    <a:pt x="563" y="118"/>
                  </a:lnTo>
                  <a:close/>
                  <a:moveTo>
                    <a:pt x="550" y="106"/>
                  </a:moveTo>
                  <a:lnTo>
                    <a:pt x="553" y="107"/>
                  </a:lnTo>
                  <a:lnTo>
                    <a:pt x="551" y="109"/>
                  </a:lnTo>
                  <a:lnTo>
                    <a:pt x="550" y="107"/>
                  </a:lnTo>
                  <a:lnTo>
                    <a:pt x="550" y="106"/>
                  </a:lnTo>
                  <a:close/>
                  <a:moveTo>
                    <a:pt x="546" y="77"/>
                  </a:moveTo>
                  <a:lnTo>
                    <a:pt x="546" y="80"/>
                  </a:lnTo>
                  <a:lnTo>
                    <a:pt x="543" y="82"/>
                  </a:lnTo>
                  <a:lnTo>
                    <a:pt x="546" y="77"/>
                  </a:lnTo>
                  <a:close/>
                  <a:moveTo>
                    <a:pt x="589" y="70"/>
                  </a:moveTo>
                  <a:lnTo>
                    <a:pt x="590" y="70"/>
                  </a:lnTo>
                  <a:lnTo>
                    <a:pt x="589" y="73"/>
                  </a:lnTo>
                  <a:lnTo>
                    <a:pt x="590" y="80"/>
                  </a:lnTo>
                  <a:lnTo>
                    <a:pt x="594" y="84"/>
                  </a:lnTo>
                  <a:lnTo>
                    <a:pt x="597" y="85"/>
                  </a:lnTo>
                  <a:lnTo>
                    <a:pt x="597" y="89"/>
                  </a:lnTo>
                  <a:lnTo>
                    <a:pt x="604" y="94"/>
                  </a:lnTo>
                  <a:lnTo>
                    <a:pt x="604" y="95"/>
                  </a:lnTo>
                  <a:lnTo>
                    <a:pt x="611" y="99"/>
                  </a:lnTo>
                  <a:lnTo>
                    <a:pt x="608" y="104"/>
                  </a:lnTo>
                  <a:lnTo>
                    <a:pt x="609" y="106"/>
                  </a:lnTo>
                  <a:lnTo>
                    <a:pt x="609" y="107"/>
                  </a:lnTo>
                  <a:lnTo>
                    <a:pt x="606" y="107"/>
                  </a:lnTo>
                  <a:lnTo>
                    <a:pt x="604" y="109"/>
                  </a:lnTo>
                  <a:lnTo>
                    <a:pt x="606" y="111"/>
                  </a:lnTo>
                  <a:lnTo>
                    <a:pt x="606" y="107"/>
                  </a:lnTo>
                  <a:lnTo>
                    <a:pt x="608" y="113"/>
                  </a:lnTo>
                  <a:lnTo>
                    <a:pt x="611" y="109"/>
                  </a:lnTo>
                  <a:lnTo>
                    <a:pt x="609" y="113"/>
                  </a:lnTo>
                  <a:lnTo>
                    <a:pt x="611" y="113"/>
                  </a:lnTo>
                  <a:lnTo>
                    <a:pt x="609" y="114"/>
                  </a:lnTo>
                  <a:lnTo>
                    <a:pt x="609" y="119"/>
                  </a:lnTo>
                  <a:lnTo>
                    <a:pt x="604" y="123"/>
                  </a:lnTo>
                  <a:lnTo>
                    <a:pt x="602" y="123"/>
                  </a:lnTo>
                  <a:lnTo>
                    <a:pt x="599" y="128"/>
                  </a:lnTo>
                  <a:lnTo>
                    <a:pt x="597" y="136"/>
                  </a:lnTo>
                  <a:lnTo>
                    <a:pt x="589" y="135"/>
                  </a:lnTo>
                  <a:lnTo>
                    <a:pt x="580" y="140"/>
                  </a:lnTo>
                  <a:lnTo>
                    <a:pt x="577" y="135"/>
                  </a:lnTo>
                  <a:lnTo>
                    <a:pt x="573" y="133"/>
                  </a:lnTo>
                  <a:lnTo>
                    <a:pt x="577" y="126"/>
                  </a:lnTo>
                  <a:lnTo>
                    <a:pt x="579" y="125"/>
                  </a:lnTo>
                  <a:lnTo>
                    <a:pt x="580" y="126"/>
                  </a:lnTo>
                  <a:lnTo>
                    <a:pt x="580" y="123"/>
                  </a:lnTo>
                  <a:lnTo>
                    <a:pt x="585" y="121"/>
                  </a:lnTo>
                  <a:lnTo>
                    <a:pt x="594" y="128"/>
                  </a:lnTo>
                  <a:lnTo>
                    <a:pt x="596" y="130"/>
                  </a:lnTo>
                  <a:lnTo>
                    <a:pt x="592" y="125"/>
                  </a:lnTo>
                  <a:lnTo>
                    <a:pt x="589" y="121"/>
                  </a:lnTo>
                  <a:lnTo>
                    <a:pt x="590" y="118"/>
                  </a:lnTo>
                  <a:lnTo>
                    <a:pt x="590" y="116"/>
                  </a:lnTo>
                  <a:lnTo>
                    <a:pt x="585" y="113"/>
                  </a:lnTo>
                  <a:lnTo>
                    <a:pt x="590" y="118"/>
                  </a:lnTo>
                  <a:lnTo>
                    <a:pt x="589" y="121"/>
                  </a:lnTo>
                  <a:lnTo>
                    <a:pt x="584" y="118"/>
                  </a:lnTo>
                  <a:lnTo>
                    <a:pt x="582" y="119"/>
                  </a:lnTo>
                  <a:lnTo>
                    <a:pt x="577" y="116"/>
                  </a:lnTo>
                  <a:lnTo>
                    <a:pt x="570" y="114"/>
                  </a:lnTo>
                  <a:lnTo>
                    <a:pt x="568" y="111"/>
                  </a:lnTo>
                  <a:lnTo>
                    <a:pt x="565" y="109"/>
                  </a:lnTo>
                  <a:lnTo>
                    <a:pt x="567" y="107"/>
                  </a:lnTo>
                  <a:lnTo>
                    <a:pt x="563" y="106"/>
                  </a:lnTo>
                  <a:lnTo>
                    <a:pt x="567" y="104"/>
                  </a:lnTo>
                  <a:lnTo>
                    <a:pt x="563" y="106"/>
                  </a:lnTo>
                  <a:lnTo>
                    <a:pt x="561" y="104"/>
                  </a:lnTo>
                  <a:lnTo>
                    <a:pt x="561" y="97"/>
                  </a:lnTo>
                  <a:lnTo>
                    <a:pt x="558" y="95"/>
                  </a:lnTo>
                  <a:lnTo>
                    <a:pt x="563" y="92"/>
                  </a:lnTo>
                  <a:lnTo>
                    <a:pt x="565" y="89"/>
                  </a:lnTo>
                  <a:lnTo>
                    <a:pt x="572" y="87"/>
                  </a:lnTo>
                  <a:lnTo>
                    <a:pt x="573" y="82"/>
                  </a:lnTo>
                  <a:lnTo>
                    <a:pt x="580" y="78"/>
                  </a:lnTo>
                  <a:lnTo>
                    <a:pt x="584" y="75"/>
                  </a:lnTo>
                  <a:lnTo>
                    <a:pt x="587" y="68"/>
                  </a:lnTo>
                  <a:lnTo>
                    <a:pt x="589" y="70"/>
                  </a:lnTo>
                  <a:close/>
                  <a:moveTo>
                    <a:pt x="587" y="63"/>
                  </a:moveTo>
                  <a:lnTo>
                    <a:pt x="585" y="66"/>
                  </a:lnTo>
                  <a:lnTo>
                    <a:pt x="585" y="63"/>
                  </a:lnTo>
                  <a:lnTo>
                    <a:pt x="587" y="63"/>
                  </a:lnTo>
                  <a:close/>
                  <a:moveTo>
                    <a:pt x="563" y="2"/>
                  </a:moveTo>
                  <a:lnTo>
                    <a:pt x="563" y="5"/>
                  </a:lnTo>
                  <a:lnTo>
                    <a:pt x="560" y="14"/>
                  </a:lnTo>
                  <a:lnTo>
                    <a:pt x="558" y="15"/>
                  </a:lnTo>
                  <a:lnTo>
                    <a:pt x="553" y="14"/>
                  </a:lnTo>
                  <a:lnTo>
                    <a:pt x="553" y="12"/>
                  </a:lnTo>
                  <a:lnTo>
                    <a:pt x="558" y="8"/>
                  </a:lnTo>
                  <a:lnTo>
                    <a:pt x="561" y="3"/>
                  </a:lnTo>
                  <a:lnTo>
                    <a:pt x="563" y="2"/>
                  </a:lnTo>
                  <a:close/>
                  <a:moveTo>
                    <a:pt x="563" y="0"/>
                  </a:moveTo>
                  <a:lnTo>
                    <a:pt x="565" y="0"/>
                  </a:lnTo>
                  <a:lnTo>
                    <a:pt x="565" y="2"/>
                  </a:lnTo>
                  <a:lnTo>
                    <a:pt x="563" y="2"/>
                  </a:lnTo>
                  <a:lnTo>
                    <a:pt x="56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99" name="Freeform 72"/>
            <p:cNvSpPr>
              <a:spLocks noEditPoints="1"/>
            </p:cNvSpPr>
            <p:nvPr/>
          </p:nvSpPr>
          <p:spPr bwMode="gray">
            <a:xfrm>
              <a:off x="2217786" y="3318884"/>
              <a:ext cx="735145" cy="443277"/>
            </a:xfrm>
            <a:custGeom>
              <a:avLst/>
              <a:gdLst>
                <a:gd name="T0" fmla="*/ 367 w 403"/>
                <a:gd name="T1" fmla="*/ 38 h 243"/>
                <a:gd name="T2" fmla="*/ 369 w 403"/>
                <a:gd name="T3" fmla="*/ 38 h 243"/>
                <a:gd name="T4" fmla="*/ 282 w 403"/>
                <a:gd name="T5" fmla="*/ 4 h 243"/>
                <a:gd name="T6" fmla="*/ 289 w 403"/>
                <a:gd name="T7" fmla="*/ 14 h 243"/>
                <a:gd name="T8" fmla="*/ 304 w 403"/>
                <a:gd name="T9" fmla="*/ 24 h 243"/>
                <a:gd name="T10" fmla="*/ 314 w 403"/>
                <a:gd name="T11" fmla="*/ 29 h 243"/>
                <a:gd name="T12" fmla="*/ 333 w 403"/>
                <a:gd name="T13" fmla="*/ 28 h 243"/>
                <a:gd name="T14" fmla="*/ 359 w 403"/>
                <a:gd name="T15" fmla="*/ 36 h 243"/>
                <a:gd name="T16" fmla="*/ 366 w 403"/>
                <a:gd name="T17" fmla="*/ 43 h 243"/>
                <a:gd name="T18" fmla="*/ 383 w 403"/>
                <a:gd name="T19" fmla="*/ 36 h 243"/>
                <a:gd name="T20" fmla="*/ 393 w 403"/>
                <a:gd name="T21" fmla="*/ 50 h 243"/>
                <a:gd name="T22" fmla="*/ 398 w 403"/>
                <a:gd name="T23" fmla="*/ 81 h 243"/>
                <a:gd name="T24" fmla="*/ 400 w 403"/>
                <a:gd name="T25" fmla="*/ 104 h 243"/>
                <a:gd name="T26" fmla="*/ 386 w 403"/>
                <a:gd name="T27" fmla="*/ 108 h 243"/>
                <a:gd name="T28" fmla="*/ 342 w 403"/>
                <a:gd name="T29" fmla="*/ 121 h 243"/>
                <a:gd name="T30" fmla="*/ 318 w 403"/>
                <a:gd name="T31" fmla="*/ 127 h 243"/>
                <a:gd name="T32" fmla="*/ 296 w 403"/>
                <a:gd name="T33" fmla="*/ 132 h 243"/>
                <a:gd name="T34" fmla="*/ 291 w 403"/>
                <a:gd name="T35" fmla="*/ 151 h 243"/>
                <a:gd name="T36" fmla="*/ 291 w 403"/>
                <a:gd name="T37" fmla="*/ 168 h 243"/>
                <a:gd name="T38" fmla="*/ 279 w 403"/>
                <a:gd name="T39" fmla="*/ 181 h 243"/>
                <a:gd name="T40" fmla="*/ 272 w 403"/>
                <a:gd name="T41" fmla="*/ 190 h 243"/>
                <a:gd name="T42" fmla="*/ 260 w 403"/>
                <a:gd name="T43" fmla="*/ 178 h 243"/>
                <a:gd name="T44" fmla="*/ 246 w 403"/>
                <a:gd name="T45" fmla="*/ 169 h 243"/>
                <a:gd name="T46" fmla="*/ 248 w 403"/>
                <a:gd name="T47" fmla="*/ 188 h 243"/>
                <a:gd name="T48" fmla="*/ 229 w 403"/>
                <a:gd name="T49" fmla="*/ 188 h 243"/>
                <a:gd name="T50" fmla="*/ 214 w 403"/>
                <a:gd name="T51" fmla="*/ 190 h 243"/>
                <a:gd name="T52" fmla="*/ 209 w 403"/>
                <a:gd name="T53" fmla="*/ 200 h 243"/>
                <a:gd name="T54" fmla="*/ 193 w 403"/>
                <a:gd name="T55" fmla="*/ 221 h 243"/>
                <a:gd name="T56" fmla="*/ 178 w 403"/>
                <a:gd name="T57" fmla="*/ 231 h 243"/>
                <a:gd name="T58" fmla="*/ 159 w 403"/>
                <a:gd name="T59" fmla="*/ 234 h 243"/>
                <a:gd name="T60" fmla="*/ 139 w 403"/>
                <a:gd name="T61" fmla="*/ 226 h 243"/>
                <a:gd name="T62" fmla="*/ 125 w 403"/>
                <a:gd name="T63" fmla="*/ 234 h 243"/>
                <a:gd name="T64" fmla="*/ 108 w 403"/>
                <a:gd name="T65" fmla="*/ 241 h 243"/>
                <a:gd name="T66" fmla="*/ 82 w 403"/>
                <a:gd name="T67" fmla="*/ 233 h 243"/>
                <a:gd name="T68" fmla="*/ 67 w 403"/>
                <a:gd name="T69" fmla="*/ 215 h 243"/>
                <a:gd name="T70" fmla="*/ 53 w 403"/>
                <a:gd name="T71" fmla="*/ 215 h 243"/>
                <a:gd name="T72" fmla="*/ 52 w 403"/>
                <a:gd name="T73" fmla="*/ 205 h 243"/>
                <a:gd name="T74" fmla="*/ 38 w 403"/>
                <a:gd name="T75" fmla="*/ 197 h 243"/>
                <a:gd name="T76" fmla="*/ 24 w 403"/>
                <a:gd name="T77" fmla="*/ 188 h 243"/>
                <a:gd name="T78" fmla="*/ 17 w 403"/>
                <a:gd name="T79" fmla="*/ 168 h 243"/>
                <a:gd name="T80" fmla="*/ 9 w 403"/>
                <a:gd name="T81" fmla="*/ 147 h 243"/>
                <a:gd name="T82" fmla="*/ 5 w 403"/>
                <a:gd name="T83" fmla="*/ 133 h 243"/>
                <a:gd name="T84" fmla="*/ 4 w 403"/>
                <a:gd name="T85" fmla="*/ 115 h 243"/>
                <a:gd name="T86" fmla="*/ 23 w 403"/>
                <a:gd name="T87" fmla="*/ 115 h 243"/>
                <a:gd name="T88" fmla="*/ 41 w 403"/>
                <a:gd name="T89" fmla="*/ 111 h 243"/>
                <a:gd name="T90" fmla="*/ 57 w 403"/>
                <a:gd name="T91" fmla="*/ 96 h 243"/>
                <a:gd name="T92" fmla="*/ 69 w 403"/>
                <a:gd name="T93" fmla="*/ 79 h 243"/>
                <a:gd name="T94" fmla="*/ 70 w 403"/>
                <a:gd name="T95" fmla="*/ 58 h 243"/>
                <a:gd name="T96" fmla="*/ 91 w 403"/>
                <a:gd name="T97" fmla="*/ 46 h 243"/>
                <a:gd name="T98" fmla="*/ 82 w 403"/>
                <a:gd name="T99" fmla="*/ 41 h 243"/>
                <a:gd name="T100" fmla="*/ 87 w 403"/>
                <a:gd name="T101" fmla="*/ 28 h 243"/>
                <a:gd name="T102" fmla="*/ 94 w 403"/>
                <a:gd name="T103" fmla="*/ 21 h 243"/>
                <a:gd name="T104" fmla="*/ 110 w 403"/>
                <a:gd name="T105" fmla="*/ 17 h 243"/>
                <a:gd name="T106" fmla="*/ 127 w 403"/>
                <a:gd name="T107" fmla="*/ 21 h 243"/>
                <a:gd name="T108" fmla="*/ 139 w 403"/>
                <a:gd name="T109" fmla="*/ 21 h 243"/>
                <a:gd name="T110" fmla="*/ 149 w 403"/>
                <a:gd name="T111" fmla="*/ 33 h 243"/>
                <a:gd name="T112" fmla="*/ 169 w 403"/>
                <a:gd name="T113" fmla="*/ 40 h 243"/>
                <a:gd name="T114" fmla="*/ 188 w 403"/>
                <a:gd name="T115" fmla="*/ 40 h 243"/>
                <a:gd name="T116" fmla="*/ 198 w 403"/>
                <a:gd name="T117" fmla="*/ 31 h 243"/>
                <a:gd name="T118" fmla="*/ 221 w 403"/>
                <a:gd name="T119" fmla="*/ 9 h 243"/>
                <a:gd name="T120" fmla="*/ 239 w 403"/>
                <a:gd name="T121" fmla="*/ 0 h 243"/>
                <a:gd name="T122" fmla="*/ 255 w 403"/>
                <a:gd name="T123" fmla="*/ 4 h 243"/>
                <a:gd name="T124" fmla="*/ 273 w 403"/>
                <a:gd name="T125" fmla="*/ 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243">
                  <a:moveTo>
                    <a:pt x="367" y="34"/>
                  </a:moveTo>
                  <a:lnTo>
                    <a:pt x="369" y="34"/>
                  </a:lnTo>
                  <a:lnTo>
                    <a:pt x="369" y="38"/>
                  </a:lnTo>
                  <a:lnTo>
                    <a:pt x="367" y="38"/>
                  </a:lnTo>
                  <a:lnTo>
                    <a:pt x="367" y="34"/>
                  </a:lnTo>
                  <a:close/>
                  <a:moveTo>
                    <a:pt x="372" y="34"/>
                  </a:moveTo>
                  <a:lnTo>
                    <a:pt x="374" y="34"/>
                  </a:lnTo>
                  <a:lnTo>
                    <a:pt x="369" y="38"/>
                  </a:lnTo>
                  <a:lnTo>
                    <a:pt x="369" y="34"/>
                  </a:lnTo>
                  <a:lnTo>
                    <a:pt x="372" y="34"/>
                  </a:lnTo>
                  <a:close/>
                  <a:moveTo>
                    <a:pt x="277" y="2"/>
                  </a:moveTo>
                  <a:lnTo>
                    <a:pt x="282" y="4"/>
                  </a:lnTo>
                  <a:lnTo>
                    <a:pt x="282" y="7"/>
                  </a:lnTo>
                  <a:lnTo>
                    <a:pt x="289" y="7"/>
                  </a:lnTo>
                  <a:lnTo>
                    <a:pt x="291" y="12"/>
                  </a:lnTo>
                  <a:lnTo>
                    <a:pt x="289" y="14"/>
                  </a:lnTo>
                  <a:lnTo>
                    <a:pt x="294" y="16"/>
                  </a:lnTo>
                  <a:lnTo>
                    <a:pt x="299" y="21"/>
                  </a:lnTo>
                  <a:lnTo>
                    <a:pt x="304" y="22"/>
                  </a:lnTo>
                  <a:lnTo>
                    <a:pt x="304" y="24"/>
                  </a:lnTo>
                  <a:lnTo>
                    <a:pt x="311" y="26"/>
                  </a:lnTo>
                  <a:lnTo>
                    <a:pt x="314" y="28"/>
                  </a:lnTo>
                  <a:lnTo>
                    <a:pt x="313" y="31"/>
                  </a:lnTo>
                  <a:lnTo>
                    <a:pt x="314" y="29"/>
                  </a:lnTo>
                  <a:lnTo>
                    <a:pt x="320" y="29"/>
                  </a:lnTo>
                  <a:lnTo>
                    <a:pt x="321" y="38"/>
                  </a:lnTo>
                  <a:lnTo>
                    <a:pt x="323" y="31"/>
                  </a:lnTo>
                  <a:lnTo>
                    <a:pt x="333" y="28"/>
                  </a:lnTo>
                  <a:lnTo>
                    <a:pt x="338" y="29"/>
                  </a:lnTo>
                  <a:lnTo>
                    <a:pt x="347" y="31"/>
                  </a:lnTo>
                  <a:lnTo>
                    <a:pt x="354" y="34"/>
                  </a:lnTo>
                  <a:lnTo>
                    <a:pt x="359" y="36"/>
                  </a:lnTo>
                  <a:lnTo>
                    <a:pt x="366" y="36"/>
                  </a:lnTo>
                  <a:lnTo>
                    <a:pt x="367" y="40"/>
                  </a:lnTo>
                  <a:lnTo>
                    <a:pt x="366" y="41"/>
                  </a:lnTo>
                  <a:lnTo>
                    <a:pt x="366" y="43"/>
                  </a:lnTo>
                  <a:lnTo>
                    <a:pt x="371" y="38"/>
                  </a:lnTo>
                  <a:lnTo>
                    <a:pt x="372" y="36"/>
                  </a:lnTo>
                  <a:lnTo>
                    <a:pt x="376" y="34"/>
                  </a:lnTo>
                  <a:lnTo>
                    <a:pt x="383" y="36"/>
                  </a:lnTo>
                  <a:lnTo>
                    <a:pt x="388" y="33"/>
                  </a:lnTo>
                  <a:lnTo>
                    <a:pt x="390" y="38"/>
                  </a:lnTo>
                  <a:lnTo>
                    <a:pt x="391" y="45"/>
                  </a:lnTo>
                  <a:lnTo>
                    <a:pt x="393" y="50"/>
                  </a:lnTo>
                  <a:lnTo>
                    <a:pt x="391" y="57"/>
                  </a:lnTo>
                  <a:lnTo>
                    <a:pt x="393" y="62"/>
                  </a:lnTo>
                  <a:lnTo>
                    <a:pt x="398" y="70"/>
                  </a:lnTo>
                  <a:lnTo>
                    <a:pt x="398" y="81"/>
                  </a:lnTo>
                  <a:lnTo>
                    <a:pt x="396" y="87"/>
                  </a:lnTo>
                  <a:lnTo>
                    <a:pt x="396" y="91"/>
                  </a:lnTo>
                  <a:lnTo>
                    <a:pt x="398" y="96"/>
                  </a:lnTo>
                  <a:lnTo>
                    <a:pt x="400" y="104"/>
                  </a:lnTo>
                  <a:lnTo>
                    <a:pt x="403" y="110"/>
                  </a:lnTo>
                  <a:lnTo>
                    <a:pt x="398" y="106"/>
                  </a:lnTo>
                  <a:lnTo>
                    <a:pt x="391" y="106"/>
                  </a:lnTo>
                  <a:lnTo>
                    <a:pt x="386" y="108"/>
                  </a:lnTo>
                  <a:lnTo>
                    <a:pt x="384" y="111"/>
                  </a:lnTo>
                  <a:lnTo>
                    <a:pt x="362" y="116"/>
                  </a:lnTo>
                  <a:lnTo>
                    <a:pt x="354" y="120"/>
                  </a:lnTo>
                  <a:lnTo>
                    <a:pt x="342" y="121"/>
                  </a:lnTo>
                  <a:lnTo>
                    <a:pt x="337" y="123"/>
                  </a:lnTo>
                  <a:lnTo>
                    <a:pt x="332" y="125"/>
                  </a:lnTo>
                  <a:lnTo>
                    <a:pt x="323" y="127"/>
                  </a:lnTo>
                  <a:lnTo>
                    <a:pt x="318" y="127"/>
                  </a:lnTo>
                  <a:lnTo>
                    <a:pt x="316" y="128"/>
                  </a:lnTo>
                  <a:lnTo>
                    <a:pt x="308" y="130"/>
                  </a:lnTo>
                  <a:lnTo>
                    <a:pt x="303" y="132"/>
                  </a:lnTo>
                  <a:lnTo>
                    <a:pt x="296" y="132"/>
                  </a:lnTo>
                  <a:lnTo>
                    <a:pt x="289" y="137"/>
                  </a:lnTo>
                  <a:lnTo>
                    <a:pt x="285" y="140"/>
                  </a:lnTo>
                  <a:lnTo>
                    <a:pt x="284" y="145"/>
                  </a:lnTo>
                  <a:lnTo>
                    <a:pt x="291" y="151"/>
                  </a:lnTo>
                  <a:lnTo>
                    <a:pt x="291" y="156"/>
                  </a:lnTo>
                  <a:lnTo>
                    <a:pt x="285" y="159"/>
                  </a:lnTo>
                  <a:lnTo>
                    <a:pt x="285" y="162"/>
                  </a:lnTo>
                  <a:lnTo>
                    <a:pt x="291" y="168"/>
                  </a:lnTo>
                  <a:lnTo>
                    <a:pt x="287" y="171"/>
                  </a:lnTo>
                  <a:lnTo>
                    <a:pt x="279" y="173"/>
                  </a:lnTo>
                  <a:lnTo>
                    <a:pt x="277" y="174"/>
                  </a:lnTo>
                  <a:lnTo>
                    <a:pt x="279" y="181"/>
                  </a:lnTo>
                  <a:lnTo>
                    <a:pt x="277" y="188"/>
                  </a:lnTo>
                  <a:lnTo>
                    <a:pt x="279" y="192"/>
                  </a:lnTo>
                  <a:lnTo>
                    <a:pt x="279" y="193"/>
                  </a:lnTo>
                  <a:lnTo>
                    <a:pt x="272" y="190"/>
                  </a:lnTo>
                  <a:lnTo>
                    <a:pt x="268" y="185"/>
                  </a:lnTo>
                  <a:lnTo>
                    <a:pt x="265" y="181"/>
                  </a:lnTo>
                  <a:lnTo>
                    <a:pt x="263" y="180"/>
                  </a:lnTo>
                  <a:lnTo>
                    <a:pt x="260" y="178"/>
                  </a:lnTo>
                  <a:lnTo>
                    <a:pt x="258" y="171"/>
                  </a:lnTo>
                  <a:lnTo>
                    <a:pt x="255" y="166"/>
                  </a:lnTo>
                  <a:lnTo>
                    <a:pt x="250" y="168"/>
                  </a:lnTo>
                  <a:lnTo>
                    <a:pt x="246" y="169"/>
                  </a:lnTo>
                  <a:lnTo>
                    <a:pt x="244" y="174"/>
                  </a:lnTo>
                  <a:lnTo>
                    <a:pt x="244" y="180"/>
                  </a:lnTo>
                  <a:lnTo>
                    <a:pt x="248" y="183"/>
                  </a:lnTo>
                  <a:lnTo>
                    <a:pt x="248" y="188"/>
                  </a:lnTo>
                  <a:lnTo>
                    <a:pt x="244" y="190"/>
                  </a:lnTo>
                  <a:lnTo>
                    <a:pt x="241" y="193"/>
                  </a:lnTo>
                  <a:lnTo>
                    <a:pt x="233" y="192"/>
                  </a:lnTo>
                  <a:lnTo>
                    <a:pt x="229" y="188"/>
                  </a:lnTo>
                  <a:lnTo>
                    <a:pt x="229" y="192"/>
                  </a:lnTo>
                  <a:lnTo>
                    <a:pt x="226" y="192"/>
                  </a:lnTo>
                  <a:lnTo>
                    <a:pt x="219" y="190"/>
                  </a:lnTo>
                  <a:lnTo>
                    <a:pt x="214" y="190"/>
                  </a:lnTo>
                  <a:lnTo>
                    <a:pt x="212" y="188"/>
                  </a:lnTo>
                  <a:lnTo>
                    <a:pt x="209" y="186"/>
                  </a:lnTo>
                  <a:lnTo>
                    <a:pt x="205" y="193"/>
                  </a:lnTo>
                  <a:lnTo>
                    <a:pt x="209" y="200"/>
                  </a:lnTo>
                  <a:lnTo>
                    <a:pt x="202" y="207"/>
                  </a:lnTo>
                  <a:lnTo>
                    <a:pt x="198" y="214"/>
                  </a:lnTo>
                  <a:lnTo>
                    <a:pt x="193" y="217"/>
                  </a:lnTo>
                  <a:lnTo>
                    <a:pt x="193" y="221"/>
                  </a:lnTo>
                  <a:lnTo>
                    <a:pt x="190" y="217"/>
                  </a:lnTo>
                  <a:lnTo>
                    <a:pt x="188" y="221"/>
                  </a:lnTo>
                  <a:lnTo>
                    <a:pt x="178" y="224"/>
                  </a:lnTo>
                  <a:lnTo>
                    <a:pt x="178" y="231"/>
                  </a:lnTo>
                  <a:lnTo>
                    <a:pt x="174" y="233"/>
                  </a:lnTo>
                  <a:lnTo>
                    <a:pt x="168" y="231"/>
                  </a:lnTo>
                  <a:lnTo>
                    <a:pt x="164" y="234"/>
                  </a:lnTo>
                  <a:lnTo>
                    <a:pt x="159" y="234"/>
                  </a:lnTo>
                  <a:lnTo>
                    <a:pt x="152" y="233"/>
                  </a:lnTo>
                  <a:lnTo>
                    <a:pt x="149" y="229"/>
                  </a:lnTo>
                  <a:lnTo>
                    <a:pt x="142" y="229"/>
                  </a:lnTo>
                  <a:lnTo>
                    <a:pt x="139" y="226"/>
                  </a:lnTo>
                  <a:lnTo>
                    <a:pt x="135" y="226"/>
                  </a:lnTo>
                  <a:lnTo>
                    <a:pt x="134" y="227"/>
                  </a:lnTo>
                  <a:lnTo>
                    <a:pt x="132" y="233"/>
                  </a:lnTo>
                  <a:lnTo>
                    <a:pt x="125" y="234"/>
                  </a:lnTo>
                  <a:lnTo>
                    <a:pt x="118" y="239"/>
                  </a:lnTo>
                  <a:lnTo>
                    <a:pt x="115" y="243"/>
                  </a:lnTo>
                  <a:lnTo>
                    <a:pt x="111" y="243"/>
                  </a:lnTo>
                  <a:lnTo>
                    <a:pt x="108" y="241"/>
                  </a:lnTo>
                  <a:lnTo>
                    <a:pt x="103" y="236"/>
                  </a:lnTo>
                  <a:lnTo>
                    <a:pt x="94" y="239"/>
                  </a:lnTo>
                  <a:lnTo>
                    <a:pt x="89" y="238"/>
                  </a:lnTo>
                  <a:lnTo>
                    <a:pt x="82" y="233"/>
                  </a:lnTo>
                  <a:lnTo>
                    <a:pt x="82" y="231"/>
                  </a:lnTo>
                  <a:lnTo>
                    <a:pt x="75" y="227"/>
                  </a:lnTo>
                  <a:lnTo>
                    <a:pt x="69" y="219"/>
                  </a:lnTo>
                  <a:lnTo>
                    <a:pt x="67" y="215"/>
                  </a:lnTo>
                  <a:lnTo>
                    <a:pt x="64" y="214"/>
                  </a:lnTo>
                  <a:lnTo>
                    <a:pt x="58" y="215"/>
                  </a:lnTo>
                  <a:lnTo>
                    <a:pt x="57" y="214"/>
                  </a:lnTo>
                  <a:lnTo>
                    <a:pt x="53" y="215"/>
                  </a:lnTo>
                  <a:lnTo>
                    <a:pt x="50" y="219"/>
                  </a:lnTo>
                  <a:lnTo>
                    <a:pt x="50" y="217"/>
                  </a:lnTo>
                  <a:lnTo>
                    <a:pt x="50" y="209"/>
                  </a:lnTo>
                  <a:lnTo>
                    <a:pt x="52" y="205"/>
                  </a:lnTo>
                  <a:lnTo>
                    <a:pt x="52" y="203"/>
                  </a:lnTo>
                  <a:lnTo>
                    <a:pt x="50" y="203"/>
                  </a:lnTo>
                  <a:lnTo>
                    <a:pt x="43" y="200"/>
                  </a:lnTo>
                  <a:lnTo>
                    <a:pt x="38" y="197"/>
                  </a:lnTo>
                  <a:lnTo>
                    <a:pt x="36" y="195"/>
                  </a:lnTo>
                  <a:lnTo>
                    <a:pt x="34" y="195"/>
                  </a:lnTo>
                  <a:lnTo>
                    <a:pt x="28" y="190"/>
                  </a:lnTo>
                  <a:lnTo>
                    <a:pt x="24" y="188"/>
                  </a:lnTo>
                  <a:lnTo>
                    <a:pt x="19" y="183"/>
                  </a:lnTo>
                  <a:lnTo>
                    <a:pt x="17" y="181"/>
                  </a:lnTo>
                  <a:lnTo>
                    <a:pt x="17" y="180"/>
                  </a:lnTo>
                  <a:lnTo>
                    <a:pt x="17" y="168"/>
                  </a:lnTo>
                  <a:lnTo>
                    <a:pt x="16" y="162"/>
                  </a:lnTo>
                  <a:lnTo>
                    <a:pt x="14" y="159"/>
                  </a:lnTo>
                  <a:lnTo>
                    <a:pt x="9" y="151"/>
                  </a:lnTo>
                  <a:lnTo>
                    <a:pt x="9" y="147"/>
                  </a:lnTo>
                  <a:lnTo>
                    <a:pt x="2" y="142"/>
                  </a:lnTo>
                  <a:lnTo>
                    <a:pt x="2" y="139"/>
                  </a:lnTo>
                  <a:lnTo>
                    <a:pt x="4" y="137"/>
                  </a:lnTo>
                  <a:lnTo>
                    <a:pt x="5" y="133"/>
                  </a:lnTo>
                  <a:lnTo>
                    <a:pt x="4" y="130"/>
                  </a:lnTo>
                  <a:lnTo>
                    <a:pt x="0" y="121"/>
                  </a:lnTo>
                  <a:lnTo>
                    <a:pt x="0" y="113"/>
                  </a:lnTo>
                  <a:lnTo>
                    <a:pt x="4" y="115"/>
                  </a:lnTo>
                  <a:lnTo>
                    <a:pt x="7" y="111"/>
                  </a:lnTo>
                  <a:lnTo>
                    <a:pt x="12" y="116"/>
                  </a:lnTo>
                  <a:lnTo>
                    <a:pt x="17" y="113"/>
                  </a:lnTo>
                  <a:lnTo>
                    <a:pt x="23" y="115"/>
                  </a:lnTo>
                  <a:lnTo>
                    <a:pt x="26" y="113"/>
                  </a:lnTo>
                  <a:lnTo>
                    <a:pt x="34" y="111"/>
                  </a:lnTo>
                  <a:lnTo>
                    <a:pt x="36" y="113"/>
                  </a:lnTo>
                  <a:lnTo>
                    <a:pt x="41" y="111"/>
                  </a:lnTo>
                  <a:lnTo>
                    <a:pt x="45" y="110"/>
                  </a:lnTo>
                  <a:lnTo>
                    <a:pt x="48" y="103"/>
                  </a:lnTo>
                  <a:lnTo>
                    <a:pt x="52" y="99"/>
                  </a:lnTo>
                  <a:lnTo>
                    <a:pt x="57" y="96"/>
                  </a:lnTo>
                  <a:lnTo>
                    <a:pt x="60" y="94"/>
                  </a:lnTo>
                  <a:lnTo>
                    <a:pt x="67" y="87"/>
                  </a:lnTo>
                  <a:lnTo>
                    <a:pt x="70" y="81"/>
                  </a:lnTo>
                  <a:lnTo>
                    <a:pt x="69" y="79"/>
                  </a:lnTo>
                  <a:lnTo>
                    <a:pt x="70" y="72"/>
                  </a:lnTo>
                  <a:lnTo>
                    <a:pt x="67" y="67"/>
                  </a:lnTo>
                  <a:lnTo>
                    <a:pt x="67" y="63"/>
                  </a:lnTo>
                  <a:lnTo>
                    <a:pt x="70" y="58"/>
                  </a:lnTo>
                  <a:lnTo>
                    <a:pt x="82" y="57"/>
                  </a:lnTo>
                  <a:lnTo>
                    <a:pt x="84" y="53"/>
                  </a:lnTo>
                  <a:lnTo>
                    <a:pt x="89" y="48"/>
                  </a:lnTo>
                  <a:lnTo>
                    <a:pt x="91" y="46"/>
                  </a:lnTo>
                  <a:lnTo>
                    <a:pt x="91" y="43"/>
                  </a:lnTo>
                  <a:lnTo>
                    <a:pt x="89" y="41"/>
                  </a:lnTo>
                  <a:lnTo>
                    <a:pt x="87" y="43"/>
                  </a:lnTo>
                  <a:lnTo>
                    <a:pt x="82" y="41"/>
                  </a:lnTo>
                  <a:lnTo>
                    <a:pt x="84" y="36"/>
                  </a:lnTo>
                  <a:lnTo>
                    <a:pt x="82" y="31"/>
                  </a:lnTo>
                  <a:lnTo>
                    <a:pt x="84" y="28"/>
                  </a:lnTo>
                  <a:lnTo>
                    <a:pt x="87" y="28"/>
                  </a:lnTo>
                  <a:lnTo>
                    <a:pt x="87" y="26"/>
                  </a:lnTo>
                  <a:lnTo>
                    <a:pt x="91" y="26"/>
                  </a:lnTo>
                  <a:lnTo>
                    <a:pt x="94" y="24"/>
                  </a:lnTo>
                  <a:lnTo>
                    <a:pt x="94" y="21"/>
                  </a:lnTo>
                  <a:lnTo>
                    <a:pt x="98" y="21"/>
                  </a:lnTo>
                  <a:lnTo>
                    <a:pt x="101" y="17"/>
                  </a:lnTo>
                  <a:lnTo>
                    <a:pt x="106" y="16"/>
                  </a:lnTo>
                  <a:lnTo>
                    <a:pt x="110" y="17"/>
                  </a:lnTo>
                  <a:lnTo>
                    <a:pt x="118" y="21"/>
                  </a:lnTo>
                  <a:lnTo>
                    <a:pt x="120" y="19"/>
                  </a:lnTo>
                  <a:lnTo>
                    <a:pt x="123" y="19"/>
                  </a:lnTo>
                  <a:lnTo>
                    <a:pt x="127" y="21"/>
                  </a:lnTo>
                  <a:lnTo>
                    <a:pt x="127" y="24"/>
                  </a:lnTo>
                  <a:lnTo>
                    <a:pt x="128" y="24"/>
                  </a:lnTo>
                  <a:lnTo>
                    <a:pt x="135" y="21"/>
                  </a:lnTo>
                  <a:lnTo>
                    <a:pt x="139" y="21"/>
                  </a:lnTo>
                  <a:lnTo>
                    <a:pt x="142" y="21"/>
                  </a:lnTo>
                  <a:lnTo>
                    <a:pt x="144" y="26"/>
                  </a:lnTo>
                  <a:lnTo>
                    <a:pt x="151" y="29"/>
                  </a:lnTo>
                  <a:lnTo>
                    <a:pt x="149" y="33"/>
                  </a:lnTo>
                  <a:lnTo>
                    <a:pt x="149" y="34"/>
                  </a:lnTo>
                  <a:lnTo>
                    <a:pt x="157" y="33"/>
                  </a:lnTo>
                  <a:lnTo>
                    <a:pt x="161" y="40"/>
                  </a:lnTo>
                  <a:lnTo>
                    <a:pt x="169" y="40"/>
                  </a:lnTo>
                  <a:lnTo>
                    <a:pt x="171" y="41"/>
                  </a:lnTo>
                  <a:lnTo>
                    <a:pt x="176" y="41"/>
                  </a:lnTo>
                  <a:lnTo>
                    <a:pt x="181" y="46"/>
                  </a:lnTo>
                  <a:lnTo>
                    <a:pt x="188" y="40"/>
                  </a:lnTo>
                  <a:lnTo>
                    <a:pt x="192" y="40"/>
                  </a:lnTo>
                  <a:lnTo>
                    <a:pt x="195" y="33"/>
                  </a:lnTo>
                  <a:lnTo>
                    <a:pt x="198" y="34"/>
                  </a:lnTo>
                  <a:lnTo>
                    <a:pt x="198" y="31"/>
                  </a:lnTo>
                  <a:lnTo>
                    <a:pt x="200" y="28"/>
                  </a:lnTo>
                  <a:lnTo>
                    <a:pt x="202" y="24"/>
                  </a:lnTo>
                  <a:lnTo>
                    <a:pt x="210" y="19"/>
                  </a:lnTo>
                  <a:lnTo>
                    <a:pt x="221" y="9"/>
                  </a:lnTo>
                  <a:lnTo>
                    <a:pt x="224" y="4"/>
                  </a:lnTo>
                  <a:lnTo>
                    <a:pt x="227" y="0"/>
                  </a:lnTo>
                  <a:lnTo>
                    <a:pt x="238" y="0"/>
                  </a:lnTo>
                  <a:lnTo>
                    <a:pt x="239" y="0"/>
                  </a:lnTo>
                  <a:lnTo>
                    <a:pt x="241" y="0"/>
                  </a:lnTo>
                  <a:lnTo>
                    <a:pt x="243" y="0"/>
                  </a:lnTo>
                  <a:lnTo>
                    <a:pt x="251" y="2"/>
                  </a:lnTo>
                  <a:lnTo>
                    <a:pt x="255" y="4"/>
                  </a:lnTo>
                  <a:lnTo>
                    <a:pt x="260" y="4"/>
                  </a:lnTo>
                  <a:lnTo>
                    <a:pt x="265" y="5"/>
                  </a:lnTo>
                  <a:lnTo>
                    <a:pt x="267" y="7"/>
                  </a:lnTo>
                  <a:lnTo>
                    <a:pt x="273" y="4"/>
                  </a:lnTo>
                  <a:lnTo>
                    <a:pt x="277" y="2"/>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0" name="Freeform 73"/>
            <p:cNvSpPr>
              <a:spLocks noEditPoints="1"/>
            </p:cNvSpPr>
            <p:nvPr/>
          </p:nvSpPr>
          <p:spPr bwMode="gray">
            <a:xfrm>
              <a:off x="2420271" y="3512248"/>
              <a:ext cx="881080" cy="720553"/>
            </a:xfrm>
            <a:custGeom>
              <a:avLst/>
              <a:gdLst>
                <a:gd name="T0" fmla="*/ 297 w 483"/>
                <a:gd name="T1" fmla="*/ 17 h 395"/>
                <a:gd name="T2" fmla="*/ 289 w 483"/>
                <a:gd name="T3" fmla="*/ 34 h 395"/>
                <a:gd name="T4" fmla="*/ 309 w 483"/>
                <a:gd name="T5" fmla="*/ 34 h 395"/>
                <a:gd name="T6" fmla="*/ 309 w 483"/>
                <a:gd name="T7" fmla="*/ 41 h 395"/>
                <a:gd name="T8" fmla="*/ 316 w 483"/>
                <a:gd name="T9" fmla="*/ 46 h 395"/>
                <a:gd name="T10" fmla="*/ 340 w 483"/>
                <a:gd name="T11" fmla="*/ 67 h 395"/>
                <a:gd name="T12" fmla="*/ 323 w 483"/>
                <a:gd name="T13" fmla="*/ 91 h 395"/>
                <a:gd name="T14" fmla="*/ 337 w 483"/>
                <a:gd name="T15" fmla="*/ 89 h 395"/>
                <a:gd name="T16" fmla="*/ 357 w 483"/>
                <a:gd name="T17" fmla="*/ 89 h 395"/>
                <a:gd name="T18" fmla="*/ 384 w 483"/>
                <a:gd name="T19" fmla="*/ 87 h 395"/>
                <a:gd name="T20" fmla="*/ 420 w 483"/>
                <a:gd name="T21" fmla="*/ 94 h 395"/>
                <a:gd name="T22" fmla="*/ 429 w 483"/>
                <a:gd name="T23" fmla="*/ 121 h 395"/>
                <a:gd name="T24" fmla="*/ 449 w 483"/>
                <a:gd name="T25" fmla="*/ 154 h 395"/>
                <a:gd name="T26" fmla="*/ 478 w 483"/>
                <a:gd name="T27" fmla="*/ 179 h 395"/>
                <a:gd name="T28" fmla="*/ 465 w 483"/>
                <a:gd name="T29" fmla="*/ 207 h 395"/>
                <a:gd name="T30" fmla="*/ 453 w 483"/>
                <a:gd name="T31" fmla="*/ 227 h 395"/>
                <a:gd name="T32" fmla="*/ 466 w 483"/>
                <a:gd name="T33" fmla="*/ 263 h 395"/>
                <a:gd name="T34" fmla="*/ 453 w 483"/>
                <a:gd name="T35" fmla="*/ 302 h 395"/>
                <a:gd name="T36" fmla="*/ 436 w 483"/>
                <a:gd name="T37" fmla="*/ 301 h 395"/>
                <a:gd name="T38" fmla="*/ 430 w 483"/>
                <a:gd name="T39" fmla="*/ 289 h 395"/>
                <a:gd name="T40" fmla="*/ 425 w 483"/>
                <a:gd name="T41" fmla="*/ 277 h 395"/>
                <a:gd name="T42" fmla="*/ 413 w 483"/>
                <a:gd name="T43" fmla="*/ 268 h 395"/>
                <a:gd name="T44" fmla="*/ 395 w 483"/>
                <a:gd name="T45" fmla="*/ 260 h 395"/>
                <a:gd name="T46" fmla="*/ 381 w 483"/>
                <a:gd name="T47" fmla="*/ 273 h 395"/>
                <a:gd name="T48" fmla="*/ 364 w 483"/>
                <a:gd name="T49" fmla="*/ 285 h 395"/>
                <a:gd name="T50" fmla="*/ 349 w 483"/>
                <a:gd name="T51" fmla="*/ 304 h 395"/>
                <a:gd name="T52" fmla="*/ 318 w 483"/>
                <a:gd name="T53" fmla="*/ 316 h 395"/>
                <a:gd name="T54" fmla="*/ 285 w 483"/>
                <a:gd name="T55" fmla="*/ 320 h 395"/>
                <a:gd name="T56" fmla="*/ 272 w 483"/>
                <a:gd name="T57" fmla="*/ 355 h 395"/>
                <a:gd name="T58" fmla="*/ 268 w 483"/>
                <a:gd name="T59" fmla="*/ 376 h 395"/>
                <a:gd name="T60" fmla="*/ 261 w 483"/>
                <a:gd name="T61" fmla="*/ 390 h 395"/>
                <a:gd name="T62" fmla="*/ 238 w 483"/>
                <a:gd name="T63" fmla="*/ 391 h 395"/>
                <a:gd name="T64" fmla="*/ 205 w 483"/>
                <a:gd name="T65" fmla="*/ 379 h 395"/>
                <a:gd name="T66" fmla="*/ 197 w 483"/>
                <a:gd name="T67" fmla="*/ 367 h 395"/>
                <a:gd name="T68" fmla="*/ 176 w 483"/>
                <a:gd name="T69" fmla="*/ 352 h 395"/>
                <a:gd name="T70" fmla="*/ 168 w 483"/>
                <a:gd name="T71" fmla="*/ 323 h 395"/>
                <a:gd name="T72" fmla="*/ 128 w 483"/>
                <a:gd name="T73" fmla="*/ 314 h 395"/>
                <a:gd name="T74" fmla="*/ 103 w 483"/>
                <a:gd name="T75" fmla="*/ 296 h 395"/>
                <a:gd name="T76" fmla="*/ 96 w 483"/>
                <a:gd name="T77" fmla="*/ 284 h 395"/>
                <a:gd name="T78" fmla="*/ 82 w 483"/>
                <a:gd name="T79" fmla="*/ 272 h 395"/>
                <a:gd name="T80" fmla="*/ 82 w 483"/>
                <a:gd name="T81" fmla="*/ 244 h 395"/>
                <a:gd name="T82" fmla="*/ 106 w 483"/>
                <a:gd name="T83" fmla="*/ 229 h 395"/>
                <a:gd name="T84" fmla="*/ 99 w 483"/>
                <a:gd name="T85" fmla="*/ 208 h 395"/>
                <a:gd name="T86" fmla="*/ 74 w 483"/>
                <a:gd name="T87" fmla="*/ 203 h 395"/>
                <a:gd name="T88" fmla="*/ 43 w 483"/>
                <a:gd name="T89" fmla="*/ 171 h 395"/>
                <a:gd name="T90" fmla="*/ 21 w 483"/>
                <a:gd name="T91" fmla="*/ 156 h 395"/>
                <a:gd name="T92" fmla="*/ 7 w 483"/>
                <a:gd name="T93" fmla="*/ 133 h 395"/>
                <a:gd name="T94" fmla="*/ 38 w 483"/>
                <a:gd name="T95" fmla="*/ 123 h 395"/>
                <a:gd name="T96" fmla="*/ 67 w 483"/>
                <a:gd name="T97" fmla="*/ 118 h 395"/>
                <a:gd name="T98" fmla="*/ 98 w 483"/>
                <a:gd name="T99" fmla="*/ 94 h 395"/>
                <a:gd name="T100" fmla="*/ 118 w 483"/>
                <a:gd name="T101" fmla="*/ 86 h 395"/>
                <a:gd name="T102" fmla="*/ 133 w 483"/>
                <a:gd name="T103" fmla="*/ 74 h 395"/>
                <a:gd name="T104" fmla="*/ 152 w 483"/>
                <a:gd name="T105" fmla="*/ 74 h 395"/>
                <a:gd name="T106" fmla="*/ 168 w 483"/>
                <a:gd name="T107" fmla="*/ 75 h 395"/>
                <a:gd name="T108" fmla="*/ 180 w 483"/>
                <a:gd name="T109" fmla="*/ 50 h 395"/>
                <a:gd name="T110" fmla="*/ 197 w 483"/>
                <a:gd name="T111" fmla="*/ 24 h 395"/>
                <a:gd name="T112" fmla="*/ 243 w 483"/>
                <a:gd name="T113" fmla="*/ 14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3" h="395">
                  <a:moveTo>
                    <a:pt x="343" y="92"/>
                  </a:moveTo>
                  <a:lnTo>
                    <a:pt x="342" y="89"/>
                  </a:lnTo>
                  <a:lnTo>
                    <a:pt x="343" y="87"/>
                  </a:lnTo>
                  <a:lnTo>
                    <a:pt x="343" y="92"/>
                  </a:lnTo>
                  <a:close/>
                  <a:moveTo>
                    <a:pt x="292" y="4"/>
                  </a:moveTo>
                  <a:lnTo>
                    <a:pt x="296" y="9"/>
                  </a:lnTo>
                  <a:lnTo>
                    <a:pt x="297" y="17"/>
                  </a:lnTo>
                  <a:lnTo>
                    <a:pt x="296" y="21"/>
                  </a:lnTo>
                  <a:lnTo>
                    <a:pt x="292" y="21"/>
                  </a:lnTo>
                  <a:lnTo>
                    <a:pt x="289" y="26"/>
                  </a:lnTo>
                  <a:lnTo>
                    <a:pt x="291" y="31"/>
                  </a:lnTo>
                  <a:lnTo>
                    <a:pt x="289" y="33"/>
                  </a:lnTo>
                  <a:lnTo>
                    <a:pt x="289" y="38"/>
                  </a:lnTo>
                  <a:lnTo>
                    <a:pt x="289" y="34"/>
                  </a:lnTo>
                  <a:lnTo>
                    <a:pt x="291" y="34"/>
                  </a:lnTo>
                  <a:lnTo>
                    <a:pt x="292" y="38"/>
                  </a:lnTo>
                  <a:lnTo>
                    <a:pt x="296" y="34"/>
                  </a:lnTo>
                  <a:lnTo>
                    <a:pt x="297" y="27"/>
                  </a:lnTo>
                  <a:lnTo>
                    <a:pt x="299" y="27"/>
                  </a:lnTo>
                  <a:lnTo>
                    <a:pt x="304" y="29"/>
                  </a:lnTo>
                  <a:lnTo>
                    <a:pt x="309" y="34"/>
                  </a:lnTo>
                  <a:lnTo>
                    <a:pt x="304" y="39"/>
                  </a:lnTo>
                  <a:lnTo>
                    <a:pt x="306" y="41"/>
                  </a:lnTo>
                  <a:lnTo>
                    <a:pt x="306" y="45"/>
                  </a:lnTo>
                  <a:lnTo>
                    <a:pt x="299" y="43"/>
                  </a:lnTo>
                  <a:lnTo>
                    <a:pt x="299" y="45"/>
                  </a:lnTo>
                  <a:lnTo>
                    <a:pt x="304" y="45"/>
                  </a:lnTo>
                  <a:lnTo>
                    <a:pt x="309" y="41"/>
                  </a:lnTo>
                  <a:lnTo>
                    <a:pt x="311" y="39"/>
                  </a:lnTo>
                  <a:lnTo>
                    <a:pt x="314" y="43"/>
                  </a:lnTo>
                  <a:lnTo>
                    <a:pt x="313" y="46"/>
                  </a:lnTo>
                  <a:lnTo>
                    <a:pt x="314" y="51"/>
                  </a:lnTo>
                  <a:lnTo>
                    <a:pt x="316" y="50"/>
                  </a:lnTo>
                  <a:lnTo>
                    <a:pt x="314" y="50"/>
                  </a:lnTo>
                  <a:lnTo>
                    <a:pt x="316" y="46"/>
                  </a:lnTo>
                  <a:lnTo>
                    <a:pt x="318" y="43"/>
                  </a:lnTo>
                  <a:lnTo>
                    <a:pt x="328" y="45"/>
                  </a:lnTo>
                  <a:lnTo>
                    <a:pt x="331" y="45"/>
                  </a:lnTo>
                  <a:lnTo>
                    <a:pt x="337" y="50"/>
                  </a:lnTo>
                  <a:lnTo>
                    <a:pt x="340" y="55"/>
                  </a:lnTo>
                  <a:lnTo>
                    <a:pt x="340" y="62"/>
                  </a:lnTo>
                  <a:lnTo>
                    <a:pt x="340" y="67"/>
                  </a:lnTo>
                  <a:lnTo>
                    <a:pt x="333" y="74"/>
                  </a:lnTo>
                  <a:lnTo>
                    <a:pt x="326" y="79"/>
                  </a:lnTo>
                  <a:lnTo>
                    <a:pt x="321" y="87"/>
                  </a:lnTo>
                  <a:lnTo>
                    <a:pt x="316" y="86"/>
                  </a:lnTo>
                  <a:lnTo>
                    <a:pt x="320" y="92"/>
                  </a:lnTo>
                  <a:lnTo>
                    <a:pt x="323" y="92"/>
                  </a:lnTo>
                  <a:lnTo>
                    <a:pt x="323" y="91"/>
                  </a:lnTo>
                  <a:lnTo>
                    <a:pt x="331" y="87"/>
                  </a:lnTo>
                  <a:lnTo>
                    <a:pt x="333" y="84"/>
                  </a:lnTo>
                  <a:lnTo>
                    <a:pt x="335" y="79"/>
                  </a:lnTo>
                  <a:lnTo>
                    <a:pt x="340" y="77"/>
                  </a:lnTo>
                  <a:lnTo>
                    <a:pt x="342" y="79"/>
                  </a:lnTo>
                  <a:lnTo>
                    <a:pt x="342" y="87"/>
                  </a:lnTo>
                  <a:lnTo>
                    <a:pt x="337" y="89"/>
                  </a:lnTo>
                  <a:lnTo>
                    <a:pt x="340" y="89"/>
                  </a:lnTo>
                  <a:lnTo>
                    <a:pt x="343" y="94"/>
                  </a:lnTo>
                  <a:lnTo>
                    <a:pt x="343" y="91"/>
                  </a:lnTo>
                  <a:lnTo>
                    <a:pt x="343" y="86"/>
                  </a:lnTo>
                  <a:lnTo>
                    <a:pt x="347" y="84"/>
                  </a:lnTo>
                  <a:lnTo>
                    <a:pt x="355" y="86"/>
                  </a:lnTo>
                  <a:lnTo>
                    <a:pt x="357" y="89"/>
                  </a:lnTo>
                  <a:lnTo>
                    <a:pt x="355" y="92"/>
                  </a:lnTo>
                  <a:lnTo>
                    <a:pt x="361" y="87"/>
                  </a:lnTo>
                  <a:lnTo>
                    <a:pt x="366" y="89"/>
                  </a:lnTo>
                  <a:lnTo>
                    <a:pt x="366" y="91"/>
                  </a:lnTo>
                  <a:lnTo>
                    <a:pt x="371" y="86"/>
                  </a:lnTo>
                  <a:lnTo>
                    <a:pt x="378" y="84"/>
                  </a:lnTo>
                  <a:lnTo>
                    <a:pt x="384" y="87"/>
                  </a:lnTo>
                  <a:lnTo>
                    <a:pt x="388" y="89"/>
                  </a:lnTo>
                  <a:lnTo>
                    <a:pt x="390" y="89"/>
                  </a:lnTo>
                  <a:lnTo>
                    <a:pt x="398" y="91"/>
                  </a:lnTo>
                  <a:lnTo>
                    <a:pt x="400" y="91"/>
                  </a:lnTo>
                  <a:lnTo>
                    <a:pt x="410" y="91"/>
                  </a:lnTo>
                  <a:lnTo>
                    <a:pt x="419" y="92"/>
                  </a:lnTo>
                  <a:lnTo>
                    <a:pt x="420" y="94"/>
                  </a:lnTo>
                  <a:lnTo>
                    <a:pt x="415" y="96"/>
                  </a:lnTo>
                  <a:lnTo>
                    <a:pt x="422" y="94"/>
                  </a:lnTo>
                  <a:lnTo>
                    <a:pt x="427" y="91"/>
                  </a:lnTo>
                  <a:lnTo>
                    <a:pt x="429" y="96"/>
                  </a:lnTo>
                  <a:lnTo>
                    <a:pt x="425" y="106"/>
                  </a:lnTo>
                  <a:lnTo>
                    <a:pt x="425" y="116"/>
                  </a:lnTo>
                  <a:lnTo>
                    <a:pt x="429" y="121"/>
                  </a:lnTo>
                  <a:lnTo>
                    <a:pt x="434" y="125"/>
                  </a:lnTo>
                  <a:lnTo>
                    <a:pt x="441" y="127"/>
                  </a:lnTo>
                  <a:lnTo>
                    <a:pt x="446" y="127"/>
                  </a:lnTo>
                  <a:lnTo>
                    <a:pt x="446" y="135"/>
                  </a:lnTo>
                  <a:lnTo>
                    <a:pt x="446" y="142"/>
                  </a:lnTo>
                  <a:lnTo>
                    <a:pt x="446" y="145"/>
                  </a:lnTo>
                  <a:lnTo>
                    <a:pt x="449" y="154"/>
                  </a:lnTo>
                  <a:lnTo>
                    <a:pt x="458" y="159"/>
                  </a:lnTo>
                  <a:lnTo>
                    <a:pt x="465" y="159"/>
                  </a:lnTo>
                  <a:lnTo>
                    <a:pt x="466" y="157"/>
                  </a:lnTo>
                  <a:lnTo>
                    <a:pt x="468" y="159"/>
                  </a:lnTo>
                  <a:lnTo>
                    <a:pt x="477" y="162"/>
                  </a:lnTo>
                  <a:lnTo>
                    <a:pt x="478" y="173"/>
                  </a:lnTo>
                  <a:lnTo>
                    <a:pt x="478" y="179"/>
                  </a:lnTo>
                  <a:lnTo>
                    <a:pt x="480" y="183"/>
                  </a:lnTo>
                  <a:lnTo>
                    <a:pt x="483" y="190"/>
                  </a:lnTo>
                  <a:lnTo>
                    <a:pt x="483" y="193"/>
                  </a:lnTo>
                  <a:lnTo>
                    <a:pt x="482" y="195"/>
                  </a:lnTo>
                  <a:lnTo>
                    <a:pt x="473" y="200"/>
                  </a:lnTo>
                  <a:lnTo>
                    <a:pt x="466" y="203"/>
                  </a:lnTo>
                  <a:lnTo>
                    <a:pt x="465" y="207"/>
                  </a:lnTo>
                  <a:lnTo>
                    <a:pt x="463" y="205"/>
                  </a:lnTo>
                  <a:lnTo>
                    <a:pt x="463" y="208"/>
                  </a:lnTo>
                  <a:lnTo>
                    <a:pt x="458" y="215"/>
                  </a:lnTo>
                  <a:lnTo>
                    <a:pt x="458" y="217"/>
                  </a:lnTo>
                  <a:lnTo>
                    <a:pt x="454" y="222"/>
                  </a:lnTo>
                  <a:lnTo>
                    <a:pt x="454" y="224"/>
                  </a:lnTo>
                  <a:lnTo>
                    <a:pt x="453" y="227"/>
                  </a:lnTo>
                  <a:lnTo>
                    <a:pt x="451" y="234"/>
                  </a:lnTo>
                  <a:lnTo>
                    <a:pt x="451" y="236"/>
                  </a:lnTo>
                  <a:lnTo>
                    <a:pt x="451" y="244"/>
                  </a:lnTo>
                  <a:lnTo>
                    <a:pt x="451" y="249"/>
                  </a:lnTo>
                  <a:lnTo>
                    <a:pt x="454" y="253"/>
                  </a:lnTo>
                  <a:lnTo>
                    <a:pt x="463" y="256"/>
                  </a:lnTo>
                  <a:lnTo>
                    <a:pt x="466" y="263"/>
                  </a:lnTo>
                  <a:lnTo>
                    <a:pt x="466" y="267"/>
                  </a:lnTo>
                  <a:lnTo>
                    <a:pt x="463" y="273"/>
                  </a:lnTo>
                  <a:lnTo>
                    <a:pt x="460" y="279"/>
                  </a:lnTo>
                  <a:lnTo>
                    <a:pt x="456" y="287"/>
                  </a:lnTo>
                  <a:lnTo>
                    <a:pt x="456" y="290"/>
                  </a:lnTo>
                  <a:lnTo>
                    <a:pt x="453" y="297"/>
                  </a:lnTo>
                  <a:lnTo>
                    <a:pt x="453" y="302"/>
                  </a:lnTo>
                  <a:lnTo>
                    <a:pt x="451" y="302"/>
                  </a:lnTo>
                  <a:lnTo>
                    <a:pt x="449" y="299"/>
                  </a:lnTo>
                  <a:lnTo>
                    <a:pt x="444" y="297"/>
                  </a:lnTo>
                  <a:lnTo>
                    <a:pt x="444" y="299"/>
                  </a:lnTo>
                  <a:lnTo>
                    <a:pt x="441" y="301"/>
                  </a:lnTo>
                  <a:lnTo>
                    <a:pt x="439" y="299"/>
                  </a:lnTo>
                  <a:lnTo>
                    <a:pt x="436" y="301"/>
                  </a:lnTo>
                  <a:lnTo>
                    <a:pt x="437" y="296"/>
                  </a:lnTo>
                  <a:lnTo>
                    <a:pt x="434" y="296"/>
                  </a:lnTo>
                  <a:lnTo>
                    <a:pt x="434" y="292"/>
                  </a:lnTo>
                  <a:lnTo>
                    <a:pt x="432" y="294"/>
                  </a:lnTo>
                  <a:lnTo>
                    <a:pt x="430" y="294"/>
                  </a:lnTo>
                  <a:lnTo>
                    <a:pt x="429" y="292"/>
                  </a:lnTo>
                  <a:lnTo>
                    <a:pt x="430" y="289"/>
                  </a:lnTo>
                  <a:lnTo>
                    <a:pt x="427" y="289"/>
                  </a:lnTo>
                  <a:lnTo>
                    <a:pt x="425" y="290"/>
                  </a:lnTo>
                  <a:lnTo>
                    <a:pt x="424" y="290"/>
                  </a:lnTo>
                  <a:lnTo>
                    <a:pt x="427" y="284"/>
                  </a:lnTo>
                  <a:lnTo>
                    <a:pt x="425" y="280"/>
                  </a:lnTo>
                  <a:lnTo>
                    <a:pt x="422" y="279"/>
                  </a:lnTo>
                  <a:lnTo>
                    <a:pt x="425" y="277"/>
                  </a:lnTo>
                  <a:lnTo>
                    <a:pt x="424" y="275"/>
                  </a:lnTo>
                  <a:lnTo>
                    <a:pt x="422" y="277"/>
                  </a:lnTo>
                  <a:lnTo>
                    <a:pt x="420" y="275"/>
                  </a:lnTo>
                  <a:lnTo>
                    <a:pt x="420" y="272"/>
                  </a:lnTo>
                  <a:lnTo>
                    <a:pt x="417" y="270"/>
                  </a:lnTo>
                  <a:lnTo>
                    <a:pt x="415" y="272"/>
                  </a:lnTo>
                  <a:lnTo>
                    <a:pt x="413" y="268"/>
                  </a:lnTo>
                  <a:lnTo>
                    <a:pt x="415" y="265"/>
                  </a:lnTo>
                  <a:lnTo>
                    <a:pt x="412" y="265"/>
                  </a:lnTo>
                  <a:lnTo>
                    <a:pt x="410" y="263"/>
                  </a:lnTo>
                  <a:lnTo>
                    <a:pt x="403" y="263"/>
                  </a:lnTo>
                  <a:lnTo>
                    <a:pt x="405" y="258"/>
                  </a:lnTo>
                  <a:lnTo>
                    <a:pt x="401" y="256"/>
                  </a:lnTo>
                  <a:lnTo>
                    <a:pt x="395" y="260"/>
                  </a:lnTo>
                  <a:lnTo>
                    <a:pt x="393" y="253"/>
                  </a:lnTo>
                  <a:lnTo>
                    <a:pt x="391" y="251"/>
                  </a:lnTo>
                  <a:lnTo>
                    <a:pt x="388" y="258"/>
                  </a:lnTo>
                  <a:lnTo>
                    <a:pt x="386" y="260"/>
                  </a:lnTo>
                  <a:lnTo>
                    <a:pt x="388" y="265"/>
                  </a:lnTo>
                  <a:lnTo>
                    <a:pt x="384" y="268"/>
                  </a:lnTo>
                  <a:lnTo>
                    <a:pt x="381" y="273"/>
                  </a:lnTo>
                  <a:lnTo>
                    <a:pt x="379" y="270"/>
                  </a:lnTo>
                  <a:lnTo>
                    <a:pt x="376" y="270"/>
                  </a:lnTo>
                  <a:lnTo>
                    <a:pt x="372" y="273"/>
                  </a:lnTo>
                  <a:lnTo>
                    <a:pt x="372" y="277"/>
                  </a:lnTo>
                  <a:lnTo>
                    <a:pt x="369" y="277"/>
                  </a:lnTo>
                  <a:lnTo>
                    <a:pt x="367" y="282"/>
                  </a:lnTo>
                  <a:lnTo>
                    <a:pt x="364" y="285"/>
                  </a:lnTo>
                  <a:lnTo>
                    <a:pt x="366" y="289"/>
                  </a:lnTo>
                  <a:lnTo>
                    <a:pt x="364" y="289"/>
                  </a:lnTo>
                  <a:lnTo>
                    <a:pt x="359" y="296"/>
                  </a:lnTo>
                  <a:lnTo>
                    <a:pt x="359" y="299"/>
                  </a:lnTo>
                  <a:lnTo>
                    <a:pt x="355" y="301"/>
                  </a:lnTo>
                  <a:lnTo>
                    <a:pt x="354" y="304"/>
                  </a:lnTo>
                  <a:lnTo>
                    <a:pt x="349" y="304"/>
                  </a:lnTo>
                  <a:lnTo>
                    <a:pt x="345" y="308"/>
                  </a:lnTo>
                  <a:lnTo>
                    <a:pt x="338" y="309"/>
                  </a:lnTo>
                  <a:lnTo>
                    <a:pt x="337" y="313"/>
                  </a:lnTo>
                  <a:lnTo>
                    <a:pt x="330" y="313"/>
                  </a:lnTo>
                  <a:lnTo>
                    <a:pt x="328" y="316"/>
                  </a:lnTo>
                  <a:lnTo>
                    <a:pt x="323" y="313"/>
                  </a:lnTo>
                  <a:lnTo>
                    <a:pt x="318" y="316"/>
                  </a:lnTo>
                  <a:lnTo>
                    <a:pt x="311" y="314"/>
                  </a:lnTo>
                  <a:lnTo>
                    <a:pt x="308" y="313"/>
                  </a:lnTo>
                  <a:lnTo>
                    <a:pt x="306" y="309"/>
                  </a:lnTo>
                  <a:lnTo>
                    <a:pt x="302" y="313"/>
                  </a:lnTo>
                  <a:lnTo>
                    <a:pt x="297" y="314"/>
                  </a:lnTo>
                  <a:lnTo>
                    <a:pt x="289" y="321"/>
                  </a:lnTo>
                  <a:lnTo>
                    <a:pt x="285" y="320"/>
                  </a:lnTo>
                  <a:lnTo>
                    <a:pt x="282" y="325"/>
                  </a:lnTo>
                  <a:lnTo>
                    <a:pt x="279" y="326"/>
                  </a:lnTo>
                  <a:lnTo>
                    <a:pt x="277" y="328"/>
                  </a:lnTo>
                  <a:lnTo>
                    <a:pt x="272" y="335"/>
                  </a:lnTo>
                  <a:lnTo>
                    <a:pt x="272" y="343"/>
                  </a:lnTo>
                  <a:lnTo>
                    <a:pt x="270" y="345"/>
                  </a:lnTo>
                  <a:lnTo>
                    <a:pt x="272" y="355"/>
                  </a:lnTo>
                  <a:lnTo>
                    <a:pt x="272" y="357"/>
                  </a:lnTo>
                  <a:lnTo>
                    <a:pt x="268" y="361"/>
                  </a:lnTo>
                  <a:lnTo>
                    <a:pt x="267" y="366"/>
                  </a:lnTo>
                  <a:lnTo>
                    <a:pt x="267" y="369"/>
                  </a:lnTo>
                  <a:lnTo>
                    <a:pt x="270" y="367"/>
                  </a:lnTo>
                  <a:lnTo>
                    <a:pt x="268" y="369"/>
                  </a:lnTo>
                  <a:lnTo>
                    <a:pt x="268" y="376"/>
                  </a:lnTo>
                  <a:lnTo>
                    <a:pt x="272" y="381"/>
                  </a:lnTo>
                  <a:lnTo>
                    <a:pt x="277" y="381"/>
                  </a:lnTo>
                  <a:lnTo>
                    <a:pt x="272" y="388"/>
                  </a:lnTo>
                  <a:lnTo>
                    <a:pt x="270" y="390"/>
                  </a:lnTo>
                  <a:lnTo>
                    <a:pt x="267" y="386"/>
                  </a:lnTo>
                  <a:lnTo>
                    <a:pt x="265" y="390"/>
                  </a:lnTo>
                  <a:lnTo>
                    <a:pt x="261" y="390"/>
                  </a:lnTo>
                  <a:lnTo>
                    <a:pt x="258" y="386"/>
                  </a:lnTo>
                  <a:lnTo>
                    <a:pt x="256" y="388"/>
                  </a:lnTo>
                  <a:lnTo>
                    <a:pt x="255" y="391"/>
                  </a:lnTo>
                  <a:lnTo>
                    <a:pt x="250" y="395"/>
                  </a:lnTo>
                  <a:lnTo>
                    <a:pt x="243" y="393"/>
                  </a:lnTo>
                  <a:lnTo>
                    <a:pt x="239" y="391"/>
                  </a:lnTo>
                  <a:lnTo>
                    <a:pt x="238" y="391"/>
                  </a:lnTo>
                  <a:lnTo>
                    <a:pt x="227" y="393"/>
                  </a:lnTo>
                  <a:lnTo>
                    <a:pt x="224" y="390"/>
                  </a:lnTo>
                  <a:lnTo>
                    <a:pt x="217" y="393"/>
                  </a:lnTo>
                  <a:lnTo>
                    <a:pt x="215" y="386"/>
                  </a:lnTo>
                  <a:lnTo>
                    <a:pt x="210" y="383"/>
                  </a:lnTo>
                  <a:lnTo>
                    <a:pt x="212" y="379"/>
                  </a:lnTo>
                  <a:lnTo>
                    <a:pt x="205" y="379"/>
                  </a:lnTo>
                  <a:lnTo>
                    <a:pt x="205" y="376"/>
                  </a:lnTo>
                  <a:lnTo>
                    <a:pt x="203" y="376"/>
                  </a:lnTo>
                  <a:lnTo>
                    <a:pt x="203" y="374"/>
                  </a:lnTo>
                  <a:lnTo>
                    <a:pt x="202" y="372"/>
                  </a:lnTo>
                  <a:lnTo>
                    <a:pt x="197" y="371"/>
                  </a:lnTo>
                  <a:lnTo>
                    <a:pt x="193" y="371"/>
                  </a:lnTo>
                  <a:lnTo>
                    <a:pt x="197" y="367"/>
                  </a:lnTo>
                  <a:lnTo>
                    <a:pt x="197" y="364"/>
                  </a:lnTo>
                  <a:lnTo>
                    <a:pt x="192" y="357"/>
                  </a:lnTo>
                  <a:lnTo>
                    <a:pt x="185" y="355"/>
                  </a:lnTo>
                  <a:lnTo>
                    <a:pt x="188" y="350"/>
                  </a:lnTo>
                  <a:lnTo>
                    <a:pt x="186" y="347"/>
                  </a:lnTo>
                  <a:lnTo>
                    <a:pt x="181" y="347"/>
                  </a:lnTo>
                  <a:lnTo>
                    <a:pt x="176" y="352"/>
                  </a:lnTo>
                  <a:lnTo>
                    <a:pt x="171" y="354"/>
                  </a:lnTo>
                  <a:lnTo>
                    <a:pt x="164" y="347"/>
                  </a:lnTo>
                  <a:lnTo>
                    <a:pt x="161" y="345"/>
                  </a:lnTo>
                  <a:lnTo>
                    <a:pt x="164" y="338"/>
                  </a:lnTo>
                  <a:lnTo>
                    <a:pt x="164" y="333"/>
                  </a:lnTo>
                  <a:lnTo>
                    <a:pt x="169" y="326"/>
                  </a:lnTo>
                  <a:lnTo>
                    <a:pt x="168" y="323"/>
                  </a:lnTo>
                  <a:lnTo>
                    <a:pt x="157" y="321"/>
                  </a:lnTo>
                  <a:lnTo>
                    <a:pt x="152" y="320"/>
                  </a:lnTo>
                  <a:lnTo>
                    <a:pt x="149" y="314"/>
                  </a:lnTo>
                  <a:lnTo>
                    <a:pt x="139" y="313"/>
                  </a:lnTo>
                  <a:lnTo>
                    <a:pt x="137" y="313"/>
                  </a:lnTo>
                  <a:lnTo>
                    <a:pt x="133" y="313"/>
                  </a:lnTo>
                  <a:lnTo>
                    <a:pt x="128" y="314"/>
                  </a:lnTo>
                  <a:lnTo>
                    <a:pt x="127" y="313"/>
                  </a:lnTo>
                  <a:lnTo>
                    <a:pt x="122" y="314"/>
                  </a:lnTo>
                  <a:lnTo>
                    <a:pt x="118" y="311"/>
                  </a:lnTo>
                  <a:lnTo>
                    <a:pt x="120" y="308"/>
                  </a:lnTo>
                  <a:lnTo>
                    <a:pt x="113" y="302"/>
                  </a:lnTo>
                  <a:lnTo>
                    <a:pt x="110" y="299"/>
                  </a:lnTo>
                  <a:lnTo>
                    <a:pt x="103" y="296"/>
                  </a:lnTo>
                  <a:lnTo>
                    <a:pt x="103" y="290"/>
                  </a:lnTo>
                  <a:lnTo>
                    <a:pt x="104" y="289"/>
                  </a:lnTo>
                  <a:lnTo>
                    <a:pt x="108" y="290"/>
                  </a:lnTo>
                  <a:lnTo>
                    <a:pt x="113" y="285"/>
                  </a:lnTo>
                  <a:lnTo>
                    <a:pt x="108" y="285"/>
                  </a:lnTo>
                  <a:lnTo>
                    <a:pt x="103" y="280"/>
                  </a:lnTo>
                  <a:lnTo>
                    <a:pt x="96" y="284"/>
                  </a:lnTo>
                  <a:lnTo>
                    <a:pt x="94" y="280"/>
                  </a:lnTo>
                  <a:lnTo>
                    <a:pt x="91" y="282"/>
                  </a:lnTo>
                  <a:lnTo>
                    <a:pt x="91" y="280"/>
                  </a:lnTo>
                  <a:lnTo>
                    <a:pt x="87" y="277"/>
                  </a:lnTo>
                  <a:lnTo>
                    <a:pt x="86" y="273"/>
                  </a:lnTo>
                  <a:lnTo>
                    <a:pt x="84" y="273"/>
                  </a:lnTo>
                  <a:lnTo>
                    <a:pt x="82" y="272"/>
                  </a:lnTo>
                  <a:lnTo>
                    <a:pt x="75" y="267"/>
                  </a:lnTo>
                  <a:lnTo>
                    <a:pt x="72" y="261"/>
                  </a:lnTo>
                  <a:lnTo>
                    <a:pt x="67" y="260"/>
                  </a:lnTo>
                  <a:lnTo>
                    <a:pt x="70" y="258"/>
                  </a:lnTo>
                  <a:lnTo>
                    <a:pt x="72" y="256"/>
                  </a:lnTo>
                  <a:lnTo>
                    <a:pt x="81" y="253"/>
                  </a:lnTo>
                  <a:lnTo>
                    <a:pt x="82" y="244"/>
                  </a:lnTo>
                  <a:lnTo>
                    <a:pt x="89" y="238"/>
                  </a:lnTo>
                  <a:lnTo>
                    <a:pt x="87" y="234"/>
                  </a:lnTo>
                  <a:lnTo>
                    <a:pt x="91" y="227"/>
                  </a:lnTo>
                  <a:lnTo>
                    <a:pt x="96" y="229"/>
                  </a:lnTo>
                  <a:lnTo>
                    <a:pt x="101" y="238"/>
                  </a:lnTo>
                  <a:lnTo>
                    <a:pt x="106" y="232"/>
                  </a:lnTo>
                  <a:lnTo>
                    <a:pt x="106" y="229"/>
                  </a:lnTo>
                  <a:lnTo>
                    <a:pt x="111" y="226"/>
                  </a:lnTo>
                  <a:lnTo>
                    <a:pt x="111" y="224"/>
                  </a:lnTo>
                  <a:lnTo>
                    <a:pt x="113" y="220"/>
                  </a:lnTo>
                  <a:lnTo>
                    <a:pt x="113" y="212"/>
                  </a:lnTo>
                  <a:lnTo>
                    <a:pt x="111" y="208"/>
                  </a:lnTo>
                  <a:lnTo>
                    <a:pt x="108" y="207"/>
                  </a:lnTo>
                  <a:lnTo>
                    <a:pt x="99" y="208"/>
                  </a:lnTo>
                  <a:lnTo>
                    <a:pt x="99" y="205"/>
                  </a:lnTo>
                  <a:lnTo>
                    <a:pt x="99" y="203"/>
                  </a:lnTo>
                  <a:lnTo>
                    <a:pt x="98" y="205"/>
                  </a:lnTo>
                  <a:lnTo>
                    <a:pt x="91" y="205"/>
                  </a:lnTo>
                  <a:lnTo>
                    <a:pt x="86" y="198"/>
                  </a:lnTo>
                  <a:lnTo>
                    <a:pt x="82" y="202"/>
                  </a:lnTo>
                  <a:lnTo>
                    <a:pt x="74" y="203"/>
                  </a:lnTo>
                  <a:lnTo>
                    <a:pt x="69" y="207"/>
                  </a:lnTo>
                  <a:lnTo>
                    <a:pt x="65" y="203"/>
                  </a:lnTo>
                  <a:lnTo>
                    <a:pt x="60" y="200"/>
                  </a:lnTo>
                  <a:lnTo>
                    <a:pt x="53" y="195"/>
                  </a:lnTo>
                  <a:lnTo>
                    <a:pt x="52" y="188"/>
                  </a:lnTo>
                  <a:lnTo>
                    <a:pt x="52" y="176"/>
                  </a:lnTo>
                  <a:lnTo>
                    <a:pt x="43" y="171"/>
                  </a:lnTo>
                  <a:lnTo>
                    <a:pt x="38" y="169"/>
                  </a:lnTo>
                  <a:lnTo>
                    <a:pt x="31" y="173"/>
                  </a:lnTo>
                  <a:lnTo>
                    <a:pt x="28" y="169"/>
                  </a:lnTo>
                  <a:lnTo>
                    <a:pt x="24" y="169"/>
                  </a:lnTo>
                  <a:lnTo>
                    <a:pt x="23" y="168"/>
                  </a:lnTo>
                  <a:lnTo>
                    <a:pt x="19" y="157"/>
                  </a:lnTo>
                  <a:lnTo>
                    <a:pt x="21" y="156"/>
                  </a:lnTo>
                  <a:lnTo>
                    <a:pt x="16" y="154"/>
                  </a:lnTo>
                  <a:lnTo>
                    <a:pt x="9" y="149"/>
                  </a:lnTo>
                  <a:lnTo>
                    <a:pt x="9" y="145"/>
                  </a:lnTo>
                  <a:lnTo>
                    <a:pt x="2" y="138"/>
                  </a:lnTo>
                  <a:lnTo>
                    <a:pt x="0" y="137"/>
                  </a:lnTo>
                  <a:lnTo>
                    <a:pt x="4" y="137"/>
                  </a:lnTo>
                  <a:lnTo>
                    <a:pt x="7" y="133"/>
                  </a:lnTo>
                  <a:lnTo>
                    <a:pt x="14" y="128"/>
                  </a:lnTo>
                  <a:lnTo>
                    <a:pt x="21" y="127"/>
                  </a:lnTo>
                  <a:lnTo>
                    <a:pt x="23" y="121"/>
                  </a:lnTo>
                  <a:lnTo>
                    <a:pt x="24" y="120"/>
                  </a:lnTo>
                  <a:lnTo>
                    <a:pt x="28" y="120"/>
                  </a:lnTo>
                  <a:lnTo>
                    <a:pt x="31" y="123"/>
                  </a:lnTo>
                  <a:lnTo>
                    <a:pt x="38" y="123"/>
                  </a:lnTo>
                  <a:lnTo>
                    <a:pt x="41" y="127"/>
                  </a:lnTo>
                  <a:lnTo>
                    <a:pt x="48" y="128"/>
                  </a:lnTo>
                  <a:lnTo>
                    <a:pt x="53" y="128"/>
                  </a:lnTo>
                  <a:lnTo>
                    <a:pt x="57" y="125"/>
                  </a:lnTo>
                  <a:lnTo>
                    <a:pt x="63" y="127"/>
                  </a:lnTo>
                  <a:lnTo>
                    <a:pt x="67" y="125"/>
                  </a:lnTo>
                  <a:lnTo>
                    <a:pt x="67" y="118"/>
                  </a:lnTo>
                  <a:lnTo>
                    <a:pt x="77" y="115"/>
                  </a:lnTo>
                  <a:lnTo>
                    <a:pt x="79" y="111"/>
                  </a:lnTo>
                  <a:lnTo>
                    <a:pt x="82" y="115"/>
                  </a:lnTo>
                  <a:lnTo>
                    <a:pt x="82" y="111"/>
                  </a:lnTo>
                  <a:lnTo>
                    <a:pt x="87" y="108"/>
                  </a:lnTo>
                  <a:lnTo>
                    <a:pt x="91" y="101"/>
                  </a:lnTo>
                  <a:lnTo>
                    <a:pt x="98" y="94"/>
                  </a:lnTo>
                  <a:lnTo>
                    <a:pt x="94" y="87"/>
                  </a:lnTo>
                  <a:lnTo>
                    <a:pt x="98" y="80"/>
                  </a:lnTo>
                  <a:lnTo>
                    <a:pt x="101" y="82"/>
                  </a:lnTo>
                  <a:lnTo>
                    <a:pt x="103" y="84"/>
                  </a:lnTo>
                  <a:lnTo>
                    <a:pt x="108" y="84"/>
                  </a:lnTo>
                  <a:lnTo>
                    <a:pt x="115" y="86"/>
                  </a:lnTo>
                  <a:lnTo>
                    <a:pt x="118" y="86"/>
                  </a:lnTo>
                  <a:lnTo>
                    <a:pt x="118" y="82"/>
                  </a:lnTo>
                  <a:lnTo>
                    <a:pt x="122" y="86"/>
                  </a:lnTo>
                  <a:lnTo>
                    <a:pt x="130" y="87"/>
                  </a:lnTo>
                  <a:lnTo>
                    <a:pt x="133" y="84"/>
                  </a:lnTo>
                  <a:lnTo>
                    <a:pt x="137" y="82"/>
                  </a:lnTo>
                  <a:lnTo>
                    <a:pt x="137" y="77"/>
                  </a:lnTo>
                  <a:lnTo>
                    <a:pt x="133" y="74"/>
                  </a:lnTo>
                  <a:lnTo>
                    <a:pt x="133" y="68"/>
                  </a:lnTo>
                  <a:lnTo>
                    <a:pt x="135" y="63"/>
                  </a:lnTo>
                  <a:lnTo>
                    <a:pt x="139" y="62"/>
                  </a:lnTo>
                  <a:lnTo>
                    <a:pt x="144" y="60"/>
                  </a:lnTo>
                  <a:lnTo>
                    <a:pt x="147" y="65"/>
                  </a:lnTo>
                  <a:lnTo>
                    <a:pt x="149" y="72"/>
                  </a:lnTo>
                  <a:lnTo>
                    <a:pt x="152" y="74"/>
                  </a:lnTo>
                  <a:lnTo>
                    <a:pt x="154" y="75"/>
                  </a:lnTo>
                  <a:lnTo>
                    <a:pt x="157" y="79"/>
                  </a:lnTo>
                  <a:lnTo>
                    <a:pt x="161" y="84"/>
                  </a:lnTo>
                  <a:lnTo>
                    <a:pt x="168" y="87"/>
                  </a:lnTo>
                  <a:lnTo>
                    <a:pt x="168" y="86"/>
                  </a:lnTo>
                  <a:lnTo>
                    <a:pt x="166" y="82"/>
                  </a:lnTo>
                  <a:lnTo>
                    <a:pt x="168" y="75"/>
                  </a:lnTo>
                  <a:lnTo>
                    <a:pt x="166" y="68"/>
                  </a:lnTo>
                  <a:lnTo>
                    <a:pt x="168" y="67"/>
                  </a:lnTo>
                  <a:lnTo>
                    <a:pt x="176" y="65"/>
                  </a:lnTo>
                  <a:lnTo>
                    <a:pt x="180" y="62"/>
                  </a:lnTo>
                  <a:lnTo>
                    <a:pt x="174" y="56"/>
                  </a:lnTo>
                  <a:lnTo>
                    <a:pt x="174" y="53"/>
                  </a:lnTo>
                  <a:lnTo>
                    <a:pt x="180" y="50"/>
                  </a:lnTo>
                  <a:lnTo>
                    <a:pt x="180" y="45"/>
                  </a:lnTo>
                  <a:lnTo>
                    <a:pt x="173" y="39"/>
                  </a:lnTo>
                  <a:lnTo>
                    <a:pt x="174" y="34"/>
                  </a:lnTo>
                  <a:lnTo>
                    <a:pt x="178" y="31"/>
                  </a:lnTo>
                  <a:lnTo>
                    <a:pt x="185" y="26"/>
                  </a:lnTo>
                  <a:lnTo>
                    <a:pt x="192" y="26"/>
                  </a:lnTo>
                  <a:lnTo>
                    <a:pt x="197" y="24"/>
                  </a:lnTo>
                  <a:lnTo>
                    <a:pt x="205" y="22"/>
                  </a:lnTo>
                  <a:lnTo>
                    <a:pt x="207" y="21"/>
                  </a:lnTo>
                  <a:lnTo>
                    <a:pt x="212" y="21"/>
                  </a:lnTo>
                  <a:lnTo>
                    <a:pt x="221" y="19"/>
                  </a:lnTo>
                  <a:lnTo>
                    <a:pt x="226" y="17"/>
                  </a:lnTo>
                  <a:lnTo>
                    <a:pt x="231" y="15"/>
                  </a:lnTo>
                  <a:lnTo>
                    <a:pt x="243" y="14"/>
                  </a:lnTo>
                  <a:lnTo>
                    <a:pt x="251" y="10"/>
                  </a:lnTo>
                  <a:lnTo>
                    <a:pt x="273" y="5"/>
                  </a:lnTo>
                  <a:lnTo>
                    <a:pt x="275" y="2"/>
                  </a:lnTo>
                  <a:lnTo>
                    <a:pt x="280" y="0"/>
                  </a:lnTo>
                  <a:lnTo>
                    <a:pt x="287" y="0"/>
                  </a:lnTo>
                  <a:lnTo>
                    <a:pt x="292" y="4"/>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1" name="Freeform 74"/>
            <p:cNvSpPr>
              <a:spLocks noEditPoints="1"/>
            </p:cNvSpPr>
            <p:nvPr/>
          </p:nvSpPr>
          <p:spPr bwMode="gray">
            <a:xfrm>
              <a:off x="2750448" y="3970117"/>
              <a:ext cx="510771" cy="532661"/>
            </a:xfrm>
            <a:custGeom>
              <a:avLst/>
              <a:gdLst>
                <a:gd name="T0" fmla="*/ 224 w 280"/>
                <a:gd name="T1" fmla="*/ 289 h 292"/>
                <a:gd name="T2" fmla="*/ 224 w 280"/>
                <a:gd name="T3" fmla="*/ 282 h 292"/>
                <a:gd name="T4" fmla="*/ 217 w 280"/>
                <a:gd name="T5" fmla="*/ 285 h 292"/>
                <a:gd name="T6" fmla="*/ 260 w 280"/>
                <a:gd name="T7" fmla="*/ 258 h 292"/>
                <a:gd name="T8" fmla="*/ 236 w 280"/>
                <a:gd name="T9" fmla="*/ 256 h 292"/>
                <a:gd name="T10" fmla="*/ 265 w 280"/>
                <a:gd name="T11" fmla="*/ 255 h 292"/>
                <a:gd name="T12" fmla="*/ 205 w 280"/>
                <a:gd name="T13" fmla="*/ 253 h 292"/>
                <a:gd name="T14" fmla="*/ 207 w 280"/>
                <a:gd name="T15" fmla="*/ 248 h 292"/>
                <a:gd name="T16" fmla="*/ 152 w 280"/>
                <a:gd name="T17" fmla="*/ 248 h 292"/>
                <a:gd name="T18" fmla="*/ 195 w 280"/>
                <a:gd name="T19" fmla="*/ 239 h 292"/>
                <a:gd name="T20" fmla="*/ 200 w 280"/>
                <a:gd name="T21" fmla="*/ 229 h 292"/>
                <a:gd name="T22" fmla="*/ 270 w 280"/>
                <a:gd name="T23" fmla="*/ 55 h 292"/>
                <a:gd name="T24" fmla="*/ 275 w 280"/>
                <a:gd name="T25" fmla="*/ 82 h 292"/>
                <a:gd name="T26" fmla="*/ 277 w 280"/>
                <a:gd name="T27" fmla="*/ 108 h 292"/>
                <a:gd name="T28" fmla="*/ 275 w 280"/>
                <a:gd name="T29" fmla="*/ 135 h 292"/>
                <a:gd name="T30" fmla="*/ 273 w 280"/>
                <a:gd name="T31" fmla="*/ 174 h 292"/>
                <a:gd name="T32" fmla="*/ 268 w 280"/>
                <a:gd name="T33" fmla="*/ 222 h 292"/>
                <a:gd name="T34" fmla="*/ 261 w 280"/>
                <a:gd name="T35" fmla="*/ 256 h 292"/>
                <a:gd name="T36" fmla="*/ 241 w 280"/>
                <a:gd name="T37" fmla="*/ 250 h 292"/>
                <a:gd name="T38" fmla="*/ 234 w 280"/>
                <a:gd name="T39" fmla="*/ 232 h 292"/>
                <a:gd name="T40" fmla="*/ 210 w 280"/>
                <a:gd name="T41" fmla="*/ 212 h 292"/>
                <a:gd name="T42" fmla="*/ 200 w 280"/>
                <a:gd name="T43" fmla="*/ 217 h 292"/>
                <a:gd name="T44" fmla="*/ 193 w 280"/>
                <a:gd name="T45" fmla="*/ 231 h 292"/>
                <a:gd name="T46" fmla="*/ 191 w 280"/>
                <a:gd name="T47" fmla="*/ 246 h 292"/>
                <a:gd name="T48" fmla="*/ 190 w 280"/>
                <a:gd name="T49" fmla="*/ 250 h 292"/>
                <a:gd name="T50" fmla="*/ 181 w 280"/>
                <a:gd name="T51" fmla="*/ 246 h 292"/>
                <a:gd name="T52" fmla="*/ 173 w 280"/>
                <a:gd name="T53" fmla="*/ 241 h 292"/>
                <a:gd name="T54" fmla="*/ 159 w 280"/>
                <a:gd name="T55" fmla="*/ 234 h 292"/>
                <a:gd name="T56" fmla="*/ 135 w 280"/>
                <a:gd name="T57" fmla="*/ 215 h 292"/>
                <a:gd name="T58" fmla="*/ 120 w 280"/>
                <a:gd name="T59" fmla="*/ 226 h 292"/>
                <a:gd name="T60" fmla="*/ 135 w 280"/>
                <a:gd name="T61" fmla="*/ 251 h 292"/>
                <a:gd name="T62" fmla="*/ 121 w 280"/>
                <a:gd name="T63" fmla="*/ 265 h 292"/>
                <a:gd name="T64" fmla="*/ 104 w 280"/>
                <a:gd name="T65" fmla="*/ 244 h 292"/>
                <a:gd name="T66" fmla="*/ 82 w 280"/>
                <a:gd name="T67" fmla="*/ 217 h 292"/>
                <a:gd name="T68" fmla="*/ 58 w 280"/>
                <a:gd name="T69" fmla="*/ 198 h 292"/>
                <a:gd name="T70" fmla="*/ 40 w 280"/>
                <a:gd name="T71" fmla="*/ 180 h 292"/>
                <a:gd name="T72" fmla="*/ 26 w 280"/>
                <a:gd name="T73" fmla="*/ 157 h 292"/>
                <a:gd name="T74" fmla="*/ 11 w 280"/>
                <a:gd name="T75" fmla="*/ 149 h 292"/>
                <a:gd name="T76" fmla="*/ 16 w 280"/>
                <a:gd name="T77" fmla="*/ 130 h 292"/>
                <a:gd name="T78" fmla="*/ 29 w 280"/>
                <a:gd name="T79" fmla="*/ 132 h 292"/>
                <a:gd name="T80" fmla="*/ 58 w 280"/>
                <a:gd name="T81" fmla="*/ 140 h 292"/>
                <a:gd name="T82" fmla="*/ 80 w 280"/>
                <a:gd name="T83" fmla="*/ 139 h 292"/>
                <a:gd name="T84" fmla="*/ 91 w 280"/>
                <a:gd name="T85" fmla="*/ 130 h 292"/>
                <a:gd name="T86" fmla="*/ 87 w 280"/>
                <a:gd name="T87" fmla="*/ 110 h 292"/>
                <a:gd name="T88" fmla="*/ 96 w 280"/>
                <a:gd name="T89" fmla="*/ 77 h 292"/>
                <a:gd name="T90" fmla="*/ 121 w 280"/>
                <a:gd name="T91" fmla="*/ 62 h 292"/>
                <a:gd name="T92" fmla="*/ 147 w 280"/>
                <a:gd name="T93" fmla="*/ 65 h 292"/>
                <a:gd name="T94" fmla="*/ 173 w 280"/>
                <a:gd name="T95" fmla="*/ 53 h 292"/>
                <a:gd name="T96" fmla="*/ 183 w 280"/>
                <a:gd name="T97" fmla="*/ 34 h 292"/>
                <a:gd name="T98" fmla="*/ 198 w 280"/>
                <a:gd name="T99" fmla="*/ 19 h 292"/>
                <a:gd name="T100" fmla="*/ 210 w 280"/>
                <a:gd name="T101" fmla="*/ 0 h 292"/>
                <a:gd name="T102" fmla="*/ 229 w 280"/>
                <a:gd name="T103" fmla="*/ 12 h 292"/>
                <a:gd name="T104" fmla="*/ 239 w 280"/>
                <a:gd name="T105" fmla="*/ 21 h 292"/>
                <a:gd name="T106" fmla="*/ 244 w 280"/>
                <a:gd name="T107" fmla="*/ 29 h 292"/>
                <a:gd name="T108" fmla="*/ 248 w 280"/>
                <a:gd name="T109" fmla="*/ 41 h 292"/>
                <a:gd name="T110" fmla="*/ 255 w 280"/>
                <a:gd name="T111" fmla="*/ 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292">
                  <a:moveTo>
                    <a:pt x="224" y="289"/>
                  </a:moveTo>
                  <a:lnTo>
                    <a:pt x="226" y="291"/>
                  </a:lnTo>
                  <a:lnTo>
                    <a:pt x="226" y="292"/>
                  </a:lnTo>
                  <a:lnTo>
                    <a:pt x="220" y="291"/>
                  </a:lnTo>
                  <a:lnTo>
                    <a:pt x="220" y="289"/>
                  </a:lnTo>
                  <a:lnTo>
                    <a:pt x="224" y="289"/>
                  </a:lnTo>
                  <a:close/>
                  <a:moveTo>
                    <a:pt x="222" y="284"/>
                  </a:moveTo>
                  <a:lnTo>
                    <a:pt x="222" y="285"/>
                  </a:lnTo>
                  <a:lnTo>
                    <a:pt x="220" y="285"/>
                  </a:lnTo>
                  <a:lnTo>
                    <a:pt x="222" y="284"/>
                  </a:lnTo>
                  <a:close/>
                  <a:moveTo>
                    <a:pt x="226" y="285"/>
                  </a:moveTo>
                  <a:lnTo>
                    <a:pt x="224" y="282"/>
                  </a:lnTo>
                  <a:lnTo>
                    <a:pt x="226" y="284"/>
                  </a:lnTo>
                  <a:lnTo>
                    <a:pt x="226" y="285"/>
                  </a:lnTo>
                  <a:close/>
                  <a:moveTo>
                    <a:pt x="217" y="285"/>
                  </a:moveTo>
                  <a:lnTo>
                    <a:pt x="214" y="285"/>
                  </a:lnTo>
                  <a:lnTo>
                    <a:pt x="219" y="282"/>
                  </a:lnTo>
                  <a:lnTo>
                    <a:pt x="217" y="285"/>
                  </a:lnTo>
                  <a:close/>
                  <a:moveTo>
                    <a:pt x="231" y="263"/>
                  </a:moveTo>
                  <a:lnTo>
                    <a:pt x="232" y="267"/>
                  </a:lnTo>
                  <a:lnTo>
                    <a:pt x="229" y="268"/>
                  </a:lnTo>
                  <a:lnTo>
                    <a:pt x="226" y="267"/>
                  </a:lnTo>
                  <a:lnTo>
                    <a:pt x="231" y="263"/>
                  </a:lnTo>
                  <a:close/>
                  <a:moveTo>
                    <a:pt x="260" y="258"/>
                  </a:moveTo>
                  <a:lnTo>
                    <a:pt x="263" y="258"/>
                  </a:lnTo>
                  <a:lnTo>
                    <a:pt x="263" y="260"/>
                  </a:lnTo>
                  <a:lnTo>
                    <a:pt x="260" y="260"/>
                  </a:lnTo>
                  <a:lnTo>
                    <a:pt x="260" y="258"/>
                  </a:lnTo>
                  <a:close/>
                  <a:moveTo>
                    <a:pt x="234" y="255"/>
                  </a:moveTo>
                  <a:lnTo>
                    <a:pt x="236" y="256"/>
                  </a:lnTo>
                  <a:lnTo>
                    <a:pt x="234" y="260"/>
                  </a:lnTo>
                  <a:lnTo>
                    <a:pt x="231" y="262"/>
                  </a:lnTo>
                  <a:lnTo>
                    <a:pt x="229" y="258"/>
                  </a:lnTo>
                  <a:lnTo>
                    <a:pt x="234" y="255"/>
                  </a:lnTo>
                  <a:close/>
                  <a:moveTo>
                    <a:pt x="263" y="255"/>
                  </a:moveTo>
                  <a:lnTo>
                    <a:pt x="265" y="255"/>
                  </a:lnTo>
                  <a:lnTo>
                    <a:pt x="265" y="256"/>
                  </a:lnTo>
                  <a:lnTo>
                    <a:pt x="263" y="256"/>
                  </a:lnTo>
                  <a:lnTo>
                    <a:pt x="263" y="255"/>
                  </a:lnTo>
                  <a:close/>
                  <a:moveTo>
                    <a:pt x="205" y="248"/>
                  </a:moveTo>
                  <a:lnTo>
                    <a:pt x="207" y="251"/>
                  </a:lnTo>
                  <a:lnTo>
                    <a:pt x="205" y="253"/>
                  </a:lnTo>
                  <a:lnTo>
                    <a:pt x="198" y="253"/>
                  </a:lnTo>
                  <a:lnTo>
                    <a:pt x="203" y="250"/>
                  </a:lnTo>
                  <a:lnTo>
                    <a:pt x="205" y="248"/>
                  </a:lnTo>
                  <a:close/>
                  <a:moveTo>
                    <a:pt x="209" y="248"/>
                  </a:moveTo>
                  <a:lnTo>
                    <a:pt x="210" y="251"/>
                  </a:lnTo>
                  <a:lnTo>
                    <a:pt x="207" y="248"/>
                  </a:lnTo>
                  <a:lnTo>
                    <a:pt x="209" y="248"/>
                  </a:lnTo>
                  <a:close/>
                  <a:moveTo>
                    <a:pt x="154" y="251"/>
                  </a:moveTo>
                  <a:lnTo>
                    <a:pt x="154" y="253"/>
                  </a:lnTo>
                  <a:lnTo>
                    <a:pt x="149" y="251"/>
                  </a:lnTo>
                  <a:lnTo>
                    <a:pt x="144" y="244"/>
                  </a:lnTo>
                  <a:lnTo>
                    <a:pt x="152" y="248"/>
                  </a:lnTo>
                  <a:lnTo>
                    <a:pt x="154" y="251"/>
                  </a:lnTo>
                  <a:close/>
                  <a:moveTo>
                    <a:pt x="195" y="239"/>
                  </a:moveTo>
                  <a:lnTo>
                    <a:pt x="197" y="239"/>
                  </a:lnTo>
                  <a:lnTo>
                    <a:pt x="197" y="241"/>
                  </a:lnTo>
                  <a:lnTo>
                    <a:pt x="195" y="241"/>
                  </a:lnTo>
                  <a:lnTo>
                    <a:pt x="195" y="239"/>
                  </a:lnTo>
                  <a:close/>
                  <a:moveTo>
                    <a:pt x="197" y="232"/>
                  </a:moveTo>
                  <a:lnTo>
                    <a:pt x="200" y="232"/>
                  </a:lnTo>
                  <a:lnTo>
                    <a:pt x="197" y="236"/>
                  </a:lnTo>
                  <a:lnTo>
                    <a:pt x="195" y="232"/>
                  </a:lnTo>
                  <a:lnTo>
                    <a:pt x="197" y="232"/>
                  </a:lnTo>
                  <a:close/>
                  <a:moveTo>
                    <a:pt x="200" y="229"/>
                  </a:moveTo>
                  <a:lnTo>
                    <a:pt x="197" y="229"/>
                  </a:lnTo>
                  <a:lnTo>
                    <a:pt x="197" y="227"/>
                  </a:lnTo>
                  <a:lnTo>
                    <a:pt x="198" y="227"/>
                  </a:lnTo>
                  <a:lnTo>
                    <a:pt x="200" y="229"/>
                  </a:lnTo>
                  <a:close/>
                  <a:moveTo>
                    <a:pt x="268" y="48"/>
                  </a:moveTo>
                  <a:lnTo>
                    <a:pt x="270" y="55"/>
                  </a:lnTo>
                  <a:lnTo>
                    <a:pt x="268" y="62"/>
                  </a:lnTo>
                  <a:lnTo>
                    <a:pt x="270" y="72"/>
                  </a:lnTo>
                  <a:lnTo>
                    <a:pt x="273" y="79"/>
                  </a:lnTo>
                  <a:lnTo>
                    <a:pt x="273" y="80"/>
                  </a:lnTo>
                  <a:lnTo>
                    <a:pt x="270" y="80"/>
                  </a:lnTo>
                  <a:lnTo>
                    <a:pt x="275" y="82"/>
                  </a:lnTo>
                  <a:lnTo>
                    <a:pt x="277" y="86"/>
                  </a:lnTo>
                  <a:lnTo>
                    <a:pt x="280" y="86"/>
                  </a:lnTo>
                  <a:lnTo>
                    <a:pt x="279" y="92"/>
                  </a:lnTo>
                  <a:lnTo>
                    <a:pt x="279" y="99"/>
                  </a:lnTo>
                  <a:lnTo>
                    <a:pt x="277" y="104"/>
                  </a:lnTo>
                  <a:lnTo>
                    <a:pt x="277" y="108"/>
                  </a:lnTo>
                  <a:lnTo>
                    <a:pt x="280" y="110"/>
                  </a:lnTo>
                  <a:lnTo>
                    <a:pt x="279" y="115"/>
                  </a:lnTo>
                  <a:lnTo>
                    <a:pt x="275" y="115"/>
                  </a:lnTo>
                  <a:lnTo>
                    <a:pt x="277" y="116"/>
                  </a:lnTo>
                  <a:lnTo>
                    <a:pt x="273" y="127"/>
                  </a:lnTo>
                  <a:lnTo>
                    <a:pt x="275" y="135"/>
                  </a:lnTo>
                  <a:lnTo>
                    <a:pt x="279" y="145"/>
                  </a:lnTo>
                  <a:lnTo>
                    <a:pt x="275" y="149"/>
                  </a:lnTo>
                  <a:lnTo>
                    <a:pt x="273" y="157"/>
                  </a:lnTo>
                  <a:lnTo>
                    <a:pt x="273" y="161"/>
                  </a:lnTo>
                  <a:lnTo>
                    <a:pt x="273" y="171"/>
                  </a:lnTo>
                  <a:lnTo>
                    <a:pt x="273" y="174"/>
                  </a:lnTo>
                  <a:lnTo>
                    <a:pt x="273" y="183"/>
                  </a:lnTo>
                  <a:lnTo>
                    <a:pt x="268" y="191"/>
                  </a:lnTo>
                  <a:lnTo>
                    <a:pt x="268" y="200"/>
                  </a:lnTo>
                  <a:lnTo>
                    <a:pt x="270" y="210"/>
                  </a:lnTo>
                  <a:lnTo>
                    <a:pt x="268" y="214"/>
                  </a:lnTo>
                  <a:lnTo>
                    <a:pt x="268" y="222"/>
                  </a:lnTo>
                  <a:lnTo>
                    <a:pt x="270" y="224"/>
                  </a:lnTo>
                  <a:lnTo>
                    <a:pt x="268" y="231"/>
                  </a:lnTo>
                  <a:lnTo>
                    <a:pt x="268" y="234"/>
                  </a:lnTo>
                  <a:lnTo>
                    <a:pt x="265" y="239"/>
                  </a:lnTo>
                  <a:lnTo>
                    <a:pt x="267" y="248"/>
                  </a:lnTo>
                  <a:lnTo>
                    <a:pt x="261" y="256"/>
                  </a:lnTo>
                  <a:lnTo>
                    <a:pt x="258" y="262"/>
                  </a:lnTo>
                  <a:lnTo>
                    <a:pt x="256" y="262"/>
                  </a:lnTo>
                  <a:lnTo>
                    <a:pt x="255" y="255"/>
                  </a:lnTo>
                  <a:lnTo>
                    <a:pt x="251" y="253"/>
                  </a:lnTo>
                  <a:lnTo>
                    <a:pt x="243" y="253"/>
                  </a:lnTo>
                  <a:lnTo>
                    <a:pt x="241" y="250"/>
                  </a:lnTo>
                  <a:lnTo>
                    <a:pt x="241" y="243"/>
                  </a:lnTo>
                  <a:lnTo>
                    <a:pt x="241" y="244"/>
                  </a:lnTo>
                  <a:lnTo>
                    <a:pt x="241" y="241"/>
                  </a:lnTo>
                  <a:lnTo>
                    <a:pt x="238" y="236"/>
                  </a:lnTo>
                  <a:lnTo>
                    <a:pt x="238" y="232"/>
                  </a:lnTo>
                  <a:lnTo>
                    <a:pt x="234" y="232"/>
                  </a:lnTo>
                  <a:lnTo>
                    <a:pt x="234" y="236"/>
                  </a:lnTo>
                  <a:lnTo>
                    <a:pt x="227" y="231"/>
                  </a:lnTo>
                  <a:lnTo>
                    <a:pt x="220" y="227"/>
                  </a:lnTo>
                  <a:lnTo>
                    <a:pt x="217" y="222"/>
                  </a:lnTo>
                  <a:lnTo>
                    <a:pt x="214" y="217"/>
                  </a:lnTo>
                  <a:lnTo>
                    <a:pt x="210" y="212"/>
                  </a:lnTo>
                  <a:lnTo>
                    <a:pt x="209" y="209"/>
                  </a:lnTo>
                  <a:lnTo>
                    <a:pt x="205" y="207"/>
                  </a:lnTo>
                  <a:lnTo>
                    <a:pt x="200" y="209"/>
                  </a:lnTo>
                  <a:lnTo>
                    <a:pt x="203" y="215"/>
                  </a:lnTo>
                  <a:lnTo>
                    <a:pt x="200" y="215"/>
                  </a:lnTo>
                  <a:lnTo>
                    <a:pt x="200" y="217"/>
                  </a:lnTo>
                  <a:lnTo>
                    <a:pt x="202" y="217"/>
                  </a:lnTo>
                  <a:lnTo>
                    <a:pt x="200" y="221"/>
                  </a:lnTo>
                  <a:lnTo>
                    <a:pt x="200" y="224"/>
                  </a:lnTo>
                  <a:lnTo>
                    <a:pt x="195" y="222"/>
                  </a:lnTo>
                  <a:lnTo>
                    <a:pt x="191" y="222"/>
                  </a:lnTo>
                  <a:lnTo>
                    <a:pt x="193" y="231"/>
                  </a:lnTo>
                  <a:lnTo>
                    <a:pt x="197" y="231"/>
                  </a:lnTo>
                  <a:lnTo>
                    <a:pt x="191" y="232"/>
                  </a:lnTo>
                  <a:lnTo>
                    <a:pt x="197" y="239"/>
                  </a:lnTo>
                  <a:lnTo>
                    <a:pt x="193" y="239"/>
                  </a:lnTo>
                  <a:lnTo>
                    <a:pt x="190" y="243"/>
                  </a:lnTo>
                  <a:lnTo>
                    <a:pt x="191" y="246"/>
                  </a:lnTo>
                  <a:lnTo>
                    <a:pt x="195" y="244"/>
                  </a:lnTo>
                  <a:lnTo>
                    <a:pt x="197" y="246"/>
                  </a:lnTo>
                  <a:lnTo>
                    <a:pt x="195" y="248"/>
                  </a:lnTo>
                  <a:lnTo>
                    <a:pt x="193" y="250"/>
                  </a:lnTo>
                  <a:lnTo>
                    <a:pt x="191" y="250"/>
                  </a:lnTo>
                  <a:lnTo>
                    <a:pt x="190" y="250"/>
                  </a:lnTo>
                  <a:lnTo>
                    <a:pt x="188" y="250"/>
                  </a:lnTo>
                  <a:lnTo>
                    <a:pt x="186" y="248"/>
                  </a:lnTo>
                  <a:lnTo>
                    <a:pt x="185" y="246"/>
                  </a:lnTo>
                  <a:lnTo>
                    <a:pt x="181" y="248"/>
                  </a:lnTo>
                  <a:lnTo>
                    <a:pt x="183" y="244"/>
                  </a:lnTo>
                  <a:lnTo>
                    <a:pt x="181" y="246"/>
                  </a:lnTo>
                  <a:lnTo>
                    <a:pt x="181" y="243"/>
                  </a:lnTo>
                  <a:lnTo>
                    <a:pt x="178" y="244"/>
                  </a:lnTo>
                  <a:lnTo>
                    <a:pt x="178" y="243"/>
                  </a:lnTo>
                  <a:lnTo>
                    <a:pt x="174" y="243"/>
                  </a:lnTo>
                  <a:lnTo>
                    <a:pt x="174" y="239"/>
                  </a:lnTo>
                  <a:lnTo>
                    <a:pt x="173" y="241"/>
                  </a:lnTo>
                  <a:lnTo>
                    <a:pt x="169" y="238"/>
                  </a:lnTo>
                  <a:lnTo>
                    <a:pt x="168" y="238"/>
                  </a:lnTo>
                  <a:lnTo>
                    <a:pt x="166" y="236"/>
                  </a:lnTo>
                  <a:lnTo>
                    <a:pt x="166" y="238"/>
                  </a:lnTo>
                  <a:lnTo>
                    <a:pt x="162" y="238"/>
                  </a:lnTo>
                  <a:lnTo>
                    <a:pt x="159" y="234"/>
                  </a:lnTo>
                  <a:lnTo>
                    <a:pt x="159" y="231"/>
                  </a:lnTo>
                  <a:lnTo>
                    <a:pt x="157" y="232"/>
                  </a:lnTo>
                  <a:lnTo>
                    <a:pt x="150" y="227"/>
                  </a:lnTo>
                  <a:lnTo>
                    <a:pt x="144" y="226"/>
                  </a:lnTo>
                  <a:lnTo>
                    <a:pt x="139" y="219"/>
                  </a:lnTo>
                  <a:lnTo>
                    <a:pt x="135" y="215"/>
                  </a:lnTo>
                  <a:lnTo>
                    <a:pt x="130" y="215"/>
                  </a:lnTo>
                  <a:lnTo>
                    <a:pt x="123" y="212"/>
                  </a:lnTo>
                  <a:lnTo>
                    <a:pt x="118" y="214"/>
                  </a:lnTo>
                  <a:lnTo>
                    <a:pt x="115" y="217"/>
                  </a:lnTo>
                  <a:lnTo>
                    <a:pt x="116" y="219"/>
                  </a:lnTo>
                  <a:lnTo>
                    <a:pt x="120" y="226"/>
                  </a:lnTo>
                  <a:lnTo>
                    <a:pt x="125" y="231"/>
                  </a:lnTo>
                  <a:lnTo>
                    <a:pt x="128" y="236"/>
                  </a:lnTo>
                  <a:lnTo>
                    <a:pt x="130" y="239"/>
                  </a:lnTo>
                  <a:lnTo>
                    <a:pt x="128" y="241"/>
                  </a:lnTo>
                  <a:lnTo>
                    <a:pt x="133" y="248"/>
                  </a:lnTo>
                  <a:lnTo>
                    <a:pt x="135" y="251"/>
                  </a:lnTo>
                  <a:lnTo>
                    <a:pt x="137" y="253"/>
                  </a:lnTo>
                  <a:lnTo>
                    <a:pt x="135" y="258"/>
                  </a:lnTo>
                  <a:lnTo>
                    <a:pt x="139" y="263"/>
                  </a:lnTo>
                  <a:lnTo>
                    <a:pt x="139" y="265"/>
                  </a:lnTo>
                  <a:lnTo>
                    <a:pt x="127" y="265"/>
                  </a:lnTo>
                  <a:lnTo>
                    <a:pt x="121" y="265"/>
                  </a:lnTo>
                  <a:lnTo>
                    <a:pt x="118" y="263"/>
                  </a:lnTo>
                  <a:lnTo>
                    <a:pt x="120" y="262"/>
                  </a:lnTo>
                  <a:lnTo>
                    <a:pt x="118" y="256"/>
                  </a:lnTo>
                  <a:lnTo>
                    <a:pt x="116" y="253"/>
                  </a:lnTo>
                  <a:lnTo>
                    <a:pt x="111" y="250"/>
                  </a:lnTo>
                  <a:lnTo>
                    <a:pt x="104" y="244"/>
                  </a:lnTo>
                  <a:lnTo>
                    <a:pt x="101" y="238"/>
                  </a:lnTo>
                  <a:lnTo>
                    <a:pt x="92" y="232"/>
                  </a:lnTo>
                  <a:lnTo>
                    <a:pt x="87" y="229"/>
                  </a:lnTo>
                  <a:lnTo>
                    <a:pt x="89" y="226"/>
                  </a:lnTo>
                  <a:lnTo>
                    <a:pt x="87" y="222"/>
                  </a:lnTo>
                  <a:lnTo>
                    <a:pt x="82" y="217"/>
                  </a:lnTo>
                  <a:lnTo>
                    <a:pt x="77" y="215"/>
                  </a:lnTo>
                  <a:lnTo>
                    <a:pt x="74" y="212"/>
                  </a:lnTo>
                  <a:lnTo>
                    <a:pt x="65" y="207"/>
                  </a:lnTo>
                  <a:lnTo>
                    <a:pt x="63" y="203"/>
                  </a:lnTo>
                  <a:lnTo>
                    <a:pt x="60" y="202"/>
                  </a:lnTo>
                  <a:lnTo>
                    <a:pt x="58" y="198"/>
                  </a:lnTo>
                  <a:lnTo>
                    <a:pt x="55" y="195"/>
                  </a:lnTo>
                  <a:lnTo>
                    <a:pt x="55" y="193"/>
                  </a:lnTo>
                  <a:lnTo>
                    <a:pt x="50" y="191"/>
                  </a:lnTo>
                  <a:lnTo>
                    <a:pt x="51" y="185"/>
                  </a:lnTo>
                  <a:lnTo>
                    <a:pt x="45" y="181"/>
                  </a:lnTo>
                  <a:lnTo>
                    <a:pt x="40" y="180"/>
                  </a:lnTo>
                  <a:lnTo>
                    <a:pt x="40" y="178"/>
                  </a:lnTo>
                  <a:lnTo>
                    <a:pt x="43" y="174"/>
                  </a:lnTo>
                  <a:lnTo>
                    <a:pt x="41" y="168"/>
                  </a:lnTo>
                  <a:lnTo>
                    <a:pt x="34" y="166"/>
                  </a:lnTo>
                  <a:lnTo>
                    <a:pt x="31" y="161"/>
                  </a:lnTo>
                  <a:lnTo>
                    <a:pt x="26" y="157"/>
                  </a:lnTo>
                  <a:lnTo>
                    <a:pt x="21" y="157"/>
                  </a:lnTo>
                  <a:lnTo>
                    <a:pt x="21" y="152"/>
                  </a:lnTo>
                  <a:lnTo>
                    <a:pt x="17" y="149"/>
                  </a:lnTo>
                  <a:lnTo>
                    <a:pt x="14" y="149"/>
                  </a:lnTo>
                  <a:lnTo>
                    <a:pt x="11" y="152"/>
                  </a:lnTo>
                  <a:lnTo>
                    <a:pt x="11" y="149"/>
                  </a:lnTo>
                  <a:lnTo>
                    <a:pt x="9" y="145"/>
                  </a:lnTo>
                  <a:lnTo>
                    <a:pt x="0" y="144"/>
                  </a:lnTo>
                  <a:lnTo>
                    <a:pt x="4" y="137"/>
                  </a:lnTo>
                  <a:lnTo>
                    <a:pt x="5" y="137"/>
                  </a:lnTo>
                  <a:lnTo>
                    <a:pt x="7" y="135"/>
                  </a:lnTo>
                  <a:lnTo>
                    <a:pt x="16" y="130"/>
                  </a:lnTo>
                  <a:lnTo>
                    <a:pt x="17" y="128"/>
                  </a:lnTo>
                  <a:lnTo>
                    <a:pt x="22" y="125"/>
                  </a:lnTo>
                  <a:lnTo>
                    <a:pt x="24" y="125"/>
                  </a:lnTo>
                  <a:lnTo>
                    <a:pt x="24" y="128"/>
                  </a:lnTo>
                  <a:lnTo>
                    <a:pt x="31" y="128"/>
                  </a:lnTo>
                  <a:lnTo>
                    <a:pt x="29" y="132"/>
                  </a:lnTo>
                  <a:lnTo>
                    <a:pt x="34" y="135"/>
                  </a:lnTo>
                  <a:lnTo>
                    <a:pt x="36" y="142"/>
                  </a:lnTo>
                  <a:lnTo>
                    <a:pt x="43" y="139"/>
                  </a:lnTo>
                  <a:lnTo>
                    <a:pt x="46" y="142"/>
                  </a:lnTo>
                  <a:lnTo>
                    <a:pt x="57" y="140"/>
                  </a:lnTo>
                  <a:lnTo>
                    <a:pt x="58" y="140"/>
                  </a:lnTo>
                  <a:lnTo>
                    <a:pt x="62" y="142"/>
                  </a:lnTo>
                  <a:lnTo>
                    <a:pt x="69" y="144"/>
                  </a:lnTo>
                  <a:lnTo>
                    <a:pt x="74" y="140"/>
                  </a:lnTo>
                  <a:lnTo>
                    <a:pt x="75" y="137"/>
                  </a:lnTo>
                  <a:lnTo>
                    <a:pt x="77" y="135"/>
                  </a:lnTo>
                  <a:lnTo>
                    <a:pt x="80" y="139"/>
                  </a:lnTo>
                  <a:lnTo>
                    <a:pt x="84" y="139"/>
                  </a:lnTo>
                  <a:lnTo>
                    <a:pt x="86" y="135"/>
                  </a:lnTo>
                  <a:lnTo>
                    <a:pt x="89" y="139"/>
                  </a:lnTo>
                  <a:lnTo>
                    <a:pt x="91" y="137"/>
                  </a:lnTo>
                  <a:lnTo>
                    <a:pt x="96" y="130"/>
                  </a:lnTo>
                  <a:lnTo>
                    <a:pt x="91" y="130"/>
                  </a:lnTo>
                  <a:lnTo>
                    <a:pt x="87" y="125"/>
                  </a:lnTo>
                  <a:lnTo>
                    <a:pt x="87" y="118"/>
                  </a:lnTo>
                  <a:lnTo>
                    <a:pt x="89" y="116"/>
                  </a:lnTo>
                  <a:lnTo>
                    <a:pt x="86" y="118"/>
                  </a:lnTo>
                  <a:lnTo>
                    <a:pt x="86" y="115"/>
                  </a:lnTo>
                  <a:lnTo>
                    <a:pt x="87" y="110"/>
                  </a:lnTo>
                  <a:lnTo>
                    <a:pt x="91" y="106"/>
                  </a:lnTo>
                  <a:lnTo>
                    <a:pt x="91" y="104"/>
                  </a:lnTo>
                  <a:lnTo>
                    <a:pt x="89" y="94"/>
                  </a:lnTo>
                  <a:lnTo>
                    <a:pt x="91" y="92"/>
                  </a:lnTo>
                  <a:lnTo>
                    <a:pt x="91" y="84"/>
                  </a:lnTo>
                  <a:lnTo>
                    <a:pt x="96" y="77"/>
                  </a:lnTo>
                  <a:lnTo>
                    <a:pt x="98" y="75"/>
                  </a:lnTo>
                  <a:lnTo>
                    <a:pt x="101" y="74"/>
                  </a:lnTo>
                  <a:lnTo>
                    <a:pt x="104" y="69"/>
                  </a:lnTo>
                  <a:lnTo>
                    <a:pt x="108" y="70"/>
                  </a:lnTo>
                  <a:lnTo>
                    <a:pt x="116" y="63"/>
                  </a:lnTo>
                  <a:lnTo>
                    <a:pt x="121" y="62"/>
                  </a:lnTo>
                  <a:lnTo>
                    <a:pt x="125" y="58"/>
                  </a:lnTo>
                  <a:lnTo>
                    <a:pt x="127" y="62"/>
                  </a:lnTo>
                  <a:lnTo>
                    <a:pt x="130" y="63"/>
                  </a:lnTo>
                  <a:lnTo>
                    <a:pt x="137" y="65"/>
                  </a:lnTo>
                  <a:lnTo>
                    <a:pt x="142" y="62"/>
                  </a:lnTo>
                  <a:lnTo>
                    <a:pt x="147" y="65"/>
                  </a:lnTo>
                  <a:lnTo>
                    <a:pt x="149" y="62"/>
                  </a:lnTo>
                  <a:lnTo>
                    <a:pt x="156" y="62"/>
                  </a:lnTo>
                  <a:lnTo>
                    <a:pt x="157" y="58"/>
                  </a:lnTo>
                  <a:lnTo>
                    <a:pt x="164" y="57"/>
                  </a:lnTo>
                  <a:lnTo>
                    <a:pt x="168" y="53"/>
                  </a:lnTo>
                  <a:lnTo>
                    <a:pt x="173" y="53"/>
                  </a:lnTo>
                  <a:lnTo>
                    <a:pt x="174" y="50"/>
                  </a:lnTo>
                  <a:lnTo>
                    <a:pt x="178" y="48"/>
                  </a:lnTo>
                  <a:lnTo>
                    <a:pt x="178" y="45"/>
                  </a:lnTo>
                  <a:lnTo>
                    <a:pt x="183" y="38"/>
                  </a:lnTo>
                  <a:lnTo>
                    <a:pt x="185" y="38"/>
                  </a:lnTo>
                  <a:lnTo>
                    <a:pt x="183" y="34"/>
                  </a:lnTo>
                  <a:lnTo>
                    <a:pt x="186" y="31"/>
                  </a:lnTo>
                  <a:lnTo>
                    <a:pt x="188" y="26"/>
                  </a:lnTo>
                  <a:lnTo>
                    <a:pt x="191" y="26"/>
                  </a:lnTo>
                  <a:lnTo>
                    <a:pt x="191" y="22"/>
                  </a:lnTo>
                  <a:lnTo>
                    <a:pt x="195" y="19"/>
                  </a:lnTo>
                  <a:lnTo>
                    <a:pt x="198" y="19"/>
                  </a:lnTo>
                  <a:lnTo>
                    <a:pt x="200" y="22"/>
                  </a:lnTo>
                  <a:lnTo>
                    <a:pt x="203" y="17"/>
                  </a:lnTo>
                  <a:lnTo>
                    <a:pt x="207" y="14"/>
                  </a:lnTo>
                  <a:lnTo>
                    <a:pt x="205" y="9"/>
                  </a:lnTo>
                  <a:lnTo>
                    <a:pt x="207" y="7"/>
                  </a:lnTo>
                  <a:lnTo>
                    <a:pt x="210" y="0"/>
                  </a:lnTo>
                  <a:lnTo>
                    <a:pt x="212" y="2"/>
                  </a:lnTo>
                  <a:lnTo>
                    <a:pt x="214" y="9"/>
                  </a:lnTo>
                  <a:lnTo>
                    <a:pt x="220" y="5"/>
                  </a:lnTo>
                  <a:lnTo>
                    <a:pt x="224" y="7"/>
                  </a:lnTo>
                  <a:lnTo>
                    <a:pt x="222" y="12"/>
                  </a:lnTo>
                  <a:lnTo>
                    <a:pt x="229" y="12"/>
                  </a:lnTo>
                  <a:lnTo>
                    <a:pt x="231" y="14"/>
                  </a:lnTo>
                  <a:lnTo>
                    <a:pt x="234" y="14"/>
                  </a:lnTo>
                  <a:lnTo>
                    <a:pt x="232" y="17"/>
                  </a:lnTo>
                  <a:lnTo>
                    <a:pt x="234" y="21"/>
                  </a:lnTo>
                  <a:lnTo>
                    <a:pt x="236" y="19"/>
                  </a:lnTo>
                  <a:lnTo>
                    <a:pt x="239" y="21"/>
                  </a:lnTo>
                  <a:lnTo>
                    <a:pt x="239" y="24"/>
                  </a:lnTo>
                  <a:lnTo>
                    <a:pt x="241" y="26"/>
                  </a:lnTo>
                  <a:lnTo>
                    <a:pt x="243" y="24"/>
                  </a:lnTo>
                  <a:lnTo>
                    <a:pt x="244" y="26"/>
                  </a:lnTo>
                  <a:lnTo>
                    <a:pt x="241" y="28"/>
                  </a:lnTo>
                  <a:lnTo>
                    <a:pt x="244" y="29"/>
                  </a:lnTo>
                  <a:lnTo>
                    <a:pt x="246" y="33"/>
                  </a:lnTo>
                  <a:lnTo>
                    <a:pt x="243" y="39"/>
                  </a:lnTo>
                  <a:lnTo>
                    <a:pt x="244" y="39"/>
                  </a:lnTo>
                  <a:lnTo>
                    <a:pt x="246" y="38"/>
                  </a:lnTo>
                  <a:lnTo>
                    <a:pt x="249" y="38"/>
                  </a:lnTo>
                  <a:lnTo>
                    <a:pt x="248" y="41"/>
                  </a:lnTo>
                  <a:lnTo>
                    <a:pt x="249" y="43"/>
                  </a:lnTo>
                  <a:lnTo>
                    <a:pt x="251" y="43"/>
                  </a:lnTo>
                  <a:lnTo>
                    <a:pt x="253" y="41"/>
                  </a:lnTo>
                  <a:lnTo>
                    <a:pt x="253" y="45"/>
                  </a:lnTo>
                  <a:lnTo>
                    <a:pt x="256" y="45"/>
                  </a:lnTo>
                  <a:lnTo>
                    <a:pt x="255" y="50"/>
                  </a:lnTo>
                  <a:lnTo>
                    <a:pt x="258" y="48"/>
                  </a:lnTo>
                  <a:lnTo>
                    <a:pt x="260" y="50"/>
                  </a:lnTo>
                  <a:lnTo>
                    <a:pt x="263" y="48"/>
                  </a:lnTo>
                  <a:lnTo>
                    <a:pt x="263" y="46"/>
                  </a:lnTo>
                  <a:lnTo>
                    <a:pt x="268" y="48"/>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2" name="Freeform 75"/>
            <p:cNvSpPr>
              <a:spLocks noEditPoints="1"/>
            </p:cNvSpPr>
            <p:nvPr/>
          </p:nvSpPr>
          <p:spPr bwMode="gray">
            <a:xfrm>
              <a:off x="3837661" y="4409746"/>
              <a:ext cx="685893" cy="541783"/>
            </a:xfrm>
            <a:custGeom>
              <a:avLst/>
              <a:gdLst>
                <a:gd name="T0" fmla="*/ 48 w 376"/>
                <a:gd name="T1" fmla="*/ 237 h 297"/>
                <a:gd name="T2" fmla="*/ 41 w 376"/>
                <a:gd name="T3" fmla="*/ 243 h 297"/>
                <a:gd name="T4" fmla="*/ 29 w 376"/>
                <a:gd name="T5" fmla="*/ 232 h 297"/>
                <a:gd name="T6" fmla="*/ 36 w 376"/>
                <a:gd name="T7" fmla="*/ 231 h 297"/>
                <a:gd name="T8" fmla="*/ 365 w 376"/>
                <a:gd name="T9" fmla="*/ 137 h 297"/>
                <a:gd name="T10" fmla="*/ 365 w 376"/>
                <a:gd name="T11" fmla="*/ 155 h 297"/>
                <a:gd name="T12" fmla="*/ 362 w 376"/>
                <a:gd name="T13" fmla="*/ 171 h 297"/>
                <a:gd name="T14" fmla="*/ 350 w 376"/>
                <a:gd name="T15" fmla="*/ 181 h 297"/>
                <a:gd name="T16" fmla="*/ 345 w 376"/>
                <a:gd name="T17" fmla="*/ 183 h 297"/>
                <a:gd name="T18" fmla="*/ 345 w 376"/>
                <a:gd name="T19" fmla="*/ 193 h 297"/>
                <a:gd name="T20" fmla="*/ 333 w 376"/>
                <a:gd name="T21" fmla="*/ 190 h 297"/>
                <a:gd name="T22" fmla="*/ 307 w 376"/>
                <a:gd name="T23" fmla="*/ 186 h 297"/>
                <a:gd name="T24" fmla="*/ 311 w 376"/>
                <a:gd name="T25" fmla="*/ 212 h 297"/>
                <a:gd name="T26" fmla="*/ 321 w 376"/>
                <a:gd name="T27" fmla="*/ 241 h 297"/>
                <a:gd name="T28" fmla="*/ 328 w 376"/>
                <a:gd name="T29" fmla="*/ 255 h 297"/>
                <a:gd name="T30" fmla="*/ 309 w 376"/>
                <a:gd name="T31" fmla="*/ 263 h 297"/>
                <a:gd name="T32" fmla="*/ 302 w 376"/>
                <a:gd name="T33" fmla="*/ 275 h 297"/>
                <a:gd name="T34" fmla="*/ 280 w 376"/>
                <a:gd name="T35" fmla="*/ 287 h 297"/>
                <a:gd name="T36" fmla="*/ 265 w 376"/>
                <a:gd name="T37" fmla="*/ 290 h 297"/>
                <a:gd name="T38" fmla="*/ 266 w 376"/>
                <a:gd name="T39" fmla="*/ 249 h 297"/>
                <a:gd name="T40" fmla="*/ 253 w 376"/>
                <a:gd name="T41" fmla="*/ 246 h 297"/>
                <a:gd name="T42" fmla="*/ 230 w 376"/>
                <a:gd name="T43" fmla="*/ 243 h 297"/>
                <a:gd name="T44" fmla="*/ 212 w 376"/>
                <a:gd name="T45" fmla="*/ 227 h 297"/>
                <a:gd name="T46" fmla="*/ 198 w 376"/>
                <a:gd name="T47" fmla="*/ 229 h 297"/>
                <a:gd name="T48" fmla="*/ 179 w 376"/>
                <a:gd name="T49" fmla="*/ 249 h 297"/>
                <a:gd name="T50" fmla="*/ 160 w 376"/>
                <a:gd name="T51" fmla="*/ 253 h 297"/>
                <a:gd name="T52" fmla="*/ 128 w 376"/>
                <a:gd name="T53" fmla="*/ 246 h 297"/>
                <a:gd name="T54" fmla="*/ 99 w 376"/>
                <a:gd name="T55" fmla="*/ 243 h 297"/>
                <a:gd name="T56" fmla="*/ 73 w 376"/>
                <a:gd name="T57" fmla="*/ 234 h 297"/>
                <a:gd name="T58" fmla="*/ 51 w 376"/>
                <a:gd name="T59" fmla="*/ 239 h 297"/>
                <a:gd name="T60" fmla="*/ 53 w 376"/>
                <a:gd name="T61" fmla="*/ 231 h 297"/>
                <a:gd name="T62" fmla="*/ 46 w 376"/>
                <a:gd name="T63" fmla="*/ 231 h 297"/>
                <a:gd name="T64" fmla="*/ 38 w 376"/>
                <a:gd name="T65" fmla="*/ 232 h 297"/>
                <a:gd name="T66" fmla="*/ 22 w 376"/>
                <a:gd name="T67" fmla="*/ 225 h 297"/>
                <a:gd name="T68" fmla="*/ 15 w 376"/>
                <a:gd name="T69" fmla="*/ 200 h 297"/>
                <a:gd name="T70" fmla="*/ 3 w 376"/>
                <a:gd name="T71" fmla="*/ 181 h 297"/>
                <a:gd name="T72" fmla="*/ 14 w 376"/>
                <a:gd name="T73" fmla="*/ 171 h 297"/>
                <a:gd name="T74" fmla="*/ 24 w 376"/>
                <a:gd name="T75" fmla="*/ 150 h 297"/>
                <a:gd name="T76" fmla="*/ 32 w 376"/>
                <a:gd name="T77" fmla="*/ 125 h 297"/>
                <a:gd name="T78" fmla="*/ 61 w 376"/>
                <a:gd name="T79" fmla="*/ 123 h 297"/>
                <a:gd name="T80" fmla="*/ 87 w 376"/>
                <a:gd name="T81" fmla="*/ 137 h 297"/>
                <a:gd name="T82" fmla="*/ 114 w 376"/>
                <a:gd name="T83" fmla="*/ 125 h 297"/>
                <a:gd name="T84" fmla="*/ 157 w 376"/>
                <a:gd name="T85" fmla="*/ 142 h 297"/>
                <a:gd name="T86" fmla="*/ 188 w 376"/>
                <a:gd name="T87" fmla="*/ 137 h 297"/>
                <a:gd name="T88" fmla="*/ 224 w 376"/>
                <a:gd name="T89" fmla="*/ 145 h 297"/>
                <a:gd name="T90" fmla="*/ 230 w 376"/>
                <a:gd name="T91" fmla="*/ 142 h 297"/>
                <a:gd name="T92" fmla="*/ 241 w 376"/>
                <a:gd name="T93" fmla="*/ 123 h 297"/>
                <a:gd name="T94" fmla="*/ 241 w 376"/>
                <a:gd name="T95" fmla="*/ 120 h 297"/>
                <a:gd name="T96" fmla="*/ 251 w 376"/>
                <a:gd name="T97" fmla="*/ 101 h 297"/>
                <a:gd name="T98" fmla="*/ 261 w 376"/>
                <a:gd name="T99" fmla="*/ 84 h 297"/>
                <a:gd name="T100" fmla="*/ 289 w 376"/>
                <a:gd name="T101" fmla="*/ 80 h 297"/>
                <a:gd name="T102" fmla="*/ 306 w 376"/>
                <a:gd name="T103" fmla="*/ 106 h 297"/>
                <a:gd name="T104" fmla="*/ 338 w 376"/>
                <a:gd name="T105" fmla="*/ 116 h 297"/>
                <a:gd name="T106" fmla="*/ 367 w 376"/>
                <a:gd name="T107" fmla="*/ 116 h 297"/>
                <a:gd name="T108" fmla="*/ 244 w 376"/>
                <a:gd name="T109" fmla="*/ 15 h 297"/>
                <a:gd name="T110" fmla="*/ 230 w 376"/>
                <a:gd name="T111" fmla="*/ 14 h 297"/>
                <a:gd name="T112" fmla="*/ 230 w 376"/>
                <a:gd name="T113" fmla="*/ 9 h 297"/>
                <a:gd name="T114" fmla="*/ 203 w 376"/>
                <a:gd name="T11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6" h="297">
                  <a:moveTo>
                    <a:pt x="36" y="232"/>
                  </a:moveTo>
                  <a:lnTo>
                    <a:pt x="38" y="234"/>
                  </a:lnTo>
                  <a:lnTo>
                    <a:pt x="39" y="236"/>
                  </a:lnTo>
                  <a:lnTo>
                    <a:pt x="43" y="236"/>
                  </a:lnTo>
                  <a:lnTo>
                    <a:pt x="44" y="237"/>
                  </a:lnTo>
                  <a:lnTo>
                    <a:pt x="48" y="237"/>
                  </a:lnTo>
                  <a:lnTo>
                    <a:pt x="55" y="243"/>
                  </a:lnTo>
                  <a:lnTo>
                    <a:pt x="58" y="243"/>
                  </a:lnTo>
                  <a:lnTo>
                    <a:pt x="58" y="246"/>
                  </a:lnTo>
                  <a:lnTo>
                    <a:pt x="51" y="244"/>
                  </a:lnTo>
                  <a:lnTo>
                    <a:pt x="50" y="243"/>
                  </a:lnTo>
                  <a:lnTo>
                    <a:pt x="41" y="243"/>
                  </a:lnTo>
                  <a:lnTo>
                    <a:pt x="36" y="241"/>
                  </a:lnTo>
                  <a:lnTo>
                    <a:pt x="27" y="239"/>
                  </a:lnTo>
                  <a:lnTo>
                    <a:pt x="29" y="237"/>
                  </a:lnTo>
                  <a:lnTo>
                    <a:pt x="26" y="236"/>
                  </a:lnTo>
                  <a:lnTo>
                    <a:pt x="29" y="234"/>
                  </a:lnTo>
                  <a:lnTo>
                    <a:pt x="29" y="232"/>
                  </a:lnTo>
                  <a:lnTo>
                    <a:pt x="32" y="234"/>
                  </a:lnTo>
                  <a:lnTo>
                    <a:pt x="36" y="232"/>
                  </a:lnTo>
                  <a:close/>
                  <a:moveTo>
                    <a:pt x="36" y="231"/>
                  </a:moveTo>
                  <a:lnTo>
                    <a:pt x="36" y="232"/>
                  </a:lnTo>
                  <a:lnTo>
                    <a:pt x="32" y="232"/>
                  </a:lnTo>
                  <a:lnTo>
                    <a:pt x="36" y="231"/>
                  </a:lnTo>
                  <a:close/>
                  <a:moveTo>
                    <a:pt x="376" y="121"/>
                  </a:moveTo>
                  <a:lnTo>
                    <a:pt x="374" y="125"/>
                  </a:lnTo>
                  <a:lnTo>
                    <a:pt x="372" y="123"/>
                  </a:lnTo>
                  <a:lnTo>
                    <a:pt x="370" y="130"/>
                  </a:lnTo>
                  <a:lnTo>
                    <a:pt x="365" y="130"/>
                  </a:lnTo>
                  <a:lnTo>
                    <a:pt x="365" y="137"/>
                  </a:lnTo>
                  <a:lnTo>
                    <a:pt x="364" y="138"/>
                  </a:lnTo>
                  <a:lnTo>
                    <a:pt x="365" y="140"/>
                  </a:lnTo>
                  <a:lnTo>
                    <a:pt x="362" y="142"/>
                  </a:lnTo>
                  <a:lnTo>
                    <a:pt x="360" y="145"/>
                  </a:lnTo>
                  <a:lnTo>
                    <a:pt x="367" y="150"/>
                  </a:lnTo>
                  <a:lnTo>
                    <a:pt x="365" y="155"/>
                  </a:lnTo>
                  <a:lnTo>
                    <a:pt x="367" y="159"/>
                  </a:lnTo>
                  <a:lnTo>
                    <a:pt x="365" y="161"/>
                  </a:lnTo>
                  <a:lnTo>
                    <a:pt x="367" y="164"/>
                  </a:lnTo>
                  <a:lnTo>
                    <a:pt x="364" y="167"/>
                  </a:lnTo>
                  <a:lnTo>
                    <a:pt x="365" y="167"/>
                  </a:lnTo>
                  <a:lnTo>
                    <a:pt x="362" y="171"/>
                  </a:lnTo>
                  <a:lnTo>
                    <a:pt x="362" y="174"/>
                  </a:lnTo>
                  <a:lnTo>
                    <a:pt x="360" y="174"/>
                  </a:lnTo>
                  <a:lnTo>
                    <a:pt x="360" y="176"/>
                  </a:lnTo>
                  <a:lnTo>
                    <a:pt x="357" y="178"/>
                  </a:lnTo>
                  <a:lnTo>
                    <a:pt x="352" y="181"/>
                  </a:lnTo>
                  <a:lnTo>
                    <a:pt x="350" y="181"/>
                  </a:lnTo>
                  <a:lnTo>
                    <a:pt x="350" y="183"/>
                  </a:lnTo>
                  <a:lnTo>
                    <a:pt x="348" y="181"/>
                  </a:lnTo>
                  <a:lnTo>
                    <a:pt x="347" y="183"/>
                  </a:lnTo>
                  <a:lnTo>
                    <a:pt x="347" y="181"/>
                  </a:lnTo>
                  <a:lnTo>
                    <a:pt x="347" y="184"/>
                  </a:lnTo>
                  <a:lnTo>
                    <a:pt x="345" y="183"/>
                  </a:lnTo>
                  <a:lnTo>
                    <a:pt x="345" y="186"/>
                  </a:lnTo>
                  <a:lnTo>
                    <a:pt x="343" y="188"/>
                  </a:lnTo>
                  <a:lnTo>
                    <a:pt x="347" y="190"/>
                  </a:lnTo>
                  <a:lnTo>
                    <a:pt x="345" y="191"/>
                  </a:lnTo>
                  <a:lnTo>
                    <a:pt x="347" y="193"/>
                  </a:lnTo>
                  <a:lnTo>
                    <a:pt x="345" y="193"/>
                  </a:lnTo>
                  <a:lnTo>
                    <a:pt x="345" y="195"/>
                  </a:lnTo>
                  <a:lnTo>
                    <a:pt x="347" y="193"/>
                  </a:lnTo>
                  <a:lnTo>
                    <a:pt x="347" y="196"/>
                  </a:lnTo>
                  <a:lnTo>
                    <a:pt x="341" y="193"/>
                  </a:lnTo>
                  <a:lnTo>
                    <a:pt x="333" y="191"/>
                  </a:lnTo>
                  <a:lnTo>
                    <a:pt x="333" y="190"/>
                  </a:lnTo>
                  <a:lnTo>
                    <a:pt x="326" y="186"/>
                  </a:lnTo>
                  <a:lnTo>
                    <a:pt x="321" y="186"/>
                  </a:lnTo>
                  <a:lnTo>
                    <a:pt x="318" y="181"/>
                  </a:lnTo>
                  <a:lnTo>
                    <a:pt x="312" y="183"/>
                  </a:lnTo>
                  <a:lnTo>
                    <a:pt x="309" y="183"/>
                  </a:lnTo>
                  <a:lnTo>
                    <a:pt x="307" y="186"/>
                  </a:lnTo>
                  <a:lnTo>
                    <a:pt x="311" y="190"/>
                  </a:lnTo>
                  <a:lnTo>
                    <a:pt x="309" y="191"/>
                  </a:lnTo>
                  <a:lnTo>
                    <a:pt x="309" y="195"/>
                  </a:lnTo>
                  <a:lnTo>
                    <a:pt x="306" y="202"/>
                  </a:lnTo>
                  <a:lnTo>
                    <a:pt x="307" y="210"/>
                  </a:lnTo>
                  <a:lnTo>
                    <a:pt x="311" y="212"/>
                  </a:lnTo>
                  <a:lnTo>
                    <a:pt x="311" y="219"/>
                  </a:lnTo>
                  <a:lnTo>
                    <a:pt x="316" y="225"/>
                  </a:lnTo>
                  <a:lnTo>
                    <a:pt x="314" y="232"/>
                  </a:lnTo>
                  <a:lnTo>
                    <a:pt x="314" y="237"/>
                  </a:lnTo>
                  <a:lnTo>
                    <a:pt x="318" y="237"/>
                  </a:lnTo>
                  <a:lnTo>
                    <a:pt x="321" y="241"/>
                  </a:lnTo>
                  <a:lnTo>
                    <a:pt x="324" y="239"/>
                  </a:lnTo>
                  <a:lnTo>
                    <a:pt x="326" y="241"/>
                  </a:lnTo>
                  <a:lnTo>
                    <a:pt x="326" y="246"/>
                  </a:lnTo>
                  <a:lnTo>
                    <a:pt x="328" y="248"/>
                  </a:lnTo>
                  <a:lnTo>
                    <a:pt x="329" y="255"/>
                  </a:lnTo>
                  <a:lnTo>
                    <a:pt x="328" y="255"/>
                  </a:lnTo>
                  <a:lnTo>
                    <a:pt x="326" y="260"/>
                  </a:lnTo>
                  <a:lnTo>
                    <a:pt x="323" y="265"/>
                  </a:lnTo>
                  <a:lnTo>
                    <a:pt x="318" y="263"/>
                  </a:lnTo>
                  <a:lnTo>
                    <a:pt x="314" y="263"/>
                  </a:lnTo>
                  <a:lnTo>
                    <a:pt x="312" y="261"/>
                  </a:lnTo>
                  <a:lnTo>
                    <a:pt x="309" y="263"/>
                  </a:lnTo>
                  <a:lnTo>
                    <a:pt x="309" y="266"/>
                  </a:lnTo>
                  <a:lnTo>
                    <a:pt x="306" y="268"/>
                  </a:lnTo>
                  <a:lnTo>
                    <a:pt x="307" y="273"/>
                  </a:lnTo>
                  <a:lnTo>
                    <a:pt x="307" y="278"/>
                  </a:lnTo>
                  <a:lnTo>
                    <a:pt x="302" y="278"/>
                  </a:lnTo>
                  <a:lnTo>
                    <a:pt x="302" y="275"/>
                  </a:lnTo>
                  <a:lnTo>
                    <a:pt x="300" y="273"/>
                  </a:lnTo>
                  <a:lnTo>
                    <a:pt x="299" y="275"/>
                  </a:lnTo>
                  <a:lnTo>
                    <a:pt x="300" y="278"/>
                  </a:lnTo>
                  <a:lnTo>
                    <a:pt x="295" y="282"/>
                  </a:lnTo>
                  <a:lnTo>
                    <a:pt x="285" y="278"/>
                  </a:lnTo>
                  <a:lnTo>
                    <a:pt x="280" y="287"/>
                  </a:lnTo>
                  <a:lnTo>
                    <a:pt x="280" y="297"/>
                  </a:lnTo>
                  <a:lnTo>
                    <a:pt x="271" y="295"/>
                  </a:lnTo>
                  <a:lnTo>
                    <a:pt x="271" y="292"/>
                  </a:lnTo>
                  <a:lnTo>
                    <a:pt x="270" y="289"/>
                  </a:lnTo>
                  <a:lnTo>
                    <a:pt x="268" y="292"/>
                  </a:lnTo>
                  <a:lnTo>
                    <a:pt x="265" y="290"/>
                  </a:lnTo>
                  <a:lnTo>
                    <a:pt x="266" y="284"/>
                  </a:lnTo>
                  <a:lnTo>
                    <a:pt x="263" y="275"/>
                  </a:lnTo>
                  <a:lnTo>
                    <a:pt x="265" y="268"/>
                  </a:lnTo>
                  <a:lnTo>
                    <a:pt x="265" y="260"/>
                  </a:lnTo>
                  <a:lnTo>
                    <a:pt x="266" y="255"/>
                  </a:lnTo>
                  <a:lnTo>
                    <a:pt x="266" y="249"/>
                  </a:lnTo>
                  <a:lnTo>
                    <a:pt x="265" y="248"/>
                  </a:lnTo>
                  <a:lnTo>
                    <a:pt x="263" y="249"/>
                  </a:lnTo>
                  <a:lnTo>
                    <a:pt x="258" y="246"/>
                  </a:lnTo>
                  <a:lnTo>
                    <a:pt x="256" y="248"/>
                  </a:lnTo>
                  <a:lnTo>
                    <a:pt x="253" y="248"/>
                  </a:lnTo>
                  <a:lnTo>
                    <a:pt x="253" y="246"/>
                  </a:lnTo>
                  <a:lnTo>
                    <a:pt x="251" y="248"/>
                  </a:lnTo>
                  <a:lnTo>
                    <a:pt x="249" y="246"/>
                  </a:lnTo>
                  <a:lnTo>
                    <a:pt x="242" y="248"/>
                  </a:lnTo>
                  <a:lnTo>
                    <a:pt x="239" y="246"/>
                  </a:lnTo>
                  <a:lnTo>
                    <a:pt x="236" y="248"/>
                  </a:lnTo>
                  <a:lnTo>
                    <a:pt x="230" y="243"/>
                  </a:lnTo>
                  <a:lnTo>
                    <a:pt x="230" y="241"/>
                  </a:lnTo>
                  <a:lnTo>
                    <a:pt x="229" y="231"/>
                  </a:lnTo>
                  <a:lnTo>
                    <a:pt x="227" y="222"/>
                  </a:lnTo>
                  <a:lnTo>
                    <a:pt x="225" y="217"/>
                  </a:lnTo>
                  <a:lnTo>
                    <a:pt x="219" y="224"/>
                  </a:lnTo>
                  <a:lnTo>
                    <a:pt x="212" y="227"/>
                  </a:lnTo>
                  <a:lnTo>
                    <a:pt x="208" y="231"/>
                  </a:lnTo>
                  <a:lnTo>
                    <a:pt x="205" y="236"/>
                  </a:lnTo>
                  <a:lnTo>
                    <a:pt x="203" y="234"/>
                  </a:lnTo>
                  <a:lnTo>
                    <a:pt x="203" y="229"/>
                  </a:lnTo>
                  <a:lnTo>
                    <a:pt x="201" y="229"/>
                  </a:lnTo>
                  <a:lnTo>
                    <a:pt x="198" y="229"/>
                  </a:lnTo>
                  <a:lnTo>
                    <a:pt x="190" y="229"/>
                  </a:lnTo>
                  <a:lnTo>
                    <a:pt x="186" y="232"/>
                  </a:lnTo>
                  <a:lnTo>
                    <a:pt x="188" y="234"/>
                  </a:lnTo>
                  <a:lnTo>
                    <a:pt x="188" y="241"/>
                  </a:lnTo>
                  <a:lnTo>
                    <a:pt x="186" y="244"/>
                  </a:lnTo>
                  <a:lnTo>
                    <a:pt x="179" y="249"/>
                  </a:lnTo>
                  <a:lnTo>
                    <a:pt x="176" y="258"/>
                  </a:lnTo>
                  <a:lnTo>
                    <a:pt x="176" y="260"/>
                  </a:lnTo>
                  <a:lnTo>
                    <a:pt x="169" y="256"/>
                  </a:lnTo>
                  <a:lnTo>
                    <a:pt x="162" y="255"/>
                  </a:lnTo>
                  <a:lnTo>
                    <a:pt x="162" y="253"/>
                  </a:lnTo>
                  <a:lnTo>
                    <a:pt x="160" y="253"/>
                  </a:lnTo>
                  <a:lnTo>
                    <a:pt x="155" y="253"/>
                  </a:lnTo>
                  <a:lnTo>
                    <a:pt x="150" y="251"/>
                  </a:lnTo>
                  <a:lnTo>
                    <a:pt x="149" y="251"/>
                  </a:lnTo>
                  <a:lnTo>
                    <a:pt x="143" y="249"/>
                  </a:lnTo>
                  <a:lnTo>
                    <a:pt x="137" y="248"/>
                  </a:lnTo>
                  <a:lnTo>
                    <a:pt x="128" y="246"/>
                  </a:lnTo>
                  <a:lnTo>
                    <a:pt x="130" y="244"/>
                  </a:lnTo>
                  <a:lnTo>
                    <a:pt x="126" y="246"/>
                  </a:lnTo>
                  <a:lnTo>
                    <a:pt x="118" y="243"/>
                  </a:lnTo>
                  <a:lnTo>
                    <a:pt x="109" y="243"/>
                  </a:lnTo>
                  <a:lnTo>
                    <a:pt x="101" y="244"/>
                  </a:lnTo>
                  <a:lnTo>
                    <a:pt x="99" y="243"/>
                  </a:lnTo>
                  <a:lnTo>
                    <a:pt x="99" y="237"/>
                  </a:lnTo>
                  <a:lnTo>
                    <a:pt x="99" y="236"/>
                  </a:lnTo>
                  <a:lnTo>
                    <a:pt x="99" y="237"/>
                  </a:lnTo>
                  <a:lnTo>
                    <a:pt x="91" y="236"/>
                  </a:lnTo>
                  <a:lnTo>
                    <a:pt x="82" y="234"/>
                  </a:lnTo>
                  <a:lnTo>
                    <a:pt x="73" y="234"/>
                  </a:lnTo>
                  <a:lnTo>
                    <a:pt x="72" y="232"/>
                  </a:lnTo>
                  <a:lnTo>
                    <a:pt x="72" y="234"/>
                  </a:lnTo>
                  <a:lnTo>
                    <a:pt x="65" y="234"/>
                  </a:lnTo>
                  <a:lnTo>
                    <a:pt x="58" y="236"/>
                  </a:lnTo>
                  <a:lnTo>
                    <a:pt x="55" y="241"/>
                  </a:lnTo>
                  <a:lnTo>
                    <a:pt x="51" y="239"/>
                  </a:lnTo>
                  <a:lnTo>
                    <a:pt x="51" y="236"/>
                  </a:lnTo>
                  <a:lnTo>
                    <a:pt x="53" y="234"/>
                  </a:lnTo>
                  <a:lnTo>
                    <a:pt x="55" y="232"/>
                  </a:lnTo>
                  <a:lnTo>
                    <a:pt x="55" y="231"/>
                  </a:lnTo>
                  <a:lnTo>
                    <a:pt x="56" y="231"/>
                  </a:lnTo>
                  <a:lnTo>
                    <a:pt x="53" y="231"/>
                  </a:lnTo>
                  <a:lnTo>
                    <a:pt x="53" y="232"/>
                  </a:lnTo>
                  <a:lnTo>
                    <a:pt x="51" y="231"/>
                  </a:lnTo>
                  <a:lnTo>
                    <a:pt x="53" y="232"/>
                  </a:lnTo>
                  <a:lnTo>
                    <a:pt x="51" y="236"/>
                  </a:lnTo>
                  <a:lnTo>
                    <a:pt x="51" y="239"/>
                  </a:lnTo>
                  <a:lnTo>
                    <a:pt x="46" y="231"/>
                  </a:lnTo>
                  <a:lnTo>
                    <a:pt x="48" y="237"/>
                  </a:lnTo>
                  <a:lnTo>
                    <a:pt x="44" y="237"/>
                  </a:lnTo>
                  <a:lnTo>
                    <a:pt x="43" y="236"/>
                  </a:lnTo>
                  <a:lnTo>
                    <a:pt x="41" y="236"/>
                  </a:lnTo>
                  <a:lnTo>
                    <a:pt x="38" y="234"/>
                  </a:lnTo>
                  <a:lnTo>
                    <a:pt x="38" y="232"/>
                  </a:lnTo>
                  <a:lnTo>
                    <a:pt x="34" y="229"/>
                  </a:lnTo>
                  <a:lnTo>
                    <a:pt x="31" y="232"/>
                  </a:lnTo>
                  <a:lnTo>
                    <a:pt x="29" y="231"/>
                  </a:lnTo>
                  <a:lnTo>
                    <a:pt x="29" y="232"/>
                  </a:lnTo>
                  <a:lnTo>
                    <a:pt x="22" y="227"/>
                  </a:lnTo>
                  <a:lnTo>
                    <a:pt x="22" y="225"/>
                  </a:lnTo>
                  <a:lnTo>
                    <a:pt x="21" y="225"/>
                  </a:lnTo>
                  <a:lnTo>
                    <a:pt x="22" y="222"/>
                  </a:lnTo>
                  <a:lnTo>
                    <a:pt x="24" y="219"/>
                  </a:lnTo>
                  <a:lnTo>
                    <a:pt x="19" y="208"/>
                  </a:lnTo>
                  <a:lnTo>
                    <a:pt x="19" y="203"/>
                  </a:lnTo>
                  <a:lnTo>
                    <a:pt x="15" y="200"/>
                  </a:lnTo>
                  <a:lnTo>
                    <a:pt x="14" y="195"/>
                  </a:lnTo>
                  <a:lnTo>
                    <a:pt x="10" y="191"/>
                  </a:lnTo>
                  <a:lnTo>
                    <a:pt x="5" y="193"/>
                  </a:lnTo>
                  <a:lnTo>
                    <a:pt x="0" y="191"/>
                  </a:lnTo>
                  <a:lnTo>
                    <a:pt x="0" y="186"/>
                  </a:lnTo>
                  <a:lnTo>
                    <a:pt x="3" y="181"/>
                  </a:lnTo>
                  <a:lnTo>
                    <a:pt x="3" y="176"/>
                  </a:lnTo>
                  <a:lnTo>
                    <a:pt x="0" y="174"/>
                  </a:lnTo>
                  <a:lnTo>
                    <a:pt x="0" y="173"/>
                  </a:lnTo>
                  <a:lnTo>
                    <a:pt x="3" y="169"/>
                  </a:lnTo>
                  <a:lnTo>
                    <a:pt x="9" y="167"/>
                  </a:lnTo>
                  <a:lnTo>
                    <a:pt x="14" y="171"/>
                  </a:lnTo>
                  <a:lnTo>
                    <a:pt x="21" y="166"/>
                  </a:lnTo>
                  <a:lnTo>
                    <a:pt x="26" y="164"/>
                  </a:lnTo>
                  <a:lnTo>
                    <a:pt x="27" y="159"/>
                  </a:lnTo>
                  <a:lnTo>
                    <a:pt x="26" y="155"/>
                  </a:lnTo>
                  <a:lnTo>
                    <a:pt x="27" y="152"/>
                  </a:lnTo>
                  <a:lnTo>
                    <a:pt x="24" y="150"/>
                  </a:lnTo>
                  <a:lnTo>
                    <a:pt x="24" y="143"/>
                  </a:lnTo>
                  <a:lnTo>
                    <a:pt x="24" y="142"/>
                  </a:lnTo>
                  <a:lnTo>
                    <a:pt x="24" y="138"/>
                  </a:lnTo>
                  <a:lnTo>
                    <a:pt x="27" y="137"/>
                  </a:lnTo>
                  <a:lnTo>
                    <a:pt x="32" y="132"/>
                  </a:lnTo>
                  <a:lnTo>
                    <a:pt x="32" y="125"/>
                  </a:lnTo>
                  <a:lnTo>
                    <a:pt x="34" y="125"/>
                  </a:lnTo>
                  <a:lnTo>
                    <a:pt x="38" y="128"/>
                  </a:lnTo>
                  <a:lnTo>
                    <a:pt x="46" y="132"/>
                  </a:lnTo>
                  <a:lnTo>
                    <a:pt x="50" y="128"/>
                  </a:lnTo>
                  <a:lnTo>
                    <a:pt x="60" y="125"/>
                  </a:lnTo>
                  <a:lnTo>
                    <a:pt x="61" y="123"/>
                  </a:lnTo>
                  <a:lnTo>
                    <a:pt x="61" y="128"/>
                  </a:lnTo>
                  <a:lnTo>
                    <a:pt x="65" y="132"/>
                  </a:lnTo>
                  <a:lnTo>
                    <a:pt x="72" y="133"/>
                  </a:lnTo>
                  <a:lnTo>
                    <a:pt x="75" y="135"/>
                  </a:lnTo>
                  <a:lnTo>
                    <a:pt x="80" y="135"/>
                  </a:lnTo>
                  <a:lnTo>
                    <a:pt x="87" y="137"/>
                  </a:lnTo>
                  <a:lnTo>
                    <a:pt x="94" y="135"/>
                  </a:lnTo>
                  <a:lnTo>
                    <a:pt x="99" y="135"/>
                  </a:lnTo>
                  <a:lnTo>
                    <a:pt x="104" y="133"/>
                  </a:lnTo>
                  <a:lnTo>
                    <a:pt x="111" y="128"/>
                  </a:lnTo>
                  <a:lnTo>
                    <a:pt x="114" y="126"/>
                  </a:lnTo>
                  <a:lnTo>
                    <a:pt x="114" y="125"/>
                  </a:lnTo>
                  <a:lnTo>
                    <a:pt x="121" y="132"/>
                  </a:lnTo>
                  <a:lnTo>
                    <a:pt x="128" y="132"/>
                  </a:lnTo>
                  <a:lnTo>
                    <a:pt x="137" y="135"/>
                  </a:lnTo>
                  <a:lnTo>
                    <a:pt x="140" y="137"/>
                  </a:lnTo>
                  <a:lnTo>
                    <a:pt x="150" y="140"/>
                  </a:lnTo>
                  <a:lnTo>
                    <a:pt x="157" y="142"/>
                  </a:lnTo>
                  <a:lnTo>
                    <a:pt x="164" y="140"/>
                  </a:lnTo>
                  <a:lnTo>
                    <a:pt x="171" y="142"/>
                  </a:lnTo>
                  <a:lnTo>
                    <a:pt x="174" y="142"/>
                  </a:lnTo>
                  <a:lnTo>
                    <a:pt x="178" y="140"/>
                  </a:lnTo>
                  <a:lnTo>
                    <a:pt x="181" y="140"/>
                  </a:lnTo>
                  <a:lnTo>
                    <a:pt x="188" y="137"/>
                  </a:lnTo>
                  <a:lnTo>
                    <a:pt x="193" y="133"/>
                  </a:lnTo>
                  <a:lnTo>
                    <a:pt x="198" y="135"/>
                  </a:lnTo>
                  <a:lnTo>
                    <a:pt x="203" y="140"/>
                  </a:lnTo>
                  <a:lnTo>
                    <a:pt x="210" y="143"/>
                  </a:lnTo>
                  <a:lnTo>
                    <a:pt x="217" y="145"/>
                  </a:lnTo>
                  <a:lnTo>
                    <a:pt x="224" y="145"/>
                  </a:lnTo>
                  <a:lnTo>
                    <a:pt x="224" y="143"/>
                  </a:lnTo>
                  <a:lnTo>
                    <a:pt x="225" y="147"/>
                  </a:lnTo>
                  <a:lnTo>
                    <a:pt x="229" y="145"/>
                  </a:lnTo>
                  <a:lnTo>
                    <a:pt x="227" y="143"/>
                  </a:lnTo>
                  <a:lnTo>
                    <a:pt x="230" y="145"/>
                  </a:lnTo>
                  <a:lnTo>
                    <a:pt x="230" y="142"/>
                  </a:lnTo>
                  <a:lnTo>
                    <a:pt x="234" y="133"/>
                  </a:lnTo>
                  <a:lnTo>
                    <a:pt x="236" y="133"/>
                  </a:lnTo>
                  <a:lnTo>
                    <a:pt x="234" y="132"/>
                  </a:lnTo>
                  <a:lnTo>
                    <a:pt x="237" y="130"/>
                  </a:lnTo>
                  <a:lnTo>
                    <a:pt x="241" y="125"/>
                  </a:lnTo>
                  <a:lnTo>
                    <a:pt x="241" y="123"/>
                  </a:lnTo>
                  <a:lnTo>
                    <a:pt x="237" y="123"/>
                  </a:lnTo>
                  <a:lnTo>
                    <a:pt x="237" y="121"/>
                  </a:lnTo>
                  <a:lnTo>
                    <a:pt x="239" y="121"/>
                  </a:lnTo>
                  <a:lnTo>
                    <a:pt x="237" y="118"/>
                  </a:lnTo>
                  <a:lnTo>
                    <a:pt x="239" y="118"/>
                  </a:lnTo>
                  <a:lnTo>
                    <a:pt x="241" y="120"/>
                  </a:lnTo>
                  <a:lnTo>
                    <a:pt x="246" y="116"/>
                  </a:lnTo>
                  <a:lnTo>
                    <a:pt x="249" y="109"/>
                  </a:lnTo>
                  <a:lnTo>
                    <a:pt x="249" y="106"/>
                  </a:lnTo>
                  <a:lnTo>
                    <a:pt x="251" y="102"/>
                  </a:lnTo>
                  <a:lnTo>
                    <a:pt x="249" y="101"/>
                  </a:lnTo>
                  <a:lnTo>
                    <a:pt x="251" y="101"/>
                  </a:lnTo>
                  <a:lnTo>
                    <a:pt x="249" y="97"/>
                  </a:lnTo>
                  <a:lnTo>
                    <a:pt x="254" y="94"/>
                  </a:lnTo>
                  <a:lnTo>
                    <a:pt x="253" y="92"/>
                  </a:lnTo>
                  <a:lnTo>
                    <a:pt x="254" y="91"/>
                  </a:lnTo>
                  <a:lnTo>
                    <a:pt x="258" y="85"/>
                  </a:lnTo>
                  <a:lnTo>
                    <a:pt x="261" y="84"/>
                  </a:lnTo>
                  <a:lnTo>
                    <a:pt x="260" y="84"/>
                  </a:lnTo>
                  <a:lnTo>
                    <a:pt x="261" y="85"/>
                  </a:lnTo>
                  <a:lnTo>
                    <a:pt x="270" y="82"/>
                  </a:lnTo>
                  <a:lnTo>
                    <a:pt x="273" y="80"/>
                  </a:lnTo>
                  <a:lnTo>
                    <a:pt x="282" y="80"/>
                  </a:lnTo>
                  <a:lnTo>
                    <a:pt x="289" y="80"/>
                  </a:lnTo>
                  <a:lnTo>
                    <a:pt x="290" y="80"/>
                  </a:lnTo>
                  <a:lnTo>
                    <a:pt x="297" y="82"/>
                  </a:lnTo>
                  <a:lnTo>
                    <a:pt x="299" y="87"/>
                  </a:lnTo>
                  <a:lnTo>
                    <a:pt x="300" y="94"/>
                  </a:lnTo>
                  <a:lnTo>
                    <a:pt x="302" y="97"/>
                  </a:lnTo>
                  <a:lnTo>
                    <a:pt x="306" y="106"/>
                  </a:lnTo>
                  <a:lnTo>
                    <a:pt x="311" y="111"/>
                  </a:lnTo>
                  <a:lnTo>
                    <a:pt x="314" y="111"/>
                  </a:lnTo>
                  <a:lnTo>
                    <a:pt x="321" y="114"/>
                  </a:lnTo>
                  <a:lnTo>
                    <a:pt x="328" y="114"/>
                  </a:lnTo>
                  <a:lnTo>
                    <a:pt x="336" y="116"/>
                  </a:lnTo>
                  <a:lnTo>
                    <a:pt x="338" y="116"/>
                  </a:lnTo>
                  <a:lnTo>
                    <a:pt x="347" y="111"/>
                  </a:lnTo>
                  <a:lnTo>
                    <a:pt x="348" y="108"/>
                  </a:lnTo>
                  <a:lnTo>
                    <a:pt x="352" y="106"/>
                  </a:lnTo>
                  <a:lnTo>
                    <a:pt x="360" y="108"/>
                  </a:lnTo>
                  <a:lnTo>
                    <a:pt x="367" y="114"/>
                  </a:lnTo>
                  <a:lnTo>
                    <a:pt x="367" y="116"/>
                  </a:lnTo>
                  <a:lnTo>
                    <a:pt x="369" y="116"/>
                  </a:lnTo>
                  <a:lnTo>
                    <a:pt x="376" y="121"/>
                  </a:lnTo>
                  <a:close/>
                  <a:moveTo>
                    <a:pt x="244" y="12"/>
                  </a:moveTo>
                  <a:lnTo>
                    <a:pt x="246" y="12"/>
                  </a:lnTo>
                  <a:lnTo>
                    <a:pt x="246" y="15"/>
                  </a:lnTo>
                  <a:lnTo>
                    <a:pt x="244" y="15"/>
                  </a:lnTo>
                  <a:lnTo>
                    <a:pt x="244" y="12"/>
                  </a:lnTo>
                  <a:close/>
                  <a:moveTo>
                    <a:pt x="230" y="7"/>
                  </a:moveTo>
                  <a:lnTo>
                    <a:pt x="232" y="10"/>
                  </a:lnTo>
                  <a:lnTo>
                    <a:pt x="230" y="12"/>
                  </a:lnTo>
                  <a:lnTo>
                    <a:pt x="229" y="12"/>
                  </a:lnTo>
                  <a:lnTo>
                    <a:pt x="230" y="14"/>
                  </a:lnTo>
                  <a:lnTo>
                    <a:pt x="227" y="15"/>
                  </a:lnTo>
                  <a:lnTo>
                    <a:pt x="227" y="19"/>
                  </a:lnTo>
                  <a:lnTo>
                    <a:pt x="222" y="12"/>
                  </a:lnTo>
                  <a:lnTo>
                    <a:pt x="230" y="10"/>
                  </a:lnTo>
                  <a:lnTo>
                    <a:pt x="229" y="7"/>
                  </a:lnTo>
                  <a:lnTo>
                    <a:pt x="230" y="9"/>
                  </a:lnTo>
                  <a:lnTo>
                    <a:pt x="229" y="7"/>
                  </a:lnTo>
                  <a:lnTo>
                    <a:pt x="227" y="10"/>
                  </a:lnTo>
                  <a:lnTo>
                    <a:pt x="227" y="9"/>
                  </a:lnTo>
                  <a:lnTo>
                    <a:pt x="230" y="3"/>
                  </a:lnTo>
                  <a:lnTo>
                    <a:pt x="230" y="7"/>
                  </a:lnTo>
                  <a:close/>
                  <a:moveTo>
                    <a:pt x="203" y="0"/>
                  </a:moveTo>
                  <a:lnTo>
                    <a:pt x="201" y="3"/>
                  </a:lnTo>
                  <a:lnTo>
                    <a:pt x="201" y="0"/>
                  </a:lnTo>
                  <a:lnTo>
                    <a:pt x="20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3" name="Freeform 76"/>
            <p:cNvSpPr/>
            <p:nvPr/>
          </p:nvSpPr>
          <p:spPr bwMode="gray">
            <a:xfrm>
              <a:off x="3361550" y="4448053"/>
              <a:ext cx="538134" cy="415914"/>
            </a:xfrm>
            <a:custGeom>
              <a:avLst/>
              <a:gdLst>
                <a:gd name="T0" fmla="*/ 285 w 295"/>
                <a:gd name="T1" fmla="*/ 117 h 228"/>
                <a:gd name="T2" fmla="*/ 288 w 295"/>
                <a:gd name="T3" fmla="*/ 131 h 228"/>
                <a:gd name="T4" fmla="*/ 282 w 295"/>
                <a:gd name="T5" fmla="*/ 145 h 228"/>
                <a:gd name="T6" fmla="*/ 261 w 295"/>
                <a:gd name="T7" fmla="*/ 152 h 228"/>
                <a:gd name="T8" fmla="*/ 261 w 295"/>
                <a:gd name="T9" fmla="*/ 165 h 228"/>
                <a:gd name="T10" fmla="*/ 275 w 295"/>
                <a:gd name="T11" fmla="*/ 174 h 228"/>
                <a:gd name="T12" fmla="*/ 285 w 295"/>
                <a:gd name="T13" fmla="*/ 198 h 228"/>
                <a:gd name="T14" fmla="*/ 283 w 295"/>
                <a:gd name="T15" fmla="*/ 206 h 228"/>
                <a:gd name="T16" fmla="*/ 285 w 295"/>
                <a:gd name="T17" fmla="*/ 215 h 228"/>
                <a:gd name="T18" fmla="*/ 275 w 295"/>
                <a:gd name="T19" fmla="*/ 216 h 228"/>
                <a:gd name="T20" fmla="*/ 271 w 295"/>
                <a:gd name="T21" fmla="*/ 213 h 228"/>
                <a:gd name="T22" fmla="*/ 254 w 295"/>
                <a:gd name="T23" fmla="*/ 216 h 228"/>
                <a:gd name="T24" fmla="*/ 239 w 295"/>
                <a:gd name="T25" fmla="*/ 228 h 228"/>
                <a:gd name="T26" fmla="*/ 215 w 295"/>
                <a:gd name="T27" fmla="*/ 225 h 228"/>
                <a:gd name="T28" fmla="*/ 194 w 295"/>
                <a:gd name="T29" fmla="*/ 220 h 228"/>
                <a:gd name="T30" fmla="*/ 174 w 295"/>
                <a:gd name="T31" fmla="*/ 215 h 228"/>
                <a:gd name="T32" fmla="*/ 155 w 295"/>
                <a:gd name="T33" fmla="*/ 206 h 228"/>
                <a:gd name="T34" fmla="*/ 133 w 295"/>
                <a:gd name="T35" fmla="*/ 194 h 228"/>
                <a:gd name="T36" fmla="*/ 118 w 295"/>
                <a:gd name="T37" fmla="*/ 191 h 228"/>
                <a:gd name="T38" fmla="*/ 90 w 295"/>
                <a:gd name="T39" fmla="*/ 186 h 228"/>
                <a:gd name="T40" fmla="*/ 70 w 295"/>
                <a:gd name="T41" fmla="*/ 184 h 228"/>
                <a:gd name="T42" fmla="*/ 49 w 295"/>
                <a:gd name="T43" fmla="*/ 182 h 228"/>
                <a:gd name="T44" fmla="*/ 34 w 295"/>
                <a:gd name="T45" fmla="*/ 181 h 228"/>
                <a:gd name="T46" fmla="*/ 14 w 295"/>
                <a:gd name="T47" fmla="*/ 175 h 228"/>
                <a:gd name="T48" fmla="*/ 3 w 295"/>
                <a:gd name="T49" fmla="*/ 170 h 228"/>
                <a:gd name="T50" fmla="*/ 0 w 295"/>
                <a:gd name="T51" fmla="*/ 158 h 228"/>
                <a:gd name="T52" fmla="*/ 8 w 295"/>
                <a:gd name="T53" fmla="*/ 148 h 228"/>
                <a:gd name="T54" fmla="*/ 20 w 295"/>
                <a:gd name="T55" fmla="*/ 133 h 228"/>
                <a:gd name="T56" fmla="*/ 3 w 295"/>
                <a:gd name="T57" fmla="*/ 128 h 228"/>
                <a:gd name="T58" fmla="*/ 14 w 295"/>
                <a:gd name="T59" fmla="*/ 105 h 228"/>
                <a:gd name="T60" fmla="*/ 7 w 295"/>
                <a:gd name="T61" fmla="*/ 85 h 228"/>
                <a:gd name="T62" fmla="*/ 3 w 295"/>
                <a:gd name="T63" fmla="*/ 64 h 228"/>
                <a:gd name="T64" fmla="*/ 12 w 295"/>
                <a:gd name="T65" fmla="*/ 47 h 228"/>
                <a:gd name="T66" fmla="*/ 19 w 295"/>
                <a:gd name="T67" fmla="*/ 52 h 228"/>
                <a:gd name="T68" fmla="*/ 25 w 295"/>
                <a:gd name="T69" fmla="*/ 54 h 228"/>
                <a:gd name="T70" fmla="*/ 46 w 295"/>
                <a:gd name="T71" fmla="*/ 54 h 228"/>
                <a:gd name="T72" fmla="*/ 54 w 295"/>
                <a:gd name="T73" fmla="*/ 52 h 228"/>
                <a:gd name="T74" fmla="*/ 65 w 295"/>
                <a:gd name="T75" fmla="*/ 47 h 228"/>
                <a:gd name="T76" fmla="*/ 72 w 295"/>
                <a:gd name="T77" fmla="*/ 29 h 228"/>
                <a:gd name="T78" fmla="*/ 77 w 295"/>
                <a:gd name="T79" fmla="*/ 15 h 228"/>
                <a:gd name="T80" fmla="*/ 73 w 295"/>
                <a:gd name="T81" fmla="*/ 11 h 228"/>
                <a:gd name="T82" fmla="*/ 73 w 295"/>
                <a:gd name="T83" fmla="*/ 3 h 228"/>
                <a:gd name="T84" fmla="*/ 95 w 295"/>
                <a:gd name="T85" fmla="*/ 10 h 228"/>
                <a:gd name="T86" fmla="*/ 116 w 295"/>
                <a:gd name="T87" fmla="*/ 6 h 228"/>
                <a:gd name="T88" fmla="*/ 140 w 295"/>
                <a:gd name="T89" fmla="*/ 32 h 228"/>
                <a:gd name="T90" fmla="*/ 162 w 295"/>
                <a:gd name="T91" fmla="*/ 39 h 228"/>
                <a:gd name="T92" fmla="*/ 177 w 295"/>
                <a:gd name="T93" fmla="*/ 35 h 228"/>
                <a:gd name="T94" fmla="*/ 181 w 295"/>
                <a:gd name="T95" fmla="*/ 37 h 228"/>
                <a:gd name="T96" fmla="*/ 198 w 295"/>
                <a:gd name="T97" fmla="*/ 47 h 228"/>
                <a:gd name="T98" fmla="*/ 220 w 295"/>
                <a:gd name="T99" fmla="*/ 44 h 228"/>
                <a:gd name="T100" fmla="*/ 217 w 295"/>
                <a:gd name="T101" fmla="*/ 37 h 228"/>
                <a:gd name="T102" fmla="*/ 235 w 295"/>
                <a:gd name="T103" fmla="*/ 44 h 228"/>
                <a:gd name="T104" fmla="*/ 241 w 295"/>
                <a:gd name="T105" fmla="*/ 54 h 228"/>
                <a:gd name="T106" fmla="*/ 259 w 295"/>
                <a:gd name="T107" fmla="*/ 68 h 228"/>
                <a:gd name="T108" fmla="*/ 261 w 295"/>
                <a:gd name="T109" fmla="*/ 93 h 228"/>
                <a:gd name="T110" fmla="*/ 275 w 295"/>
                <a:gd name="T111" fmla="*/ 102 h 228"/>
                <a:gd name="T112" fmla="*/ 292 w 295"/>
                <a:gd name="T113" fmla="*/ 102 h 228"/>
                <a:gd name="T114" fmla="*/ 295 w 295"/>
                <a:gd name="T115" fmla="*/ 10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5" h="228">
                  <a:moveTo>
                    <a:pt x="293" y="104"/>
                  </a:moveTo>
                  <a:lnTo>
                    <a:pt x="293" y="111"/>
                  </a:lnTo>
                  <a:lnTo>
                    <a:pt x="288" y="116"/>
                  </a:lnTo>
                  <a:lnTo>
                    <a:pt x="285" y="117"/>
                  </a:lnTo>
                  <a:lnTo>
                    <a:pt x="285" y="121"/>
                  </a:lnTo>
                  <a:lnTo>
                    <a:pt x="285" y="122"/>
                  </a:lnTo>
                  <a:lnTo>
                    <a:pt x="285" y="129"/>
                  </a:lnTo>
                  <a:lnTo>
                    <a:pt x="288" y="131"/>
                  </a:lnTo>
                  <a:lnTo>
                    <a:pt x="287" y="134"/>
                  </a:lnTo>
                  <a:lnTo>
                    <a:pt x="288" y="138"/>
                  </a:lnTo>
                  <a:lnTo>
                    <a:pt x="287" y="143"/>
                  </a:lnTo>
                  <a:lnTo>
                    <a:pt x="282" y="145"/>
                  </a:lnTo>
                  <a:lnTo>
                    <a:pt x="275" y="150"/>
                  </a:lnTo>
                  <a:lnTo>
                    <a:pt x="270" y="146"/>
                  </a:lnTo>
                  <a:lnTo>
                    <a:pt x="264" y="148"/>
                  </a:lnTo>
                  <a:lnTo>
                    <a:pt x="261" y="152"/>
                  </a:lnTo>
                  <a:lnTo>
                    <a:pt x="261" y="153"/>
                  </a:lnTo>
                  <a:lnTo>
                    <a:pt x="264" y="155"/>
                  </a:lnTo>
                  <a:lnTo>
                    <a:pt x="264" y="160"/>
                  </a:lnTo>
                  <a:lnTo>
                    <a:pt x="261" y="165"/>
                  </a:lnTo>
                  <a:lnTo>
                    <a:pt x="261" y="170"/>
                  </a:lnTo>
                  <a:lnTo>
                    <a:pt x="266" y="172"/>
                  </a:lnTo>
                  <a:lnTo>
                    <a:pt x="271" y="170"/>
                  </a:lnTo>
                  <a:lnTo>
                    <a:pt x="275" y="174"/>
                  </a:lnTo>
                  <a:lnTo>
                    <a:pt x="276" y="179"/>
                  </a:lnTo>
                  <a:lnTo>
                    <a:pt x="280" y="182"/>
                  </a:lnTo>
                  <a:lnTo>
                    <a:pt x="280" y="187"/>
                  </a:lnTo>
                  <a:lnTo>
                    <a:pt x="285" y="198"/>
                  </a:lnTo>
                  <a:lnTo>
                    <a:pt x="283" y="201"/>
                  </a:lnTo>
                  <a:lnTo>
                    <a:pt x="282" y="204"/>
                  </a:lnTo>
                  <a:lnTo>
                    <a:pt x="283" y="204"/>
                  </a:lnTo>
                  <a:lnTo>
                    <a:pt x="283" y="206"/>
                  </a:lnTo>
                  <a:lnTo>
                    <a:pt x="290" y="211"/>
                  </a:lnTo>
                  <a:lnTo>
                    <a:pt x="287" y="215"/>
                  </a:lnTo>
                  <a:lnTo>
                    <a:pt x="287" y="213"/>
                  </a:lnTo>
                  <a:lnTo>
                    <a:pt x="285" y="215"/>
                  </a:lnTo>
                  <a:lnTo>
                    <a:pt x="280" y="211"/>
                  </a:lnTo>
                  <a:lnTo>
                    <a:pt x="275" y="211"/>
                  </a:lnTo>
                  <a:lnTo>
                    <a:pt x="273" y="215"/>
                  </a:lnTo>
                  <a:lnTo>
                    <a:pt x="275" y="216"/>
                  </a:lnTo>
                  <a:lnTo>
                    <a:pt x="275" y="218"/>
                  </a:lnTo>
                  <a:lnTo>
                    <a:pt x="271" y="216"/>
                  </a:lnTo>
                  <a:lnTo>
                    <a:pt x="273" y="215"/>
                  </a:lnTo>
                  <a:lnTo>
                    <a:pt x="271" y="213"/>
                  </a:lnTo>
                  <a:lnTo>
                    <a:pt x="264" y="211"/>
                  </a:lnTo>
                  <a:lnTo>
                    <a:pt x="258" y="213"/>
                  </a:lnTo>
                  <a:lnTo>
                    <a:pt x="252" y="216"/>
                  </a:lnTo>
                  <a:lnTo>
                    <a:pt x="254" y="216"/>
                  </a:lnTo>
                  <a:lnTo>
                    <a:pt x="254" y="222"/>
                  </a:lnTo>
                  <a:lnTo>
                    <a:pt x="251" y="227"/>
                  </a:lnTo>
                  <a:lnTo>
                    <a:pt x="247" y="228"/>
                  </a:lnTo>
                  <a:lnTo>
                    <a:pt x="239" y="228"/>
                  </a:lnTo>
                  <a:lnTo>
                    <a:pt x="230" y="228"/>
                  </a:lnTo>
                  <a:lnTo>
                    <a:pt x="225" y="227"/>
                  </a:lnTo>
                  <a:lnTo>
                    <a:pt x="223" y="227"/>
                  </a:lnTo>
                  <a:lnTo>
                    <a:pt x="215" y="225"/>
                  </a:lnTo>
                  <a:lnTo>
                    <a:pt x="212" y="225"/>
                  </a:lnTo>
                  <a:lnTo>
                    <a:pt x="212" y="223"/>
                  </a:lnTo>
                  <a:lnTo>
                    <a:pt x="205" y="223"/>
                  </a:lnTo>
                  <a:lnTo>
                    <a:pt x="194" y="220"/>
                  </a:lnTo>
                  <a:lnTo>
                    <a:pt x="183" y="218"/>
                  </a:lnTo>
                  <a:lnTo>
                    <a:pt x="183" y="220"/>
                  </a:lnTo>
                  <a:lnTo>
                    <a:pt x="176" y="218"/>
                  </a:lnTo>
                  <a:lnTo>
                    <a:pt x="174" y="215"/>
                  </a:lnTo>
                  <a:lnTo>
                    <a:pt x="172" y="213"/>
                  </a:lnTo>
                  <a:lnTo>
                    <a:pt x="164" y="211"/>
                  </a:lnTo>
                  <a:lnTo>
                    <a:pt x="157" y="210"/>
                  </a:lnTo>
                  <a:lnTo>
                    <a:pt x="155" y="206"/>
                  </a:lnTo>
                  <a:lnTo>
                    <a:pt x="148" y="203"/>
                  </a:lnTo>
                  <a:lnTo>
                    <a:pt x="147" y="199"/>
                  </a:lnTo>
                  <a:lnTo>
                    <a:pt x="138" y="196"/>
                  </a:lnTo>
                  <a:lnTo>
                    <a:pt x="133" y="194"/>
                  </a:lnTo>
                  <a:lnTo>
                    <a:pt x="131" y="194"/>
                  </a:lnTo>
                  <a:lnTo>
                    <a:pt x="131" y="193"/>
                  </a:lnTo>
                  <a:lnTo>
                    <a:pt x="123" y="189"/>
                  </a:lnTo>
                  <a:lnTo>
                    <a:pt x="118" y="191"/>
                  </a:lnTo>
                  <a:lnTo>
                    <a:pt x="109" y="189"/>
                  </a:lnTo>
                  <a:lnTo>
                    <a:pt x="104" y="189"/>
                  </a:lnTo>
                  <a:lnTo>
                    <a:pt x="101" y="187"/>
                  </a:lnTo>
                  <a:lnTo>
                    <a:pt x="90" y="186"/>
                  </a:lnTo>
                  <a:lnTo>
                    <a:pt x="83" y="184"/>
                  </a:lnTo>
                  <a:lnTo>
                    <a:pt x="75" y="184"/>
                  </a:lnTo>
                  <a:lnTo>
                    <a:pt x="73" y="184"/>
                  </a:lnTo>
                  <a:lnTo>
                    <a:pt x="70" y="184"/>
                  </a:lnTo>
                  <a:lnTo>
                    <a:pt x="60" y="182"/>
                  </a:lnTo>
                  <a:lnTo>
                    <a:pt x="49" y="182"/>
                  </a:lnTo>
                  <a:lnTo>
                    <a:pt x="49" y="179"/>
                  </a:lnTo>
                  <a:lnTo>
                    <a:pt x="49" y="182"/>
                  </a:lnTo>
                  <a:lnTo>
                    <a:pt x="44" y="182"/>
                  </a:lnTo>
                  <a:lnTo>
                    <a:pt x="37" y="181"/>
                  </a:lnTo>
                  <a:lnTo>
                    <a:pt x="36" y="181"/>
                  </a:lnTo>
                  <a:lnTo>
                    <a:pt x="34" y="181"/>
                  </a:lnTo>
                  <a:lnTo>
                    <a:pt x="27" y="181"/>
                  </a:lnTo>
                  <a:lnTo>
                    <a:pt x="22" y="181"/>
                  </a:lnTo>
                  <a:lnTo>
                    <a:pt x="17" y="179"/>
                  </a:lnTo>
                  <a:lnTo>
                    <a:pt x="14" y="175"/>
                  </a:lnTo>
                  <a:lnTo>
                    <a:pt x="7" y="174"/>
                  </a:lnTo>
                  <a:lnTo>
                    <a:pt x="3" y="174"/>
                  </a:lnTo>
                  <a:lnTo>
                    <a:pt x="3" y="175"/>
                  </a:lnTo>
                  <a:lnTo>
                    <a:pt x="3" y="170"/>
                  </a:lnTo>
                  <a:lnTo>
                    <a:pt x="0" y="167"/>
                  </a:lnTo>
                  <a:lnTo>
                    <a:pt x="0" y="163"/>
                  </a:lnTo>
                  <a:lnTo>
                    <a:pt x="2" y="162"/>
                  </a:lnTo>
                  <a:lnTo>
                    <a:pt x="0" y="158"/>
                  </a:lnTo>
                  <a:lnTo>
                    <a:pt x="2" y="158"/>
                  </a:lnTo>
                  <a:lnTo>
                    <a:pt x="3" y="153"/>
                  </a:lnTo>
                  <a:lnTo>
                    <a:pt x="10" y="152"/>
                  </a:lnTo>
                  <a:lnTo>
                    <a:pt x="8" y="148"/>
                  </a:lnTo>
                  <a:lnTo>
                    <a:pt x="10" y="146"/>
                  </a:lnTo>
                  <a:lnTo>
                    <a:pt x="15" y="141"/>
                  </a:lnTo>
                  <a:lnTo>
                    <a:pt x="20" y="138"/>
                  </a:lnTo>
                  <a:lnTo>
                    <a:pt x="20" y="133"/>
                  </a:lnTo>
                  <a:lnTo>
                    <a:pt x="20" y="129"/>
                  </a:lnTo>
                  <a:lnTo>
                    <a:pt x="15" y="126"/>
                  </a:lnTo>
                  <a:lnTo>
                    <a:pt x="8" y="124"/>
                  </a:lnTo>
                  <a:lnTo>
                    <a:pt x="3" y="128"/>
                  </a:lnTo>
                  <a:lnTo>
                    <a:pt x="2" y="119"/>
                  </a:lnTo>
                  <a:lnTo>
                    <a:pt x="7" y="114"/>
                  </a:lnTo>
                  <a:lnTo>
                    <a:pt x="7" y="109"/>
                  </a:lnTo>
                  <a:lnTo>
                    <a:pt x="14" y="105"/>
                  </a:lnTo>
                  <a:lnTo>
                    <a:pt x="19" y="102"/>
                  </a:lnTo>
                  <a:lnTo>
                    <a:pt x="10" y="100"/>
                  </a:lnTo>
                  <a:lnTo>
                    <a:pt x="7" y="92"/>
                  </a:lnTo>
                  <a:lnTo>
                    <a:pt x="7" y="85"/>
                  </a:lnTo>
                  <a:lnTo>
                    <a:pt x="7" y="80"/>
                  </a:lnTo>
                  <a:lnTo>
                    <a:pt x="3" y="73"/>
                  </a:lnTo>
                  <a:lnTo>
                    <a:pt x="5" y="66"/>
                  </a:lnTo>
                  <a:lnTo>
                    <a:pt x="3" y="64"/>
                  </a:lnTo>
                  <a:lnTo>
                    <a:pt x="8" y="64"/>
                  </a:lnTo>
                  <a:lnTo>
                    <a:pt x="10" y="61"/>
                  </a:lnTo>
                  <a:lnTo>
                    <a:pt x="7" y="52"/>
                  </a:lnTo>
                  <a:lnTo>
                    <a:pt x="12" y="47"/>
                  </a:lnTo>
                  <a:lnTo>
                    <a:pt x="14" y="49"/>
                  </a:lnTo>
                  <a:lnTo>
                    <a:pt x="12" y="52"/>
                  </a:lnTo>
                  <a:lnTo>
                    <a:pt x="15" y="52"/>
                  </a:lnTo>
                  <a:lnTo>
                    <a:pt x="19" y="52"/>
                  </a:lnTo>
                  <a:lnTo>
                    <a:pt x="17" y="51"/>
                  </a:lnTo>
                  <a:lnTo>
                    <a:pt x="19" y="49"/>
                  </a:lnTo>
                  <a:lnTo>
                    <a:pt x="24" y="51"/>
                  </a:lnTo>
                  <a:lnTo>
                    <a:pt x="25" y="54"/>
                  </a:lnTo>
                  <a:lnTo>
                    <a:pt x="27" y="54"/>
                  </a:lnTo>
                  <a:lnTo>
                    <a:pt x="36" y="54"/>
                  </a:lnTo>
                  <a:lnTo>
                    <a:pt x="41" y="54"/>
                  </a:lnTo>
                  <a:lnTo>
                    <a:pt x="46" y="54"/>
                  </a:lnTo>
                  <a:lnTo>
                    <a:pt x="49" y="49"/>
                  </a:lnTo>
                  <a:lnTo>
                    <a:pt x="53" y="49"/>
                  </a:lnTo>
                  <a:lnTo>
                    <a:pt x="51" y="54"/>
                  </a:lnTo>
                  <a:lnTo>
                    <a:pt x="54" y="52"/>
                  </a:lnTo>
                  <a:lnTo>
                    <a:pt x="56" y="51"/>
                  </a:lnTo>
                  <a:lnTo>
                    <a:pt x="61" y="54"/>
                  </a:lnTo>
                  <a:lnTo>
                    <a:pt x="65" y="54"/>
                  </a:lnTo>
                  <a:lnTo>
                    <a:pt x="65" y="47"/>
                  </a:lnTo>
                  <a:lnTo>
                    <a:pt x="63" y="42"/>
                  </a:lnTo>
                  <a:lnTo>
                    <a:pt x="68" y="41"/>
                  </a:lnTo>
                  <a:lnTo>
                    <a:pt x="72" y="34"/>
                  </a:lnTo>
                  <a:lnTo>
                    <a:pt x="72" y="29"/>
                  </a:lnTo>
                  <a:lnTo>
                    <a:pt x="72" y="22"/>
                  </a:lnTo>
                  <a:lnTo>
                    <a:pt x="77" y="20"/>
                  </a:lnTo>
                  <a:lnTo>
                    <a:pt x="73" y="17"/>
                  </a:lnTo>
                  <a:lnTo>
                    <a:pt x="77" y="15"/>
                  </a:lnTo>
                  <a:lnTo>
                    <a:pt x="75" y="13"/>
                  </a:lnTo>
                  <a:lnTo>
                    <a:pt x="73" y="13"/>
                  </a:lnTo>
                  <a:lnTo>
                    <a:pt x="75" y="11"/>
                  </a:lnTo>
                  <a:lnTo>
                    <a:pt x="73" y="11"/>
                  </a:lnTo>
                  <a:lnTo>
                    <a:pt x="75" y="10"/>
                  </a:lnTo>
                  <a:lnTo>
                    <a:pt x="77" y="6"/>
                  </a:lnTo>
                  <a:lnTo>
                    <a:pt x="77" y="3"/>
                  </a:lnTo>
                  <a:lnTo>
                    <a:pt x="73" y="3"/>
                  </a:lnTo>
                  <a:lnTo>
                    <a:pt x="78" y="0"/>
                  </a:lnTo>
                  <a:lnTo>
                    <a:pt x="87" y="3"/>
                  </a:lnTo>
                  <a:lnTo>
                    <a:pt x="90" y="8"/>
                  </a:lnTo>
                  <a:lnTo>
                    <a:pt x="95" y="10"/>
                  </a:lnTo>
                  <a:lnTo>
                    <a:pt x="97" y="10"/>
                  </a:lnTo>
                  <a:lnTo>
                    <a:pt x="99" y="8"/>
                  </a:lnTo>
                  <a:lnTo>
                    <a:pt x="109" y="6"/>
                  </a:lnTo>
                  <a:lnTo>
                    <a:pt x="116" y="6"/>
                  </a:lnTo>
                  <a:lnTo>
                    <a:pt x="123" y="13"/>
                  </a:lnTo>
                  <a:lnTo>
                    <a:pt x="126" y="20"/>
                  </a:lnTo>
                  <a:lnTo>
                    <a:pt x="131" y="29"/>
                  </a:lnTo>
                  <a:lnTo>
                    <a:pt x="140" y="32"/>
                  </a:lnTo>
                  <a:lnTo>
                    <a:pt x="150" y="34"/>
                  </a:lnTo>
                  <a:lnTo>
                    <a:pt x="155" y="39"/>
                  </a:lnTo>
                  <a:lnTo>
                    <a:pt x="159" y="37"/>
                  </a:lnTo>
                  <a:lnTo>
                    <a:pt x="162" y="39"/>
                  </a:lnTo>
                  <a:lnTo>
                    <a:pt x="172" y="34"/>
                  </a:lnTo>
                  <a:lnTo>
                    <a:pt x="172" y="32"/>
                  </a:lnTo>
                  <a:lnTo>
                    <a:pt x="177" y="34"/>
                  </a:lnTo>
                  <a:lnTo>
                    <a:pt x="177" y="35"/>
                  </a:lnTo>
                  <a:lnTo>
                    <a:pt x="181" y="34"/>
                  </a:lnTo>
                  <a:lnTo>
                    <a:pt x="183" y="35"/>
                  </a:lnTo>
                  <a:lnTo>
                    <a:pt x="181" y="35"/>
                  </a:lnTo>
                  <a:lnTo>
                    <a:pt x="181" y="37"/>
                  </a:lnTo>
                  <a:lnTo>
                    <a:pt x="183" y="39"/>
                  </a:lnTo>
                  <a:lnTo>
                    <a:pt x="188" y="41"/>
                  </a:lnTo>
                  <a:lnTo>
                    <a:pt x="193" y="44"/>
                  </a:lnTo>
                  <a:lnTo>
                    <a:pt x="198" y="47"/>
                  </a:lnTo>
                  <a:lnTo>
                    <a:pt x="208" y="49"/>
                  </a:lnTo>
                  <a:lnTo>
                    <a:pt x="210" y="51"/>
                  </a:lnTo>
                  <a:lnTo>
                    <a:pt x="217" y="46"/>
                  </a:lnTo>
                  <a:lnTo>
                    <a:pt x="220" y="44"/>
                  </a:lnTo>
                  <a:lnTo>
                    <a:pt x="218" y="39"/>
                  </a:lnTo>
                  <a:lnTo>
                    <a:pt x="217" y="39"/>
                  </a:lnTo>
                  <a:lnTo>
                    <a:pt x="218" y="39"/>
                  </a:lnTo>
                  <a:lnTo>
                    <a:pt x="217" y="37"/>
                  </a:lnTo>
                  <a:lnTo>
                    <a:pt x="218" y="37"/>
                  </a:lnTo>
                  <a:lnTo>
                    <a:pt x="222" y="41"/>
                  </a:lnTo>
                  <a:lnTo>
                    <a:pt x="230" y="41"/>
                  </a:lnTo>
                  <a:lnTo>
                    <a:pt x="235" y="44"/>
                  </a:lnTo>
                  <a:lnTo>
                    <a:pt x="235" y="39"/>
                  </a:lnTo>
                  <a:lnTo>
                    <a:pt x="239" y="46"/>
                  </a:lnTo>
                  <a:lnTo>
                    <a:pt x="241" y="52"/>
                  </a:lnTo>
                  <a:lnTo>
                    <a:pt x="241" y="54"/>
                  </a:lnTo>
                  <a:lnTo>
                    <a:pt x="244" y="58"/>
                  </a:lnTo>
                  <a:lnTo>
                    <a:pt x="249" y="63"/>
                  </a:lnTo>
                  <a:lnTo>
                    <a:pt x="252" y="66"/>
                  </a:lnTo>
                  <a:lnTo>
                    <a:pt x="259" y="68"/>
                  </a:lnTo>
                  <a:lnTo>
                    <a:pt x="259" y="75"/>
                  </a:lnTo>
                  <a:lnTo>
                    <a:pt x="259" y="81"/>
                  </a:lnTo>
                  <a:lnTo>
                    <a:pt x="261" y="88"/>
                  </a:lnTo>
                  <a:lnTo>
                    <a:pt x="261" y="93"/>
                  </a:lnTo>
                  <a:lnTo>
                    <a:pt x="266" y="102"/>
                  </a:lnTo>
                  <a:lnTo>
                    <a:pt x="270" y="104"/>
                  </a:lnTo>
                  <a:lnTo>
                    <a:pt x="273" y="100"/>
                  </a:lnTo>
                  <a:lnTo>
                    <a:pt x="275" y="102"/>
                  </a:lnTo>
                  <a:lnTo>
                    <a:pt x="276" y="107"/>
                  </a:lnTo>
                  <a:lnTo>
                    <a:pt x="283" y="109"/>
                  </a:lnTo>
                  <a:lnTo>
                    <a:pt x="290" y="105"/>
                  </a:lnTo>
                  <a:lnTo>
                    <a:pt x="292" y="102"/>
                  </a:lnTo>
                  <a:lnTo>
                    <a:pt x="288" y="102"/>
                  </a:lnTo>
                  <a:lnTo>
                    <a:pt x="292" y="100"/>
                  </a:lnTo>
                  <a:lnTo>
                    <a:pt x="290" y="100"/>
                  </a:lnTo>
                  <a:lnTo>
                    <a:pt x="295" y="100"/>
                  </a:lnTo>
                  <a:lnTo>
                    <a:pt x="293" y="104"/>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4" name="Freeform 77"/>
            <p:cNvSpPr>
              <a:spLocks noEditPoints="1"/>
            </p:cNvSpPr>
            <p:nvPr/>
          </p:nvSpPr>
          <p:spPr bwMode="gray">
            <a:xfrm>
              <a:off x="3084274" y="4426163"/>
              <a:ext cx="366660" cy="264507"/>
            </a:xfrm>
            <a:custGeom>
              <a:avLst/>
              <a:gdLst>
                <a:gd name="T0" fmla="*/ 49 w 201"/>
                <a:gd name="T1" fmla="*/ 143 h 145"/>
                <a:gd name="T2" fmla="*/ 85 w 201"/>
                <a:gd name="T3" fmla="*/ 138 h 145"/>
                <a:gd name="T4" fmla="*/ 17 w 201"/>
                <a:gd name="T5" fmla="*/ 111 h 145"/>
                <a:gd name="T6" fmla="*/ 17 w 201"/>
                <a:gd name="T7" fmla="*/ 112 h 145"/>
                <a:gd name="T8" fmla="*/ 17 w 201"/>
                <a:gd name="T9" fmla="*/ 90 h 145"/>
                <a:gd name="T10" fmla="*/ 14 w 201"/>
                <a:gd name="T11" fmla="*/ 99 h 145"/>
                <a:gd name="T12" fmla="*/ 10 w 201"/>
                <a:gd name="T13" fmla="*/ 97 h 145"/>
                <a:gd name="T14" fmla="*/ 7 w 201"/>
                <a:gd name="T15" fmla="*/ 92 h 145"/>
                <a:gd name="T16" fmla="*/ 0 w 201"/>
                <a:gd name="T17" fmla="*/ 97 h 145"/>
                <a:gd name="T18" fmla="*/ 14 w 201"/>
                <a:gd name="T19" fmla="*/ 88 h 145"/>
                <a:gd name="T20" fmla="*/ 90 w 201"/>
                <a:gd name="T21" fmla="*/ 17 h 145"/>
                <a:gd name="T22" fmla="*/ 89 w 201"/>
                <a:gd name="T23" fmla="*/ 18 h 145"/>
                <a:gd name="T24" fmla="*/ 90 w 201"/>
                <a:gd name="T25" fmla="*/ 17 h 145"/>
                <a:gd name="T26" fmla="*/ 126 w 201"/>
                <a:gd name="T27" fmla="*/ 17 h 145"/>
                <a:gd name="T28" fmla="*/ 195 w 201"/>
                <a:gd name="T29" fmla="*/ 34 h 145"/>
                <a:gd name="T30" fmla="*/ 189 w 201"/>
                <a:gd name="T31" fmla="*/ 44 h 145"/>
                <a:gd name="T32" fmla="*/ 196 w 201"/>
                <a:gd name="T33" fmla="*/ 49 h 145"/>
                <a:gd name="T34" fmla="*/ 198 w 201"/>
                <a:gd name="T35" fmla="*/ 66 h 145"/>
                <a:gd name="T36" fmla="*/ 179 w 201"/>
                <a:gd name="T37" fmla="*/ 66 h 145"/>
                <a:gd name="T38" fmla="*/ 171 w 201"/>
                <a:gd name="T39" fmla="*/ 61 h 145"/>
                <a:gd name="T40" fmla="*/ 167 w 201"/>
                <a:gd name="T41" fmla="*/ 64 h 145"/>
                <a:gd name="T42" fmla="*/ 164 w 201"/>
                <a:gd name="T43" fmla="*/ 59 h 145"/>
                <a:gd name="T44" fmla="*/ 160 w 201"/>
                <a:gd name="T45" fmla="*/ 76 h 145"/>
                <a:gd name="T46" fmla="*/ 155 w 201"/>
                <a:gd name="T47" fmla="*/ 85 h 145"/>
                <a:gd name="T48" fmla="*/ 159 w 201"/>
                <a:gd name="T49" fmla="*/ 104 h 145"/>
                <a:gd name="T50" fmla="*/ 166 w 201"/>
                <a:gd name="T51" fmla="*/ 117 h 145"/>
                <a:gd name="T52" fmla="*/ 154 w 201"/>
                <a:gd name="T53" fmla="*/ 131 h 145"/>
                <a:gd name="T54" fmla="*/ 143 w 201"/>
                <a:gd name="T55" fmla="*/ 141 h 145"/>
                <a:gd name="T56" fmla="*/ 136 w 201"/>
                <a:gd name="T57" fmla="*/ 134 h 145"/>
                <a:gd name="T58" fmla="*/ 119 w 201"/>
                <a:gd name="T59" fmla="*/ 128 h 145"/>
                <a:gd name="T60" fmla="*/ 97 w 201"/>
                <a:gd name="T61" fmla="*/ 121 h 145"/>
                <a:gd name="T62" fmla="*/ 94 w 201"/>
                <a:gd name="T63" fmla="*/ 124 h 145"/>
                <a:gd name="T64" fmla="*/ 80 w 201"/>
                <a:gd name="T65" fmla="*/ 124 h 145"/>
                <a:gd name="T66" fmla="*/ 66 w 201"/>
                <a:gd name="T67" fmla="*/ 124 h 145"/>
                <a:gd name="T68" fmla="*/ 51 w 201"/>
                <a:gd name="T69" fmla="*/ 128 h 145"/>
                <a:gd name="T70" fmla="*/ 37 w 201"/>
                <a:gd name="T71" fmla="*/ 124 h 145"/>
                <a:gd name="T72" fmla="*/ 19 w 201"/>
                <a:gd name="T73" fmla="*/ 124 h 145"/>
                <a:gd name="T74" fmla="*/ 15 w 201"/>
                <a:gd name="T75" fmla="*/ 123 h 145"/>
                <a:gd name="T76" fmla="*/ 12 w 201"/>
                <a:gd name="T77" fmla="*/ 112 h 145"/>
                <a:gd name="T78" fmla="*/ 27 w 201"/>
                <a:gd name="T79" fmla="*/ 105 h 145"/>
                <a:gd name="T80" fmla="*/ 36 w 201"/>
                <a:gd name="T81" fmla="*/ 109 h 145"/>
                <a:gd name="T82" fmla="*/ 39 w 201"/>
                <a:gd name="T83" fmla="*/ 116 h 145"/>
                <a:gd name="T84" fmla="*/ 48 w 201"/>
                <a:gd name="T85" fmla="*/ 117 h 145"/>
                <a:gd name="T86" fmla="*/ 56 w 201"/>
                <a:gd name="T87" fmla="*/ 102 h 145"/>
                <a:gd name="T88" fmla="*/ 63 w 201"/>
                <a:gd name="T89" fmla="*/ 93 h 145"/>
                <a:gd name="T90" fmla="*/ 68 w 201"/>
                <a:gd name="T91" fmla="*/ 80 h 145"/>
                <a:gd name="T92" fmla="*/ 75 w 201"/>
                <a:gd name="T93" fmla="*/ 85 h 145"/>
                <a:gd name="T94" fmla="*/ 85 w 201"/>
                <a:gd name="T95" fmla="*/ 75 h 145"/>
                <a:gd name="T96" fmla="*/ 87 w 201"/>
                <a:gd name="T97" fmla="*/ 58 h 145"/>
                <a:gd name="T98" fmla="*/ 90 w 201"/>
                <a:gd name="T99" fmla="*/ 41 h 145"/>
                <a:gd name="T100" fmla="*/ 97 w 201"/>
                <a:gd name="T101" fmla="*/ 29 h 145"/>
                <a:gd name="T102" fmla="*/ 107 w 201"/>
                <a:gd name="T103" fmla="*/ 17 h 145"/>
                <a:gd name="T104" fmla="*/ 116 w 201"/>
                <a:gd name="T105" fmla="*/ 8 h 145"/>
                <a:gd name="T106" fmla="*/ 119 w 201"/>
                <a:gd name="T107" fmla="*/ 18 h 145"/>
                <a:gd name="T108" fmla="*/ 121 w 201"/>
                <a:gd name="T109" fmla="*/ 23 h 145"/>
                <a:gd name="T110" fmla="*/ 136 w 201"/>
                <a:gd name="T111" fmla="*/ 18 h 145"/>
                <a:gd name="T112" fmla="*/ 150 w 201"/>
                <a:gd name="T113" fmla="*/ 18 h 145"/>
                <a:gd name="T114" fmla="*/ 166 w 201"/>
                <a:gd name="T115" fmla="*/ 29 h 145"/>
                <a:gd name="T116" fmla="*/ 177 w 201"/>
                <a:gd name="T117" fmla="*/ 27 h 145"/>
                <a:gd name="T118" fmla="*/ 188 w 201"/>
                <a:gd name="T119" fmla="*/ 23 h 145"/>
                <a:gd name="T120" fmla="*/ 142 w 201"/>
                <a:gd name="T12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1" h="145">
                  <a:moveTo>
                    <a:pt x="55" y="143"/>
                  </a:moveTo>
                  <a:lnTo>
                    <a:pt x="55" y="145"/>
                  </a:lnTo>
                  <a:lnTo>
                    <a:pt x="49" y="143"/>
                  </a:lnTo>
                  <a:lnTo>
                    <a:pt x="55" y="143"/>
                  </a:lnTo>
                  <a:close/>
                  <a:moveTo>
                    <a:pt x="85" y="136"/>
                  </a:moveTo>
                  <a:lnTo>
                    <a:pt x="85" y="138"/>
                  </a:lnTo>
                  <a:lnTo>
                    <a:pt x="78" y="140"/>
                  </a:lnTo>
                  <a:lnTo>
                    <a:pt x="85" y="136"/>
                  </a:lnTo>
                  <a:close/>
                  <a:moveTo>
                    <a:pt x="17" y="111"/>
                  </a:moveTo>
                  <a:lnTo>
                    <a:pt x="20" y="111"/>
                  </a:lnTo>
                  <a:lnTo>
                    <a:pt x="20" y="112"/>
                  </a:lnTo>
                  <a:lnTo>
                    <a:pt x="17" y="112"/>
                  </a:lnTo>
                  <a:lnTo>
                    <a:pt x="17" y="111"/>
                  </a:lnTo>
                  <a:close/>
                  <a:moveTo>
                    <a:pt x="19" y="85"/>
                  </a:moveTo>
                  <a:lnTo>
                    <a:pt x="17" y="90"/>
                  </a:lnTo>
                  <a:lnTo>
                    <a:pt x="19" y="95"/>
                  </a:lnTo>
                  <a:lnTo>
                    <a:pt x="17" y="99"/>
                  </a:lnTo>
                  <a:lnTo>
                    <a:pt x="14" y="99"/>
                  </a:lnTo>
                  <a:lnTo>
                    <a:pt x="10" y="104"/>
                  </a:lnTo>
                  <a:lnTo>
                    <a:pt x="8" y="102"/>
                  </a:lnTo>
                  <a:lnTo>
                    <a:pt x="10" y="97"/>
                  </a:lnTo>
                  <a:lnTo>
                    <a:pt x="8" y="93"/>
                  </a:lnTo>
                  <a:lnTo>
                    <a:pt x="8" y="92"/>
                  </a:lnTo>
                  <a:lnTo>
                    <a:pt x="7" y="92"/>
                  </a:lnTo>
                  <a:lnTo>
                    <a:pt x="3" y="97"/>
                  </a:lnTo>
                  <a:lnTo>
                    <a:pt x="0" y="95"/>
                  </a:lnTo>
                  <a:lnTo>
                    <a:pt x="0" y="97"/>
                  </a:lnTo>
                  <a:lnTo>
                    <a:pt x="2" y="93"/>
                  </a:lnTo>
                  <a:lnTo>
                    <a:pt x="10" y="87"/>
                  </a:lnTo>
                  <a:lnTo>
                    <a:pt x="14" y="88"/>
                  </a:lnTo>
                  <a:lnTo>
                    <a:pt x="14" y="87"/>
                  </a:lnTo>
                  <a:lnTo>
                    <a:pt x="19" y="85"/>
                  </a:lnTo>
                  <a:close/>
                  <a:moveTo>
                    <a:pt x="90" y="17"/>
                  </a:moveTo>
                  <a:lnTo>
                    <a:pt x="92" y="18"/>
                  </a:lnTo>
                  <a:lnTo>
                    <a:pt x="89" y="20"/>
                  </a:lnTo>
                  <a:lnTo>
                    <a:pt x="89" y="18"/>
                  </a:lnTo>
                  <a:lnTo>
                    <a:pt x="87" y="17"/>
                  </a:lnTo>
                  <a:lnTo>
                    <a:pt x="90" y="15"/>
                  </a:lnTo>
                  <a:lnTo>
                    <a:pt x="90" y="17"/>
                  </a:lnTo>
                  <a:close/>
                  <a:moveTo>
                    <a:pt x="126" y="13"/>
                  </a:moveTo>
                  <a:lnTo>
                    <a:pt x="128" y="15"/>
                  </a:lnTo>
                  <a:lnTo>
                    <a:pt x="126" y="17"/>
                  </a:lnTo>
                  <a:lnTo>
                    <a:pt x="125" y="13"/>
                  </a:lnTo>
                  <a:lnTo>
                    <a:pt x="126" y="13"/>
                  </a:lnTo>
                  <a:close/>
                  <a:moveTo>
                    <a:pt x="195" y="34"/>
                  </a:moveTo>
                  <a:lnTo>
                    <a:pt x="189" y="34"/>
                  </a:lnTo>
                  <a:lnTo>
                    <a:pt x="191" y="35"/>
                  </a:lnTo>
                  <a:lnTo>
                    <a:pt x="189" y="44"/>
                  </a:lnTo>
                  <a:lnTo>
                    <a:pt x="195" y="46"/>
                  </a:lnTo>
                  <a:lnTo>
                    <a:pt x="193" y="49"/>
                  </a:lnTo>
                  <a:lnTo>
                    <a:pt x="196" y="49"/>
                  </a:lnTo>
                  <a:lnTo>
                    <a:pt x="198" y="56"/>
                  </a:lnTo>
                  <a:lnTo>
                    <a:pt x="201" y="61"/>
                  </a:lnTo>
                  <a:lnTo>
                    <a:pt x="198" y="66"/>
                  </a:lnTo>
                  <a:lnTo>
                    <a:pt x="193" y="66"/>
                  </a:lnTo>
                  <a:lnTo>
                    <a:pt x="188" y="66"/>
                  </a:lnTo>
                  <a:lnTo>
                    <a:pt x="179" y="66"/>
                  </a:lnTo>
                  <a:lnTo>
                    <a:pt x="177" y="66"/>
                  </a:lnTo>
                  <a:lnTo>
                    <a:pt x="176" y="63"/>
                  </a:lnTo>
                  <a:lnTo>
                    <a:pt x="171" y="61"/>
                  </a:lnTo>
                  <a:lnTo>
                    <a:pt x="169" y="63"/>
                  </a:lnTo>
                  <a:lnTo>
                    <a:pt x="171" y="64"/>
                  </a:lnTo>
                  <a:lnTo>
                    <a:pt x="167" y="64"/>
                  </a:lnTo>
                  <a:lnTo>
                    <a:pt x="164" y="64"/>
                  </a:lnTo>
                  <a:lnTo>
                    <a:pt x="166" y="61"/>
                  </a:lnTo>
                  <a:lnTo>
                    <a:pt x="164" y="59"/>
                  </a:lnTo>
                  <a:lnTo>
                    <a:pt x="159" y="64"/>
                  </a:lnTo>
                  <a:lnTo>
                    <a:pt x="162" y="73"/>
                  </a:lnTo>
                  <a:lnTo>
                    <a:pt x="160" y="76"/>
                  </a:lnTo>
                  <a:lnTo>
                    <a:pt x="155" y="76"/>
                  </a:lnTo>
                  <a:lnTo>
                    <a:pt x="157" y="78"/>
                  </a:lnTo>
                  <a:lnTo>
                    <a:pt x="155" y="85"/>
                  </a:lnTo>
                  <a:lnTo>
                    <a:pt x="159" y="92"/>
                  </a:lnTo>
                  <a:lnTo>
                    <a:pt x="159" y="97"/>
                  </a:lnTo>
                  <a:lnTo>
                    <a:pt x="159" y="104"/>
                  </a:lnTo>
                  <a:lnTo>
                    <a:pt x="162" y="112"/>
                  </a:lnTo>
                  <a:lnTo>
                    <a:pt x="171" y="114"/>
                  </a:lnTo>
                  <a:lnTo>
                    <a:pt x="166" y="117"/>
                  </a:lnTo>
                  <a:lnTo>
                    <a:pt x="159" y="121"/>
                  </a:lnTo>
                  <a:lnTo>
                    <a:pt x="159" y="126"/>
                  </a:lnTo>
                  <a:lnTo>
                    <a:pt x="154" y="131"/>
                  </a:lnTo>
                  <a:lnTo>
                    <a:pt x="155" y="140"/>
                  </a:lnTo>
                  <a:lnTo>
                    <a:pt x="152" y="141"/>
                  </a:lnTo>
                  <a:lnTo>
                    <a:pt x="143" y="141"/>
                  </a:lnTo>
                  <a:lnTo>
                    <a:pt x="143" y="140"/>
                  </a:lnTo>
                  <a:lnTo>
                    <a:pt x="136" y="138"/>
                  </a:lnTo>
                  <a:lnTo>
                    <a:pt x="136" y="134"/>
                  </a:lnTo>
                  <a:lnTo>
                    <a:pt x="135" y="134"/>
                  </a:lnTo>
                  <a:lnTo>
                    <a:pt x="126" y="131"/>
                  </a:lnTo>
                  <a:lnTo>
                    <a:pt x="119" y="128"/>
                  </a:lnTo>
                  <a:lnTo>
                    <a:pt x="114" y="123"/>
                  </a:lnTo>
                  <a:lnTo>
                    <a:pt x="106" y="119"/>
                  </a:lnTo>
                  <a:lnTo>
                    <a:pt x="97" y="121"/>
                  </a:lnTo>
                  <a:lnTo>
                    <a:pt x="94" y="123"/>
                  </a:lnTo>
                  <a:lnTo>
                    <a:pt x="96" y="124"/>
                  </a:lnTo>
                  <a:lnTo>
                    <a:pt x="94" y="124"/>
                  </a:lnTo>
                  <a:lnTo>
                    <a:pt x="92" y="123"/>
                  </a:lnTo>
                  <a:lnTo>
                    <a:pt x="85" y="123"/>
                  </a:lnTo>
                  <a:lnTo>
                    <a:pt x="80" y="124"/>
                  </a:lnTo>
                  <a:lnTo>
                    <a:pt x="75" y="123"/>
                  </a:lnTo>
                  <a:lnTo>
                    <a:pt x="68" y="123"/>
                  </a:lnTo>
                  <a:lnTo>
                    <a:pt x="66" y="124"/>
                  </a:lnTo>
                  <a:lnTo>
                    <a:pt x="61" y="124"/>
                  </a:lnTo>
                  <a:lnTo>
                    <a:pt x="55" y="126"/>
                  </a:lnTo>
                  <a:lnTo>
                    <a:pt x="51" y="128"/>
                  </a:lnTo>
                  <a:lnTo>
                    <a:pt x="44" y="126"/>
                  </a:lnTo>
                  <a:lnTo>
                    <a:pt x="41" y="123"/>
                  </a:lnTo>
                  <a:lnTo>
                    <a:pt x="37" y="124"/>
                  </a:lnTo>
                  <a:lnTo>
                    <a:pt x="36" y="121"/>
                  </a:lnTo>
                  <a:lnTo>
                    <a:pt x="24" y="119"/>
                  </a:lnTo>
                  <a:lnTo>
                    <a:pt x="19" y="124"/>
                  </a:lnTo>
                  <a:lnTo>
                    <a:pt x="15" y="123"/>
                  </a:lnTo>
                  <a:lnTo>
                    <a:pt x="17" y="123"/>
                  </a:lnTo>
                  <a:lnTo>
                    <a:pt x="15" y="123"/>
                  </a:lnTo>
                  <a:lnTo>
                    <a:pt x="17" y="121"/>
                  </a:lnTo>
                  <a:lnTo>
                    <a:pt x="15" y="117"/>
                  </a:lnTo>
                  <a:lnTo>
                    <a:pt x="12" y="112"/>
                  </a:lnTo>
                  <a:lnTo>
                    <a:pt x="19" y="114"/>
                  </a:lnTo>
                  <a:lnTo>
                    <a:pt x="20" y="111"/>
                  </a:lnTo>
                  <a:lnTo>
                    <a:pt x="27" y="105"/>
                  </a:lnTo>
                  <a:lnTo>
                    <a:pt x="27" y="102"/>
                  </a:lnTo>
                  <a:lnTo>
                    <a:pt x="32" y="100"/>
                  </a:lnTo>
                  <a:lnTo>
                    <a:pt x="36" y="109"/>
                  </a:lnTo>
                  <a:lnTo>
                    <a:pt x="34" y="111"/>
                  </a:lnTo>
                  <a:lnTo>
                    <a:pt x="37" y="116"/>
                  </a:lnTo>
                  <a:lnTo>
                    <a:pt x="39" y="116"/>
                  </a:lnTo>
                  <a:lnTo>
                    <a:pt x="41" y="121"/>
                  </a:lnTo>
                  <a:lnTo>
                    <a:pt x="44" y="121"/>
                  </a:lnTo>
                  <a:lnTo>
                    <a:pt x="48" y="117"/>
                  </a:lnTo>
                  <a:lnTo>
                    <a:pt x="48" y="111"/>
                  </a:lnTo>
                  <a:lnTo>
                    <a:pt x="56" y="104"/>
                  </a:lnTo>
                  <a:lnTo>
                    <a:pt x="56" y="102"/>
                  </a:lnTo>
                  <a:lnTo>
                    <a:pt x="58" y="100"/>
                  </a:lnTo>
                  <a:lnTo>
                    <a:pt x="61" y="99"/>
                  </a:lnTo>
                  <a:lnTo>
                    <a:pt x="63" y="93"/>
                  </a:lnTo>
                  <a:lnTo>
                    <a:pt x="61" y="90"/>
                  </a:lnTo>
                  <a:lnTo>
                    <a:pt x="65" y="80"/>
                  </a:lnTo>
                  <a:lnTo>
                    <a:pt x="68" y="80"/>
                  </a:lnTo>
                  <a:lnTo>
                    <a:pt x="68" y="83"/>
                  </a:lnTo>
                  <a:lnTo>
                    <a:pt x="73" y="87"/>
                  </a:lnTo>
                  <a:lnTo>
                    <a:pt x="75" y="85"/>
                  </a:lnTo>
                  <a:lnTo>
                    <a:pt x="80" y="85"/>
                  </a:lnTo>
                  <a:lnTo>
                    <a:pt x="84" y="82"/>
                  </a:lnTo>
                  <a:lnTo>
                    <a:pt x="85" y="75"/>
                  </a:lnTo>
                  <a:lnTo>
                    <a:pt x="85" y="66"/>
                  </a:lnTo>
                  <a:lnTo>
                    <a:pt x="89" y="59"/>
                  </a:lnTo>
                  <a:lnTo>
                    <a:pt x="87" y="58"/>
                  </a:lnTo>
                  <a:lnTo>
                    <a:pt x="87" y="51"/>
                  </a:lnTo>
                  <a:lnTo>
                    <a:pt x="90" y="42"/>
                  </a:lnTo>
                  <a:lnTo>
                    <a:pt x="90" y="41"/>
                  </a:lnTo>
                  <a:lnTo>
                    <a:pt x="94" y="35"/>
                  </a:lnTo>
                  <a:lnTo>
                    <a:pt x="94" y="32"/>
                  </a:lnTo>
                  <a:lnTo>
                    <a:pt x="97" y="29"/>
                  </a:lnTo>
                  <a:lnTo>
                    <a:pt x="102" y="23"/>
                  </a:lnTo>
                  <a:lnTo>
                    <a:pt x="106" y="22"/>
                  </a:lnTo>
                  <a:lnTo>
                    <a:pt x="107" y="17"/>
                  </a:lnTo>
                  <a:lnTo>
                    <a:pt x="106" y="13"/>
                  </a:lnTo>
                  <a:lnTo>
                    <a:pt x="113" y="8"/>
                  </a:lnTo>
                  <a:lnTo>
                    <a:pt x="116" y="8"/>
                  </a:lnTo>
                  <a:lnTo>
                    <a:pt x="119" y="12"/>
                  </a:lnTo>
                  <a:lnTo>
                    <a:pt x="121" y="15"/>
                  </a:lnTo>
                  <a:lnTo>
                    <a:pt x="119" y="18"/>
                  </a:lnTo>
                  <a:lnTo>
                    <a:pt x="121" y="20"/>
                  </a:lnTo>
                  <a:lnTo>
                    <a:pt x="119" y="20"/>
                  </a:lnTo>
                  <a:lnTo>
                    <a:pt x="121" y="23"/>
                  </a:lnTo>
                  <a:lnTo>
                    <a:pt x="126" y="25"/>
                  </a:lnTo>
                  <a:lnTo>
                    <a:pt x="135" y="23"/>
                  </a:lnTo>
                  <a:lnTo>
                    <a:pt x="136" y="18"/>
                  </a:lnTo>
                  <a:lnTo>
                    <a:pt x="138" y="17"/>
                  </a:lnTo>
                  <a:lnTo>
                    <a:pt x="147" y="20"/>
                  </a:lnTo>
                  <a:lnTo>
                    <a:pt x="150" y="18"/>
                  </a:lnTo>
                  <a:lnTo>
                    <a:pt x="154" y="20"/>
                  </a:lnTo>
                  <a:lnTo>
                    <a:pt x="157" y="25"/>
                  </a:lnTo>
                  <a:lnTo>
                    <a:pt x="166" y="29"/>
                  </a:lnTo>
                  <a:lnTo>
                    <a:pt x="171" y="27"/>
                  </a:lnTo>
                  <a:lnTo>
                    <a:pt x="171" y="23"/>
                  </a:lnTo>
                  <a:lnTo>
                    <a:pt x="177" y="27"/>
                  </a:lnTo>
                  <a:lnTo>
                    <a:pt x="184" y="22"/>
                  </a:lnTo>
                  <a:lnTo>
                    <a:pt x="186" y="25"/>
                  </a:lnTo>
                  <a:lnTo>
                    <a:pt x="188" y="23"/>
                  </a:lnTo>
                  <a:lnTo>
                    <a:pt x="193" y="27"/>
                  </a:lnTo>
                  <a:lnTo>
                    <a:pt x="195" y="34"/>
                  </a:lnTo>
                  <a:close/>
                  <a:moveTo>
                    <a:pt x="142" y="0"/>
                  </a:moveTo>
                  <a:lnTo>
                    <a:pt x="136" y="0"/>
                  </a:lnTo>
                  <a:lnTo>
                    <a:pt x="142"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5" name="Freeform 78"/>
            <p:cNvSpPr>
              <a:spLocks noEditPoints="1"/>
            </p:cNvSpPr>
            <p:nvPr/>
          </p:nvSpPr>
          <p:spPr bwMode="gray">
            <a:xfrm>
              <a:off x="3387088" y="4422514"/>
              <a:ext cx="105803" cy="124044"/>
            </a:xfrm>
            <a:custGeom>
              <a:avLst/>
              <a:gdLst>
                <a:gd name="T0" fmla="*/ 58 w 58"/>
                <a:gd name="T1" fmla="*/ 36 h 68"/>
                <a:gd name="T2" fmla="*/ 58 w 58"/>
                <a:gd name="T3" fmla="*/ 43 h 68"/>
                <a:gd name="T4" fmla="*/ 58 w 58"/>
                <a:gd name="T5" fmla="*/ 48 h 68"/>
                <a:gd name="T6" fmla="*/ 54 w 58"/>
                <a:gd name="T7" fmla="*/ 55 h 68"/>
                <a:gd name="T8" fmla="*/ 49 w 58"/>
                <a:gd name="T9" fmla="*/ 56 h 68"/>
                <a:gd name="T10" fmla="*/ 51 w 58"/>
                <a:gd name="T11" fmla="*/ 61 h 68"/>
                <a:gd name="T12" fmla="*/ 51 w 58"/>
                <a:gd name="T13" fmla="*/ 68 h 68"/>
                <a:gd name="T14" fmla="*/ 47 w 58"/>
                <a:gd name="T15" fmla="*/ 68 h 68"/>
                <a:gd name="T16" fmla="*/ 42 w 58"/>
                <a:gd name="T17" fmla="*/ 65 h 68"/>
                <a:gd name="T18" fmla="*/ 40 w 58"/>
                <a:gd name="T19" fmla="*/ 66 h 68"/>
                <a:gd name="T20" fmla="*/ 37 w 58"/>
                <a:gd name="T21" fmla="*/ 68 h 68"/>
                <a:gd name="T22" fmla="*/ 39 w 58"/>
                <a:gd name="T23" fmla="*/ 63 h 68"/>
                <a:gd name="T24" fmla="*/ 35 w 58"/>
                <a:gd name="T25" fmla="*/ 63 h 68"/>
                <a:gd name="T26" fmla="*/ 32 w 58"/>
                <a:gd name="T27" fmla="*/ 58 h 68"/>
                <a:gd name="T28" fmla="*/ 30 w 58"/>
                <a:gd name="T29" fmla="*/ 51 h 68"/>
                <a:gd name="T30" fmla="*/ 27 w 58"/>
                <a:gd name="T31" fmla="*/ 51 h 68"/>
                <a:gd name="T32" fmla="*/ 29 w 58"/>
                <a:gd name="T33" fmla="*/ 48 h 68"/>
                <a:gd name="T34" fmla="*/ 23 w 58"/>
                <a:gd name="T35" fmla="*/ 46 h 68"/>
                <a:gd name="T36" fmla="*/ 25 w 58"/>
                <a:gd name="T37" fmla="*/ 37 h 68"/>
                <a:gd name="T38" fmla="*/ 23 w 58"/>
                <a:gd name="T39" fmla="*/ 36 h 68"/>
                <a:gd name="T40" fmla="*/ 29 w 58"/>
                <a:gd name="T41" fmla="*/ 36 h 68"/>
                <a:gd name="T42" fmla="*/ 35 w 58"/>
                <a:gd name="T43" fmla="*/ 37 h 68"/>
                <a:gd name="T44" fmla="*/ 37 w 58"/>
                <a:gd name="T45" fmla="*/ 36 h 68"/>
                <a:gd name="T46" fmla="*/ 39 w 58"/>
                <a:gd name="T47" fmla="*/ 39 h 68"/>
                <a:gd name="T48" fmla="*/ 46 w 58"/>
                <a:gd name="T49" fmla="*/ 37 h 68"/>
                <a:gd name="T50" fmla="*/ 47 w 58"/>
                <a:gd name="T51" fmla="*/ 36 h 68"/>
                <a:gd name="T52" fmla="*/ 47 w 58"/>
                <a:gd name="T53" fmla="*/ 37 h 68"/>
                <a:gd name="T54" fmla="*/ 47 w 58"/>
                <a:gd name="T55" fmla="*/ 36 h 68"/>
                <a:gd name="T56" fmla="*/ 49 w 58"/>
                <a:gd name="T57" fmla="*/ 37 h 68"/>
                <a:gd name="T58" fmla="*/ 56 w 58"/>
                <a:gd name="T59" fmla="*/ 36 h 68"/>
                <a:gd name="T60" fmla="*/ 58 w 58"/>
                <a:gd name="T61" fmla="*/ 36 h 68"/>
                <a:gd name="T62" fmla="*/ 15 w 58"/>
                <a:gd name="T63" fmla="*/ 7 h 68"/>
                <a:gd name="T64" fmla="*/ 17 w 58"/>
                <a:gd name="T65" fmla="*/ 7 h 68"/>
                <a:gd name="T66" fmla="*/ 17 w 58"/>
                <a:gd name="T67" fmla="*/ 8 h 68"/>
                <a:gd name="T68" fmla="*/ 15 w 58"/>
                <a:gd name="T69" fmla="*/ 8 h 68"/>
                <a:gd name="T70" fmla="*/ 15 w 58"/>
                <a:gd name="T71" fmla="*/ 7 h 68"/>
                <a:gd name="T72" fmla="*/ 0 w 58"/>
                <a:gd name="T73" fmla="*/ 0 h 68"/>
                <a:gd name="T74" fmla="*/ 3 w 58"/>
                <a:gd name="T75" fmla="*/ 0 h 68"/>
                <a:gd name="T76" fmla="*/ 3 w 58"/>
                <a:gd name="T77" fmla="*/ 2 h 68"/>
                <a:gd name="T78" fmla="*/ 0 w 58"/>
                <a:gd name="T79" fmla="*/ 2 h 68"/>
                <a:gd name="T80" fmla="*/ 0 w 58"/>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68">
                  <a:moveTo>
                    <a:pt x="58" y="36"/>
                  </a:moveTo>
                  <a:lnTo>
                    <a:pt x="58" y="43"/>
                  </a:lnTo>
                  <a:lnTo>
                    <a:pt x="58" y="48"/>
                  </a:lnTo>
                  <a:lnTo>
                    <a:pt x="54" y="55"/>
                  </a:lnTo>
                  <a:lnTo>
                    <a:pt x="49" y="56"/>
                  </a:lnTo>
                  <a:lnTo>
                    <a:pt x="51" y="61"/>
                  </a:lnTo>
                  <a:lnTo>
                    <a:pt x="51" y="68"/>
                  </a:lnTo>
                  <a:lnTo>
                    <a:pt x="47" y="68"/>
                  </a:lnTo>
                  <a:lnTo>
                    <a:pt x="42" y="65"/>
                  </a:lnTo>
                  <a:lnTo>
                    <a:pt x="40" y="66"/>
                  </a:lnTo>
                  <a:lnTo>
                    <a:pt x="37" y="68"/>
                  </a:lnTo>
                  <a:lnTo>
                    <a:pt x="39" y="63"/>
                  </a:lnTo>
                  <a:lnTo>
                    <a:pt x="35" y="63"/>
                  </a:lnTo>
                  <a:lnTo>
                    <a:pt x="32" y="58"/>
                  </a:lnTo>
                  <a:lnTo>
                    <a:pt x="30" y="51"/>
                  </a:lnTo>
                  <a:lnTo>
                    <a:pt x="27" y="51"/>
                  </a:lnTo>
                  <a:lnTo>
                    <a:pt x="29" y="48"/>
                  </a:lnTo>
                  <a:lnTo>
                    <a:pt x="23" y="46"/>
                  </a:lnTo>
                  <a:lnTo>
                    <a:pt x="25" y="37"/>
                  </a:lnTo>
                  <a:lnTo>
                    <a:pt x="23" y="36"/>
                  </a:lnTo>
                  <a:lnTo>
                    <a:pt x="29" y="36"/>
                  </a:lnTo>
                  <a:lnTo>
                    <a:pt x="35" y="37"/>
                  </a:lnTo>
                  <a:lnTo>
                    <a:pt x="37" y="36"/>
                  </a:lnTo>
                  <a:lnTo>
                    <a:pt x="39" y="39"/>
                  </a:lnTo>
                  <a:lnTo>
                    <a:pt x="46" y="37"/>
                  </a:lnTo>
                  <a:lnTo>
                    <a:pt x="47" y="36"/>
                  </a:lnTo>
                  <a:lnTo>
                    <a:pt x="47" y="37"/>
                  </a:lnTo>
                  <a:lnTo>
                    <a:pt x="47" y="36"/>
                  </a:lnTo>
                  <a:lnTo>
                    <a:pt x="49" y="37"/>
                  </a:lnTo>
                  <a:lnTo>
                    <a:pt x="56" y="36"/>
                  </a:lnTo>
                  <a:lnTo>
                    <a:pt x="58" y="36"/>
                  </a:lnTo>
                  <a:close/>
                  <a:moveTo>
                    <a:pt x="15" y="7"/>
                  </a:moveTo>
                  <a:lnTo>
                    <a:pt x="17" y="7"/>
                  </a:lnTo>
                  <a:lnTo>
                    <a:pt x="17" y="8"/>
                  </a:lnTo>
                  <a:lnTo>
                    <a:pt x="15" y="8"/>
                  </a:lnTo>
                  <a:lnTo>
                    <a:pt x="15" y="7"/>
                  </a:lnTo>
                  <a:close/>
                  <a:moveTo>
                    <a:pt x="0" y="0"/>
                  </a:moveTo>
                  <a:lnTo>
                    <a:pt x="3" y="0"/>
                  </a:lnTo>
                  <a:lnTo>
                    <a:pt x="3" y="2"/>
                  </a:lnTo>
                  <a:lnTo>
                    <a:pt x="0" y="2"/>
                  </a:lnTo>
                  <a:lnTo>
                    <a:pt x="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6" name="Freeform 79"/>
            <p:cNvSpPr>
              <a:spLocks noEditPoints="1"/>
            </p:cNvSpPr>
            <p:nvPr/>
          </p:nvSpPr>
          <p:spPr bwMode="gray">
            <a:xfrm>
              <a:off x="1663235" y="2957696"/>
              <a:ext cx="720552" cy="959520"/>
            </a:xfrm>
            <a:custGeom>
              <a:avLst/>
              <a:gdLst>
                <a:gd name="T0" fmla="*/ 236 w 395"/>
                <a:gd name="T1" fmla="*/ 499 h 526"/>
                <a:gd name="T2" fmla="*/ 226 w 395"/>
                <a:gd name="T3" fmla="*/ 494 h 526"/>
                <a:gd name="T4" fmla="*/ 188 w 395"/>
                <a:gd name="T5" fmla="*/ 475 h 526"/>
                <a:gd name="T6" fmla="*/ 210 w 395"/>
                <a:gd name="T7" fmla="*/ 456 h 526"/>
                <a:gd name="T8" fmla="*/ 224 w 395"/>
                <a:gd name="T9" fmla="*/ 482 h 526"/>
                <a:gd name="T10" fmla="*/ 217 w 395"/>
                <a:gd name="T11" fmla="*/ 492 h 526"/>
                <a:gd name="T12" fmla="*/ 207 w 395"/>
                <a:gd name="T13" fmla="*/ 494 h 526"/>
                <a:gd name="T14" fmla="*/ 200 w 395"/>
                <a:gd name="T15" fmla="*/ 477 h 526"/>
                <a:gd name="T16" fmla="*/ 190 w 395"/>
                <a:gd name="T17" fmla="*/ 444 h 526"/>
                <a:gd name="T18" fmla="*/ 195 w 395"/>
                <a:gd name="T19" fmla="*/ 441 h 526"/>
                <a:gd name="T20" fmla="*/ 168 w 395"/>
                <a:gd name="T21" fmla="*/ 442 h 526"/>
                <a:gd name="T22" fmla="*/ 168 w 395"/>
                <a:gd name="T23" fmla="*/ 422 h 526"/>
                <a:gd name="T24" fmla="*/ 134 w 395"/>
                <a:gd name="T25" fmla="*/ 393 h 526"/>
                <a:gd name="T26" fmla="*/ 135 w 395"/>
                <a:gd name="T27" fmla="*/ 369 h 526"/>
                <a:gd name="T28" fmla="*/ 149 w 395"/>
                <a:gd name="T29" fmla="*/ 391 h 526"/>
                <a:gd name="T30" fmla="*/ 120 w 395"/>
                <a:gd name="T31" fmla="*/ 379 h 526"/>
                <a:gd name="T32" fmla="*/ 122 w 395"/>
                <a:gd name="T33" fmla="*/ 350 h 526"/>
                <a:gd name="T34" fmla="*/ 86 w 395"/>
                <a:gd name="T35" fmla="*/ 340 h 526"/>
                <a:gd name="T36" fmla="*/ 216 w 395"/>
                <a:gd name="T37" fmla="*/ 251 h 526"/>
                <a:gd name="T38" fmla="*/ 38 w 395"/>
                <a:gd name="T39" fmla="*/ 222 h 526"/>
                <a:gd name="T40" fmla="*/ 55 w 395"/>
                <a:gd name="T41" fmla="*/ 256 h 526"/>
                <a:gd name="T42" fmla="*/ 64 w 395"/>
                <a:gd name="T43" fmla="*/ 275 h 526"/>
                <a:gd name="T44" fmla="*/ 72 w 395"/>
                <a:gd name="T45" fmla="*/ 294 h 526"/>
                <a:gd name="T46" fmla="*/ 82 w 395"/>
                <a:gd name="T47" fmla="*/ 311 h 526"/>
                <a:gd name="T48" fmla="*/ 79 w 395"/>
                <a:gd name="T49" fmla="*/ 314 h 526"/>
                <a:gd name="T50" fmla="*/ 77 w 395"/>
                <a:gd name="T51" fmla="*/ 318 h 526"/>
                <a:gd name="T52" fmla="*/ 40 w 395"/>
                <a:gd name="T53" fmla="*/ 313 h 526"/>
                <a:gd name="T54" fmla="*/ 7 w 395"/>
                <a:gd name="T55" fmla="*/ 267 h 526"/>
                <a:gd name="T56" fmla="*/ 24 w 395"/>
                <a:gd name="T57" fmla="*/ 224 h 526"/>
                <a:gd name="T58" fmla="*/ 193 w 395"/>
                <a:gd name="T59" fmla="*/ 19 h 526"/>
                <a:gd name="T60" fmla="*/ 200 w 395"/>
                <a:gd name="T61" fmla="*/ 58 h 526"/>
                <a:gd name="T62" fmla="*/ 233 w 395"/>
                <a:gd name="T63" fmla="*/ 72 h 526"/>
                <a:gd name="T64" fmla="*/ 263 w 395"/>
                <a:gd name="T65" fmla="*/ 94 h 526"/>
                <a:gd name="T66" fmla="*/ 258 w 395"/>
                <a:gd name="T67" fmla="*/ 125 h 526"/>
                <a:gd name="T68" fmla="*/ 294 w 395"/>
                <a:gd name="T69" fmla="*/ 152 h 526"/>
                <a:gd name="T70" fmla="*/ 328 w 395"/>
                <a:gd name="T71" fmla="*/ 186 h 526"/>
                <a:gd name="T72" fmla="*/ 362 w 395"/>
                <a:gd name="T73" fmla="*/ 207 h 526"/>
                <a:gd name="T74" fmla="*/ 388 w 395"/>
                <a:gd name="T75" fmla="*/ 234 h 526"/>
                <a:gd name="T76" fmla="*/ 371 w 395"/>
                <a:gd name="T77" fmla="*/ 261 h 526"/>
                <a:gd name="T78" fmla="*/ 349 w 395"/>
                <a:gd name="T79" fmla="*/ 308 h 526"/>
                <a:gd name="T80" fmla="*/ 304 w 395"/>
                <a:gd name="T81" fmla="*/ 311 h 526"/>
                <a:gd name="T82" fmla="*/ 320 w 395"/>
                <a:gd name="T83" fmla="*/ 360 h 526"/>
                <a:gd name="T84" fmla="*/ 296 w 395"/>
                <a:gd name="T85" fmla="*/ 401 h 526"/>
                <a:gd name="T86" fmla="*/ 272 w 395"/>
                <a:gd name="T87" fmla="*/ 345 h 526"/>
                <a:gd name="T88" fmla="*/ 245 w 395"/>
                <a:gd name="T89" fmla="*/ 296 h 526"/>
                <a:gd name="T90" fmla="*/ 238 w 395"/>
                <a:gd name="T91" fmla="*/ 272 h 526"/>
                <a:gd name="T92" fmla="*/ 219 w 395"/>
                <a:gd name="T93" fmla="*/ 255 h 526"/>
                <a:gd name="T94" fmla="*/ 217 w 395"/>
                <a:gd name="T95" fmla="*/ 238 h 526"/>
                <a:gd name="T96" fmla="*/ 205 w 395"/>
                <a:gd name="T97" fmla="*/ 207 h 526"/>
                <a:gd name="T98" fmla="*/ 180 w 395"/>
                <a:gd name="T99" fmla="*/ 176 h 526"/>
                <a:gd name="T100" fmla="*/ 139 w 395"/>
                <a:gd name="T101" fmla="*/ 127 h 526"/>
                <a:gd name="T102" fmla="*/ 132 w 395"/>
                <a:gd name="T103" fmla="*/ 106 h 526"/>
                <a:gd name="T104" fmla="*/ 113 w 395"/>
                <a:gd name="T105" fmla="*/ 96 h 526"/>
                <a:gd name="T106" fmla="*/ 93 w 395"/>
                <a:gd name="T107" fmla="*/ 86 h 526"/>
                <a:gd name="T108" fmla="*/ 72 w 395"/>
                <a:gd name="T109" fmla="*/ 74 h 526"/>
                <a:gd name="T110" fmla="*/ 113 w 395"/>
                <a:gd name="T111" fmla="*/ 46 h 526"/>
                <a:gd name="T112" fmla="*/ 158 w 395"/>
                <a:gd name="T113" fmla="*/ 33 h 526"/>
                <a:gd name="T114" fmla="*/ 168 w 395"/>
                <a:gd name="T115" fmla="*/ 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526">
                  <a:moveTo>
                    <a:pt x="246" y="524"/>
                  </a:moveTo>
                  <a:lnTo>
                    <a:pt x="250" y="526"/>
                  </a:lnTo>
                  <a:lnTo>
                    <a:pt x="245" y="526"/>
                  </a:lnTo>
                  <a:lnTo>
                    <a:pt x="245" y="524"/>
                  </a:lnTo>
                  <a:lnTo>
                    <a:pt x="246" y="524"/>
                  </a:lnTo>
                  <a:close/>
                  <a:moveTo>
                    <a:pt x="236" y="499"/>
                  </a:moveTo>
                  <a:lnTo>
                    <a:pt x="238" y="499"/>
                  </a:lnTo>
                  <a:lnTo>
                    <a:pt x="238" y="501"/>
                  </a:lnTo>
                  <a:lnTo>
                    <a:pt x="236" y="501"/>
                  </a:lnTo>
                  <a:lnTo>
                    <a:pt x="236" y="499"/>
                  </a:lnTo>
                  <a:close/>
                  <a:moveTo>
                    <a:pt x="217" y="494"/>
                  </a:moveTo>
                  <a:lnTo>
                    <a:pt x="219" y="494"/>
                  </a:lnTo>
                  <a:lnTo>
                    <a:pt x="219" y="495"/>
                  </a:lnTo>
                  <a:lnTo>
                    <a:pt x="217" y="495"/>
                  </a:lnTo>
                  <a:lnTo>
                    <a:pt x="217" y="494"/>
                  </a:lnTo>
                  <a:close/>
                  <a:moveTo>
                    <a:pt x="226" y="494"/>
                  </a:moveTo>
                  <a:lnTo>
                    <a:pt x="228" y="494"/>
                  </a:lnTo>
                  <a:lnTo>
                    <a:pt x="228" y="495"/>
                  </a:lnTo>
                  <a:lnTo>
                    <a:pt x="226" y="495"/>
                  </a:lnTo>
                  <a:lnTo>
                    <a:pt x="226" y="494"/>
                  </a:lnTo>
                  <a:close/>
                  <a:moveTo>
                    <a:pt x="228" y="485"/>
                  </a:moveTo>
                  <a:lnTo>
                    <a:pt x="233" y="492"/>
                  </a:lnTo>
                  <a:lnTo>
                    <a:pt x="229" y="492"/>
                  </a:lnTo>
                  <a:lnTo>
                    <a:pt x="228" y="490"/>
                  </a:lnTo>
                  <a:lnTo>
                    <a:pt x="228" y="485"/>
                  </a:lnTo>
                  <a:close/>
                  <a:moveTo>
                    <a:pt x="188" y="475"/>
                  </a:moveTo>
                  <a:lnTo>
                    <a:pt x="192" y="475"/>
                  </a:lnTo>
                  <a:lnTo>
                    <a:pt x="192" y="477"/>
                  </a:lnTo>
                  <a:lnTo>
                    <a:pt x="188" y="477"/>
                  </a:lnTo>
                  <a:lnTo>
                    <a:pt x="188" y="475"/>
                  </a:lnTo>
                  <a:close/>
                  <a:moveTo>
                    <a:pt x="185" y="451"/>
                  </a:moveTo>
                  <a:lnTo>
                    <a:pt x="187" y="451"/>
                  </a:lnTo>
                  <a:lnTo>
                    <a:pt x="185" y="451"/>
                  </a:lnTo>
                  <a:close/>
                  <a:moveTo>
                    <a:pt x="197" y="442"/>
                  </a:moveTo>
                  <a:lnTo>
                    <a:pt x="200" y="444"/>
                  </a:lnTo>
                  <a:lnTo>
                    <a:pt x="199" y="446"/>
                  </a:lnTo>
                  <a:lnTo>
                    <a:pt x="200" y="446"/>
                  </a:lnTo>
                  <a:lnTo>
                    <a:pt x="200" y="449"/>
                  </a:lnTo>
                  <a:lnTo>
                    <a:pt x="202" y="449"/>
                  </a:lnTo>
                  <a:lnTo>
                    <a:pt x="210" y="456"/>
                  </a:lnTo>
                  <a:lnTo>
                    <a:pt x="216" y="463"/>
                  </a:lnTo>
                  <a:lnTo>
                    <a:pt x="219" y="465"/>
                  </a:lnTo>
                  <a:lnTo>
                    <a:pt x="221" y="468"/>
                  </a:lnTo>
                  <a:lnTo>
                    <a:pt x="224" y="470"/>
                  </a:lnTo>
                  <a:lnTo>
                    <a:pt x="224" y="472"/>
                  </a:lnTo>
                  <a:lnTo>
                    <a:pt x="222" y="472"/>
                  </a:lnTo>
                  <a:lnTo>
                    <a:pt x="222" y="473"/>
                  </a:lnTo>
                  <a:lnTo>
                    <a:pt x="222" y="472"/>
                  </a:lnTo>
                  <a:lnTo>
                    <a:pt x="224" y="473"/>
                  </a:lnTo>
                  <a:lnTo>
                    <a:pt x="224" y="482"/>
                  </a:lnTo>
                  <a:lnTo>
                    <a:pt x="226" y="483"/>
                  </a:lnTo>
                  <a:lnTo>
                    <a:pt x="226" y="485"/>
                  </a:lnTo>
                  <a:lnTo>
                    <a:pt x="216" y="487"/>
                  </a:lnTo>
                  <a:lnTo>
                    <a:pt x="212" y="489"/>
                  </a:lnTo>
                  <a:lnTo>
                    <a:pt x="216" y="489"/>
                  </a:lnTo>
                  <a:lnTo>
                    <a:pt x="217" y="492"/>
                  </a:lnTo>
                  <a:lnTo>
                    <a:pt x="216" y="492"/>
                  </a:lnTo>
                  <a:lnTo>
                    <a:pt x="214" y="490"/>
                  </a:lnTo>
                  <a:lnTo>
                    <a:pt x="216" y="492"/>
                  </a:lnTo>
                  <a:lnTo>
                    <a:pt x="217" y="492"/>
                  </a:lnTo>
                  <a:lnTo>
                    <a:pt x="216" y="495"/>
                  </a:lnTo>
                  <a:lnTo>
                    <a:pt x="221" y="502"/>
                  </a:lnTo>
                  <a:lnTo>
                    <a:pt x="224" y="506"/>
                  </a:lnTo>
                  <a:lnTo>
                    <a:pt x="224" y="509"/>
                  </a:lnTo>
                  <a:lnTo>
                    <a:pt x="221" y="509"/>
                  </a:lnTo>
                  <a:lnTo>
                    <a:pt x="219" y="506"/>
                  </a:lnTo>
                  <a:lnTo>
                    <a:pt x="214" y="502"/>
                  </a:lnTo>
                  <a:lnTo>
                    <a:pt x="214" y="499"/>
                  </a:lnTo>
                  <a:lnTo>
                    <a:pt x="209" y="497"/>
                  </a:lnTo>
                  <a:lnTo>
                    <a:pt x="207" y="494"/>
                  </a:lnTo>
                  <a:lnTo>
                    <a:pt x="210" y="495"/>
                  </a:lnTo>
                  <a:lnTo>
                    <a:pt x="212" y="495"/>
                  </a:lnTo>
                  <a:lnTo>
                    <a:pt x="210" y="495"/>
                  </a:lnTo>
                  <a:lnTo>
                    <a:pt x="207" y="489"/>
                  </a:lnTo>
                  <a:lnTo>
                    <a:pt x="209" y="485"/>
                  </a:lnTo>
                  <a:lnTo>
                    <a:pt x="204" y="478"/>
                  </a:lnTo>
                  <a:lnTo>
                    <a:pt x="202" y="477"/>
                  </a:lnTo>
                  <a:lnTo>
                    <a:pt x="200" y="478"/>
                  </a:lnTo>
                  <a:lnTo>
                    <a:pt x="199" y="478"/>
                  </a:lnTo>
                  <a:lnTo>
                    <a:pt x="200" y="477"/>
                  </a:lnTo>
                  <a:lnTo>
                    <a:pt x="199" y="475"/>
                  </a:lnTo>
                  <a:lnTo>
                    <a:pt x="199" y="473"/>
                  </a:lnTo>
                  <a:lnTo>
                    <a:pt x="197" y="475"/>
                  </a:lnTo>
                  <a:lnTo>
                    <a:pt x="195" y="472"/>
                  </a:lnTo>
                  <a:lnTo>
                    <a:pt x="192" y="466"/>
                  </a:lnTo>
                  <a:lnTo>
                    <a:pt x="190" y="463"/>
                  </a:lnTo>
                  <a:lnTo>
                    <a:pt x="193" y="460"/>
                  </a:lnTo>
                  <a:lnTo>
                    <a:pt x="192" y="456"/>
                  </a:lnTo>
                  <a:lnTo>
                    <a:pt x="192" y="453"/>
                  </a:lnTo>
                  <a:lnTo>
                    <a:pt x="190" y="444"/>
                  </a:lnTo>
                  <a:lnTo>
                    <a:pt x="197" y="442"/>
                  </a:lnTo>
                  <a:close/>
                  <a:moveTo>
                    <a:pt x="168" y="408"/>
                  </a:moveTo>
                  <a:lnTo>
                    <a:pt x="171" y="412"/>
                  </a:lnTo>
                  <a:lnTo>
                    <a:pt x="176" y="417"/>
                  </a:lnTo>
                  <a:lnTo>
                    <a:pt x="180" y="419"/>
                  </a:lnTo>
                  <a:lnTo>
                    <a:pt x="183" y="422"/>
                  </a:lnTo>
                  <a:lnTo>
                    <a:pt x="190" y="425"/>
                  </a:lnTo>
                  <a:lnTo>
                    <a:pt x="193" y="434"/>
                  </a:lnTo>
                  <a:lnTo>
                    <a:pt x="195" y="437"/>
                  </a:lnTo>
                  <a:lnTo>
                    <a:pt x="195" y="441"/>
                  </a:lnTo>
                  <a:lnTo>
                    <a:pt x="185" y="446"/>
                  </a:lnTo>
                  <a:lnTo>
                    <a:pt x="187" y="449"/>
                  </a:lnTo>
                  <a:lnTo>
                    <a:pt x="180" y="448"/>
                  </a:lnTo>
                  <a:lnTo>
                    <a:pt x="178" y="449"/>
                  </a:lnTo>
                  <a:lnTo>
                    <a:pt x="175" y="446"/>
                  </a:lnTo>
                  <a:lnTo>
                    <a:pt x="173" y="451"/>
                  </a:lnTo>
                  <a:lnTo>
                    <a:pt x="171" y="451"/>
                  </a:lnTo>
                  <a:lnTo>
                    <a:pt x="168" y="448"/>
                  </a:lnTo>
                  <a:lnTo>
                    <a:pt x="171" y="446"/>
                  </a:lnTo>
                  <a:lnTo>
                    <a:pt x="168" y="442"/>
                  </a:lnTo>
                  <a:lnTo>
                    <a:pt x="168" y="441"/>
                  </a:lnTo>
                  <a:lnTo>
                    <a:pt x="166" y="442"/>
                  </a:lnTo>
                  <a:lnTo>
                    <a:pt x="166" y="441"/>
                  </a:lnTo>
                  <a:lnTo>
                    <a:pt x="168" y="441"/>
                  </a:lnTo>
                  <a:lnTo>
                    <a:pt x="168" y="439"/>
                  </a:lnTo>
                  <a:lnTo>
                    <a:pt x="169" y="437"/>
                  </a:lnTo>
                  <a:lnTo>
                    <a:pt x="168" y="432"/>
                  </a:lnTo>
                  <a:lnTo>
                    <a:pt x="169" y="429"/>
                  </a:lnTo>
                  <a:lnTo>
                    <a:pt x="166" y="424"/>
                  </a:lnTo>
                  <a:lnTo>
                    <a:pt x="168" y="422"/>
                  </a:lnTo>
                  <a:lnTo>
                    <a:pt x="164" y="417"/>
                  </a:lnTo>
                  <a:lnTo>
                    <a:pt x="166" y="415"/>
                  </a:lnTo>
                  <a:lnTo>
                    <a:pt x="164" y="410"/>
                  </a:lnTo>
                  <a:lnTo>
                    <a:pt x="168" y="408"/>
                  </a:lnTo>
                  <a:close/>
                  <a:moveTo>
                    <a:pt x="137" y="393"/>
                  </a:moveTo>
                  <a:lnTo>
                    <a:pt x="139" y="393"/>
                  </a:lnTo>
                  <a:lnTo>
                    <a:pt x="137" y="393"/>
                  </a:lnTo>
                  <a:lnTo>
                    <a:pt x="139" y="395"/>
                  </a:lnTo>
                  <a:lnTo>
                    <a:pt x="137" y="396"/>
                  </a:lnTo>
                  <a:lnTo>
                    <a:pt x="134" y="393"/>
                  </a:lnTo>
                  <a:lnTo>
                    <a:pt x="134" y="391"/>
                  </a:lnTo>
                  <a:lnTo>
                    <a:pt x="137" y="393"/>
                  </a:lnTo>
                  <a:close/>
                  <a:moveTo>
                    <a:pt x="122" y="350"/>
                  </a:moveTo>
                  <a:lnTo>
                    <a:pt x="122" y="352"/>
                  </a:lnTo>
                  <a:lnTo>
                    <a:pt x="123" y="352"/>
                  </a:lnTo>
                  <a:lnTo>
                    <a:pt x="125" y="352"/>
                  </a:lnTo>
                  <a:lnTo>
                    <a:pt x="125" y="354"/>
                  </a:lnTo>
                  <a:lnTo>
                    <a:pt x="134" y="359"/>
                  </a:lnTo>
                  <a:lnTo>
                    <a:pt x="134" y="367"/>
                  </a:lnTo>
                  <a:lnTo>
                    <a:pt x="135" y="369"/>
                  </a:lnTo>
                  <a:lnTo>
                    <a:pt x="135" y="371"/>
                  </a:lnTo>
                  <a:lnTo>
                    <a:pt x="137" y="371"/>
                  </a:lnTo>
                  <a:lnTo>
                    <a:pt x="139" y="376"/>
                  </a:lnTo>
                  <a:lnTo>
                    <a:pt x="142" y="379"/>
                  </a:lnTo>
                  <a:lnTo>
                    <a:pt x="142" y="383"/>
                  </a:lnTo>
                  <a:lnTo>
                    <a:pt x="146" y="384"/>
                  </a:lnTo>
                  <a:lnTo>
                    <a:pt x="151" y="388"/>
                  </a:lnTo>
                  <a:lnTo>
                    <a:pt x="152" y="396"/>
                  </a:lnTo>
                  <a:lnTo>
                    <a:pt x="149" y="396"/>
                  </a:lnTo>
                  <a:lnTo>
                    <a:pt x="149" y="391"/>
                  </a:lnTo>
                  <a:lnTo>
                    <a:pt x="144" y="393"/>
                  </a:lnTo>
                  <a:lnTo>
                    <a:pt x="142" y="390"/>
                  </a:lnTo>
                  <a:lnTo>
                    <a:pt x="137" y="390"/>
                  </a:lnTo>
                  <a:lnTo>
                    <a:pt x="129" y="383"/>
                  </a:lnTo>
                  <a:lnTo>
                    <a:pt x="125" y="383"/>
                  </a:lnTo>
                  <a:lnTo>
                    <a:pt x="123" y="381"/>
                  </a:lnTo>
                  <a:lnTo>
                    <a:pt x="122" y="383"/>
                  </a:lnTo>
                  <a:lnTo>
                    <a:pt x="120" y="379"/>
                  </a:lnTo>
                  <a:lnTo>
                    <a:pt x="122" y="378"/>
                  </a:lnTo>
                  <a:lnTo>
                    <a:pt x="120" y="379"/>
                  </a:lnTo>
                  <a:lnTo>
                    <a:pt x="120" y="376"/>
                  </a:lnTo>
                  <a:lnTo>
                    <a:pt x="118" y="378"/>
                  </a:lnTo>
                  <a:lnTo>
                    <a:pt x="118" y="376"/>
                  </a:lnTo>
                  <a:lnTo>
                    <a:pt x="115" y="372"/>
                  </a:lnTo>
                  <a:lnTo>
                    <a:pt x="111" y="367"/>
                  </a:lnTo>
                  <a:lnTo>
                    <a:pt x="117" y="366"/>
                  </a:lnTo>
                  <a:lnTo>
                    <a:pt x="113" y="357"/>
                  </a:lnTo>
                  <a:lnTo>
                    <a:pt x="117" y="355"/>
                  </a:lnTo>
                  <a:lnTo>
                    <a:pt x="115" y="354"/>
                  </a:lnTo>
                  <a:lnTo>
                    <a:pt x="122" y="350"/>
                  </a:lnTo>
                  <a:close/>
                  <a:moveTo>
                    <a:pt x="117" y="349"/>
                  </a:moveTo>
                  <a:lnTo>
                    <a:pt x="118" y="352"/>
                  </a:lnTo>
                  <a:lnTo>
                    <a:pt x="115" y="349"/>
                  </a:lnTo>
                  <a:lnTo>
                    <a:pt x="117" y="349"/>
                  </a:lnTo>
                  <a:close/>
                  <a:moveTo>
                    <a:pt x="122" y="347"/>
                  </a:moveTo>
                  <a:lnTo>
                    <a:pt x="118" y="347"/>
                  </a:lnTo>
                  <a:lnTo>
                    <a:pt x="118" y="345"/>
                  </a:lnTo>
                  <a:lnTo>
                    <a:pt x="122" y="347"/>
                  </a:lnTo>
                  <a:close/>
                  <a:moveTo>
                    <a:pt x="86" y="337"/>
                  </a:moveTo>
                  <a:lnTo>
                    <a:pt x="86" y="340"/>
                  </a:lnTo>
                  <a:lnTo>
                    <a:pt x="84" y="340"/>
                  </a:lnTo>
                  <a:lnTo>
                    <a:pt x="86" y="337"/>
                  </a:lnTo>
                  <a:close/>
                  <a:moveTo>
                    <a:pt x="81" y="323"/>
                  </a:moveTo>
                  <a:lnTo>
                    <a:pt x="84" y="325"/>
                  </a:lnTo>
                  <a:lnTo>
                    <a:pt x="84" y="328"/>
                  </a:lnTo>
                  <a:lnTo>
                    <a:pt x="77" y="330"/>
                  </a:lnTo>
                  <a:lnTo>
                    <a:pt x="81" y="326"/>
                  </a:lnTo>
                  <a:lnTo>
                    <a:pt x="79" y="323"/>
                  </a:lnTo>
                  <a:lnTo>
                    <a:pt x="81" y="323"/>
                  </a:lnTo>
                  <a:close/>
                  <a:moveTo>
                    <a:pt x="216" y="251"/>
                  </a:moveTo>
                  <a:lnTo>
                    <a:pt x="214" y="253"/>
                  </a:lnTo>
                  <a:lnTo>
                    <a:pt x="216" y="253"/>
                  </a:lnTo>
                  <a:lnTo>
                    <a:pt x="217" y="255"/>
                  </a:lnTo>
                  <a:lnTo>
                    <a:pt x="214" y="256"/>
                  </a:lnTo>
                  <a:lnTo>
                    <a:pt x="214" y="251"/>
                  </a:lnTo>
                  <a:lnTo>
                    <a:pt x="216" y="251"/>
                  </a:lnTo>
                  <a:close/>
                  <a:moveTo>
                    <a:pt x="38" y="219"/>
                  </a:moveTo>
                  <a:lnTo>
                    <a:pt x="38" y="220"/>
                  </a:lnTo>
                  <a:lnTo>
                    <a:pt x="36" y="220"/>
                  </a:lnTo>
                  <a:lnTo>
                    <a:pt x="38" y="222"/>
                  </a:lnTo>
                  <a:lnTo>
                    <a:pt x="40" y="220"/>
                  </a:lnTo>
                  <a:lnTo>
                    <a:pt x="43" y="231"/>
                  </a:lnTo>
                  <a:lnTo>
                    <a:pt x="40" y="227"/>
                  </a:lnTo>
                  <a:lnTo>
                    <a:pt x="41" y="236"/>
                  </a:lnTo>
                  <a:lnTo>
                    <a:pt x="43" y="238"/>
                  </a:lnTo>
                  <a:lnTo>
                    <a:pt x="48" y="243"/>
                  </a:lnTo>
                  <a:lnTo>
                    <a:pt x="50" y="248"/>
                  </a:lnTo>
                  <a:lnTo>
                    <a:pt x="53" y="253"/>
                  </a:lnTo>
                  <a:lnTo>
                    <a:pt x="52" y="255"/>
                  </a:lnTo>
                  <a:lnTo>
                    <a:pt x="55" y="256"/>
                  </a:lnTo>
                  <a:lnTo>
                    <a:pt x="57" y="258"/>
                  </a:lnTo>
                  <a:lnTo>
                    <a:pt x="57" y="261"/>
                  </a:lnTo>
                  <a:lnTo>
                    <a:pt x="55" y="261"/>
                  </a:lnTo>
                  <a:lnTo>
                    <a:pt x="57" y="263"/>
                  </a:lnTo>
                  <a:lnTo>
                    <a:pt x="55" y="263"/>
                  </a:lnTo>
                  <a:lnTo>
                    <a:pt x="59" y="263"/>
                  </a:lnTo>
                  <a:lnTo>
                    <a:pt x="60" y="272"/>
                  </a:lnTo>
                  <a:lnTo>
                    <a:pt x="62" y="273"/>
                  </a:lnTo>
                  <a:lnTo>
                    <a:pt x="62" y="275"/>
                  </a:lnTo>
                  <a:lnTo>
                    <a:pt x="64" y="275"/>
                  </a:lnTo>
                  <a:lnTo>
                    <a:pt x="64" y="277"/>
                  </a:lnTo>
                  <a:lnTo>
                    <a:pt x="65" y="277"/>
                  </a:lnTo>
                  <a:lnTo>
                    <a:pt x="69" y="280"/>
                  </a:lnTo>
                  <a:lnTo>
                    <a:pt x="69" y="285"/>
                  </a:lnTo>
                  <a:lnTo>
                    <a:pt x="64" y="282"/>
                  </a:lnTo>
                  <a:lnTo>
                    <a:pt x="70" y="289"/>
                  </a:lnTo>
                  <a:lnTo>
                    <a:pt x="70" y="290"/>
                  </a:lnTo>
                  <a:lnTo>
                    <a:pt x="72" y="289"/>
                  </a:lnTo>
                  <a:lnTo>
                    <a:pt x="74" y="292"/>
                  </a:lnTo>
                  <a:lnTo>
                    <a:pt x="72" y="294"/>
                  </a:lnTo>
                  <a:lnTo>
                    <a:pt x="74" y="294"/>
                  </a:lnTo>
                  <a:lnTo>
                    <a:pt x="72" y="296"/>
                  </a:lnTo>
                  <a:lnTo>
                    <a:pt x="76" y="301"/>
                  </a:lnTo>
                  <a:lnTo>
                    <a:pt x="81" y="299"/>
                  </a:lnTo>
                  <a:lnTo>
                    <a:pt x="84" y="304"/>
                  </a:lnTo>
                  <a:lnTo>
                    <a:pt x="82" y="304"/>
                  </a:lnTo>
                  <a:lnTo>
                    <a:pt x="81" y="306"/>
                  </a:lnTo>
                  <a:lnTo>
                    <a:pt x="84" y="306"/>
                  </a:lnTo>
                  <a:lnTo>
                    <a:pt x="82" y="308"/>
                  </a:lnTo>
                  <a:lnTo>
                    <a:pt x="82" y="311"/>
                  </a:lnTo>
                  <a:lnTo>
                    <a:pt x="82" y="308"/>
                  </a:lnTo>
                  <a:lnTo>
                    <a:pt x="86" y="311"/>
                  </a:lnTo>
                  <a:lnTo>
                    <a:pt x="84" y="311"/>
                  </a:lnTo>
                  <a:lnTo>
                    <a:pt x="84" y="314"/>
                  </a:lnTo>
                  <a:lnTo>
                    <a:pt x="82" y="316"/>
                  </a:lnTo>
                  <a:lnTo>
                    <a:pt x="84" y="318"/>
                  </a:lnTo>
                  <a:lnTo>
                    <a:pt x="82" y="318"/>
                  </a:lnTo>
                  <a:lnTo>
                    <a:pt x="81" y="316"/>
                  </a:lnTo>
                  <a:lnTo>
                    <a:pt x="81" y="314"/>
                  </a:lnTo>
                  <a:lnTo>
                    <a:pt x="79" y="314"/>
                  </a:lnTo>
                  <a:lnTo>
                    <a:pt x="79" y="311"/>
                  </a:lnTo>
                  <a:lnTo>
                    <a:pt x="76" y="304"/>
                  </a:lnTo>
                  <a:lnTo>
                    <a:pt x="74" y="302"/>
                  </a:lnTo>
                  <a:lnTo>
                    <a:pt x="72" y="306"/>
                  </a:lnTo>
                  <a:lnTo>
                    <a:pt x="74" y="306"/>
                  </a:lnTo>
                  <a:lnTo>
                    <a:pt x="77" y="309"/>
                  </a:lnTo>
                  <a:lnTo>
                    <a:pt x="77" y="311"/>
                  </a:lnTo>
                  <a:lnTo>
                    <a:pt x="76" y="309"/>
                  </a:lnTo>
                  <a:lnTo>
                    <a:pt x="77" y="313"/>
                  </a:lnTo>
                  <a:lnTo>
                    <a:pt x="77" y="318"/>
                  </a:lnTo>
                  <a:lnTo>
                    <a:pt x="81" y="321"/>
                  </a:lnTo>
                  <a:lnTo>
                    <a:pt x="77" y="325"/>
                  </a:lnTo>
                  <a:lnTo>
                    <a:pt x="69" y="321"/>
                  </a:lnTo>
                  <a:lnTo>
                    <a:pt x="65" y="325"/>
                  </a:lnTo>
                  <a:lnTo>
                    <a:pt x="62" y="326"/>
                  </a:lnTo>
                  <a:lnTo>
                    <a:pt x="62" y="325"/>
                  </a:lnTo>
                  <a:lnTo>
                    <a:pt x="55" y="323"/>
                  </a:lnTo>
                  <a:lnTo>
                    <a:pt x="50" y="319"/>
                  </a:lnTo>
                  <a:lnTo>
                    <a:pt x="43" y="316"/>
                  </a:lnTo>
                  <a:lnTo>
                    <a:pt x="40" y="313"/>
                  </a:lnTo>
                  <a:lnTo>
                    <a:pt x="35" y="309"/>
                  </a:lnTo>
                  <a:lnTo>
                    <a:pt x="31" y="306"/>
                  </a:lnTo>
                  <a:lnTo>
                    <a:pt x="28" y="302"/>
                  </a:lnTo>
                  <a:lnTo>
                    <a:pt x="30" y="299"/>
                  </a:lnTo>
                  <a:lnTo>
                    <a:pt x="24" y="290"/>
                  </a:lnTo>
                  <a:lnTo>
                    <a:pt x="19" y="282"/>
                  </a:lnTo>
                  <a:lnTo>
                    <a:pt x="18" y="282"/>
                  </a:lnTo>
                  <a:lnTo>
                    <a:pt x="18" y="279"/>
                  </a:lnTo>
                  <a:lnTo>
                    <a:pt x="12" y="272"/>
                  </a:lnTo>
                  <a:lnTo>
                    <a:pt x="7" y="267"/>
                  </a:lnTo>
                  <a:lnTo>
                    <a:pt x="6" y="260"/>
                  </a:lnTo>
                  <a:lnTo>
                    <a:pt x="0" y="255"/>
                  </a:lnTo>
                  <a:lnTo>
                    <a:pt x="0" y="253"/>
                  </a:lnTo>
                  <a:lnTo>
                    <a:pt x="6" y="246"/>
                  </a:lnTo>
                  <a:lnTo>
                    <a:pt x="7" y="239"/>
                  </a:lnTo>
                  <a:lnTo>
                    <a:pt x="7" y="236"/>
                  </a:lnTo>
                  <a:lnTo>
                    <a:pt x="9" y="226"/>
                  </a:lnTo>
                  <a:lnTo>
                    <a:pt x="14" y="222"/>
                  </a:lnTo>
                  <a:lnTo>
                    <a:pt x="18" y="224"/>
                  </a:lnTo>
                  <a:lnTo>
                    <a:pt x="24" y="224"/>
                  </a:lnTo>
                  <a:lnTo>
                    <a:pt x="33" y="220"/>
                  </a:lnTo>
                  <a:lnTo>
                    <a:pt x="36" y="217"/>
                  </a:lnTo>
                  <a:lnTo>
                    <a:pt x="38" y="219"/>
                  </a:lnTo>
                  <a:close/>
                  <a:moveTo>
                    <a:pt x="82" y="80"/>
                  </a:moveTo>
                  <a:lnTo>
                    <a:pt x="84" y="80"/>
                  </a:lnTo>
                  <a:lnTo>
                    <a:pt x="84" y="84"/>
                  </a:lnTo>
                  <a:lnTo>
                    <a:pt x="82" y="84"/>
                  </a:lnTo>
                  <a:lnTo>
                    <a:pt x="82" y="80"/>
                  </a:lnTo>
                  <a:close/>
                  <a:moveTo>
                    <a:pt x="190" y="17"/>
                  </a:moveTo>
                  <a:lnTo>
                    <a:pt x="193" y="19"/>
                  </a:lnTo>
                  <a:lnTo>
                    <a:pt x="197" y="21"/>
                  </a:lnTo>
                  <a:lnTo>
                    <a:pt x="197" y="26"/>
                  </a:lnTo>
                  <a:lnTo>
                    <a:pt x="193" y="31"/>
                  </a:lnTo>
                  <a:lnTo>
                    <a:pt x="188" y="38"/>
                  </a:lnTo>
                  <a:lnTo>
                    <a:pt x="192" y="41"/>
                  </a:lnTo>
                  <a:lnTo>
                    <a:pt x="197" y="45"/>
                  </a:lnTo>
                  <a:lnTo>
                    <a:pt x="195" y="46"/>
                  </a:lnTo>
                  <a:lnTo>
                    <a:pt x="197" y="50"/>
                  </a:lnTo>
                  <a:lnTo>
                    <a:pt x="197" y="51"/>
                  </a:lnTo>
                  <a:lnTo>
                    <a:pt x="200" y="58"/>
                  </a:lnTo>
                  <a:lnTo>
                    <a:pt x="204" y="60"/>
                  </a:lnTo>
                  <a:lnTo>
                    <a:pt x="207" y="60"/>
                  </a:lnTo>
                  <a:lnTo>
                    <a:pt x="210" y="63"/>
                  </a:lnTo>
                  <a:lnTo>
                    <a:pt x="214" y="62"/>
                  </a:lnTo>
                  <a:lnTo>
                    <a:pt x="219" y="58"/>
                  </a:lnTo>
                  <a:lnTo>
                    <a:pt x="224" y="62"/>
                  </a:lnTo>
                  <a:lnTo>
                    <a:pt x="226" y="60"/>
                  </a:lnTo>
                  <a:lnTo>
                    <a:pt x="228" y="65"/>
                  </a:lnTo>
                  <a:lnTo>
                    <a:pt x="233" y="68"/>
                  </a:lnTo>
                  <a:lnTo>
                    <a:pt x="233" y="72"/>
                  </a:lnTo>
                  <a:lnTo>
                    <a:pt x="236" y="74"/>
                  </a:lnTo>
                  <a:lnTo>
                    <a:pt x="241" y="77"/>
                  </a:lnTo>
                  <a:lnTo>
                    <a:pt x="243" y="82"/>
                  </a:lnTo>
                  <a:lnTo>
                    <a:pt x="250" y="86"/>
                  </a:lnTo>
                  <a:lnTo>
                    <a:pt x="253" y="79"/>
                  </a:lnTo>
                  <a:lnTo>
                    <a:pt x="260" y="80"/>
                  </a:lnTo>
                  <a:lnTo>
                    <a:pt x="265" y="77"/>
                  </a:lnTo>
                  <a:lnTo>
                    <a:pt x="269" y="82"/>
                  </a:lnTo>
                  <a:lnTo>
                    <a:pt x="269" y="91"/>
                  </a:lnTo>
                  <a:lnTo>
                    <a:pt x="263" y="94"/>
                  </a:lnTo>
                  <a:lnTo>
                    <a:pt x="262" y="96"/>
                  </a:lnTo>
                  <a:lnTo>
                    <a:pt x="265" y="103"/>
                  </a:lnTo>
                  <a:lnTo>
                    <a:pt x="269" y="101"/>
                  </a:lnTo>
                  <a:lnTo>
                    <a:pt x="270" y="103"/>
                  </a:lnTo>
                  <a:lnTo>
                    <a:pt x="270" y="108"/>
                  </a:lnTo>
                  <a:lnTo>
                    <a:pt x="265" y="113"/>
                  </a:lnTo>
                  <a:lnTo>
                    <a:pt x="262" y="109"/>
                  </a:lnTo>
                  <a:lnTo>
                    <a:pt x="257" y="115"/>
                  </a:lnTo>
                  <a:lnTo>
                    <a:pt x="258" y="115"/>
                  </a:lnTo>
                  <a:lnTo>
                    <a:pt x="258" y="125"/>
                  </a:lnTo>
                  <a:lnTo>
                    <a:pt x="260" y="127"/>
                  </a:lnTo>
                  <a:lnTo>
                    <a:pt x="260" y="133"/>
                  </a:lnTo>
                  <a:lnTo>
                    <a:pt x="265" y="138"/>
                  </a:lnTo>
                  <a:lnTo>
                    <a:pt x="265" y="142"/>
                  </a:lnTo>
                  <a:lnTo>
                    <a:pt x="269" y="144"/>
                  </a:lnTo>
                  <a:lnTo>
                    <a:pt x="270" y="149"/>
                  </a:lnTo>
                  <a:lnTo>
                    <a:pt x="277" y="149"/>
                  </a:lnTo>
                  <a:lnTo>
                    <a:pt x="282" y="145"/>
                  </a:lnTo>
                  <a:lnTo>
                    <a:pt x="289" y="147"/>
                  </a:lnTo>
                  <a:lnTo>
                    <a:pt x="294" y="152"/>
                  </a:lnTo>
                  <a:lnTo>
                    <a:pt x="294" y="154"/>
                  </a:lnTo>
                  <a:lnTo>
                    <a:pt x="291" y="156"/>
                  </a:lnTo>
                  <a:lnTo>
                    <a:pt x="294" y="164"/>
                  </a:lnTo>
                  <a:lnTo>
                    <a:pt x="298" y="169"/>
                  </a:lnTo>
                  <a:lnTo>
                    <a:pt x="301" y="169"/>
                  </a:lnTo>
                  <a:lnTo>
                    <a:pt x="308" y="173"/>
                  </a:lnTo>
                  <a:lnTo>
                    <a:pt x="311" y="178"/>
                  </a:lnTo>
                  <a:lnTo>
                    <a:pt x="320" y="183"/>
                  </a:lnTo>
                  <a:lnTo>
                    <a:pt x="325" y="183"/>
                  </a:lnTo>
                  <a:lnTo>
                    <a:pt x="328" y="186"/>
                  </a:lnTo>
                  <a:lnTo>
                    <a:pt x="332" y="188"/>
                  </a:lnTo>
                  <a:lnTo>
                    <a:pt x="332" y="191"/>
                  </a:lnTo>
                  <a:lnTo>
                    <a:pt x="335" y="191"/>
                  </a:lnTo>
                  <a:lnTo>
                    <a:pt x="337" y="195"/>
                  </a:lnTo>
                  <a:lnTo>
                    <a:pt x="335" y="197"/>
                  </a:lnTo>
                  <a:lnTo>
                    <a:pt x="338" y="197"/>
                  </a:lnTo>
                  <a:lnTo>
                    <a:pt x="347" y="202"/>
                  </a:lnTo>
                  <a:lnTo>
                    <a:pt x="349" y="205"/>
                  </a:lnTo>
                  <a:lnTo>
                    <a:pt x="356" y="208"/>
                  </a:lnTo>
                  <a:lnTo>
                    <a:pt x="362" y="207"/>
                  </a:lnTo>
                  <a:lnTo>
                    <a:pt x="366" y="208"/>
                  </a:lnTo>
                  <a:lnTo>
                    <a:pt x="371" y="212"/>
                  </a:lnTo>
                  <a:lnTo>
                    <a:pt x="374" y="212"/>
                  </a:lnTo>
                  <a:lnTo>
                    <a:pt x="374" y="217"/>
                  </a:lnTo>
                  <a:lnTo>
                    <a:pt x="371" y="222"/>
                  </a:lnTo>
                  <a:lnTo>
                    <a:pt x="376" y="222"/>
                  </a:lnTo>
                  <a:lnTo>
                    <a:pt x="378" y="224"/>
                  </a:lnTo>
                  <a:lnTo>
                    <a:pt x="388" y="226"/>
                  </a:lnTo>
                  <a:lnTo>
                    <a:pt x="386" y="229"/>
                  </a:lnTo>
                  <a:lnTo>
                    <a:pt x="388" y="234"/>
                  </a:lnTo>
                  <a:lnTo>
                    <a:pt x="386" y="239"/>
                  </a:lnTo>
                  <a:lnTo>
                    <a:pt x="391" y="241"/>
                  </a:lnTo>
                  <a:lnTo>
                    <a:pt x="393" y="239"/>
                  </a:lnTo>
                  <a:lnTo>
                    <a:pt x="395" y="241"/>
                  </a:lnTo>
                  <a:lnTo>
                    <a:pt x="395" y="244"/>
                  </a:lnTo>
                  <a:lnTo>
                    <a:pt x="393" y="246"/>
                  </a:lnTo>
                  <a:lnTo>
                    <a:pt x="388" y="251"/>
                  </a:lnTo>
                  <a:lnTo>
                    <a:pt x="386" y="255"/>
                  </a:lnTo>
                  <a:lnTo>
                    <a:pt x="374" y="256"/>
                  </a:lnTo>
                  <a:lnTo>
                    <a:pt x="371" y="261"/>
                  </a:lnTo>
                  <a:lnTo>
                    <a:pt x="371" y="265"/>
                  </a:lnTo>
                  <a:lnTo>
                    <a:pt x="374" y="270"/>
                  </a:lnTo>
                  <a:lnTo>
                    <a:pt x="373" y="277"/>
                  </a:lnTo>
                  <a:lnTo>
                    <a:pt x="374" y="279"/>
                  </a:lnTo>
                  <a:lnTo>
                    <a:pt x="371" y="285"/>
                  </a:lnTo>
                  <a:lnTo>
                    <a:pt x="364" y="292"/>
                  </a:lnTo>
                  <a:lnTo>
                    <a:pt x="361" y="294"/>
                  </a:lnTo>
                  <a:lnTo>
                    <a:pt x="356" y="297"/>
                  </a:lnTo>
                  <a:lnTo>
                    <a:pt x="352" y="301"/>
                  </a:lnTo>
                  <a:lnTo>
                    <a:pt x="349" y="308"/>
                  </a:lnTo>
                  <a:lnTo>
                    <a:pt x="345" y="309"/>
                  </a:lnTo>
                  <a:lnTo>
                    <a:pt x="340" y="311"/>
                  </a:lnTo>
                  <a:lnTo>
                    <a:pt x="338" y="309"/>
                  </a:lnTo>
                  <a:lnTo>
                    <a:pt x="330" y="311"/>
                  </a:lnTo>
                  <a:lnTo>
                    <a:pt x="327" y="313"/>
                  </a:lnTo>
                  <a:lnTo>
                    <a:pt x="321" y="311"/>
                  </a:lnTo>
                  <a:lnTo>
                    <a:pt x="316" y="314"/>
                  </a:lnTo>
                  <a:lnTo>
                    <a:pt x="311" y="309"/>
                  </a:lnTo>
                  <a:lnTo>
                    <a:pt x="308" y="313"/>
                  </a:lnTo>
                  <a:lnTo>
                    <a:pt x="304" y="311"/>
                  </a:lnTo>
                  <a:lnTo>
                    <a:pt x="304" y="319"/>
                  </a:lnTo>
                  <a:lnTo>
                    <a:pt x="308" y="328"/>
                  </a:lnTo>
                  <a:lnTo>
                    <a:pt x="309" y="331"/>
                  </a:lnTo>
                  <a:lnTo>
                    <a:pt x="308" y="335"/>
                  </a:lnTo>
                  <a:lnTo>
                    <a:pt x="306" y="337"/>
                  </a:lnTo>
                  <a:lnTo>
                    <a:pt x="306" y="340"/>
                  </a:lnTo>
                  <a:lnTo>
                    <a:pt x="313" y="345"/>
                  </a:lnTo>
                  <a:lnTo>
                    <a:pt x="313" y="349"/>
                  </a:lnTo>
                  <a:lnTo>
                    <a:pt x="318" y="357"/>
                  </a:lnTo>
                  <a:lnTo>
                    <a:pt x="320" y="360"/>
                  </a:lnTo>
                  <a:lnTo>
                    <a:pt x="321" y="366"/>
                  </a:lnTo>
                  <a:lnTo>
                    <a:pt x="321" y="378"/>
                  </a:lnTo>
                  <a:lnTo>
                    <a:pt x="321" y="379"/>
                  </a:lnTo>
                  <a:lnTo>
                    <a:pt x="323" y="381"/>
                  </a:lnTo>
                  <a:lnTo>
                    <a:pt x="316" y="386"/>
                  </a:lnTo>
                  <a:lnTo>
                    <a:pt x="316" y="390"/>
                  </a:lnTo>
                  <a:lnTo>
                    <a:pt x="308" y="395"/>
                  </a:lnTo>
                  <a:lnTo>
                    <a:pt x="306" y="395"/>
                  </a:lnTo>
                  <a:lnTo>
                    <a:pt x="304" y="396"/>
                  </a:lnTo>
                  <a:lnTo>
                    <a:pt x="296" y="401"/>
                  </a:lnTo>
                  <a:lnTo>
                    <a:pt x="291" y="405"/>
                  </a:lnTo>
                  <a:lnTo>
                    <a:pt x="287" y="400"/>
                  </a:lnTo>
                  <a:lnTo>
                    <a:pt x="280" y="393"/>
                  </a:lnTo>
                  <a:lnTo>
                    <a:pt x="275" y="388"/>
                  </a:lnTo>
                  <a:lnTo>
                    <a:pt x="274" y="378"/>
                  </a:lnTo>
                  <a:lnTo>
                    <a:pt x="267" y="369"/>
                  </a:lnTo>
                  <a:lnTo>
                    <a:pt x="267" y="366"/>
                  </a:lnTo>
                  <a:lnTo>
                    <a:pt x="272" y="360"/>
                  </a:lnTo>
                  <a:lnTo>
                    <a:pt x="274" y="355"/>
                  </a:lnTo>
                  <a:lnTo>
                    <a:pt x="272" y="345"/>
                  </a:lnTo>
                  <a:lnTo>
                    <a:pt x="272" y="340"/>
                  </a:lnTo>
                  <a:lnTo>
                    <a:pt x="269" y="333"/>
                  </a:lnTo>
                  <a:lnTo>
                    <a:pt x="263" y="326"/>
                  </a:lnTo>
                  <a:lnTo>
                    <a:pt x="262" y="323"/>
                  </a:lnTo>
                  <a:lnTo>
                    <a:pt x="260" y="323"/>
                  </a:lnTo>
                  <a:lnTo>
                    <a:pt x="258" y="318"/>
                  </a:lnTo>
                  <a:lnTo>
                    <a:pt x="253" y="313"/>
                  </a:lnTo>
                  <a:lnTo>
                    <a:pt x="251" y="308"/>
                  </a:lnTo>
                  <a:lnTo>
                    <a:pt x="246" y="302"/>
                  </a:lnTo>
                  <a:lnTo>
                    <a:pt x="245" y="296"/>
                  </a:lnTo>
                  <a:lnTo>
                    <a:pt x="243" y="292"/>
                  </a:lnTo>
                  <a:lnTo>
                    <a:pt x="243" y="289"/>
                  </a:lnTo>
                  <a:lnTo>
                    <a:pt x="239" y="287"/>
                  </a:lnTo>
                  <a:lnTo>
                    <a:pt x="236" y="282"/>
                  </a:lnTo>
                  <a:lnTo>
                    <a:pt x="238" y="279"/>
                  </a:lnTo>
                  <a:lnTo>
                    <a:pt x="236" y="277"/>
                  </a:lnTo>
                  <a:lnTo>
                    <a:pt x="239" y="275"/>
                  </a:lnTo>
                  <a:lnTo>
                    <a:pt x="238" y="273"/>
                  </a:lnTo>
                  <a:lnTo>
                    <a:pt x="236" y="273"/>
                  </a:lnTo>
                  <a:lnTo>
                    <a:pt x="238" y="272"/>
                  </a:lnTo>
                  <a:lnTo>
                    <a:pt x="236" y="268"/>
                  </a:lnTo>
                  <a:lnTo>
                    <a:pt x="234" y="265"/>
                  </a:lnTo>
                  <a:lnTo>
                    <a:pt x="228" y="265"/>
                  </a:lnTo>
                  <a:lnTo>
                    <a:pt x="222" y="260"/>
                  </a:lnTo>
                  <a:lnTo>
                    <a:pt x="219" y="261"/>
                  </a:lnTo>
                  <a:lnTo>
                    <a:pt x="217" y="261"/>
                  </a:lnTo>
                  <a:lnTo>
                    <a:pt x="217" y="256"/>
                  </a:lnTo>
                  <a:lnTo>
                    <a:pt x="221" y="258"/>
                  </a:lnTo>
                  <a:lnTo>
                    <a:pt x="221" y="256"/>
                  </a:lnTo>
                  <a:lnTo>
                    <a:pt x="219" y="255"/>
                  </a:lnTo>
                  <a:lnTo>
                    <a:pt x="221" y="251"/>
                  </a:lnTo>
                  <a:lnTo>
                    <a:pt x="214" y="249"/>
                  </a:lnTo>
                  <a:lnTo>
                    <a:pt x="214" y="246"/>
                  </a:lnTo>
                  <a:lnTo>
                    <a:pt x="210" y="249"/>
                  </a:lnTo>
                  <a:lnTo>
                    <a:pt x="212" y="246"/>
                  </a:lnTo>
                  <a:lnTo>
                    <a:pt x="212" y="243"/>
                  </a:lnTo>
                  <a:lnTo>
                    <a:pt x="216" y="243"/>
                  </a:lnTo>
                  <a:lnTo>
                    <a:pt x="212" y="238"/>
                  </a:lnTo>
                  <a:lnTo>
                    <a:pt x="214" y="236"/>
                  </a:lnTo>
                  <a:lnTo>
                    <a:pt x="217" y="238"/>
                  </a:lnTo>
                  <a:lnTo>
                    <a:pt x="217" y="234"/>
                  </a:lnTo>
                  <a:lnTo>
                    <a:pt x="216" y="232"/>
                  </a:lnTo>
                  <a:lnTo>
                    <a:pt x="214" y="232"/>
                  </a:lnTo>
                  <a:lnTo>
                    <a:pt x="216" y="229"/>
                  </a:lnTo>
                  <a:lnTo>
                    <a:pt x="214" y="227"/>
                  </a:lnTo>
                  <a:lnTo>
                    <a:pt x="212" y="229"/>
                  </a:lnTo>
                  <a:lnTo>
                    <a:pt x="210" y="224"/>
                  </a:lnTo>
                  <a:lnTo>
                    <a:pt x="210" y="215"/>
                  </a:lnTo>
                  <a:lnTo>
                    <a:pt x="204" y="207"/>
                  </a:lnTo>
                  <a:lnTo>
                    <a:pt x="205" y="207"/>
                  </a:lnTo>
                  <a:lnTo>
                    <a:pt x="204" y="205"/>
                  </a:lnTo>
                  <a:lnTo>
                    <a:pt x="205" y="205"/>
                  </a:lnTo>
                  <a:lnTo>
                    <a:pt x="204" y="205"/>
                  </a:lnTo>
                  <a:lnTo>
                    <a:pt x="204" y="207"/>
                  </a:lnTo>
                  <a:lnTo>
                    <a:pt x="199" y="200"/>
                  </a:lnTo>
                  <a:lnTo>
                    <a:pt x="192" y="195"/>
                  </a:lnTo>
                  <a:lnTo>
                    <a:pt x="188" y="190"/>
                  </a:lnTo>
                  <a:lnTo>
                    <a:pt x="183" y="186"/>
                  </a:lnTo>
                  <a:lnTo>
                    <a:pt x="180" y="178"/>
                  </a:lnTo>
                  <a:lnTo>
                    <a:pt x="180" y="176"/>
                  </a:lnTo>
                  <a:lnTo>
                    <a:pt x="175" y="169"/>
                  </a:lnTo>
                  <a:lnTo>
                    <a:pt x="166" y="162"/>
                  </a:lnTo>
                  <a:lnTo>
                    <a:pt x="163" y="159"/>
                  </a:lnTo>
                  <a:lnTo>
                    <a:pt x="158" y="157"/>
                  </a:lnTo>
                  <a:lnTo>
                    <a:pt x="158" y="154"/>
                  </a:lnTo>
                  <a:lnTo>
                    <a:pt x="154" y="149"/>
                  </a:lnTo>
                  <a:lnTo>
                    <a:pt x="147" y="144"/>
                  </a:lnTo>
                  <a:lnTo>
                    <a:pt x="146" y="142"/>
                  </a:lnTo>
                  <a:lnTo>
                    <a:pt x="144" y="133"/>
                  </a:lnTo>
                  <a:lnTo>
                    <a:pt x="139" y="127"/>
                  </a:lnTo>
                  <a:lnTo>
                    <a:pt x="137" y="125"/>
                  </a:lnTo>
                  <a:lnTo>
                    <a:pt x="139" y="120"/>
                  </a:lnTo>
                  <a:lnTo>
                    <a:pt x="140" y="121"/>
                  </a:lnTo>
                  <a:lnTo>
                    <a:pt x="139" y="120"/>
                  </a:lnTo>
                  <a:lnTo>
                    <a:pt x="140" y="120"/>
                  </a:lnTo>
                  <a:lnTo>
                    <a:pt x="140" y="116"/>
                  </a:lnTo>
                  <a:lnTo>
                    <a:pt x="137" y="111"/>
                  </a:lnTo>
                  <a:lnTo>
                    <a:pt x="132" y="108"/>
                  </a:lnTo>
                  <a:lnTo>
                    <a:pt x="134" y="106"/>
                  </a:lnTo>
                  <a:lnTo>
                    <a:pt x="132" y="106"/>
                  </a:lnTo>
                  <a:lnTo>
                    <a:pt x="132" y="104"/>
                  </a:lnTo>
                  <a:lnTo>
                    <a:pt x="132" y="106"/>
                  </a:lnTo>
                  <a:lnTo>
                    <a:pt x="134" y="106"/>
                  </a:lnTo>
                  <a:lnTo>
                    <a:pt x="132" y="108"/>
                  </a:lnTo>
                  <a:lnTo>
                    <a:pt x="123" y="101"/>
                  </a:lnTo>
                  <a:lnTo>
                    <a:pt x="125" y="101"/>
                  </a:lnTo>
                  <a:lnTo>
                    <a:pt x="123" y="99"/>
                  </a:lnTo>
                  <a:lnTo>
                    <a:pt x="123" y="101"/>
                  </a:lnTo>
                  <a:lnTo>
                    <a:pt x="122" y="101"/>
                  </a:lnTo>
                  <a:lnTo>
                    <a:pt x="113" y="96"/>
                  </a:lnTo>
                  <a:lnTo>
                    <a:pt x="111" y="94"/>
                  </a:lnTo>
                  <a:lnTo>
                    <a:pt x="108" y="94"/>
                  </a:lnTo>
                  <a:lnTo>
                    <a:pt x="111" y="96"/>
                  </a:lnTo>
                  <a:lnTo>
                    <a:pt x="111" y="94"/>
                  </a:lnTo>
                  <a:lnTo>
                    <a:pt x="110" y="94"/>
                  </a:lnTo>
                  <a:lnTo>
                    <a:pt x="100" y="91"/>
                  </a:lnTo>
                  <a:lnTo>
                    <a:pt x="101" y="91"/>
                  </a:lnTo>
                  <a:lnTo>
                    <a:pt x="96" y="91"/>
                  </a:lnTo>
                  <a:lnTo>
                    <a:pt x="96" y="86"/>
                  </a:lnTo>
                  <a:lnTo>
                    <a:pt x="93" y="86"/>
                  </a:lnTo>
                  <a:lnTo>
                    <a:pt x="94" y="84"/>
                  </a:lnTo>
                  <a:lnTo>
                    <a:pt x="94" y="86"/>
                  </a:lnTo>
                  <a:lnTo>
                    <a:pt x="91" y="80"/>
                  </a:lnTo>
                  <a:lnTo>
                    <a:pt x="82" y="80"/>
                  </a:lnTo>
                  <a:lnTo>
                    <a:pt x="81" y="84"/>
                  </a:lnTo>
                  <a:lnTo>
                    <a:pt x="74" y="82"/>
                  </a:lnTo>
                  <a:lnTo>
                    <a:pt x="72" y="79"/>
                  </a:lnTo>
                  <a:lnTo>
                    <a:pt x="69" y="80"/>
                  </a:lnTo>
                  <a:lnTo>
                    <a:pt x="72" y="75"/>
                  </a:lnTo>
                  <a:lnTo>
                    <a:pt x="72" y="74"/>
                  </a:lnTo>
                  <a:lnTo>
                    <a:pt x="79" y="68"/>
                  </a:lnTo>
                  <a:lnTo>
                    <a:pt x="88" y="67"/>
                  </a:lnTo>
                  <a:lnTo>
                    <a:pt x="91" y="62"/>
                  </a:lnTo>
                  <a:lnTo>
                    <a:pt x="94" y="55"/>
                  </a:lnTo>
                  <a:lnTo>
                    <a:pt x="96" y="53"/>
                  </a:lnTo>
                  <a:lnTo>
                    <a:pt x="98" y="50"/>
                  </a:lnTo>
                  <a:lnTo>
                    <a:pt x="100" y="50"/>
                  </a:lnTo>
                  <a:lnTo>
                    <a:pt x="106" y="45"/>
                  </a:lnTo>
                  <a:lnTo>
                    <a:pt x="110" y="43"/>
                  </a:lnTo>
                  <a:lnTo>
                    <a:pt x="113" y="46"/>
                  </a:lnTo>
                  <a:lnTo>
                    <a:pt x="118" y="48"/>
                  </a:lnTo>
                  <a:lnTo>
                    <a:pt x="127" y="43"/>
                  </a:lnTo>
                  <a:lnTo>
                    <a:pt x="130" y="51"/>
                  </a:lnTo>
                  <a:lnTo>
                    <a:pt x="135" y="55"/>
                  </a:lnTo>
                  <a:lnTo>
                    <a:pt x="140" y="51"/>
                  </a:lnTo>
                  <a:lnTo>
                    <a:pt x="147" y="53"/>
                  </a:lnTo>
                  <a:lnTo>
                    <a:pt x="158" y="53"/>
                  </a:lnTo>
                  <a:lnTo>
                    <a:pt x="163" y="48"/>
                  </a:lnTo>
                  <a:lnTo>
                    <a:pt x="164" y="43"/>
                  </a:lnTo>
                  <a:lnTo>
                    <a:pt x="158" y="33"/>
                  </a:lnTo>
                  <a:lnTo>
                    <a:pt x="158" y="27"/>
                  </a:lnTo>
                  <a:lnTo>
                    <a:pt x="149" y="24"/>
                  </a:lnTo>
                  <a:lnTo>
                    <a:pt x="147" y="21"/>
                  </a:lnTo>
                  <a:lnTo>
                    <a:pt x="151" y="12"/>
                  </a:lnTo>
                  <a:lnTo>
                    <a:pt x="149" y="10"/>
                  </a:lnTo>
                  <a:lnTo>
                    <a:pt x="149" y="2"/>
                  </a:lnTo>
                  <a:lnTo>
                    <a:pt x="152" y="0"/>
                  </a:lnTo>
                  <a:lnTo>
                    <a:pt x="163" y="4"/>
                  </a:lnTo>
                  <a:lnTo>
                    <a:pt x="164" y="7"/>
                  </a:lnTo>
                  <a:lnTo>
                    <a:pt x="168" y="7"/>
                  </a:lnTo>
                  <a:lnTo>
                    <a:pt x="176" y="12"/>
                  </a:lnTo>
                  <a:lnTo>
                    <a:pt x="178" y="12"/>
                  </a:lnTo>
                  <a:lnTo>
                    <a:pt x="188" y="17"/>
                  </a:lnTo>
                  <a:lnTo>
                    <a:pt x="190" y="1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7" name="Freeform 80"/>
            <p:cNvSpPr>
              <a:spLocks noEditPoints="1"/>
            </p:cNvSpPr>
            <p:nvPr/>
          </p:nvSpPr>
          <p:spPr bwMode="gray">
            <a:xfrm>
              <a:off x="4313774" y="2983235"/>
              <a:ext cx="1118224" cy="946751"/>
            </a:xfrm>
            <a:custGeom>
              <a:avLst/>
              <a:gdLst>
                <a:gd name="T0" fmla="*/ 313 w 613"/>
                <a:gd name="T1" fmla="*/ 480 h 519"/>
                <a:gd name="T2" fmla="*/ 586 w 613"/>
                <a:gd name="T3" fmla="*/ 258 h 519"/>
                <a:gd name="T4" fmla="*/ 558 w 613"/>
                <a:gd name="T5" fmla="*/ 275 h 519"/>
                <a:gd name="T6" fmla="*/ 548 w 613"/>
                <a:gd name="T7" fmla="*/ 312 h 519"/>
                <a:gd name="T8" fmla="*/ 564 w 613"/>
                <a:gd name="T9" fmla="*/ 324 h 519"/>
                <a:gd name="T10" fmla="*/ 553 w 613"/>
                <a:gd name="T11" fmla="*/ 345 h 519"/>
                <a:gd name="T12" fmla="*/ 533 w 613"/>
                <a:gd name="T13" fmla="*/ 365 h 519"/>
                <a:gd name="T14" fmla="*/ 494 w 613"/>
                <a:gd name="T15" fmla="*/ 398 h 519"/>
                <a:gd name="T16" fmla="*/ 466 w 613"/>
                <a:gd name="T17" fmla="*/ 440 h 519"/>
                <a:gd name="T18" fmla="*/ 444 w 613"/>
                <a:gd name="T19" fmla="*/ 475 h 519"/>
                <a:gd name="T20" fmla="*/ 422 w 613"/>
                <a:gd name="T21" fmla="*/ 502 h 519"/>
                <a:gd name="T22" fmla="*/ 398 w 613"/>
                <a:gd name="T23" fmla="*/ 495 h 519"/>
                <a:gd name="T24" fmla="*/ 347 w 613"/>
                <a:gd name="T25" fmla="*/ 510 h 519"/>
                <a:gd name="T26" fmla="*/ 330 w 613"/>
                <a:gd name="T27" fmla="*/ 475 h 519"/>
                <a:gd name="T28" fmla="*/ 311 w 613"/>
                <a:gd name="T29" fmla="*/ 481 h 519"/>
                <a:gd name="T30" fmla="*/ 277 w 613"/>
                <a:gd name="T31" fmla="*/ 451 h 519"/>
                <a:gd name="T32" fmla="*/ 272 w 613"/>
                <a:gd name="T33" fmla="*/ 475 h 519"/>
                <a:gd name="T34" fmla="*/ 220 w 613"/>
                <a:gd name="T35" fmla="*/ 505 h 519"/>
                <a:gd name="T36" fmla="*/ 174 w 613"/>
                <a:gd name="T37" fmla="*/ 495 h 519"/>
                <a:gd name="T38" fmla="*/ 128 w 613"/>
                <a:gd name="T39" fmla="*/ 517 h 519"/>
                <a:gd name="T40" fmla="*/ 130 w 613"/>
                <a:gd name="T41" fmla="*/ 469 h 519"/>
                <a:gd name="T42" fmla="*/ 116 w 613"/>
                <a:gd name="T43" fmla="*/ 428 h 519"/>
                <a:gd name="T44" fmla="*/ 98 w 613"/>
                <a:gd name="T45" fmla="*/ 458 h 519"/>
                <a:gd name="T46" fmla="*/ 60 w 613"/>
                <a:gd name="T47" fmla="*/ 451 h 519"/>
                <a:gd name="T48" fmla="*/ 7 w 613"/>
                <a:gd name="T49" fmla="*/ 451 h 519"/>
                <a:gd name="T50" fmla="*/ 38 w 613"/>
                <a:gd name="T51" fmla="*/ 428 h 519"/>
                <a:gd name="T52" fmla="*/ 46 w 613"/>
                <a:gd name="T53" fmla="*/ 399 h 519"/>
                <a:gd name="T54" fmla="*/ 39 w 613"/>
                <a:gd name="T55" fmla="*/ 346 h 519"/>
                <a:gd name="T56" fmla="*/ 33 w 613"/>
                <a:gd name="T57" fmla="*/ 323 h 519"/>
                <a:gd name="T58" fmla="*/ 21 w 613"/>
                <a:gd name="T59" fmla="*/ 300 h 519"/>
                <a:gd name="T60" fmla="*/ 39 w 613"/>
                <a:gd name="T61" fmla="*/ 278 h 519"/>
                <a:gd name="T62" fmla="*/ 68 w 613"/>
                <a:gd name="T63" fmla="*/ 261 h 519"/>
                <a:gd name="T64" fmla="*/ 103 w 613"/>
                <a:gd name="T65" fmla="*/ 237 h 519"/>
                <a:gd name="T66" fmla="*/ 108 w 613"/>
                <a:gd name="T67" fmla="*/ 213 h 519"/>
                <a:gd name="T68" fmla="*/ 140 w 613"/>
                <a:gd name="T69" fmla="*/ 193 h 519"/>
                <a:gd name="T70" fmla="*/ 173 w 613"/>
                <a:gd name="T71" fmla="*/ 181 h 519"/>
                <a:gd name="T72" fmla="*/ 193 w 613"/>
                <a:gd name="T73" fmla="*/ 179 h 519"/>
                <a:gd name="T74" fmla="*/ 224 w 613"/>
                <a:gd name="T75" fmla="*/ 177 h 519"/>
                <a:gd name="T76" fmla="*/ 258 w 613"/>
                <a:gd name="T77" fmla="*/ 160 h 519"/>
                <a:gd name="T78" fmla="*/ 299 w 613"/>
                <a:gd name="T79" fmla="*/ 155 h 519"/>
                <a:gd name="T80" fmla="*/ 319 w 613"/>
                <a:gd name="T81" fmla="*/ 118 h 519"/>
                <a:gd name="T82" fmla="*/ 319 w 613"/>
                <a:gd name="T83" fmla="*/ 78 h 519"/>
                <a:gd name="T84" fmla="*/ 335 w 613"/>
                <a:gd name="T85" fmla="*/ 54 h 519"/>
                <a:gd name="T86" fmla="*/ 371 w 613"/>
                <a:gd name="T87" fmla="*/ 19 h 519"/>
                <a:gd name="T88" fmla="*/ 405 w 613"/>
                <a:gd name="T89" fmla="*/ 12 h 519"/>
                <a:gd name="T90" fmla="*/ 420 w 613"/>
                <a:gd name="T91" fmla="*/ 31 h 519"/>
                <a:gd name="T92" fmla="*/ 447 w 613"/>
                <a:gd name="T93" fmla="*/ 27 h 519"/>
                <a:gd name="T94" fmla="*/ 476 w 613"/>
                <a:gd name="T95" fmla="*/ 10 h 519"/>
                <a:gd name="T96" fmla="*/ 509 w 613"/>
                <a:gd name="T97" fmla="*/ 5 h 519"/>
                <a:gd name="T98" fmla="*/ 528 w 613"/>
                <a:gd name="T99" fmla="*/ 42 h 519"/>
                <a:gd name="T100" fmla="*/ 500 w 613"/>
                <a:gd name="T101" fmla="*/ 58 h 519"/>
                <a:gd name="T102" fmla="*/ 500 w 613"/>
                <a:gd name="T103" fmla="*/ 90 h 519"/>
                <a:gd name="T104" fmla="*/ 529 w 613"/>
                <a:gd name="T105" fmla="*/ 111 h 519"/>
                <a:gd name="T106" fmla="*/ 545 w 613"/>
                <a:gd name="T107" fmla="*/ 118 h 519"/>
                <a:gd name="T108" fmla="*/ 548 w 613"/>
                <a:gd name="T109" fmla="*/ 155 h 519"/>
                <a:gd name="T110" fmla="*/ 576 w 613"/>
                <a:gd name="T111" fmla="*/ 200 h 519"/>
                <a:gd name="T112" fmla="*/ 608 w 613"/>
                <a:gd name="T113" fmla="*/ 22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3" h="519">
                  <a:moveTo>
                    <a:pt x="318" y="490"/>
                  </a:moveTo>
                  <a:lnTo>
                    <a:pt x="316" y="490"/>
                  </a:lnTo>
                  <a:lnTo>
                    <a:pt x="316" y="487"/>
                  </a:lnTo>
                  <a:lnTo>
                    <a:pt x="319" y="483"/>
                  </a:lnTo>
                  <a:lnTo>
                    <a:pt x="321" y="487"/>
                  </a:lnTo>
                  <a:lnTo>
                    <a:pt x="318" y="490"/>
                  </a:lnTo>
                  <a:close/>
                  <a:moveTo>
                    <a:pt x="311" y="480"/>
                  </a:moveTo>
                  <a:lnTo>
                    <a:pt x="313" y="480"/>
                  </a:lnTo>
                  <a:lnTo>
                    <a:pt x="313" y="483"/>
                  </a:lnTo>
                  <a:lnTo>
                    <a:pt x="311" y="483"/>
                  </a:lnTo>
                  <a:lnTo>
                    <a:pt x="311" y="480"/>
                  </a:lnTo>
                  <a:close/>
                  <a:moveTo>
                    <a:pt x="603" y="251"/>
                  </a:moveTo>
                  <a:lnTo>
                    <a:pt x="598" y="254"/>
                  </a:lnTo>
                  <a:lnTo>
                    <a:pt x="593" y="254"/>
                  </a:lnTo>
                  <a:lnTo>
                    <a:pt x="591" y="254"/>
                  </a:lnTo>
                  <a:lnTo>
                    <a:pt x="586" y="258"/>
                  </a:lnTo>
                  <a:lnTo>
                    <a:pt x="581" y="261"/>
                  </a:lnTo>
                  <a:lnTo>
                    <a:pt x="579" y="261"/>
                  </a:lnTo>
                  <a:lnTo>
                    <a:pt x="570" y="263"/>
                  </a:lnTo>
                  <a:lnTo>
                    <a:pt x="565" y="266"/>
                  </a:lnTo>
                  <a:lnTo>
                    <a:pt x="562" y="265"/>
                  </a:lnTo>
                  <a:lnTo>
                    <a:pt x="562" y="266"/>
                  </a:lnTo>
                  <a:lnTo>
                    <a:pt x="558" y="273"/>
                  </a:lnTo>
                  <a:lnTo>
                    <a:pt x="558" y="275"/>
                  </a:lnTo>
                  <a:lnTo>
                    <a:pt x="557" y="283"/>
                  </a:lnTo>
                  <a:lnTo>
                    <a:pt x="553" y="292"/>
                  </a:lnTo>
                  <a:lnTo>
                    <a:pt x="555" y="294"/>
                  </a:lnTo>
                  <a:lnTo>
                    <a:pt x="553" y="294"/>
                  </a:lnTo>
                  <a:lnTo>
                    <a:pt x="552" y="304"/>
                  </a:lnTo>
                  <a:lnTo>
                    <a:pt x="548" y="311"/>
                  </a:lnTo>
                  <a:lnTo>
                    <a:pt x="550" y="314"/>
                  </a:lnTo>
                  <a:lnTo>
                    <a:pt x="548" y="312"/>
                  </a:lnTo>
                  <a:lnTo>
                    <a:pt x="550" y="321"/>
                  </a:lnTo>
                  <a:lnTo>
                    <a:pt x="557" y="321"/>
                  </a:lnTo>
                  <a:lnTo>
                    <a:pt x="560" y="323"/>
                  </a:lnTo>
                  <a:lnTo>
                    <a:pt x="560" y="321"/>
                  </a:lnTo>
                  <a:lnTo>
                    <a:pt x="560" y="323"/>
                  </a:lnTo>
                  <a:lnTo>
                    <a:pt x="562" y="321"/>
                  </a:lnTo>
                  <a:lnTo>
                    <a:pt x="562" y="324"/>
                  </a:lnTo>
                  <a:lnTo>
                    <a:pt x="564" y="324"/>
                  </a:lnTo>
                  <a:lnTo>
                    <a:pt x="562" y="326"/>
                  </a:lnTo>
                  <a:lnTo>
                    <a:pt x="565" y="328"/>
                  </a:lnTo>
                  <a:lnTo>
                    <a:pt x="564" y="331"/>
                  </a:lnTo>
                  <a:lnTo>
                    <a:pt x="560" y="331"/>
                  </a:lnTo>
                  <a:lnTo>
                    <a:pt x="560" y="329"/>
                  </a:lnTo>
                  <a:lnTo>
                    <a:pt x="557" y="335"/>
                  </a:lnTo>
                  <a:lnTo>
                    <a:pt x="560" y="341"/>
                  </a:lnTo>
                  <a:lnTo>
                    <a:pt x="553" y="345"/>
                  </a:lnTo>
                  <a:lnTo>
                    <a:pt x="550" y="343"/>
                  </a:lnTo>
                  <a:lnTo>
                    <a:pt x="550" y="348"/>
                  </a:lnTo>
                  <a:lnTo>
                    <a:pt x="548" y="352"/>
                  </a:lnTo>
                  <a:lnTo>
                    <a:pt x="546" y="362"/>
                  </a:lnTo>
                  <a:lnTo>
                    <a:pt x="543" y="362"/>
                  </a:lnTo>
                  <a:lnTo>
                    <a:pt x="541" y="358"/>
                  </a:lnTo>
                  <a:lnTo>
                    <a:pt x="541" y="360"/>
                  </a:lnTo>
                  <a:lnTo>
                    <a:pt x="533" y="365"/>
                  </a:lnTo>
                  <a:lnTo>
                    <a:pt x="528" y="369"/>
                  </a:lnTo>
                  <a:lnTo>
                    <a:pt x="524" y="372"/>
                  </a:lnTo>
                  <a:lnTo>
                    <a:pt x="516" y="377"/>
                  </a:lnTo>
                  <a:lnTo>
                    <a:pt x="511" y="384"/>
                  </a:lnTo>
                  <a:lnTo>
                    <a:pt x="502" y="389"/>
                  </a:lnTo>
                  <a:lnTo>
                    <a:pt x="500" y="389"/>
                  </a:lnTo>
                  <a:lnTo>
                    <a:pt x="499" y="394"/>
                  </a:lnTo>
                  <a:lnTo>
                    <a:pt x="494" y="398"/>
                  </a:lnTo>
                  <a:lnTo>
                    <a:pt x="487" y="405"/>
                  </a:lnTo>
                  <a:lnTo>
                    <a:pt x="487" y="415"/>
                  </a:lnTo>
                  <a:lnTo>
                    <a:pt x="483" y="420"/>
                  </a:lnTo>
                  <a:lnTo>
                    <a:pt x="478" y="423"/>
                  </a:lnTo>
                  <a:lnTo>
                    <a:pt x="473" y="422"/>
                  </a:lnTo>
                  <a:lnTo>
                    <a:pt x="471" y="430"/>
                  </a:lnTo>
                  <a:lnTo>
                    <a:pt x="465" y="432"/>
                  </a:lnTo>
                  <a:lnTo>
                    <a:pt x="466" y="440"/>
                  </a:lnTo>
                  <a:lnTo>
                    <a:pt x="459" y="439"/>
                  </a:lnTo>
                  <a:lnTo>
                    <a:pt x="456" y="446"/>
                  </a:lnTo>
                  <a:lnTo>
                    <a:pt x="454" y="446"/>
                  </a:lnTo>
                  <a:lnTo>
                    <a:pt x="458" y="447"/>
                  </a:lnTo>
                  <a:lnTo>
                    <a:pt x="451" y="456"/>
                  </a:lnTo>
                  <a:lnTo>
                    <a:pt x="458" y="463"/>
                  </a:lnTo>
                  <a:lnTo>
                    <a:pt x="446" y="471"/>
                  </a:lnTo>
                  <a:lnTo>
                    <a:pt x="444" y="475"/>
                  </a:lnTo>
                  <a:lnTo>
                    <a:pt x="446" y="480"/>
                  </a:lnTo>
                  <a:lnTo>
                    <a:pt x="437" y="487"/>
                  </a:lnTo>
                  <a:lnTo>
                    <a:pt x="436" y="493"/>
                  </a:lnTo>
                  <a:lnTo>
                    <a:pt x="434" y="497"/>
                  </a:lnTo>
                  <a:lnTo>
                    <a:pt x="436" y="500"/>
                  </a:lnTo>
                  <a:lnTo>
                    <a:pt x="432" y="509"/>
                  </a:lnTo>
                  <a:lnTo>
                    <a:pt x="427" y="507"/>
                  </a:lnTo>
                  <a:lnTo>
                    <a:pt x="422" y="502"/>
                  </a:lnTo>
                  <a:lnTo>
                    <a:pt x="420" y="498"/>
                  </a:lnTo>
                  <a:lnTo>
                    <a:pt x="413" y="502"/>
                  </a:lnTo>
                  <a:lnTo>
                    <a:pt x="408" y="500"/>
                  </a:lnTo>
                  <a:lnTo>
                    <a:pt x="403" y="497"/>
                  </a:lnTo>
                  <a:lnTo>
                    <a:pt x="400" y="493"/>
                  </a:lnTo>
                  <a:lnTo>
                    <a:pt x="403" y="488"/>
                  </a:lnTo>
                  <a:lnTo>
                    <a:pt x="398" y="492"/>
                  </a:lnTo>
                  <a:lnTo>
                    <a:pt x="398" y="495"/>
                  </a:lnTo>
                  <a:lnTo>
                    <a:pt x="388" y="498"/>
                  </a:lnTo>
                  <a:lnTo>
                    <a:pt x="383" y="500"/>
                  </a:lnTo>
                  <a:lnTo>
                    <a:pt x="374" y="507"/>
                  </a:lnTo>
                  <a:lnTo>
                    <a:pt x="371" y="509"/>
                  </a:lnTo>
                  <a:lnTo>
                    <a:pt x="367" y="509"/>
                  </a:lnTo>
                  <a:lnTo>
                    <a:pt x="359" y="510"/>
                  </a:lnTo>
                  <a:lnTo>
                    <a:pt x="354" y="510"/>
                  </a:lnTo>
                  <a:lnTo>
                    <a:pt x="347" y="510"/>
                  </a:lnTo>
                  <a:lnTo>
                    <a:pt x="342" y="507"/>
                  </a:lnTo>
                  <a:lnTo>
                    <a:pt x="345" y="502"/>
                  </a:lnTo>
                  <a:lnTo>
                    <a:pt x="348" y="493"/>
                  </a:lnTo>
                  <a:lnTo>
                    <a:pt x="347" y="485"/>
                  </a:lnTo>
                  <a:lnTo>
                    <a:pt x="345" y="476"/>
                  </a:lnTo>
                  <a:lnTo>
                    <a:pt x="345" y="475"/>
                  </a:lnTo>
                  <a:lnTo>
                    <a:pt x="337" y="473"/>
                  </a:lnTo>
                  <a:lnTo>
                    <a:pt x="330" y="475"/>
                  </a:lnTo>
                  <a:lnTo>
                    <a:pt x="326" y="476"/>
                  </a:lnTo>
                  <a:lnTo>
                    <a:pt x="325" y="481"/>
                  </a:lnTo>
                  <a:lnTo>
                    <a:pt x="319" y="483"/>
                  </a:lnTo>
                  <a:lnTo>
                    <a:pt x="316" y="487"/>
                  </a:lnTo>
                  <a:lnTo>
                    <a:pt x="313" y="485"/>
                  </a:lnTo>
                  <a:lnTo>
                    <a:pt x="313" y="481"/>
                  </a:lnTo>
                  <a:lnTo>
                    <a:pt x="311" y="480"/>
                  </a:lnTo>
                  <a:lnTo>
                    <a:pt x="311" y="481"/>
                  </a:lnTo>
                  <a:lnTo>
                    <a:pt x="313" y="488"/>
                  </a:lnTo>
                  <a:lnTo>
                    <a:pt x="307" y="480"/>
                  </a:lnTo>
                  <a:lnTo>
                    <a:pt x="302" y="475"/>
                  </a:lnTo>
                  <a:lnTo>
                    <a:pt x="296" y="468"/>
                  </a:lnTo>
                  <a:lnTo>
                    <a:pt x="294" y="464"/>
                  </a:lnTo>
                  <a:lnTo>
                    <a:pt x="290" y="463"/>
                  </a:lnTo>
                  <a:lnTo>
                    <a:pt x="284" y="458"/>
                  </a:lnTo>
                  <a:lnTo>
                    <a:pt x="277" y="451"/>
                  </a:lnTo>
                  <a:lnTo>
                    <a:pt x="273" y="458"/>
                  </a:lnTo>
                  <a:lnTo>
                    <a:pt x="272" y="459"/>
                  </a:lnTo>
                  <a:lnTo>
                    <a:pt x="270" y="459"/>
                  </a:lnTo>
                  <a:lnTo>
                    <a:pt x="265" y="468"/>
                  </a:lnTo>
                  <a:lnTo>
                    <a:pt x="267" y="471"/>
                  </a:lnTo>
                  <a:lnTo>
                    <a:pt x="272" y="473"/>
                  </a:lnTo>
                  <a:lnTo>
                    <a:pt x="277" y="469"/>
                  </a:lnTo>
                  <a:lnTo>
                    <a:pt x="272" y="475"/>
                  </a:lnTo>
                  <a:lnTo>
                    <a:pt x="268" y="478"/>
                  </a:lnTo>
                  <a:lnTo>
                    <a:pt x="261" y="483"/>
                  </a:lnTo>
                  <a:lnTo>
                    <a:pt x="260" y="485"/>
                  </a:lnTo>
                  <a:lnTo>
                    <a:pt x="249" y="490"/>
                  </a:lnTo>
                  <a:lnTo>
                    <a:pt x="241" y="495"/>
                  </a:lnTo>
                  <a:lnTo>
                    <a:pt x="234" y="497"/>
                  </a:lnTo>
                  <a:lnTo>
                    <a:pt x="229" y="502"/>
                  </a:lnTo>
                  <a:lnTo>
                    <a:pt x="220" y="505"/>
                  </a:lnTo>
                  <a:lnTo>
                    <a:pt x="220" y="507"/>
                  </a:lnTo>
                  <a:lnTo>
                    <a:pt x="217" y="507"/>
                  </a:lnTo>
                  <a:lnTo>
                    <a:pt x="210" y="504"/>
                  </a:lnTo>
                  <a:lnTo>
                    <a:pt x="205" y="497"/>
                  </a:lnTo>
                  <a:lnTo>
                    <a:pt x="202" y="495"/>
                  </a:lnTo>
                  <a:lnTo>
                    <a:pt x="193" y="492"/>
                  </a:lnTo>
                  <a:lnTo>
                    <a:pt x="183" y="492"/>
                  </a:lnTo>
                  <a:lnTo>
                    <a:pt x="174" y="495"/>
                  </a:lnTo>
                  <a:lnTo>
                    <a:pt x="169" y="498"/>
                  </a:lnTo>
                  <a:lnTo>
                    <a:pt x="162" y="502"/>
                  </a:lnTo>
                  <a:lnTo>
                    <a:pt x="156" y="507"/>
                  </a:lnTo>
                  <a:lnTo>
                    <a:pt x="152" y="509"/>
                  </a:lnTo>
                  <a:lnTo>
                    <a:pt x="147" y="514"/>
                  </a:lnTo>
                  <a:lnTo>
                    <a:pt x="140" y="519"/>
                  </a:lnTo>
                  <a:lnTo>
                    <a:pt x="135" y="519"/>
                  </a:lnTo>
                  <a:lnTo>
                    <a:pt x="128" y="517"/>
                  </a:lnTo>
                  <a:lnTo>
                    <a:pt x="125" y="514"/>
                  </a:lnTo>
                  <a:lnTo>
                    <a:pt x="128" y="509"/>
                  </a:lnTo>
                  <a:lnTo>
                    <a:pt x="130" y="500"/>
                  </a:lnTo>
                  <a:lnTo>
                    <a:pt x="130" y="492"/>
                  </a:lnTo>
                  <a:lnTo>
                    <a:pt x="130" y="488"/>
                  </a:lnTo>
                  <a:lnTo>
                    <a:pt x="128" y="480"/>
                  </a:lnTo>
                  <a:lnTo>
                    <a:pt x="128" y="478"/>
                  </a:lnTo>
                  <a:lnTo>
                    <a:pt x="130" y="469"/>
                  </a:lnTo>
                  <a:lnTo>
                    <a:pt x="130" y="466"/>
                  </a:lnTo>
                  <a:lnTo>
                    <a:pt x="132" y="459"/>
                  </a:lnTo>
                  <a:lnTo>
                    <a:pt x="130" y="452"/>
                  </a:lnTo>
                  <a:lnTo>
                    <a:pt x="125" y="446"/>
                  </a:lnTo>
                  <a:lnTo>
                    <a:pt x="123" y="440"/>
                  </a:lnTo>
                  <a:lnTo>
                    <a:pt x="120" y="439"/>
                  </a:lnTo>
                  <a:lnTo>
                    <a:pt x="121" y="434"/>
                  </a:lnTo>
                  <a:lnTo>
                    <a:pt x="116" y="428"/>
                  </a:lnTo>
                  <a:lnTo>
                    <a:pt x="118" y="435"/>
                  </a:lnTo>
                  <a:lnTo>
                    <a:pt x="113" y="442"/>
                  </a:lnTo>
                  <a:lnTo>
                    <a:pt x="115" y="444"/>
                  </a:lnTo>
                  <a:lnTo>
                    <a:pt x="118" y="442"/>
                  </a:lnTo>
                  <a:lnTo>
                    <a:pt x="115" y="447"/>
                  </a:lnTo>
                  <a:lnTo>
                    <a:pt x="108" y="449"/>
                  </a:lnTo>
                  <a:lnTo>
                    <a:pt x="99" y="454"/>
                  </a:lnTo>
                  <a:lnTo>
                    <a:pt x="98" y="458"/>
                  </a:lnTo>
                  <a:lnTo>
                    <a:pt x="96" y="452"/>
                  </a:lnTo>
                  <a:lnTo>
                    <a:pt x="91" y="447"/>
                  </a:lnTo>
                  <a:lnTo>
                    <a:pt x="84" y="444"/>
                  </a:lnTo>
                  <a:lnTo>
                    <a:pt x="86" y="439"/>
                  </a:lnTo>
                  <a:lnTo>
                    <a:pt x="79" y="444"/>
                  </a:lnTo>
                  <a:lnTo>
                    <a:pt x="74" y="444"/>
                  </a:lnTo>
                  <a:lnTo>
                    <a:pt x="68" y="446"/>
                  </a:lnTo>
                  <a:lnTo>
                    <a:pt x="60" y="451"/>
                  </a:lnTo>
                  <a:lnTo>
                    <a:pt x="55" y="452"/>
                  </a:lnTo>
                  <a:lnTo>
                    <a:pt x="48" y="458"/>
                  </a:lnTo>
                  <a:lnTo>
                    <a:pt x="39" y="459"/>
                  </a:lnTo>
                  <a:lnTo>
                    <a:pt x="31" y="463"/>
                  </a:lnTo>
                  <a:lnTo>
                    <a:pt x="22" y="459"/>
                  </a:lnTo>
                  <a:lnTo>
                    <a:pt x="16" y="454"/>
                  </a:lnTo>
                  <a:lnTo>
                    <a:pt x="12" y="452"/>
                  </a:lnTo>
                  <a:lnTo>
                    <a:pt x="7" y="451"/>
                  </a:lnTo>
                  <a:lnTo>
                    <a:pt x="0" y="452"/>
                  </a:lnTo>
                  <a:lnTo>
                    <a:pt x="4" y="447"/>
                  </a:lnTo>
                  <a:lnTo>
                    <a:pt x="7" y="444"/>
                  </a:lnTo>
                  <a:lnTo>
                    <a:pt x="16" y="442"/>
                  </a:lnTo>
                  <a:lnTo>
                    <a:pt x="19" y="439"/>
                  </a:lnTo>
                  <a:lnTo>
                    <a:pt x="29" y="437"/>
                  </a:lnTo>
                  <a:lnTo>
                    <a:pt x="34" y="428"/>
                  </a:lnTo>
                  <a:lnTo>
                    <a:pt x="38" y="428"/>
                  </a:lnTo>
                  <a:lnTo>
                    <a:pt x="45" y="427"/>
                  </a:lnTo>
                  <a:lnTo>
                    <a:pt x="48" y="425"/>
                  </a:lnTo>
                  <a:lnTo>
                    <a:pt x="53" y="418"/>
                  </a:lnTo>
                  <a:lnTo>
                    <a:pt x="53" y="415"/>
                  </a:lnTo>
                  <a:lnTo>
                    <a:pt x="50" y="415"/>
                  </a:lnTo>
                  <a:lnTo>
                    <a:pt x="46" y="413"/>
                  </a:lnTo>
                  <a:lnTo>
                    <a:pt x="50" y="406"/>
                  </a:lnTo>
                  <a:lnTo>
                    <a:pt x="46" y="399"/>
                  </a:lnTo>
                  <a:lnTo>
                    <a:pt x="45" y="389"/>
                  </a:lnTo>
                  <a:lnTo>
                    <a:pt x="43" y="381"/>
                  </a:lnTo>
                  <a:lnTo>
                    <a:pt x="43" y="376"/>
                  </a:lnTo>
                  <a:lnTo>
                    <a:pt x="39" y="367"/>
                  </a:lnTo>
                  <a:lnTo>
                    <a:pt x="36" y="364"/>
                  </a:lnTo>
                  <a:lnTo>
                    <a:pt x="41" y="357"/>
                  </a:lnTo>
                  <a:lnTo>
                    <a:pt x="43" y="353"/>
                  </a:lnTo>
                  <a:lnTo>
                    <a:pt x="39" y="346"/>
                  </a:lnTo>
                  <a:lnTo>
                    <a:pt x="39" y="341"/>
                  </a:lnTo>
                  <a:lnTo>
                    <a:pt x="43" y="340"/>
                  </a:lnTo>
                  <a:lnTo>
                    <a:pt x="43" y="336"/>
                  </a:lnTo>
                  <a:lnTo>
                    <a:pt x="39" y="336"/>
                  </a:lnTo>
                  <a:lnTo>
                    <a:pt x="39" y="333"/>
                  </a:lnTo>
                  <a:lnTo>
                    <a:pt x="34" y="329"/>
                  </a:lnTo>
                  <a:lnTo>
                    <a:pt x="31" y="328"/>
                  </a:lnTo>
                  <a:lnTo>
                    <a:pt x="33" y="323"/>
                  </a:lnTo>
                  <a:lnTo>
                    <a:pt x="29" y="319"/>
                  </a:lnTo>
                  <a:lnTo>
                    <a:pt x="31" y="316"/>
                  </a:lnTo>
                  <a:lnTo>
                    <a:pt x="34" y="307"/>
                  </a:lnTo>
                  <a:lnTo>
                    <a:pt x="34" y="299"/>
                  </a:lnTo>
                  <a:lnTo>
                    <a:pt x="31" y="295"/>
                  </a:lnTo>
                  <a:lnTo>
                    <a:pt x="29" y="295"/>
                  </a:lnTo>
                  <a:lnTo>
                    <a:pt x="26" y="299"/>
                  </a:lnTo>
                  <a:lnTo>
                    <a:pt x="21" y="300"/>
                  </a:lnTo>
                  <a:lnTo>
                    <a:pt x="19" y="295"/>
                  </a:lnTo>
                  <a:lnTo>
                    <a:pt x="16" y="295"/>
                  </a:lnTo>
                  <a:lnTo>
                    <a:pt x="16" y="290"/>
                  </a:lnTo>
                  <a:lnTo>
                    <a:pt x="22" y="285"/>
                  </a:lnTo>
                  <a:lnTo>
                    <a:pt x="28" y="283"/>
                  </a:lnTo>
                  <a:lnTo>
                    <a:pt x="31" y="278"/>
                  </a:lnTo>
                  <a:lnTo>
                    <a:pt x="34" y="282"/>
                  </a:lnTo>
                  <a:lnTo>
                    <a:pt x="39" y="278"/>
                  </a:lnTo>
                  <a:lnTo>
                    <a:pt x="41" y="282"/>
                  </a:lnTo>
                  <a:lnTo>
                    <a:pt x="46" y="280"/>
                  </a:lnTo>
                  <a:lnTo>
                    <a:pt x="46" y="276"/>
                  </a:lnTo>
                  <a:lnTo>
                    <a:pt x="50" y="270"/>
                  </a:lnTo>
                  <a:lnTo>
                    <a:pt x="51" y="266"/>
                  </a:lnTo>
                  <a:lnTo>
                    <a:pt x="57" y="266"/>
                  </a:lnTo>
                  <a:lnTo>
                    <a:pt x="60" y="265"/>
                  </a:lnTo>
                  <a:lnTo>
                    <a:pt x="68" y="261"/>
                  </a:lnTo>
                  <a:lnTo>
                    <a:pt x="74" y="254"/>
                  </a:lnTo>
                  <a:lnTo>
                    <a:pt x="75" y="253"/>
                  </a:lnTo>
                  <a:lnTo>
                    <a:pt x="79" y="247"/>
                  </a:lnTo>
                  <a:lnTo>
                    <a:pt x="80" y="247"/>
                  </a:lnTo>
                  <a:lnTo>
                    <a:pt x="82" y="244"/>
                  </a:lnTo>
                  <a:lnTo>
                    <a:pt x="92" y="242"/>
                  </a:lnTo>
                  <a:lnTo>
                    <a:pt x="101" y="239"/>
                  </a:lnTo>
                  <a:lnTo>
                    <a:pt x="103" y="237"/>
                  </a:lnTo>
                  <a:lnTo>
                    <a:pt x="99" y="234"/>
                  </a:lnTo>
                  <a:lnTo>
                    <a:pt x="101" y="232"/>
                  </a:lnTo>
                  <a:lnTo>
                    <a:pt x="99" y="227"/>
                  </a:lnTo>
                  <a:lnTo>
                    <a:pt x="101" y="224"/>
                  </a:lnTo>
                  <a:lnTo>
                    <a:pt x="104" y="224"/>
                  </a:lnTo>
                  <a:lnTo>
                    <a:pt x="108" y="218"/>
                  </a:lnTo>
                  <a:lnTo>
                    <a:pt x="108" y="217"/>
                  </a:lnTo>
                  <a:lnTo>
                    <a:pt x="108" y="213"/>
                  </a:lnTo>
                  <a:lnTo>
                    <a:pt x="116" y="208"/>
                  </a:lnTo>
                  <a:lnTo>
                    <a:pt x="120" y="206"/>
                  </a:lnTo>
                  <a:lnTo>
                    <a:pt x="121" y="205"/>
                  </a:lnTo>
                  <a:lnTo>
                    <a:pt x="127" y="203"/>
                  </a:lnTo>
                  <a:lnTo>
                    <a:pt x="133" y="205"/>
                  </a:lnTo>
                  <a:lnTo>
                    <a:pt x="138" y="198"/>
                  </a:lnTo>
                  <a:lnTo>
                    <a:pt x="142" y="200"/>
                  </a:lnTo>
                  <a:lnTo>
                    <a:pt x="140" y="193"/>
                  </a:lnTo>
                  <a:lnTo>
                    <a:pt x="142" y="188"/>
                  </a:lnTo>
                  <a:lnTo>
                    <a:pt x="147" y="193"/>
                  </a:lnTo>
                  <a:lnTo>
                    <a:pt x="156" y="191"/>
                  </a:lnTo>
                  <a:lnTo>
                    <a:pt x="157" y="189"/>
                  </a:lnTo>
                  <a:lnTo>
                    <a:pt x="156" y="179"/>
                  </a:lnTo>
                  <a:lnTo>
                    <a:pt x="162" y="179"/>
                  </a:lnTo>
                  <a:lnTo>
                    <a:pt x="168" y="181"/>
                  </a:lnTo>
                  <a:lnTo>
                    <a:pt x="173" y="181"/>
                  </a:lnTo>
                  <a:lnTo>
                    <a:pt x="171" y="177"/>
                  </a:lnTo>
                  <a:lnTo>
                    <a:pt x="173" y="172"/>
                  </a:lnTo>
                  <a:lnTo>
                    <a:pt x="178" y="167"/>
                  </a:lnTo>
                  <a:lnTo>
                    <a:pt x="183" y="171"/>
                  </a:lnTo>
                  <a:lnTo>
                    <a:pt x="188" y="177"/>
                  </a:lnTo>
                  <a:lnTo>
                    <a:pt x="188" y="183"/>
                  </a:lnTo>
                  <a:lnTo>
                    <a:pt x="190" y="183"/>
                  </a:lnTo>
                  <a:lnTo>
                    <a:pt x="193" y="179"/>
                  </a:lnTo>
                  <a:lnTo>
                    <a:pt x="195" y="181"/>
                  </a:lnTo>
                  <a:lnTo>
                    <a:pt x="198" y="179"/>
                  </a:lnTo>
                  <a:lnTo>
                    <a:pt x="205" y="176"/>
                  </a:lnTo>
                  <a:lnTo>
                    <a:pt x="210" y="183"/>
                  </a:lnTo>
                  <a:lnTo>
                    <a:pt x="212" y="181"/>
                  </a:lnTo>
                  <a:lnTo>
                    <a:pt x="212" y="177"/>
                  </a:lnTo>
                  <a:lnTo>
                    <a:pt x="217" y="177"/>
                  </a:lnTo>
                  <a:lnTo>
                    <a:pt x="224" y="177"/>
                  </a:lnTo>
                  <a:lnTo>
                    <a:pt x="226" y="174"/>
                  </a:lnTo>
                  <a:lnTo>
                    <a:pt x="236" y="172"/>
                  </a:lnTo>
                  <a:lnTo>
                    <a:pt x="238" y="169"/>
                  </a:lnTo>
                  <a:lnTo>
                    <a:pt x="243" y="169"/>
                  </a:lnTo>
                  <a:lnTo>
                    <a:pt x="241" y="164"/>
                  </a:lnTo>
                  <a:lnTo>
                    <a:pt x="243" y="162"/>
                  </a:lnTo>
                  <a:lnTo>
                    <a:pt x="253" y="164"/>
                  </a:lnTo>
                  <a:lnTo>
                    <a:pt x="258" y="160"/>
                  </a:lnTo>
                  <a:lnTo>
                    <a:pt x="260" y="159"/>
                  </a:lnTo>
                  <a:lnTo>
                    <a:pt x="268" y="155"/>
                  </a:lnTo>
                  <a:lnTo>
                    <a:pt x="273" y="153"/>
                  </a:lnTo>
                  <a:lnTo>
                    <a:pt x="282" y="153"/>
                  </a:lnTo>
                  <a:lnTo>
                    <a:pt x="289" y="148"/>
                  </a:lnTo>
                  <a:lnTo>
                    <a:pt x="296" y="150"/>
                  </a:lnTo>
                  <a:lnTo>
                    <a:pt x="297" y="155"/>
                  </a:lnTo>
                  <a:lnTo>
                    <a:pt x="299" y="155"/>
                  </a:lnTo>
                  <a:lnTo>
                    <a:pt x="304" y="145"/>
                  </a:lnTo>
                  <a:lnTo>
                    <a:pt x="304" y="142"/>
                  </a:lnTo>
                  <a:lnTo>
                    <a:pt x="299" y="136"/>
                  </a:lnTo>
                  <a:lnTo>
                    <a:pt x="299" y="131"/>
                  </a:lnTo>
                  <a:lnTo>
                    <a:pt x="304" y="128"/>
                  </a:lnTo>
                  <a:lnTo>
                    <a:pt x="307" y="123"/>
                  </a:lnTo>
                  <a:lnTo>
                    <a:pt x="314" y="121"/>
                  </a:lnTo>
                  <a:lnTo>
                    <a:pt x="319" y="118"/>
                  </a:lnTo>
                  <a:lnTo>
                    <a:pt x="323" y="113"/>
                  </a:lnTo>
                  <a:lnTo>
                    <a:pt x="321" y="109"/>
                  </a:lnTo>
                  <a:lnTo>
                    <a:pt x="326" y="102"/>
                  </a:lnTo>
                  <a:lnTo>
                    <a:pt x="323" y="101"/>
                  </a:lnTo>
                  <a:lnTo>
                    <a:pt x="325" y="94"/>
                  </a:lnTo>
                  <a:lnTo>
                    <a:pt x="319" y="87"/>
                  </a:lnTo>
                  <a:lnTo>
                    <a:pt x="321" y="80"/>
                  </a:lnTo>
                  <a:lnTo>
                    <a:pt x="319" y="78"/>
                  </a:lnTo>
                  <a:lnTo>
                    <a:pt x="318" y="77"/>
                  </a:lnTo>
                  <a:lnTo>
                    <a:pt x="309" y="73"/>
                  </a:lnTo>
                  <a:lnTo>
                    <a:pt x="306" y="66"/>
                  </a:lnTo>
                  <a:lnTo>
                    <a:pt x="314" y="61"/>
                  </a:lnTo>
                  <a:lnTo>
                    <a:pt x="325" y="63"/>
                  </a:lnTo>
                  <a:lnTo>
                    <a:pt x="326" y="61"/>
                  </a:lnTo>
                  <a:lnTo>
                    <a:pt x="335" y="56"/>
                  </a:lnTo>
                  <a:lnTo>
                    <a:pt x="335" y="54"/>
                  </a:lnTo>
                  <a:lnTo>
                    <a:pt x="342" y="48"/>
                  </a:lnTo>
                  <a:lnTo>
                    <a:pt x="343" y="46"/>
                  </a:lnTo>
                  <a:lnTo>
                    <a:pt x="352" y="41"/>
                  </a:lnTo>
                  <a:lnTo>
                    <a:pt x="354" y="34"/>
                  </a:lnTo>
                  <a:lnTo>
                    <a:pt x="360" y="31"/>
                  </a:lnTo>
                  <a:lnTo>
                    <a:pt x="362" y="27"/>
                  </a:lnTo>
                  <a:lnTo>
                    <a:pt x="366" y="27"/>
                  </a:lnTo>
                  <a:lnTo>
                    <a:pt x="371" y="19"/>
                  </a:lnTo>
                  <a:lnTo>
                    <a:pt x="374" y="15"/>
                  </a:lnTo>
                  <a:lnTo>
                    <a:pt x="377" y="15"/>
                  </a:lnTo>
                  <a:lnTo>
                    <a:pt x="379" y="17"/>
                  </a:lnTo>
                  <a:lnTo>
                    <a:pt x="381" y="15"/>
                  </a:lnTo>
                  <a:lnTo>
                    <a:pt x="391" y="15"/>
                  </a:lnTo>
                  <a:lnTo>
                    <a:pt x="393" y="15"/>
                  </a:lnTo>
                  <a:lnTo>
                    <a:pt x="400" y="12"/>
                  </a:lnTo>
                  <a:lnTo>
                    <a:pt x="405" y="12"/>
                  </a:lnTo>
                  <a:lnTo>
                    <a:pt x="410" y="13"/>
                  </a:lnTo>
                  <a:lnTo>
                    <a:pt x="413" y="19"/>
                  </a:lnTo>
                  <a:lnTo>
                    <a:pt x="413" y="20"/>
                  </a:lnTo>
                  <a:lnTo>
                    <a:pt x="410" y="22"/>
                  </a:lnTo>
                  <a:lnTo>
                    <a:pt x="410" y="24"/>
                  </a:lnTo>
                  <a:lnTo>
                    <a:pt x="413" y="25"/>
                  </a:lnTo>
                  <a:lnTo>
                    <a:pt x="417" y="31"/>
                  </a:lnTo>
                  <a:lnTo>
                    <a:pt x="420" y="31"/>
                  </a:lnTo>
                  <a:lnTo>
                    <a:pt x="425" y="31"/>
                  </a:lnTo>
                  <a:lnTo>
                    <a:pt x="430" y="29"/>
                  </a:lnTo>
                  <a:lnTo>
                    <a:pt x="436" y="31"/>
                  </a:lnTo>
                  <a:lnTo>
                    <a:pt x="439" y="34"/>
                  </a:lnTo>
                  <a:lnTo>
                    <a:pt x="442" y="36"/>
                  </a:lnTo>
                  <a:lnTo>
                    <a:pt x="444" y="34"/>
                  </a:lnTo>
                  <a:lnTo>
                    <a:pt x="444" y="29"/>
                  </a:lnTo>
                  <a:lnTo>
                    <a:pt x="447" y="27"/>
                  </a:lnTo>
                  <a:lnTo>
                    <a:pt x="454" y="27"/>
                  </a:lnTo>
                  <a:lnTo>
                    <a:pt x="458" y="24"/>
                  </a:lnTo>
                  <a:lnTo>
                    <a:pt x="458" y="19"/>
                  </a:lnTo>
                  <a:lnTo>
                    <a:pt x="463" y="20"/>
                  </a:lnTo>
                  <a:lnTo>
                    <a:pt x="470" y="13"/>
                  </a:lnTo>
                  <a:lnTo>
                    <a:pt x="471" y="10"/>
                  </a:lnTo>
                  <a:lnTo>
                    <a:pt x="476" y="8"/>
                  </a:lnTo>
                  <a:lnTo>
                    <a:pt x="476" y="10"/>
                  </a:lnTo>
                  <a:lnTo>
                    <a:pt x="478" y="10"/>
                  </a:lnTo>
                  <a:lnTo>
                    <a:pt x="483" y="5"/>
                  </a:lnTo>
                  <a:lnTo>
                    <a:pt x="487" y="7"/>
                  </a:lnTo>
                  <a:lnTo>
                    <a:pt x="490" y="5"/>
                  </a:lnTo>
                  <a:lnTo>
                    <a:pt x="497" y="10"/>
                  </a:lnTo>
                  <a:lnTo>
                    <a:pt x="497" y="7"/>
                  </a:lnTo>
                  <a:lnTo>
                    <a:pt x="502" y="0"/>
                  </a:lnTo>
                  <a:lnTo>
                    <a:pt x="509" y="5"/>
                  </a:lnTo>
                  <a:lnTo>
                    <a:pt x="511" y="10"/>
                  </a:lnTo>
                  <a:lnTo>
                    <a:pt x="512" y="19"/>
                  </a:lnTo>
                  <a:lnTo>
                    <a:pt x="514" y="20"/>
                  </a:lnTo>
                  <a:lnTo>
                    <a:pt x="514" y="22"/>
                  </a:lnTo>
                  <a:lnTo>
                    <a:pt x="517" y="29"/>
                  </a:lnTo>
                  <a:lnTo>
                    <a:pt x="521" y="34"/>
                  </a:lnTo>
                  <a:lnTo>
                    <a:pt x="524" y="41"/>
                  </a:lnTo>
                  <a:lnTo>
                    <a:pt x="528" y="42"/>
                  </a:lnTo>
                  <a:lnTo>
                    <a:pt x="528" y="48"/>
                  </a:lnTo>
                  <a:lnTo>
                    <a:pt x="524" y="54"/>
                  </a:lnTo>
                  <a:lnTo>
                    <a:pt x="521" y="54"/>
                  </a:lnTo>
                  <a:lnTo>
                    <a:pt x="517" y="58"/>
                  </a:lnTo>
                  <a:lnTo>
                    <a:pt x="514" y="54"/>
                  </a:lnTo>
                  <a:lnTo>
                    <a:pt x="507" y="58"/>
                  </a:lnTo>
                  <a:lnTo>
                    <a:pt x="504" y="54"/>
                  </a:lnTo>
                  <a:lnTo>
                    <a:pt x="500" y="58"/>
                  </a:lnTo>
                  <a:lnTo>
                    <a:pt x="497" y="66"/>
                  </a:lnTo>
                  <a:lnTo>
                    <a:pt x="492" y="68"/>
                  </a:lnTo>
                  <a:lnTo>
                    <a:pt x="492" y="72"/>
                  </a:lnTo>
                  <a:lnTo>
                    <a:pt x="488" y="73"/>
                  </a:lnTo>
                  <a:lnTo>
                    <a:pt x="487" y="83"/>
                  </a:lnTo>
                  <a:lnTo>
                    <a:pt x="490" y="87"/>
                  </a:lnTo>
                  <a:lnTo>
                    <a:pt x="492" y="85"/>
                  </a:lnTo>
                  <a:lnTo>
                    <a:pt x="500" y="90"/>
                  </a:lnTo>
                  <a:lnTo>
                    <a:pt x="499" y="97"/>
                  </a:lnTo>
                  <a:lnTo>
                    <a:pt x="504" y="106"/>
                  </a:lnTo>
                  <a:lnTo>
                    <a:pt x="502" y="111"/>
                  </a:lnTo>
                  <a:lnTo>
                    <a:pt x="504" y="118"/>
                  </a:lnTo>
                  <a:lnTo>
                    <a:pt x="511" y="116"/>
                  </a:lnTo>
                  <a:lnTo>
                    <a:pt x="517" y="118"/>
                  </a:lnTo>
                  <a:lnTo>
                    <a:pt x="523" y="113"/>
                  </a:lnTo>
                  <a:lnTo>
                    <a:pt x="529" y="111"/>
                  </a:lnTo>
                  <a:lnTo>
                    <a:pt x="531" y="107"/>
                  </a:lnTo>
                  <a:lnTo>
                    <a:pt x="536" y="104"/>
                  </a:lnTo>
                  <a:lnTo>
                    <a:pt x="538" y="104"/>
                  </a:lnTo>
                  <a:lnTo>
                    <a:pt x="541" y="101"/>
                  </a:lnTo>
                  <a:lnTo>
                    <a:pt x="548" y="99"/>
                  </a:lnTo>
                  <a:lnTo>
                    <a:pt x="550" y="106"/>
                  </a:lnTo>
                  <a:lnTo>
                    <a:pt x="545" y="113"/>
                  </a:lnTo>
                  <a:lnTo>
                    <a:pt x="545" y="118"/>
                  </a:lnTo>
                  <a:lnTo>
                    <a:pt x="541" y="123"/>
                  </a:lnTo>
                  <a:lnTo>
                    <a:pt x="543" y="130"/>
                  </a:lnTo>
                  <a:lnTo>
                    <a:pt x="540" y="130"/>
                  </a:lnTo>
                  <a:lnTo>
                    <a:pt x="541" y="136"/>
                  </a:lnTo>
                  <a:lnTo>
                    <a:pt x="541" y="140"/>
                  </a:lnTo>
                  <a:lnTo>
                    <a:pt x="543" y="145"/>
                  </a:lnTo>
                  <a:lnTo>
                    <a:pt x="541" y="148"/>
                  </a:lnTo>
                  <a:lnTo>
                    <a:pt x="548" y="155"/>
                  </a:lnTo>
                  <a:lnTo>
                    <a:pt x="553" y="164"/>
                  </a:lnTo>
                  <a:lnTo>
                    <a:pt x="553" y="172"/>
                  </a:lnTo>
                  <a:lnTo>
                    <a:pt x="555" y="177"/>
                  </a:lnTo>
                  <a:lnTo>
                    <a:pt x="557" y="184"/>
                  </a:lnTo>
                  <a:lnTo>
                    <a:pt x="558" y="191"/>
                  </a:lnTo>
                  <a:lnTo>
                    <a:pt x="562" y="194"/>
                  </a:lnTo>
                  <a:lnTo>
                    <a:pt x="569" y="194"/>
                  </a:lnTo>
                  <a:lnTo>
                    <a:pt x="576" y="200"/>
                  </a:lnTo>
                  <a:lnTo>
                    <a:pt x="577" y="200"/>
                  </a:lnTo>
                  <a:lnTo>
                    <a:pt x="582" y="208"/>
                  </a:lnTo>
                  <a:lnTo>
                    <a:pt x="591" y="213"/>
                  </a:lnTo>
                  <a:lnTo>
                    <a:pt x="593" y="222"/>
                  </a:lnTo>
                  <a:lnTo>
                    <a:pt x="596" y="220"/>
                  </a:lnTo>
                  <a:lnTo>
                    <a:pt x="601" y="225"/>
                  </a:lnTo>
                  <a:lnTo>
                    <a:pt x="603" y="230"/>
                  </a:lnTo>
                  <a:lnTo>
                    <a:pt x="608" y="229"/>
                  </a:lnTo>
                  <a:lnTo>
                    <a:pt x="613" y="234"/>
                  </a:lnTo>
                  <a:lnTo>
                    <a:pt x="610" y="237"/>
                  </a:lnTo>
                  <a:lnTo>
                    <a:pt x="606" y="241"/>
                  </a:lnTo>
                  <a:lnTo>
                    <a:pt x="603" y="25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8" name="Freeform 81"/>
            <p:cNvSpPr>
              <a:spLocks noEditPoints="1"/>
            </p:cNvSpPr>
            <p:nvPr/>
          </p:nvSpPr>
          <p:spPr bwMode="gray">
            <a:xfrm>
              <a:off x="2194072" y="3652709"/>
              <a:ext cx="596507" cy="707783"/>
            </a:xfrm>
            <a:custGeom>
              <a:avLst/>
              <a:gdLst>
                <a:gd name="T0" fmla="*/ 157 w 327"/>
                <a:gd name="T1" fmla="*/ 371 h 388"/>
                <a:gd name="T2" fmla="*/ 162 w 327"/>
                <a:gd name="T3" fmla="*/ 384 h 388"/>
                <a:gd name="T4" fmla="*/ 150 w 327"/>
                <a:gd name="T5" fmla="*/ 388 h 388"/>
                <a:gd name="T6" fmla="*/ 136 w 327"/>
                <a:gd name="T7" fmla="*/ 376 h 388"/>
                <a:gd name="T8" fmla="*/ 135 w 327"/>
                <a:gd name="T9" fmla="*/ 360 h 388"/>
                <a:gd name="T10" fmla="*/ 1 w 327"/>
                <a:gd name="T11" fmla="*/ 208 h 388"/>
                <a:gd name="T12" fmla="*/ 133 w 327"/>
                <a:gd name="T13" fmla="*/ 72 h 388"/>
                <a:gd name="T14" fmla="*/ 148 w 327"/>
                <a:gd name="T15" fmla="*/ 92 h 388"/>
                <a:gd name="T16" fmla="*/ 176 w 327"/>
                <a:gd name="T17" fmla="*/ 99 h 388"/>
                <a:gd name="T18" fmla="*/ 193 w 327"/>
                <a:gd name="T19" fmla="*/ 130 h 388"/>
                <a:gd name="T20" fmla="*/ 222 w 327"/>
                <a:gd name="T21" fmla="*/ 128 h 388"/>
                <a:gd name="T22" fmla="*/ 235 w 327"/>
                <a:gd name="T23" fmla="*/ 131 h 388"/>
                <a:gd name="T24" fmla="*/ 230 w 327"/>
                <a:gd name="T25" fmla="*/ 152 h 388"/>
                <a:gd name="T26" fmla="*/ 211 w 327"/>
                <a:gd name="T27" fmla="*/ 157 h 388"/>
                <a:gd name="T28" fmla="*/ 194 w 327"/>
                <a:gd name="T29" fmla="*/ 181 h 388"/>
                <a:gd name="T30" fmla="*/ 208 w 327"/>
                <a:gd name="T31" fmla="*/ 196 h 388"/>
                <a:gd name="T32" fmla="*/ 218 w 327"/>
                <a:gd name="T33" fmla="*/ 203 h 388"/>
                <a:gd name="T34" fmla="*/ 232 w 327"/>
                <a:gd name="T35" fmla="*/ 213 h 388"/>
                <a:gd name="T36" fmla="*/ 237 w 327"/>
                <a:gd name="T37" fmla="*/ 225 h 388"/>
                <a:gd name="T38" fmla="*/ 252 w 327"/>
                <a:gd name="T39" fmla="*/ 237 h 388"/>
                <a:gd name="T40" fmla="*/ 276 w 327"/>
                <a:gd name="T41" fmla="*/ 243 h 388"/>
                <a:gd name="T42" fmla="*/ 288 w 327"/>
                <a:gd name="T43" fmla="*/ 261 h 388"/>
                <a:gd name="T44" fmla="*/ 305 w 327"/>
                <a:gd name="T45" fmla="*/ 270 h 388"/>
                <a:gd name="T46" fmla="*/ 321 w 327"/>
                <a:gd name="T47" fmla="*/ 287 h 388"/>
                <a:gd name="T48" fmla="*/ 327 w 327"/>
                <a:gd name="T49" fmla="*/ 297 h 388"/>
                <a:gd name="T50" fmla="*/ 310 w 327"/>
                <a:gd name="T51" fmla="*/ 311 h 388"/>
                <a:gd name="T52" fmla="*/ 297 w 327"/>
                <a:gd name="T53" fmla="*/ 311 h 388"/>
                <a:gd name="T54" fmla="*/ 283 w 327"/>
                <a:gd name="T55" fmla="*/ 302 h 388"/>
                <a:gd name="T56" fmla="*/ 271 w 327"/>
                <a:gd name="T57" fmla="*/ 292 h 388"/>
                <a:gd name="T58" fmla="*/ 256 w 327"/>
                <a:gd name="T59" fmla="*/ 280 h 388"/>
                <a:gd name="T60" fmla="*/ 235 w 327"/>
                <a:gd name="T61" fmla="*/ 268 h 388"/>
                <a:gd name="T62" fmla="*/ 215 w 327"/>
                <a:gd name="T63" fmla="*/ 253 h 388"/>
                <a:gd name="T64" fmla="*/ 198 w 327"/>
                <a:gd name="T65" fmla="*/ 239 h 388"/>
                <a:gd name="T66" fmla="*/ 177 w 327"/>
                <a:gd name="T67" fmla="*/ 224 h 388"/>
                <a:gd name="T68" fmla="*/ 165 w 327"/>
                <a:gd name="T69" fmla="*/ 213 h 388"/>
                <a:gd name="T70" fmla="*/ 148 w 327"/>
                <a:gd name="T71" fmla="*/ 196 h 388"/>
                <a:gd name="T72" fmla="*/ 150 w 327"/>
                <a:gd name="T73" fmla="*/ 195 h 388"/>
                <a:gd name="T74" fmla="*/ 152 w 327"/>
                <a:gd name="T75" fmla="*/ 188 h 388"/>
                <a:gd name="T76" fmla="*/ 143 w 327"/>
                <a:gd name="T77" fmla="*/ 166 h 388"/>
                <a:gd name="T78" fmla="*/ 123 w 327"/>
                <a:gd name="T79" fmla="*/ 152 h 388"/>
                <a:gd name="T80" fmla="*/ 106 w 327"/>
                <a:gd name="T81" fmla="*/ 138 h 388"/>
                <a:gd name="T82" fmla="*/ 90 w 327"/>
                <a:gd name="T83" fmla="*/ 130 h 388"/>
                <a:gd name="T84" fmla="*/ 71 w 327"/>
                <a:gd name="T85" fmla="*/ 116 h 388"/>
                <a:gd name="T86" fmla="*/ 59 w 327"/>
                <a:gd name="T87" fmla="*/ 101 h 388"/>
                <a:gd name="T88" fmla="*/ 56 w 327"/>
                <a:gd name="T89" fmla="*/ 91 h 388"/>
                <a:gd name="T90" fmla="*/ 42 w 327"/>
                <a:gd name="T91" fmla="*/ 70 h 388"/>
                <a:gd name="T92" fmla="*/ 25 w 327"/>
                <a:gd name="T93" fmla="*/ 48 h 388"/>
                <a:gd name="T94" fmla="*/ 8 w 327"/>
                <a:gd name="T95" fmla="*/ 34 h 388"/>
                <a:gd name="T96" fmla="*/ 15 w 327"/>
                <a:gd name="T97" fmla="*/ 14 h 388"/>
                <a:gd name="T98" fmla="*/ 37 w 327"/>
                <a:gd name="T99" fmla="*/ 5 h 388"/>
                <a:gd name="T100" fmla="*/ 56 w 327"/>
                <a:gd name="T101" fmla="*/ 17 h 388"/>
                <a:gd name="T102" fmla="*/ 63 w 327"/>
                <a:gd name="T103" fmla="*/ 34 h 388"/>
                <a:gd name="T104" fmla="*/ 77 w 327"/>
                <a:gd name="T105" fmla="*/ 31 h 388"/>
                <a:gd name="T106" fmla="*/ 95 w 327"/>
                <a:gd name="T107" fmla="*/ 50 h 388"/>
                <a:gd name="T108" fmla="*/ 124 w 327"/>
                <a:gd name="T109" fmla="*/ 6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7" h="388">
                  <a:moveTo>
                    <a:pt x="136" y="360"/>
                  </a:moveTo>
                  <a:lnTo>
                    <a:pt x="143" y="365"/>
                  </a:lnTo>
                  <a:lnTo>
                    <a:pt x="147" y="365"/>
                  </a:lnTo>
                  <a:lnTo>
                    <a:pt x="152" y="369"/>
                  </a:lnTo>
                  <a:lnTo>
                    <a:pt x="157" y="371"/>
                  </a:lnTo>
                  <a:lnTo>
                    <a:pt x="162" y="372"/>
                  </a:lnTo>
                  <a:lnTo>
                    <a:pt x="164" y="376"/>
                  </a:lnTo>
                  <a:lnTo>
                    <a:pt x="160" y="381"/>
                  </a:lnTo>
                  <a:lnTo>
                    <a:pt x="157" y="381"/>
                  </a:lnTo>
                  <a:lnTo>
                    <a:pt x="162" y="384"/>
                  </a:lnTo>
                  <a:lnTo>
                    <a:pt x="160" y="388"/>
                  </a:lnTo>
                  <a:lnTo>
                    <a:pt x="155" y="386"/>
                  </a:lnTo>
                  <a:lnTo>
                    <a:pt x="153" y="384"/>
                  </a:lnTo>
                  <a:lnTo>
                    <a:pt x="150" y="384"/>
                  </a:lnTo>
                  <a:lnTo>
                    <a:pt x="150" y="388"/>
                  </a:lnTo>
                  <a:lnTo>
                    <a:pt x="147" y="386"/>
                  </a:lnTo>
                  <a:lnTo>
                    <a:pt x="147" y="383"/>
                  </a:lnTo>
                  <a:lnTo>
                    <a:pt x="145" y="383"/>
                  </a:lnTo>
                  <a:lnTo>
                    <a:pt x="141" y="377"/>
                  </a:lnTo>
                  <a:lnTo>
                    <a:pt x="136" y="376"/>
                  </a:lnTo>
                  <a:lnTo>
                    <a:pt x="136" y="374"/>
                  </a:lnTo>
                  <a:lnTo>
                    <a:pt x="128" y="369"/>
                  </a:lnTo>
                  <a:lnTo>
                    <a:pt x="128" y="365"/>
                  </a:lnTo>
                  <a:lnTo>
                    <a:pt x="133" y="364"/>
                  </a:lnTo>
                  <a:lnTo>
                    <a:pt x="135" y="360"/>
                  </a:lnTo>
                  <a:lnTo>
                    <a:pt x="136" y="360"/>
                  </a:lnTo>
                  <a:close/>
                  <a:moveTo>
                    <a:pt x="1" y="207"/>
                  </a:moveTo>
                  <a:lnTo>
                    <a:pt x="3" y="207"/>
                  </a:lnTo>
                  <a:lnTo>
                    <a:pt x="3" y="208"/>
                  </a:lnTo>
                  <a:lnTo>
                    <a:pt x="1" y="208"/>
                  </a:lnTo>
                  <a:lnTo>
                    <a:pt x="1" y="207"/>
                  </a:lnTo>
                  <a:close/>
                  <a:moveTo>
                    <a:pt x="124" y="60"/>
                  </a:moveTo>
                  <a:lnTo>
                    <a:pt x="126" y="61"/>
                  </a:lnTo>
                  <a:lnTo>
                    <a:pt x="133" y="68"/>
                  </a:lnTo>
                  <a:lnTo>
                    <a:pt x="133" y="72"/>
                  </a:lnTo>
                  <a:lnTo>
                    <a:pt x="140" y="77"/>
                  </a:lnTo>
                  <a:lnTo>
                    <a:pt x="145" y="79"/>
                  </a:lnTo>
                  <a:lnTo>
                    <a:pt x="143" y="80"/>
                  </a:lnTo>
                  <a:lnTo>
                    <a:pt x="147" y="91"/>
                  </a:lnTo>
                  <a:lnTo>
                    <a:pt x="148" y="92"/>
                  </a:lnTo>
                  <a:lnTo>
                    <a:pt x="152" y="92"/>
                  </a:lnTo>
                  <a:lnTo>
                    <a:pt x="155" y="96"/>
                  </a:lnTo>
                  <a:lnTo>
                    <a:pt x="162" y="92"/>
                  </a:lnTo>
                  <a:lnTo>
                    <a:pt x="167" y="94"/>
                  </a:lnTo>
                  <a:lnTo>
                    <a:pt x="176" y="99"/>
                  </a:lnTo>
                  <a:lnTo>
                    <a:pt x="176" y="111"/>
                  </a:lnTo>
                  <a:lnTo>
                    <a:pt x="177" y="118"/>
                  </a:lnTo>
                  <a:lnTo>
                    <a:pt x="184" y="123"/>
                  </a:lnTo>
                  <a:lnTo>
                    <a:pt x="189" y="126"/>
                  </a:lnTo>
                  <a:lnTo>
                    <a:pt x="193" y="130"/>
                  </a:lnTo>
                  <a:lnTo>
                    <a:pt x="198" y="126"/>
                  </a:lnTo>
                  <a:lnTo>
                    <a:pt x="206" y="125"/>
                  </a:lnTo>
                  <a:lnTo>
                    <a:pt x="210" y="121"/>
                  </a:lnTo>
                  <a:lnTo>
                    <a:pt x="215" y="128"/>
                  </a:lnTo>
                  <a:lnTo>
                    <a:pt x="222" y="128"/>
                  </a:lnTo>
                  <a:lnTo>
                    <a:pt x="223" y="126"/>
                  </a:lnTo>
                  <a:lnTo>
                    <a:pt x="223" y="128"/>
                  </a:lnTo>
                  <a:lnTo>
                    <a:pt x="223" y="131"/>
                  </a:lnTo>
                  <a:lnTo>
                    <a:pt x="232" y="130"/>
                  </a:lnTo>
                  <a:lnTo>
                    <a:pt x="235" y="131"/>
                  </a:lnTo>
                  <a:lnTo>
                    <a:pt x="237" y="135"/>
                  </a:lnTo>
                  <a:lnTo>
                    <a:pt x="237" y="143"/>
                  </a:lnTo>
                  <a:lnTo>
                    <a:pt x="235" y="147"/>
                  </a:lnTo>
                  <a:lnTo>
                    <a:pt x="235" y="149"/>
                  </a:lnTo>
                  <a:lnTo>
                    <a:pt x="230" y="152"/>
                  </a:lnTo>
                  <a:lnTo>
                    <a:pt x="230" y="155"/>
                  </a:lnTo>
                  <a:lnTo>
                    <a:pt x="225" y="161"/>
                  </a:lnTo>
                  <a:lnTo>
                    <a:pt x="220" y="152"/>
                  </a:lnTo>
                  <a:lnTo>
                    <a:pt x="215" y="150"/>
                  </a:lnTo>
                  <a:lnTo>
                    <a:pt x="211" y="157"/>
                  </a:lnTo>
                  <a:lnTo>
                    <a:pt x="213" y="161"/>
                  </a:lnTo>
                  <a:lnTo>
                    <a:pt x="206" y="167"/>
                  </a:lnTo>
                  <a:lnTo>
                    <a:pt x="205" y="176"/>
                  </a:lnTo>
                  <a:lnTo>
                    <a:pt x="196" y="179"/>
                  </a:lnTo>
                  <a:lnTo>
                    <a:pt x="194" y="181"/>
                  </a:lnTo>
                  <a:lnTo>
                    <a:pt x="191" y="183"/>
                  </a:lnTo>
                  <a:lnTo>
                    <a:pt x="196" y="184"/>
                  </a:lnTo>
                  <a:lnTo>
                    <a:pt x="199" y="190"/>
                  </a:lnTo>
                  <a:lnTo>
                    <a:pt x="206" y="195"/>
                  </a:lnTo>
                  <a:lnTo>
                    <a:pt x="208" y="196"/>
                  </a:lnTo>
                  <a:lnTo>
                    <a:pt x="210" y="196"/>
                  </a:lnTo>
                  <a:lnTo>
                    <a:pt x="211" y="200"/>
                  </a:lnTo>
                  <a:lnTo>
                    <a:pt x="215" y="203"/>
                  </a:lnTo>
                  <a:lnTo>
                    <a:pt x="215" y="205"/>
                  </a:lnTo>
                  <a:lnTo>
                    <a:pt x="218" y="203"/>
                  </a:lnTo>
                  <a:lnTo>
                    <a:pt x="220" y="207"/>
                  </a:lnTo>
                  <a:lnTo>
                    <a:pt x="227" y="203"/>
                  </a:lnTo>
                  <a:lnTo>
                    <a:pt x="232" y="208"/>
                  </a:lnTo>
                  <a:lnTo>
                    <a:pt x="237" y="208"/>
                  </a:lnTo>
                  <a:lnTo>
                    <a:pt x="232" y="213"/>
                  </a:lnTo>
                  <a:lnTo>
                    <a:pt x="228" y="212"/>
                  </a:lnTo>
                  <a:lnTo>
                    <a:pt x="227" y="213"/>
                  </a:lnTo>
                  <a:lnTo>
                    <a:pt x="227" y="219"/>
                  </a:lnTo>
                  <a:lnTo>
                    <a:pt x="234" y="222"/>
                  </a:lnTo>
                  <a:lnTo>
                    <a:pt x="237" y="225"/>
                  </a:lnTo>
                  <a:lnTo>
                    <a:pt x="244" y="231"/>
                  </a:lnTo>
                  <a:lnTo>
                    <a:pt x="242" y="234"/>
                  </a:lnTo>
                  <a:lnTo>
                    <a:pt x="246" y="237"/>
                  </a:lnTo>
                  <a:lnTo>
                    <a:pt x="251" y="236"/>
                  </a:lnTo>
                  <a:lnTo>
                    <a:pt x="252" y="237"/>
                  </a:lnTo>
                  <a:lnTo>
                    <a:pt x="257" y="236"/>
                  </a:lnTo>
                  <a:lnTo>
                    <a:pt x="261" y="236"/>
                  </a:lnTo>
                  <a:lnTo>
                    <a:pt x="263" y="236"/>
                  </a:lnTo>
                  <a:lnTo>
                    <a:pt x="273" y="237"/>
                  </a:lnTo>
                  <a:lnTo>
                    <a:pt x="276" y="243"/>
                  </a:lnTo>
                  <a:lnTo>
                    <a:pt x="281" y="244"/>
                  </a:lnTo>
                  <a:lnTo>
                    <a:pt x="292" y="246"/>
                  </a:lnTo>
                  <a:lnTo>
                    <a:pt x="293" y="249"/>
                  </a:lnTo>
                  <a:lnTo>
                    <a:pt x="288" y="256"/>
                  </a:lnTo>
                  <a:lnTo>
                    <a:pt x="288" y="261"/>
                  </a:lnTo>
                  <a:lnTo>
                    <a:pt x="285" y="268"/>
                  </a:lnTo>
                  <a:lnTo>
                    <a:pt x="288" y="270"/>
                  </a:lnTo>
                  <a:lnTo>
                    <a:pt x="295" y="277"/>
                  </a:lnTo>
                  <a:lnTo>
                    <a:pt x="300" y="275"/>
                  </a:lnTo>
                  <a:lnTo>
                    <a:pt x="305" y="270"/>
                  </a:lnTo>
                  <a:lnTo>
                    <a:pt x="310" y="270"/>
                  </a:lnTo>
                  <a:lnTo>
                    <a:pt x="312" y="273"/>
                  </a:lnTo>
                  <a:lnTo>
                    <a:pt x="309" y="278"/>
                  </a:lnTo>
                  <a:lnTo>
                    <a:pt x="316" y="280"/>
                  </a:lnTo>
                  <a:lnTo>
                    <a:pt x="321" y="287"/>
                  </a:lnTo>
                  <a:lnTo>
                    <a:pt x="321" y="290"/>
                  </a:lnTo>
                  <a:lnTo>
                    <a:pt x="317" y="294"/>
                  </a:lnTo>
                  <a:lnTo>
                    <a:pt x="321" y="294"/>
                  </a:lnTo>
                  <a:lnTo>
                    <a:pt x="326" y="295"/>
                  </a:lnTo>
                  <a:lnTo>
                    <a:pt x="327" y="297"/>
                  </a:lnTo>
                  <a:lnTo>
                    <a:pt x="327" y="299"/>
                  </a:lnTo>
                  <a:lnTo>
                    <a:pt x="322" y="302"/>
                  </a:lnTo>
                  <a:lnTo>
                    <a:pt x="321" y="304"/>
                  </a:lnTo>
                  <a:lnTo>
                    <a:pt x="312" y="309"/>
                  </a:lnTo>
                  <a:lnTo>
                    <a:pt x="310" y="311"/>
                  </a:lnTo>
                  <a:lnTo>
                    <a:pt x="309" y="311"/>
                  </a:lnTo>
                  <a:lnTo>
                    <a:pt x="305" y="318"/>
                  </a:lnTo>
                  <a:lnTo>
                    <a:pt x="300" y="316"/>
                  </a:lnTo>
                  <a:lnTo>
                    <a:pt x="300" y="314"/>
                  </a:lnTo>
                  <a:lnTo>
                    <a:pt x="297" y="311"/>
                  </a:lnTo>
                  <a:lnTo>
                    <a:pt x="292" y="309"/>
                  </a:lnTo>
                  <a:lnTo>
                    <a:pt x="286" y="311"/>
                  </a:lnTo>
                  <a:lnTo>
                    <a:pt x="285" y="309"/>
                  </a:lnTo>
                  <a:lnTo>
                    <a:pt x="286" y="307"/>
                  </a:lnTo>
                  <a:lnTo>
                    <a:pt x="283" y="302"/>
                  </a:lnTo>
                  <a:lnTo>
                    <a:pt x="276" y="304"/>
                  </a:lnTo>
                  <a:lnTo>
                    <a:pt x="273" y="301"/>
                  </a:lnTo>
                  <a:lnTo>
                    <a:pt x="275" y="297"/>
                  </a:lnTo>
                  <a:lnTo>
                    <a:pt x="271" y="294"/>
                  </a:lnTo>
                  <a:lnTo>
                    <a:pt x="271" y="292"/>
                  </a:lnTo>
                  <a:lnTo>
                    <a:pt x="268" y="290"/>
                  </a:lnTo>
                  <a:lnTo>
                    <a:pt x="266" y="285"/>
                  </a:lnTo>
                  <a:lnTo>
                    <a:pt x="266" y="287"/>
                  </a:lnTo>
                  <a:lnTo>
                    <a:pt x="263" y="285"/>
                  </a:lnTo>
                  <a:lnTo>
                    <a:pt x="256" y="280"/>
                  </a:lnTo>
                  <a:lnTo>
                    <a:pt x="256" y="278"/>
                  </a:lnTo>
                  <a:lnTo>
                    <a:pt x="251" y="277"/>
                  </a:lnTo>
                  <a:lnTo>
                    <a:pt x="246" y="273"/>
                  </a:lnTo>
                  <a:lnTo>
                    <a:pt x="242" y="272"/>
                  </a:lnTo>
                  <a:lnTo>
                    <a:pt x="235" y="268"/>
                  </a:lnTo>
                  <a:lnTo>
                    <a:pt x="230" y="266"/>
                  </a:lnTo>
                  <a:lnTo>
                    <a:pt x="225" y="266"/>
                  </a:lnTo>
                  <a:lnTo>
                    <a:pt x="223" y="260"/>
                  </a:lnTo>
                  <a:lnTo>
                    <a:pt x="218" y="256"/>
                  </a:lnTo>
                  <a:lnTo>
                    <a:pt x="215" y="253"/>
                  </a:lnTo>
                  <a:lnTo>
                    <a:pt x="211" y="249"/>
                  </a:lnTo>
                  <a:lnTo>
                    <a:pt x="205" y="244"/>
                  </a:lnTo>
                  <a:lnTo>
                    <a:pt x="199" y="237"/>
                  </a:lnTo>
                  <a:lnTo>
                    <a:pt x="199" y="239"/>
                  </a:lnTo>
                  <a:lnTo>
                    <a:pt x="198" y="239"/>
                  </a:lnTo>
                  <a:lnTo>
                    <a:pt x="196" y="237"/>
                  </a:lnTo>
                  <a:lnTo>
                    <a:pt x="191" y="234"/>
                  </a:lnTo>
                  <a:lnTo>
                    <a:pt x="187" y="231"/>
                  </a:lnTo>
                  <a:lnTo>
                    <a:pt x="179" y="224"/>
                  </a:lnTo>
                  <a:lnTo>
                    <a:pt x="177" y="224"/>
                  </a:lnTo>
                  <a:lnTo>
                    <a:pt x="179" y="224"/>
                  </a:lnTo>
                  <a:lnTo>
                    <a:pt x="176" y="222"/>
                  </a:lnTo>
                  <a:lnTo>
                    <a:pt x="172" y="219"/>
                  </a:lnTo>
                  <a:lnTo>
                    <a:pt x="165" y="215"/>
                  </a:lnTo>
                  <a:lnTo>
                    <a:pt x="165" y="213"/>
                  </a:lnTo>
                  <a:lnTo>
                    <a:pt x="158" y="210"/>
                  </a:lnTo>
                  <a:lnTo>
                    <a:pt x="160" y="208"/>
                  </a:lnTo>
                  <a:lnTo>
                    <a:pt x="158" y="208"/>
                  </a:lnTo>
                  <a:lnTo>
                    <a:pt x="150" y="203"/>
                  </a:lnTo>
                  <a:lnTo>
                    <a:pt x="148" y="196"/>
                  </a:lnTo>
                  <a:lnTo>
                    <a:pt x="150" y="195"/>
                  </a:lnTo>
                  <a:lnTo>
                    <a:pt x="152" y="198"/>
                  </a:lnTo>
                  <a:lnTo>
                    <a:pt x="153" y="196"/>
                  </a:lnTo>
                  <a:lnTo>
                    <a:pt x="153" y="193"/>
                  </a:lnTo>
                  <a:lnTo>
                    <a:pt x="150" y="195"/>
                  </a:lnTo>
                  <a:lnTo>
                    <a:pt x="153" y="193"/>
                  </a:lnTo>
                  <a:lnTo>
                    <a:pt x="152" y="188"/>
                  </a:lnTo>
                  <a:lnTo>
                    <a:pt x="153" y="193"/>
                  </a:lnTo>
                  <a:lnTo>
                    <a:pt x="153" y="191"/>
                  </a:lnTo>
                  <a:lnTo>
                    <a:pt x="152" y="188"/>
                  </a:lnTo>
                  <a:lnTo>
                    <a:pt x="147" y="183"/>
                  </a:lnTo>
                  <a:lnTo>
                    <a:pt x="148" y="179"/>
                  </a:lnTo>
                  <a:lnTo>
                    <a:pt x="145" y="172"/>
                  </a:lnTo>
                  <a:lnTo>
                    <a:pt x="147" y="171"/>
                  </a:lnTo>
                  <a:lnTo>
                    <a:pt x="143" y="166"/>
                  </a:lnTo>
                  <a:lnTo>
                    <a:pt x="141" y="166"/>
                  </a:lnTo>
                  <a:lnTo>
                    <a:pt x="135" y="161"/>
                  </a:lnTo>
                  <a:lnTo>
                    <a:pt x="131" y="157"/>
                  </a:lnTo>
                  <a:lnTo>
                    <a:pt x="128" y="154"/>
                  </a:lnTo>
                  <a:lnTo>
                    <a:pt x="123" y="152"/>
                  </a:lnTo>
                  <a:lnTo>
                    <a:pt x="123" y="150"/>
                  </a:lnTo>
                  <a:lnTo>
                    <a:pt x="121" y="150"/>
                  </a:lnTo>
                  <a:lnTo>
                    <a:pt x="114" y="147"/>
                  </a:lnTo>
                  <a:lnTo>
                    <a:pt x="107" y="143"/>
                  </a:lnTo>
                  <a:lnTo>
                    <a:pt x="106" y="138"/>
                  </a:lnTo>
                  <a:lnTo>
                    <a:pt x="100" y="137"/>
                  </a:lnTo>
                  <a:lnTo>
                    <a:pt x="95" y="133"/>
                  </a:lnTo>
                  <a:lnTo>
                    <a:pt x="97" y="131"/>
                  </a:lnTo>
                  <a:lnTo>
                    <a:pt x="92" y="131"/>
                  </a:lnTo>
                  <a:lnTo>
                    <a:pt x="90" y="130"/>
                  </a:lnTo>
                  <a:lnTo>
                    <a:pt x="88" y="128"/>
                  </a:lnTo>
                  <a:lnTo>
                    <a:pt x="82" y="125"/>
                  </a:lnTo>
                  <a:lnTo>
                    <a:pt x="82" y="123"/>
                  </a:lnTo>
                  <a:lnTo>
                    <a:pt x="77" y="120"/>
                  </a:lnTo>
                  <a:lnTo>
                    <a:pt x="71" y="116"/>
                  </a:lnTo>
                  <a:lnTo>
                    <a:pt x="70" y="114"/>
                  </a:lnTo>
                  <a:lnTo>
                    <a:pt x="68" y="113"/>
                  </a:lnTo>
                  <a:lnTo>
                    <a:pt x="68" y="111"/>
                  </a:lnTo>
                  <a:lnTo>
                    <a:pt x="63" y="104"/>
                  </a:lnTo>
                  <a:lnTo>
                    <a:pt x="59" y="101"/>
                  </a:lnTo>
                  <a:lnTo>
                    <a:pt x="59" y="97"/>
                  </a:lnTo>
                  <a:lnTo>
                    <a:pt x="56" y="94"/>
                  </a:lnTo>
                  <a:lnTo>
                    <a:pt x="56" y="91"/>
                  </a:lnTo>
                  <a:lnTo>
                    <a:pt x="56" y="89"/>
                  </a:lnTo>
                  <a:lnTo>
                    <a:pt x="56" y="91"/>
                  </a:lnTo>
                  <a:lnTo>
                    <a:pt x="54" y="89"/>
                  </a:lnTo>
                  <a:lnTo>
                    <a:pt x="49" y="82"/>
                  </a:lnTo>
                  <a:lnTo>
                    <a:pt x="46" y="79"/>
                  </a:lnTo>
                  <a:lnTo>
                    <a:pt x="46" y="77"/>
                  </a:lnTo>
                  <a:lnTo>
                    <a:pt x="42" y="70"/>
                  </a:lnTo>
                  <a:lnTo>
                    <a:pt x="39" y="61"/>
                  </a:lnTo>
                  <a:lnTo>
                    <a:pt x="37" y="58"/>
                  </a:lnTo>
                  <a:lnTo>
                    <a:pt x="37" y="56"/>
                  </a:lnTo>
                  <a:lnTo>
                    <a:pt x="34" y="53"/>
                  </a:lnTo>
                  <a:lnTo>
                    <a:pt x="25" y="48"/>
                  </a:lnTo>
                  <a:lnTo>
                    <a:pt x="20" y="46"/>
                  </a:lnTo>
                  <a:lnTo>
                    <a:pt x="15" y="43"/>
                  </a:lnTo>
                  <a:lnTo>
                    <a:pt x="12" y="39"/>
                  </a:lnTo>
                  <a:lnTo>
                    <a:pt x="7" y="32"/>
                  </a:lnTo>
                  <a:lnTo>
                    <a:pt x="8" y="34"/>
                  </a:lnTo>
                  <a:lnTo>
                    <a:pt x="7" y="31"/>
                  </a:lnTo>
                  <a:lnTo>
                    <a:pt x="0" y="24"/>
                  </a:lnTo>
                  <a:lnTo>
                    <a:pt x="5" y="20"/>
                  </a:lnTo>
                  <a:lnTo>
                    <a:pt x="13" y="15"/>
                  </a:lnTo>
                  <a:lnTo>
                    <a:pt x="15" y="14"/>
                  </a:lnTo>
                  <a:lnTo>
                    <a:pt x="17" y="14"/>
                  </a:lnTo>
                  <a:lnTo>
                    <a:pt x="25" y="9"/>
                  </a:lnTo>
                  <a:lnTo>
                    <a:pt x="25" y="5"/>
                  </a:lnTo>
                  <a:lnTo>
                    <a:pt x="32" y="0"/>
                  </a:lnTo>
                  <a:lnTo>
                    <a:pt x="37" y="5"/>
                  </a:lnTo>
                  <a:lnTo>
                    <a:pt x="41" y="7"/>
                  </a:lnTo>
                  <a:lnTo>
                    <a:pt x="47" y="12"/>
                  </a:lnTo>
                  <a:lnTo>
                    <a:pt x="49" y="12"/>
                  </a:lnTo>
                  <a:lnTo>
                    <a:pt x="51" y="14"/>
                  </a:lnTo>
                  <a:lnTo>
                    <a:pt x="56" y="17"/>
                  </a:lnTo>
                  <a:lnTo>
                    <a:pt x="63" y="20"/>
                  </a:lnTo>
                  <a:lnTo>
                    <a:pt x="65" y="20"/>
                  </a:lnTo>
                  <a:lnTo>
                    <a:pt x="65" y="22"/>
                  </a:lnTo>
                  <a:lnTo>
                    <a:pt x="63" y="26"/>
                  </a:lnTo>
                  <a:lnTo>
                    <a:pt x="63" y="34"/>
                  </a:lnTo>
                  <a:lnTo>
                    <a:pt x="63" y="36"/>
                  </a:lnTo>
                  <a:lnTo>
                    <a:pt x="66" y="32"/>
                  </a:lnTo>
                  <a:lnTo>
                    <a:pt x="70" y="31"/>
                  </a:lnTo>
                  <a:lnTo>
                    <a:pt x="71" y="32"/>
                  </a:lnTo>
                  <a:lnTo>
                    <a:pt x="77" y="31"/>
                  </a:lnTo>
                  <a:lnTo>
                    <a:pt x="80" y="32"/>
                  </a:lnTo>
                  <a:lnTo>
                    <a:pt x="82" y="36"/>
                  </a:lnTo>
                  <a:lnTo>
                    <a:pt x="88" y="44"/>
                  </a:lnTo>
                  <a:lnTo>
                    <a:pt x="95" y="48"/>
                  </a:lnTo>
                  <a:lnTo>
                    <a:pt x="95" y="50"/>
                  </a:lnTo>
                  <a:lnTo>
                    <a:pt x="102" y="55"/>
                  </a:lnTo>
                  <a:lnTo>
                    <a:pt x="107" y="56"/>
                  </a:lnTo>
                  <a:lnTo>
                    <a:pt x="116" y="53"/>
                  </a:lnTo>
                  <a:lnTo>
                    <a:pt x="121" y="58"/>
                  </a:lnTo>
                  <a:lnTo>
                    <a:pt x="124" y="6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9" name="Freeform 82"/>
            <p:cNvSpPr/>
            <p:nvPr/>
          </p:nvSpPr>
          <p:spPr bwMode="gray">
            <a:xfrm>
              <a:off x="4158718" y="4805593"/>
              <a:ext cx="173297" cy="142286"/>
            </a:xfrm>
            <a:custGeom>
              <a:avLst/>
              <a:gdLst>
                <a:gd name="T0" fmla="*/ 95 w 95"/>
                <a:gd name="T1" fmla="*/ 78 h 78"/>
                <a:gd name="T2" fmla="*/ 90 w 95"/>
                <a:gd name="T3" fmla="*/ 77 h 78"/>
                <a:gd name="T4" fmla="*/ 80 w 95"/>
                <a:gd name="T5" fmla="*/ 78 h 78"/>
                <a:gd name="T6" fmla="*/ 80 w 95"/>
                <a:gd name="T7" fmla="*/ 77 h 78"/>
                <a:gd name="T8" fmla="*/ 75 w 95"/>
                <a:gd name="T9" fmla="*/ 75 h 78"/>
                <a:gd name="T10" fmla="*/ 68 w 95"/>
                <a:gd name="T11" fmla="*/ 72 h 78"/>
                <a:gd name="T12" fmla="*/ 60 w 95"/>
                <a:gd name="T13" fmla="*/ 70 h 78"/>
                <a:gd name="T14" fmla="*/ 53 w 95"/>
                <a:gd name="T15" fmla="*/ 68 h 78"/>
                <a:gd name="T16" fmla="*/ 48 w 95"/>
                <a:gd name="T17" fmla="*/ 67 h 78"/>
                <a:gd name="T18" fmla="*/ 41 w 95"/>
                <a:gd name="T19" fmla="*/ 63 h 78"/>
                <a:gd name="T20" fmla="*/ 37 w 95"/>
                <a:gd name="T21" fmla="*/ 58 h 78"/>
                <a:gd name="T22" fmla="*/ 31 w 95"/>
                <a:gd name="T23" fmla="*/ 56 h 78"/>
                <a:gd name="T24" fmla="*/ 22 w 95"/>
                <a:gd name="T25" fmla="*/ 53 h 78"/>
                <a:gd name="T26" fmla="*/ 22 w 95"/>
                <a:gd name="T27" fmla="*/ 51 h 78"/>
                <a:gd name="T28" fmla="*/ 20 w 95"/>
                <a:gd name="T29" fmla="*/ 51 h 78"/>
                <a:gd name="T30" fmla="*/ 12 w 95"/>
                <a:gd name="T31" fmla="*/ 48 h 78"/>
                <a:gd name="T32" fmla="*/ 5 w 95"/>
                <a:gd name="T33" fmla="*/ 44 h 78"/>
                <a:gd name="T34" fmla="*/ 0 w 95"/>
                <a:gd name="T35" fmla="*/ 43 h 78"/>
                <a:gd name="T36" fmla="*/ 0 w 95"/>
                <a:gd name="T37" fmla="*/ 41 h 78"/>
                <a:gd name="T38" fmla="*/ 3 w 95"/>
                <a:gd name="T39" fmla="*/ 32 h 78"/>
                <a:gd name="T40" fmla="*/ 10 w 95"/>
                <a:gd name="T41" fmla="*/ 27 h 78"/>
                <a:gd name="T42" fmla="*/ 12 w 95"/>
                <a:gd name="T43" fmla="*/ 24 h 78"/>
                <a:gd name="T44" fmla="*/ 12 w 95"/>
                <a:gd name="T45" fmla="*/ 17 h 78"/>
                <a:gd name="T46" fmla="*/ 10 w 95"/>
                <a:gd name="T47" fmla="*/ 15 h 78"/>
                <a:gd name="T48" fmla="*/ 14 w 95"/>
                <a:gd name="T49" fmla="*/ 12 h 78"/>
                <a:gd name="T50" fmla="*/ 22 w 95"/>
                <a:gd name="T51" fmla="*/ 12 h 78"/>
                <a:gd name="T52" fmla="*/ 25 w 95"/>
                <a:gd name="T53" fmla="*/ 12 h 78"/>
                <a:gd name="T54" fmla="*/ 27 w 95"/>
                <a:gd name="T55" fmla="*/ 12 h 78"/>
                <a:gd name="T56" fmla="*/ 27 w 95"/>
                <a:gd name="T57" fmla="*/ 17 h 78"/>
                <a:gd name="T58" fmla="*/ 29 w 95"/>
                <a:gd name="T59" fmla="*/ 19 h 78"/>
                <a:gd name="T60" fmla="*/ 32 w 95"/>
                <a:gd name="T61" fmla="*/ 14 h 78"/>
                <a:gd name="T62" fmla="*/ 36 w 95"/>
                <a:gd name="T63" fmla="*/ 10 h 78"/>
                <a:gd name="T64" fmla="*/ 43 w 95"/>
                <a:gd name="T65" fmla="*/ 7 h 78"/>
                <a:gd name="T66" fmla="*/ 49 w 95"/>
                <a:gd name="T67" fmla="*/ 0 h 78"/>
                <a:gd name="T68" fmla="*/ 51 w 95"/>
                <a:gd name="T69" fmla="*/ 5 h 78"/>
                <a:gd name="T70" fmla="*/ 53 w 95"/>
                <a:gd name="T71" fmla="*/ 14 h 78"/>
                <a:gd name="T72" fmla="*/ 54 w 95"/>
                <a:gd name="T73" fmla="*/ 24 h 78"/>
                <a:gd name="T74" fmla="*/ 54 w 95"/>
                <a:gd name="T75" fmla="*/ 26 h 78"/>
                <a:gd name="T76" fmla="*/ 60 w 95"/>
                <a:gd name="T77" fmla="*/ 31 h 78"/>
                <a:gd name="T78" fmla="*/ 63 w 95"/>
                <a:gd name="T79" fmla="*/ 29 h 78"/>
                <a:gd name="T80" fmla="*/ 66 w 95"/>
                <a:gd name="T81" fmla="*/ 31 h 78"/>
                <a:gd name="T82" fmla="*/ 73 w 95"/>
                <a:gd name="T83" fmla="*/ 29 h 78"/>
                <a:gd name="T84" fmla="*/ 75 w 95"/>
                <a:gd name="T85" fmla="*/ 31 h 78"/>
                <a:gd name="T86" fmla="*/ 77 w 95"/>
                <a:gd name="T87" fmla="*/ 29 h 78"/>
                <a:gd name="T88" fmla="*/ 77 w 95"/>
                <a:gd name="T89" fmla="*/ 31 h 78"/>
                <a:gd name="T90" fmla="*/ 80 w 95"/>
                <a:gd name="T91" fmla="*/ 31 h 78"/>
                <a:gd name="T92" fmla="*/ 82 w 95"/>
                <a:gd name="T93" fmla="*/ 29 h 78"/>
                <a:gd name="T94" fmla="*/ 87 w 95"/>
                <a:gd name="T95" fmla="*/ 32 h 78"/>
                <a:gd name="T96" fmla="*/ 89 w 95"/>
                <a:gd name="T97" fmla="*/ 31 h 78"/>
                <a:gd name="T98" fmla="*/ 90 w 95"/>
                <a:gd name="T99" fmla="*/ 32 h 78"/>
                <a:gd name="T100" fmla="*/ 90 w 95"/>
                <a:gd name="T101" fmla="*/ 38 h 78"/>
                <a:gd name="T102" fmla="*/ 89 w 95"/>
                <a:gd name="T103" fmla="*/ 43 h 78"/>
                <a:gd name="T104" fmla="*/ 89 w 95"/>
                <a:gd name="T105" fmla="*/ 51 h 78"/>
                <a:gd name="T106" fmla="*/ 87 w 95"/>
                <a:gd name="T107" fmla="*/ 58 h 78"/>
                <a:gd name="T108" fmla="*/ 90 w 95"/>
                <a:gd name="T109" fmla="*/ 67 h 78"/>
                <a:gd name="T110" fmla="*/ 89 w 95"/>
                <a:gd name="T111" fmla="*/ 73 h 78"/>
                <a:gd name="T112" fmla="*/ 92 w 95"/>
                <a:gd name="T113" fmla="*/ 75 h 78"/>
                <a:gd name="T114" fmla="*/ 94 w 95"/>
                <a:gd name="T115" fmla="*/ 72 h 78"/>
                <a:gd name="T116" fmla="*/ 95 w 95"/>
                <a:gd name="T117" fmla="*/ 75 h 78"/>
                <a:gd name="T118" fmla="*/ 95 w 95"/>
                <a:gd name="T1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78">
                  <a:moveTo>
                    <a:pt x="95" y="78"/>
                  </a:moveTo>
                  <a:lnTo>
                    <a:pt x="90" y="77"/>
                  </a:lnTo>
                  <a:lnTo>
                    <a:pt x="80" y="78"/>
                  </a:lnTo>
                  <a:lnTo>
                    <a:pt x="80" y="77"/>
                  </a:lnTo>
                  <a:lnTo>
                    <a:pt x="75" y="75"/>
                  </a:lnTo>
                  <a:lnTo>
                    <a:pt x="68" y="72"/>
                  </a:lnTo>
                  <a:lnTo>
                    <a:pt x="60" y="70"/>
                  </a:lnTo>
                  <a:lnTo>
                    <a:pt x="53" y="68"/>
                  </a:lnTo>
                  <a:lnTo>
                    <a:pt x="48" y="67"/>
                  </a:lnTo>
                  <a:lnTo>
                    <a:pt x="41" y="63"/>
                  </a:lnTo>
                  <a:lnTo>
                    <a:pt x="37" y="58"/>
                  </a:lnTo>
                  <a:lnTo>
                    <a:pt x="31" y="56"/>
                  </a:lnTo>
                  <a:lnTo>
                    <a:pt x="22" y="53"/>
                  </a:lnTo>
                  <a:lnTo>
                    <a:pt x="22" y="51"/>
                  </a:lnTo>
                  <a:lnTo>
                    <a:pt x="20" y="51"/>
                  </a:lnTo>
                  <a:lnTo>
                    <a:pt x="12" y="48"/>
                  </a:lnTo>
                  <a:lnTo>
                    <a:pt x="5" y="44"/>
                  </a:lnTo>
                  <a:lnTo>
                    <a:pt x="0" y="43"/>
                  </a:lnTo>
                  <a:lnTo>
                    <a:pt x="0" y="41"/>
                  </a:lnTo>
                  <a:lnTo>
                    <a:pt x="3" y="32"/>
                  </a:lnTo>
                  <a:lnTo>
                    <a:pt x="10" y="27"/>
                  </a:lnTo>
                  <a:lnTo>
                    <a:pt x="12" y="24"/>
                  </a:lnTo>
                  <a:lnTo>
                    <a:pt x="12" y="17"/>
                  </a:lnTo>
                  <a:lnTo>
                    <a:pt x="10" y="15"/>
                  </a:lnTo>
                  <a:lnTo>
                    <a:pt x="14" y="12"/>
                  </a:lnTo>
                  <a:lnTo>
                    <a:pt x="22" y="12"/>
                  </a:lnTo>
                  <a:lnTo>
                    <a:pt x="25" y="12"/>
                  </a:lnTo>
                  <a:lnTo>
                    <a:pt x="27" y="12"/>
                  </a:lnTo>
                  <a:lnTo>
                    <a:pt x="27" y="17"/>
                  </a:lnTo>
                  <a:lnTo>
                    <a:pt x="29" y="19"/>
                  </a:lnTo>
                  <a:lnTo>
                    <a:pt x="32" y="14"/>
                  </a:lnTo>
                  <a:lnTo>
                    <a:pt x="36" y="10"/>
                  </a:lnTo>
                  <a:lnTo>
                    <a:pt x="43" y="7"/>
                  </a:lnTo>
                  <a:lnTo>
                    <a:pt x="49" y="0"/>
                  </a:lnTo>
                  <a:lnTo>
                    <a:pt x="51" y="5"/>
                  </a:lnTo>
                  <a:lnTo>
                    <a:pt x="53" y="14"/>
                  </a:lnTo>
                  <a:lnTo>
                    <a:pt x="54" y="24"/>
                  </a:lnTo>
                  <a:lnTo>
                    <a:pt x="54" y="26"/>
                  </a:lnTo>
                  <a:lnTo>
                    <a:pt x="60" y="31"/>
                  </a:lnTo>
                  <a:lnTo>
                    <a:pt x="63" y="29"/>
                  </a:lnTo>
                  <a:lnTo>
                    <a:pt x="66" y="31"/>
                  </a:lnTo>
                  <a:lnTo>
                    <a:pt x="73" y="29"/>
                  </a:lnTo>
                  <a:lnTo>
                    <a:pt x="75" y="31"/>
                  </a:lnTo>
                  <a:lnTo>
                    <a:pt x="77" y="29"/>
                  </a:lnTo>
                  <a:lnTo>
                    <a:pt x="77" y="31"/>
                  </a:lnTo>
                  <a:lnTo>
                    <a:pt x="80" y="31"/>
                  </a:lnTo>
                  <a:lnTo>
                    <a:pt x="82" y="29"/>
                  </a:lnTo>
                  <a:lnTo>
                    <a:pt x="87" y="32"/>
                  </a:lnTo>
                  <a:lnTo>
                    <a:pt x="89" y="31"/>
                  </a:lnTo>
                  <a:lnTo>
                    <a:pt x="90" y="32"/>
                  </a:lnTo>
                  <a:lnTo>
                    <a:pt x="90" y="38"/>
                  </a:lnTo>
                  <a:lnTo>
                    <a:pt x="89" y="43"/>
                  </a:lnTo>
                  <a:lnTo>
                    <a:pt x="89" y="51"/>
                  </a:lnTo>
                  <a:lnTo>
                    <a:pt x="87" y="58"/>
                  </a:lnTo>
                  <a:lnTo>
                    <a:pt x="90" y="67"/>
                  </a:lnTo>
                  <a:lnTo>
                    <a:pt x="89" y="73"/>
                  </a:lnTo>
                  <a:lnTo>
                    <a:pt x="92" y="75"/>
                  </a:lnTo>
                  <a:lnTo>
                    <a:pt x="94" y="72"/>
                  </a:lnTo>
                  <a:lnTo>
                    <a:pt x="95" y="75"/>
                  </a:lnTo>
                  <a:lnTo>
                    <a:pt x="95" y="78"/>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grpSp>
      <p:grpSp>
        <p:nvGrpSpPr>
          <p:cNvPr id="110" name="Group 109"/>
          <p:cNvGrpSpPr/>
          <p:nvPr/>
        </p:nvGrpSpPr>
        <p:grpSpPr>
          <a:xfrm>
            <a:off x="6375444" y="2514281"/>
            <a:ext cx="5337180" cy="2035796"/>
            <a:chOff x="882484" y="1865010"/>
            <a:chExt cx="10045779" cy="3697619"/>
          </a:xfrm>
          <a:solidFill>
            <a:schemeClr val="bg1">
              <a:lumMod val="85000"/>
            </a:schemeClr>
          </a:solidFill>
        </p:grpSpPr>
        <p:sp>
          <p:nvSpPr>
            <p:cNvPr id="111" name="Freeform 49"/>
            <p:cNvSpPr>
              <a:spLocks noEditPoints="1"/>
            </p:cNvSpPr>
            <p:nvPr/>
          </p:nvSpPr>
          <p:spPr bwMode="gray">
            <a:xfrm>
              <a:off x="882484" y="1865010"/>
              <a:ext cx="713255" cy="853718"/>
            </a:xfrm>
            <a:custGeom>
              <a:avLst/>
              <a:gdLst>
                <a:gd name="T0" fmla="*/ 196 w 391"/>
                <a:gd name="T1" fmla="*/ 452 h 468"/>
                <a:gd name="T2" fmla="*/ 191 w 391"/>
                <a:gd name="T3" fmla="*/ 447 h 468"/>
                <a:gd name="T4" fmla="*/ 273 w 391"/>
                <a:gd name="T5" fmla="*/ 445 h 468"/>
                <a:gd name="T6" fmla="*/ 278 w 391"/>
                <a:gd name="T7" fmla="*/ 461 h 468"/>
                <a:gd name="T8" fmla="*/ 251 w 391"/>
                <a:gd name="T9" fmla="*/ 442 h 468"/>
                <a:gd name="T10" fmla="*/ 287 w 391"/>
                <a:gd name="T11" fmla="*/ 433 h 468"/>
                <a:gd name="T12" fmla="*/ 275 w 391"/>
                <a:gd name="T13" fmla="*/ 433 h 468"/>
                <a:gd name="T14" fmla="*/ 283 w 391"/>
                <a:gd name="T15" fmla="*/ 427 h 468"/>
                <a:gd name="T16" fmla="*/ 178 w 391"/>
                <a:gd name="T17" fmla="*/ 418 h 468"/>
                <a:gd name="T18" fmla="*/ 160 w 391"/>
                <a:gd name="T19" fmla="*/ 389 h 468"/>
                <a:gd name="T20" fmla="*/ 99 w 391"/>
                <a:gd name="T21" fmla="*/ 362 h 468"/>
                <a:gd name="T22" fmla="*/ 104 w 391"/>
                <a:gd name="T23" fmla="*/ 369 h 468"/>
                <a:gd name="T24" fmla="*/ 128 w 391"/>
                <a:gd name="T25" fmla="*/ 379 h 468"/>
                <a:gd name="T26" fmla="*/ 130 w 391"/>
                <a:gd name="T27" fmla="*/ 391 h 468"/>
                <a:gd name="T28" fmla="*/ 137 w 391"/>
                <a:gd name="T29" fmla="*/ 387 h 468"/>
                <a:gd name="T30" fmla="*/ 162 w 391"/>
                <a:gd name="T31" fmla="*/ 410 h 468"/>
                <a:gd name="T32" fmla="*/ 176 w 391"/>
                <a:gd name="T33" fmla="*/ 420 h 468"/>
                <a:gd name="T34" fmla="*/ 145 w 391"/>
                <a:gd name="T35" fmla="*/ 415 h 468"/>
                <a:gd name="T36" fmla="*/ 114 w 391"/>
                <a:gd name="T37" fmla="*/ 398 h 468"/>
                <a:gd name="T38" fmla="*/ 92 w 391"/>
                <a:gd name="T39" fmla="*/ 386 h 468"/>
                <a:gd name="T40" fmla="*/ 92 w 391"/>
                <a:gd name="T41" fmla="*/ 369 h 468"/>
                <a:gd name="T42" fmla="*/ 44 w 391"/>
                <a:gd name="T43" fmla="*/ 350 h 468"/>
                <a:gd name="T44" fmla="*/ 15 w 391"/>
                <a:gd name="T45" fmla="*/ 41 h 468"/>
                <a:gd name="T46" fmla="*/ 386 w 391"/>
                <a:gd name="T47" fmla="*/ 194 h 468"/>
                <a:gd name="T48" fmla="*/ 365 w 391"/>
                <a:gd name="T49" fmla="*/ 211 h 468"/>
                <a:gd name="T50" fmla="*/ 347 w 391"/>
                <a:gd name="T51" fmla="*/ 249 h 468"/>
                <a:gd name="T52" fmla="*/ 348 w 391"/>
                <a:gd name="T53" fmla="*/ 297 h 468"/>
                <a:gd name="T54" fmla="*/ 341 w 391"/>
                <a:gd name="T55" fmla="*/ 317 h 468"/>
                <a:gd name="T56" fmla="*/ 350 w 391"/>
                <a:gd name="T57" fmla="*/ 360 h 468"/>
                <a:gd name="T58" fmla="*/ 367 w 391"/>
                <a:gd name="T59" fmla="*/ 406 h 468"/>
                <a:gd name="T60" fmla="*/ 359 w 391"/>
                <a:gd name="T61" fmla="*/ 439 h 468"/>
                <a:gd name="T62" fmla="*/ 318 w 391"/>
                <a:gd name="T63" fmla="*/ 420 h 468"/>
                <a:gd name="T64" fmla="*/ 309 w 391"/>
                <a:gd name="T65" fmla="*/ 363 h 468"/>
                <a:gd name="T66" fmla="*/ 271 w 391"/>
                <a:gd name="T67" fmla="*/ 326 h 468"/>
                <a:gd name="T68" fmla="*/ 239 w 391"/>
                <a:gd name="T69" fmla="*/ 288 h 468"/>
                <a:gd name="T70" fmla="*/ 198 w 391"/>
                <a:gd name="T71" fmla="*/ 259 h 468"/>
                <a:gd name="T72" fmla="*/ 152 w 391"/>
                <a:gd name="T73" fmla="*/ 228 h 468"/>
                <a:gd name="T74" fmla="*/ 121 w 391"/>
                <a:gd name="T75" fmla="*/ 205 h 468"/>
                <a:gd name="T76" fmla="*/ 79 w 391"/>
                <a:gd name="T77" fmla="*/ 160 h 468"/>
                <a:gd name="T78" fmla="*/ 56 w 391"/>
                <a:gd name="T79" fmla="*/ 138 h 468"/>
                <a:gd name="T80" fmla="*/ 43 w 391"/>
                <a:gd name="T81" fmla="*/ 104 h 468"/>
                <a:gd name="T82" fmla="*/ 27 w 391"/>
                <a:gd name="T83" fmla="*/ 75 h 468"/>
                <a:gd name="T84" fmla="*/ 27 w 391"/>
                <a:gd name="T85" fmla="*/ 54 h 468"/>
                <a:gd name="T86" fmla="*/ 50 w 391"/>
                <a:gd name="T87" fmla="*/ 30 h 468"/>
                <a:gd name="T88" fmla="*/ 102 w 391"/>
                <a:gd name="T89" fmla="*/ 47 h 468"/>
                <a:gd name="T90" fmla="*/ 140 w 391"/>
                <a:gd name="T91" fmla="*/ 76 h 468"/>
                <a:gd name="T92" fmla="*/ 205 w 391"/>
                <a:gd name="T93" fmla="*/ 78 h 468"/>
                <a:gd name="T94" fmla="*/ 256 w 391"/>
                <a:gd name="T95" fmla="*/ 85 h 468"/>
                <a:gd name="T96" fmla="*/ 297 w 391"/>
                <a:gd name="T97" fmla="*/ 78 h 468"/>
                <a:gd name="T98" fmla="*/ 326 w 391"/>
                <a:gd name="T99" fmla="*/ 109 h 468"/>
                <a:gd name="T100" fmla="*/ 353 w 391"/>
                <a:gd name="T101" fmla="*/ 148 h 468"/>
                <a:gd name="T102" fmla="*/ 357 w 391"/>
                <a:gd name="T103" fmla="*/ 165 h 468"/>
                <a:gd name="T104" fmla="*/ 379 w 391"/>
                <a:gd name="T105" fmla="*/ 170 h 468"/>
                <a:gd name="T106" fmla="*/ 391 w 391"/>
                <a:gd name="T107" fmla="*/ 189 h 468"/>
                <a:gd name="T108" fmla="*/ 14 w 391"/>
                <a:gd name="T109" fmla="*/ 37 h 468"/>
                <a:gd name="T110" fmla="*/ 15 w 391"/>
                <a:gd name="T111" fmla="*/ 29 h 468"/>
                <a:gd name="T112" fmla="*/ 0 w 391"/>
                <a:gd name="T113" fmla="*/ 22 h 468"/>
                <a:gd name="T114" fmla="*/ 38 w 391"/>
                <a:gd name="T115" fmla="*/ 3 h 468"/>
                <a:gd name="T116" fmla="*/ 24 w 391"/>
                <a:gd name="T117" fmla="*/ 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1" h="468">
                  <a:moveTo>
                    <a:pt x="253" y="454"/>
                  </a:moveTo>
                  <a:lnTo>
                    <a:pt x="256" y="459"/>
                  </a:lnTo>
                  <a:lnTo>
                    <a:pt x="251" y="462"/>
                  </a:lnTo>
                  <a:lnTo>
                    <a:pt x="253" y="466"/>
                  </a:lnTo>
                  <a:lnTo>
                    <a:pt x="251" y="468"/>
                  </a:lnTo>
                  <a:lnTo>
                    <a:pt x="246" y="459"/>
                  </a:lnTo>
                  <a:lnTo>
                    <a:pt x="249" y="457"/>
                  </a:lnTo>
                  <a:lnTo>
                    <a:pt x="249" y="454"/>
                  </a:lnTo>
                  <a:lnTo>
                    <a:pt x="253" y="454"/>
                  </a:lnTo>
                  <a:close/>
                  <a:moveTo>
                    <a:pt x="196" y="452"/>
                  </a:moveTo>
                  <a:lnTo>
                    <a:pt x="200" y="457"/>
                  </a:lnTo>
                  <a:lnTo>
                    <a:pt x="195" y="461"/>
                  </a:lnTo>
                  <a:lnTo>
                    <a:pt x="191" y="459"/>
                  </a:lnTo>
                  <a:lnTo>
                    <a:pt x="191" y="456"/>
                  </a:lnTo>
                  <a:lnTo>
                    <a:pt x="193" y="454"/>
                  </a:lnTo>
                  <a:lnTo>
                    <a:pt x="196" y="452"/>
                  </a:lnTo>
                  <a:close/>
                  <a:moveTo>
                    <a:pt x="193" y="445"/>
                  </a:moveTo>
                  <a:lnTo>
                    <a:pt x="196" y="447"/>
                  </a:lnTo>
                  <a:lnTo>
                    <a:pt x="195" y="451"/>
                  </a:lnTo>
                  <a:lnTo>
                    <a:pt x="191" y="447"/>
                  </a:lnTo>
                  <a:lnTo>
                    <a:pt x="193" y="445"/>
                  </a:lnTo>
                  <a:close/>
                  <a:moveTo>
                    <a:pt x="290" y="449"/>
                  </a:moveTo>
                  <a:lnTo>
                    <a:pt x="289" y="447"/>
                  </a:lnTo>
                  <a:lnTo>
                    <a:pt x="290" y="445"/>
                  </a:lnTo>
                  <a:lnTo>
                    <a:pt x="290" y="449"/>
                  </a:lnTo>
                  <a:close/>
                  <a:moveTo>
                    <a:pt x="266" y="440"/>
                  </a:moveTo>
                  <a:lnTo>
                    <a:pt x="273" y="440"/>
                  </a:lnTo>
                  <a:lnTo>
                    <a:pt x="273" y="444"/>
                  </a:lnTo>
                  <a:lnTo>
                    <a:pt x="275" y="445"/>
                  </a:lnTo>
                  <a:lnTo>
                    <a:pt x="273" y="445"/>
                  </a:lnTo>
                  <a:lnTo>
                    <a:pt x="277" y="447"/>
                  </a:lnTo>
                  <a:lnTo>
                    <a:pt x="277" y="449"/>
                  </a:lnTo>
                  <a:lnTo>
                    <a:pt x="278" y="449"/>
                  </a:lnTo>
                  <a:lnTo>
                    <a:pt x="278" y="452"/>
                  </a:lnTo>
                  <a:lnTo>
                    <a:pt x="277" y="454"/>
                  </a:lnTo>
                  <a:lnTo>
                    <a:pt x="280" y="457"/>
                  </a:lnTo>
                  <a:lnTo>
                    <a:pt x="278" y="457"/>
                  </a:lnTo>
                  <a:lnTo>
                    <a:pt x="278" y="464"/>
                  </a:lnTo>
                  <a:lnTo>
                    <a:pt x="277" y="462"/>
                  </a:lnTo>
                  <a:lnTo>
                    <a:pt x="278" y="461"/>
                  </a:lnTo>
                  <a:lnTo>
                    <a:pt x="275" y="461"/>
                  </a:lnTo>
                  <a:lnTo>
                    <a:pt x="271" y="456"/>
                  </a:lnTo>
                  <a:lnTo>
                    <a:pt x="270" y="456"/>
                  </a:lnTo>
                  <a:lnTo>
                    <a:pt x="268" y="452"/>
                  </a:lnTo>
                  <a:lnTo>
                    <a:pt x="265" y="451"/>
                  </a:lnTo>
                  <a:lnTo>
                    <a:pt x="265" y="447"/>
                  </a:lnTo>
                  <a:lnTo>
                    <a:pt x="263" y="449"/>
                  </a:lnTo>
                  <a:lnTo>
                    <a:pt x="263" y="445"/>
                  </a:lnTo>
                  <a:lnTo>
                    <a:pt x="258" y="447"/>
                  </a:lnTo>
                  <a:lnTo>
                    <a:pt x="251" y="442"/>
                  </a:lnTo>
                  <a:lnTo>
                    <a:pt x="251" y="440"/>
                  </a:lnTo>
                  <a:lnTo>
                    <a:pt x="256" y="440"/>
                  </a:lnTo>
                  <a:lnTo>
                    <a:pt x="258" y="440"/>
                  </a:lnTo>
                  <a:lnTo>
                    <a:pt x="258" y="442"/>
                  </a:lnTo>
                  <a:lnTo>
                    <a:pt x="259" y="440"/>
                  </a:lnTo>
                  <a:lnTo>
                    <a:pt x="261" y="444"/>
                  </a:lnTo>
                  <a:lnTo>
                    <a:pt x="263" y="444"/>
                  </a:lnTo>
                  <a:lnTo>
                    <a:pt x="266" y="440"/>
                  </a:lnTo>
                  <a:close/>
                  <a:moveTo>
                    <a:pt x="285" y="433"/>
                  </a:moveTo>
                  <a:lnTo>
                    <a:pt x="287" y="433"/>
                  </a:lnTo>
                  <a:lnTo>
                    <a:pt x="287" y="437"/>
                  </a:lnTo>
                  <a:lnTo>
                    <a:pt x="285" y="437"/>
                  </a:lnTo>
                  <a:lnTo>
                    <a:pt x="285" y="433"/>
                  </a:lnTo>
                  <a:close/>
                  <a:moveTo>
                    <a:pt x="268" y="433"/>
                  </a:moveTo>
                  <a:lnTo>
                    <a:pt x="271" y="435"/>
                  </a:lnTo>
                  <a:lnTo>
                    <a:pt x="266" y="433"/>
                  </a:lnTo>
                  <a:lnTo>
                    <a:pt x="268" y="433"/>
                  </a:lnTo>
                  <a:close/>
                  <a:moveTo>
                    <a:pt x="273" y="430"/>
                  </a:moveTo>
                  <a:lnTo>
                    <a:pt x="275" y="430"/>
                  </a:lnTo>
                  <a:lnTo>
                    <a:pt x="275" y="433"/>
                  </a:lnTo>
                  <a:lnTo>
                    <a:pt x="273" y="433"/>
                  </a:lnTo>
                  <a:lnTo>
                    <a:pt x="273" y="430"/>
                  </a:lnTo>
                  <a:close/>
                  <a:moveTo>
                    <a:pt x="285" y="430"/>
                  </a:moveTo>
                  <a:lnTo>
                    <a:pt x="287" y="430"/>
                  </a:lnTo>
                  <a:lnTo>
                    <a:pt x="287" y="432"/>
                  </a:lnTo>
                  <a:lnTo>
                    <a:pt x="285" y="432"/>
                  </a:lnTo>
                  <a:lnTo>
                    <a:pt x="285" y="430"/>
                  </a:lnTo>
                  <a:close/>
                  <a:moveTo>
                    <a:pt x="287" y="427"/>
                  </a:moveTo>
                  <a:lnTo>
                    <a:pt x="287" y="432"/>
                  </a:lnTo>
                  <a:lnTo>
                    <a:pt x="283" y="427"/>
                  </a:lnTo>
                  <a:lnTo>
                    <a:pt x="283" y="425"/>
                  </a:lnTo>
                  <a:lnTo>
                    <a:pt x="287" y="427"/>
                  </a:lnTo>
                  <a:close/>
                  <a:moveTo>
                    <a:pt x="149" y="425"/>
                  </a:moveTo>
                  <a:lnTo>
                    <a:pt x="145" y="427"/>
                  </a:lnTo>
                  <a:lnTo>
                    <a:pt x="143" y="425"/>
                  </a:lnTo>
                  <a:lnTo>
                    <a:pt x="149" y="423"/>
                  </a:lnTo>
                  <a:lnTo>
                    <a:pt x="149" y="425"/>
                  </a:lnTo>
                  <a:close/>
                  <a:moveTo>
                    <a:pt x="176" y="415"/>
                  </a:moveTo>
                  <a:lnTo>
                    <a:pt x="179" y="416"/>
                  </a:lnTo>
                  <a:lnTo>
                    <a:pt x="178" y="418"/>
                  </a:lnTo>
                  <a:lnTo>
                    <a:pt x="176" y="416"/>
                  </a:lnTo>
                  <a:lnTo>
                    <a:pt x="176" y="415"/>
                  </a:lnTo>
                  <a:close/>
                  <a:moveTo>
                    <a:pt x="109" y="403"/>
                  </a:moveTo>
                  <a:lnTo>
                    <a:pt x="113" y="404"/>
                  </a:lnTo>
                  <a:lnTo>
                    <a:pt x="108" y="404"/>
                  </a:lnTo>
                  <a:lnTo>
                    <a:pt x="109" y="403"/>
                  </a:lnTo>
                  <a:close/>
                  <a:moveTo>
                    <a:pt x="162" y="389"/>
                  </a:moveTo>
                  <a:lnTo>
                    <a:pt x="166" y="391"/>
                  </a:lnTo>
                  <a:lnTo>
                    <a:pt x="164" y="391"/>
                  </a:lnTo>
                  <a:lnTo>
                    <a:pt x="160" y="389"/>
                  </a:lnTo>
                  <a:lnTo>
                    <a:pt x="162" y="389"/>
                  </a:lnTo>
                  <a:close/>
                  <a:moveTo>
                    <a:pt x="84" y="382"/>
                  </a:moveTo>
                  <a:lnTo>
                    <a:pt x="87" y="382"/>
                  </a:lnTo>
                  <a:lnTo>
                    <a:pt x="87" y="384"/>
                  </a:lnTo>
                  <a:lnTo>
                    <a:pt x="84" y="384"/>
                  </a:lnTo>
                  <a:lnTo>
                    <a:pt x="84" y="382"/>
                  </a:lnTo>
                  <a:close/>
                  <a:moveTo>
                    <a:pt x="94" y="357"/>
                  </a:moveTo>
                  <a:lnTo>
                    <a:pt x="94" y="358"/>
                  </a:lnTo>
                  <a:lnTo>
                    <a:pt x="97" y="358"/>
                  </a:lnTo>
                  <a:lnTo>
                    <a:pt x="99" y="362"/>
                  </a:lnTo>
                  <a:lnTo>
                    <a:pt x="97" y="358"/>
                  </a:lnTo>
                  <a:lnTo>
                    <a:pt x="106" y="360"/>
                  </a:lnTo>
                  <a:lnTo>
                    <a:pt x="108" y="363"/>
                  </a:lnTo>
                  <a:lnTo>
                    <a:pt x="108" y="367"/>
                  </a:lnTo>
                  <a:lnTo>
                    <a:pt x="104" y="363"/>
                  </a:lnTo>
                  <a:lnTo>
                    <a:pt x="102" y="363"/>
                  </a:lnTo>
                  <a:lnTo>
                    <a:pt x="104" y="365"/>
                  </a:lnTo>
                  <a:lnTo>
                    <a:pt x="101" y="365"/>
                  </a:lnTo>
                  <a:lnTo>
                    <a:pt x="104" y="367"/>
                  </a:lnTo>
                  <a:lnTo>
                    <a:pt x="104" y="369"/>
                  </a:lnTo>
                  <a:lnTo>
                    <a:pt x="108" y="369"/>
                  </a:lnTo>
                  <a:lnTo>
                    <a:pt x="108" y="367"/>
                  </a:lnTo>
                  <a:lnTo>
                    <a:pt x="109" y="369"/>
                  </a:lnTo>
                  <a:lnTo>
                    <a:pt x="114" y="370"/>
                  </a:lnTo>
                  <a:lnTo>
                    <a:pt x="114" y="374"/>
                  </a:lnTo>
                  <a:lnTo>
                    <a:pt x="121" y="377"/>
                  </a:lnTo>
                  <a:lnTo>
                    <a:pt x="130" y="377"/>
                  </a:lnTo>
                  <a:lnTo>
                    <a:pt x="128" y="377"/>
                  </a:lnTo>
                  <a:lnTo>
                    <a:pt x="128" y="380"/>
                  </a:lnTo>
                  <a:lnTo>
                    <a:pt x="128" y="379"/>
                  </a:lnTo>
                  <a:lnTo>
                    <a:pt x="133" y="380"/>
                  </a:lnTo>
                  <a:lnTo>
                    <a:pt x="133" y="382"/>
                  </a:lnTo>
                  <a:lnTo>
                    <a:pt x="131" y="380"/>
                  </a:lnTo>
                  <a:lnTo>
                    <a:pt x="131" y="382"/>
                  </a:lnTo>
                  <a:lnTo>
                    <a:pt x="133" y="384"/>
                  </a:lnTo>
                  <a:lnTo>
                    <a:pt x="135" y="382"/>
                  </a:lnTo>
                  <a:lnTo>
                    <a:pt x="135" y="386"/>
                  </a:lnTo>
                  <a:lnTo>
                    <a:pt x="131" y="386"/>
                  </a:lnTo>
                  <a:lnTo>
                    <a:pt x="128" y="387"/>
                  </a:lnTo>
                  <a:lnTo>
                    <a:pt x="130" y="391"/>
                  </a:lnTo>
                  <a:lnTo>
                    <a:pt x="131" y="392"/>
                  </a:lnTo>
                  <a:lnTo>
                    <a:pt x="131" y="391"/>
                  </a:lnTo>
                  <a:lnTo>
                    <a:pt x="133" y="391"/>
                  </a:lnTo>
                  <a:lnTo>
                    <a:pt x="135" y="389"/>
                  </a:lnTo>
                  <a:lnTo>
                    <a:pt x="135" y="391"/>
                  </a:lnTo>
                  <a:lnTo>
                    <a:pt x="137" y="391"/>
                  </a:lnTo>
                  <a:lnTo>
                    <a:pt x="138" y="394"/>
                  </a:lnTo>
                  <a:lnTo>
                    <a:pt x="140" y="394"/>
                  </a:lnTo>
                  <a:lnTo>
                    <a:pt x="138" y="389"/>
                  </a:lnTo>
                  <a:lnTo>
                    <a:pt x="137" y="387"/>
                  </a:lnTo>
                  <a:lnTo>
                    <a:pt x="138" y="387"/>
                  </a:lnTo>
                  <a:lnTo>
                    <a:pt x="143" y="394"/>
                  </a:lnTo>
                  <a:lnTo>
                    <a:pt x="147" y="394"/>
                  </a:lnTo>
                  <a:lnTo>
                    <a:pt x="149" y="398"/>
                  </a:lnTo>
                  <a:lnTo>
                    <a:pt x="152" y="401"/>
                  </a:lnTo>
                  <a:lnTo>
                    <a:pt x="159" y="403"/>
                  </a:lnTo>
                  <a:lnTo>
                    <a:pt x="159" y="404"/>
                  </a:lnTo>
                  <a:lnTo>
                    <a:pt x="162" y="406"/>
                  </a:lnTo>
                  <a:lnTo>
                    <a:pt x="160" y="408"/>
                  </a:lnTo>
                  <a:lnTo>
                    <a:pt x="162" y="410"/>
                  </a:lnTo>
                  <a:lnTo>
                    <a:pt x="164" y="411"/>
                  </a:lnTo>
                  <a:lnTo>
                    <a:pt x="164" y="413"/>
                  </a:lnTo>
                  <a:lnTo>
                    <a:pt x="166" y="413"/>
                  </a:lnTo>
                  <a:lnTo>
                    <a:pt x="166" y="406"/>
                  </a:lnTo>
                  <a:lnTo>
                    <a:pt x="169" y="411"/>
                  </a:lnTo>
                  <a:lnTo>
                    <a:pt x="169" y="410"/>
                  </a:lnTo>
                  <a:lnTo>
                    <a:pt x="172" y="411"/>
                  </a:lnTo>
                  <a:lnTo>
                    <a:pt x="174" y="413"/>
                  </a:lnTo>
                  <a:lnTo>
                    <a:pt x="174" y="416"/>
                  </a:lnTo>
                  <a:lnTo>
                    <a:pt x="176" y="420"/>
                  </a:lnTo>
                  <a:lnTo>
                    <a:pt x="174" y="420"/>
                  </a:lnTo>
                  <a:lnTo>
                    <a:pt x="178" y="425"/>
                  </a:lnTo>
                  <a:lnTo>
                    <a:pt x="171" y="428"/>
                  </a:lnTo>
                  <a:lnTo>
                    <a:pt x="164" y="427"/>
                  </a:lnTo>
                  <a:lnTo>
                    <a:pt x="159" y="427"/>
                  </a:lnTo>
                  <a:lnTo>
                    <a:pt x="155" y="425"/>
                  </a:lnTo>
                  <a:lnTo>
                    <a:pt x="157" y="421"/>
                  </a:lnTo>
                  <a:lnTo>
                    <a:pt x="155" y="421"/>
                  </a:lnTo>
                  <a:lnTo>
                    <a:pt x="155" y="418"/>
                  </a:lnTo>
                  <a:lnTo>
                    <a:pt x="145" y="415"/>
                  </a:lnTo>
                  <a:lnTo>
                    <a:pt x="143" y="413"/>
                  </a:lnTo>
                  <a:lnTo>
                    <a:pt x="138" y="410"/>
                  </a:lnTo>
                  <a:lnTo>
                    <a:pt x="137" y="406"/>
                  </a:lnTo>
                  <a:lnTo>
                    <a:pt x="133" y="406"/>
                  </a:lnTo>
                  <a:lnTo>
                    <a:pt x="131" y="403"/>
                  </a:lnTo>
                  <a:lnTo>
                    <a:pt x="126" y="399"/>
                  </a:lnTo>
                  <a:lnTo>
                    <a:pt x="125" y="401"/>
                  </a:lnTo>
                  <a:lnTo>
                    <a:pt x="120" y="398"/>
                  </a:lnTo>
                  <a:lnTo>
                    <a:pt x="118" y="399"/>
                  </a:lnTo>
                  <a:lnTo>
                    <a:pt x="114" y="398"/>
                  </a:lnTo>
                  <a:lnTo>
                    <a:pt x="111" y="399"/>
                  </a:lnTo>
                  <a:lnTo>
                    <a:pt x="108" y="396"/>
                  </a:lnTo>
                  <a:lnTo>
                    <a:pt x="104" y="396"/>
                  </a:lnTo>
                  <a:lnTo>
                    <a:pt x="104" y="394"/>
                  </a:lnTo>
                  <a:lnTo>
                    <a:pt x="101" y="391"/>
                  </a:lnTo>
                  <a:lnTo>
                    <a:pt x="99" y="392"/>
                  </a:lnTo>
                  <a:lnTo>
                    <a:pt x="99" y="394"/>
                  </a:lnTo>
                  <a:lnTo>
                    <a:pt x="96" y="391"/>
                  </a:lnTo>
                  <a:lnTo>
                    <a:pt x="94" y="392"/>
                  </a:lnTo>
                  <a:lnTo>
                    <a:pt x="92" y="386"/>
                  </a:lnTo>
                  <a:lnTo>
                    <a:pt x="89" y="384"/>
                  </a:lnTo>
                  <a:lnTo>
                    <a:pt x="89" y="382"/>
                  </a:lnTo>
                  <a:lnTo>
                    <a:pt x="84" y="379"/>
                  </a:lnTo>
                  <a:lnTo>
                    <a:pt x="85" y="377"/>
                  </a:lnTo>
                  <a:lnTo>
                    <a:pt x="82" y="379"/>
                  </a:lnTo>
                  <a:lnTo>
                    <a:pt x="80" y="375"/>
                  </a:lnTo>
                  <a:lnTo>
                    <a:pt x="84" y="369"/>
                  </a:lnTo>
                  <a:lnTo>
                    <a:pt x="85" y="369"/>
                  </a:lnTo>
                  <a:lnTo>
                    <a:pt x="89" y="369"/>
                  </a:lnTo>
                  <a:lnTo>
                    <a:pt x="92" y="369"/>
                  </a:lnTo>
                  <a:lnTo>
                    <a:pt x="92" y="367"/>
                  </a:lnTo>
                  <a:lnTo>
                    <a:pt x="89" y="367"/>
                  </a:lnTo>
                  <a:lnTo>
                    <a:pt x="89" y="362"/>
                  </a:lnTo>
                  <a:lnTo>
                    <a:pt x="92" y="357"/>
                  </a:lnTo>
                  <a:lnTo>
                    <a:pt x="94" y="357"/>
                  </a:lnTo>
                  <a:close/>
                  <a:moveTo>
                    <a:pt x="44" y="350"/>
                  </a:moveTo>
                  <a:lnTo>
                    <a:pt x="46" y="350"/>
                  </a:lnTo>
                  <a:lnTo>
                    <a:pt x="46" y="353"/>
                  </a:lnTo>
                  <a:lnTo>
                    <a:pt x="44" y="353"/>
                  </a:lnTo>
                  <a:lnTo>
                    <a:pt x="44" y="350"/>
                  </a:lnTo>
                  <a:close/>
                  <a:moveTo>
                    <a:pt x="43" y="123"/>
                  </a:moveTo>
                  <a:lnTo>
                    <a:pt x="44" y="123"/>
                  </a:lnTo>
                  <a:lnTo>
                    <a:pt x="44" y="126"/>
                  </a:lnTo>
                  <a:lnTo>
                    <a:pt x="43" y="126"/>
                  </a:lnTo>
                  <a:lnTo>
                    <a:pt x="43" y="123"/>
                  </a:lnTo>
                  <a:close/>
                  <a:moveTo>
                    <a:pt x="15" y="41"/>
                  </a:moveTo>
                  <a:lnTo>
                    <a:pt x="19" y="41"/>
                  </a:lnTo>
                  <a:lnTo>
                    <a:pt x="19" y="42"/>
                  </a:lnTo>
                  <a:lnTo>
                    <a:pt x="15" y="42"/>
                  </a:lnTo>
                  <a:lnTo>
                    <a:pt x="15" y="41"/>
                  </a:lnTo>
                  <a:close/>
                  <a:moveTo>
                    <a:pt x="22" y="39"/>
                  </a:moveTo>
                  <a:lnTo>
                    <a:pt x="24" y="39"/>
                  </a:lnTo>
                  <a:lnTo>
                    <a:pt x="21" y="39"/>
                  </a:lnTo>
                  <a:lnTo>
                    <a:pt x="22" y="39"/>
                  </a:lnTo>
                  <a:close/>
                  <a:moveTo>
                    <a:pt x="9" y="30"/>
                  </a:moveTo>
                  <a:lnTo>
                    <a:pt x="9" y="32"/>
                  </a:lnTo>
                  <a:lnTo>
                    <a:pt x="3" y="34"/>
                  </a:lnTo>
                  <a:lnTo>
                    <a:pt x="9" y="30"/>
                  </a:lnTo>
                  <a:close/>
                  <a:moveTo>
                    <a:pt x="386" y="193"/>
                  </a:moveTo>
                  <a:lnTo>
                    <a:pt x="386" y="194"/>
                  </a:lnTo>
                  <a:lnTo>
                    <a:pt x="382" y="194"/>
                  </a:lnTo>
                  <a:lnTo>
                    <a:pt x="381" y="193"/>
                  </a:lnTo>
                  <a:lnTo>
                    <a:pt x="379" y="194"/>
                  </a:lnTo>
                  <a:lnTo>
                    <a:pt x="376" y="194"/>
                  </a:lnTo>
                  <a:lnTo>
                    <a:pt x="374" y="198"/>
                  </a:lnTo>
                  <a:lnTo>
                    <a:pt x="367" y="198"/>
                  </a:lnTo>
                  <a:lnTo>
                    <a:pt x="365" y="199"/>
                  </a:lnTo>
                  <a:lnTo>
                    <a:pt x="369" y="203"/>
                  </a:lnTo>
                  <a:lnTo>
                    <a:pt x="364" y="206"/>
                  </a:lnTo>
                  <a:lnTo>
                    <a:pt x="365" y="211"/>
                  </a:lnTo>
                  <a:lnTo>
                    <a:pt x="364" y="213"/>
                  </a:lnTo>
                  <a:lnTo>
                    <a:pt x="362" y="222"/>
                  </a:lnTo>
                  <a:lnTo>
                    <a:pt x="362" y="225"/>
                  </a:lnTo>
                  <a:lnTo>
                    <a:pt x="360" y="227"/>
                  </a:lnTo>
                  <a:lnTo>
                    <a:pt x="360" y="232"/>
                  </a:lnTo>
                  <a:lnTo>
                    <a:pt x="352" y="237"/>
                  </a:lnTo>
                  <a:lnTo>
                    <a:pt x="352" y="242"/>
                  </a:lnTo>
                  <a:lnTo>
                    <a:pt x="347" y="242"/>
                  </a:lnTo>
                  <a:lnTo>
                    <a:pt x="348" y="247"/>
                  </a:lnTo>
                  <a:lnTo>
                    <a:pt x="347" y="249"/>
                  </a:lnTo>
                  <a:lnTo>
                    <a:pt x="338" y="256"/>
                  </a:lnTo>
                  <a:lnTo>
                    <a:pt x="333" y="261"/>
                  </a:lnTo>
                  <a:lnTo>
                    <a:pt x="338" y="269"/>
                  </a:lnTo>
                  <a:lnTo>
                    <a:pt x="340" y="273"/>
                  </a:lnTo>
                  <a:lnTo>
                    <a:pt x="341" y="275"/>
                  </a:lnTo>
                  <a:lnTo>
                    <a:pt x="341" y="280"/>
                  </a:lnTo>
                  <a:lnTo>
                    <a:pt x="347" y="281"/>
                  </a:lnTo>
                  <a:lnTo>
                    <a:pt x="348" y="288"/>
                  </a:lnTo>
                  <a:lnTo>
                    <a:pt x="352" y="290"/>
                  </a:lnTo>
                  <a:lnTo>
                    <a:pt x="348" y="297"/>
                  </a:lnTo>
                  <a:lnTo>
                    <a:pt x="345" y="299"/>
                  </a:lnTo>
                  <a:lnTo>
                    <a:pt x="347" y="302"/>
                  </a:lnTo>
                  <a:lnTo>
                    <a:pt x="350" y="300"/>
                  </a:lnTo>
                  <a:lnTo>
                    <a:pt x="357" y="304"/>
                  </a:lnTo>
                  <a:lnTo>
                    <a:pt x="360" y="309"/>
                  </a:lnTo>
                  <a:lnTo>
                    <a:pt x="360" y="312"/>
                  </a:lnTo>
                  <a:lnTo>
                    <a:pt x="357" y="314"/>
                  </a:lnTo>
                  <a:lnTo>
                    <a:pt x="352" y="314"/>
                  </a:lnTo>
                  <a:lnTo>
                    <a:pt x="350" y="316"/>
                  </a:lnTo>
                  <a:lnTo>
                    <a:pt x="341" y="317"/>
                  </a:lnTo>
                  <a:lnTo>
                    <a:pt x="348" y="321"/>
                  </a:lnTo>
                  <a:lnTo>
                    <a:pt x="350" y="328"/>
                  </a:lnTo>
                  <a:lnTo>
                    <a:pt x="355" y="334"/>
                  </a:lnTo>
                  <a:lnTo>
                    <a:pt x="353" y="340"/>
                  </a:lnTo>
                  <a:lnTo>
                    <a:pt x="350" y="340"/>
                  </a:lnTo>
                  <a:lnTo>
                    <a:pt x="348" y="341"/>
                  </a:lnTo>
                  <a:lnTo>
                    <a:pt x="350" y="346"/>
                  </a:lnTo>
                  <a:lnTo>
                    <a:pt x="350" y="350"/>
                  </a:lnTo>
                  <a:lnTo>
                    <a:pt x="352" y="350"/>
                  </a:lnTo>
                  <a:lnTo>
                    <a:pt x="350" y="360"/>
                  </a:lnTo>
                  <a:lnTo>
                    <a:pt x="359" y="363"/>
                  </a:lnTo>
                  <a:lnTo>
                    <a:pt x="364" y="370"/>
                  </a:lnTo>
                  <a:lnTo>
                    <a:pt x="369" y="369"/>
                  </a:lnTo>
                  <a:lnTo>
                    <a:pt x="370" y="374"/>
                  </a:lnTo>
                  <a:lnTo>
                    <a:pt x="365" y="377"/>
                  </a:lnTo>
                  <a:lnTo>
                    <a:pt x="365" y="380"/>
                  </a:lnTo>
                  <a:lnTo>
                    <a:pt x="369" y="386"/>
                  </a:lnTo>
                  <a:lnTo>
                    <a:pt x="370" y="394"/>
                  </a:lnTo>
                  <a:lnTo>
                    <a:pt x="367" y="396"/>
                  </a:lnTo>
                  <a:lnTo>
                    <a:pt x="367" y="406"/>
                  </a:lnTo>
                  <a:lnTo>
                    <a:pt x="369" y="410"/>
                  </a:lnTo>
                  <a:lnTo>
                    <a:pt x="374" y="416"/>
                  </a:lnTo>
                  <a:lnTo>
                    <a:pt x="377" y="421"/>
                  </a:lnTo>
                  <a:lnTo>
                    <a:pt x="379" y="428"/>
                  </a:lnTo>
                  <a:lnTo>
                    <a:pt x="381" y="430"/>
                  </a:lnTo>
                  <a:lnTo>
                    <a:pt x="379" y="439"/>
                  </a:lnTo>
                  <a:lnTo>
                    <a:pt x="372" y="449"/>
                  </a:lnTo>
                  <a:lnTo>
                    <a:pt x="369" y="444"/>
                  </a:lnTo>
                  <a:lnTo>
                    <a:pt x="360" y="440"/>
                  </a:lnTo>
                  <a:lnTo>
                    <a:pt x="359" y="439"/>
                  </a:lnTo>
                  <a:lnTo>
                    <a:pt x="355" y="437"/>
                  </a:lnTo>
                  <a:lnTo>
                    <a:pt x="352" y="435"/>
                  </a:lnTo>
                  <a:lnTo>
                    <a:pt x="347" y="435"/>
                  </a:lnTo>
                  <a:lnTo>
                    <a:pt x="343" y="439"/>
                  </a:lnTo>
                  <a:lnTo>
                    <a:pt x="333" y="435"/>
                  </a:lnTo>
                  <a:lnTo>
                    <a:pt x="331" y="440"/>
                  </a:lnTo>
                  <a:lnTo>
                    <a:pt x="331" y="439"/>
                  </a:lnTo>
                  <a:lnTo>
                    <a:pt x="326" y="430"/>
                  </a:lnTo>
                  <a:lnTo>
                    <a:pt x="321" y="423"/>
                  </a:lnTo>
                  <a:lnTo>
                    <a:pt x="318" y="420"/>
                  </a:lnTo>
                  <a:lnTo>
                    <a:pt x="316" y="420"/>
                  </a:lnTo>
                  <a:lnTo>
                    <a:pt x="316" y="413"/>
                  </a:lnTo>
                  <a:lnTo>
                    <a:pt x="316" y="403"/>
                  </a:lnTo>
                  <a:lnTo>
                    <a:pt x="316" y="398"/>
                  </a:lnTo>
                  <a:lnTo>
                    <a:pt x="316" y="389"/>
                  </a:lnTo>
                  <a:lnTo>
                    <a:pt x="314" y="382"/>
                  </a:lnTo>
                  <a:lnTo>
                    <a:pt x="312" y="377"/>
                  </a:lnTo>
                  <a:lnTo>
                    <a:pt x="311" y="370"/>
                  </a:lnTo>
                  <a:lnTo>
                    <a:pt x="311" y="367"/>
                  </a:lnTo>
                  <a:lnTo>
                    <a:pt x="309" y="363"/>
                  </a:lnTo>
                  <a:lnTo>
                    <a:pt x="307" y="362"/>
                  </a:lnTo>
                  <a:lnTo>
                    <a:pt x="302" y="362"/>
                  </a:lnTo>
                  <a:lnTo>
                    <a:pt x="295" y="358"/>
                  </a:lnTo>
                  <a:lnTo>
                    <a:pt x="290" y="357"/>
                  </a:lnTo>
                  <a:lnTo>
                    <a:pt x="283" y="351"/>
                  </a:lnTo>
                  <a:lnTo>
                    <a:pt x="282" y="348"/>
                  </a:lnTo>
                  <a:lnTo>
                    <a:pt x="275" y="341"/>
                  </a:lnTo>
                  <a:lnTo>
                    <a:pt x="273" y="336"/>
                  </a:lnTo>
                  <a:lnTo>
                    <a:pt x="271" y="331"/>
                  </a:lnTo>
                  <a:lnTo>
                    <a:pt x="271" y="326"/>
                  </a:lnTo>
                  <a:lnTo>
                    <a:pt x="268" y="322"/>
                  </a:lnTo>
                  <a:lnTo>
                    <a:pt x="261" y="317"/>
                  </a:lnTo>
                  <a:lnTo>
                    <a:pt x="258" y="317"/>
                  </a:lnTo>
                  <a:lnTo>
                    <a:pt x="253" y="310"/>
                  </a:lnTo>
                  <a:lnTo>
                    <a:pt x="253" y="305"/>
                  </a:lnTo>
                  <a:lnTo>
                    <a:pt x="246" y="299"/>
                  </a:lnTo>
                  <a:lnTo>
                    <a:pt x="244" y="293"/>
                  </a:lnTo>
                  <a:lnTo>
                    <a:pt x="242" y="293"/>
                  </a:lnTo>
                  <a:lnTo>
                    <a:pt x="242" y="292"/>
                  </a:lnTo>
                  <a:lnTo>
                    <a:pt x="239" y="288"/>
                  </a:lnTo>
                  <a:lnTo>
                    <a:pt x="237" y="283"/>
                  </a:lnTo>
                  <a:lnTo>
                    <a:pt x="230" y="280"/>
                  </a:lnTo>
                  <a:lnTo>
                    <a:pt x="225" y="276"/>
                  </a:lnTo>
                  <a:lnTo>
                    <a:pt x="224" y="269"/>
                  </a:lnTo>
                  <a:lnTo>
                    <a:pt x="222" y="266"/>
                  </a:lnTo>
                  <a:lnTo>
                    <a:pt x="220" y="264"/>
                  </a:lnTo>
                  <a:lnTo>
                    <a:pt x="212" y="261"/>
                  </a:lnTo>
                  <a:lnTo>
                    <a:pt x="210" y="259"/>
                  </a:lnTo>
                  <a:lnTo>
                    <a:pt x="205" y="259"/>
                  </a:lnTo>
                  <a:lnTo>
                    <a:pt x="198" y="259"/>
                  </a:lnTo>
                  <a:lnTo>
                    <a:pt x="191" y="259"/>
                  </a:lnTo>
                  <a:lnTo>
                    <a:pt x="183" y="261"/>
                  </a:lnTo>
                  <a:lnTo>
                    <a:pt x="178" y="259"/>
                  </a:lnTo>
                  <a:lnTo>
                    <a:pt x="171" y="252"/>
                  </a:lnTo>
                  <a:lnTo>
                    <a:pt x="164" y="246"/>
                  </a:lnTo>
                  <a:lnTo>
                    <a:pt x="162" y="244"/>
                  </a:lnTo>
                  <a:lnTo>
                    <a:pt x="160" y="242"/>
                  </a:lnTo>
                  <a:lnTo>
                    <a:pt x="157" y="237"/>
                  </a:lnTo>
                  <a:lnTo>
                    <a:pt x="154" y="232"/>
                  </a:lnTo>
                  <a:lnTo>
                    <a:pt x="152" y="228"/>
                  </a:lnTo>
                  <a:lnTo>
                    <a:pt x="147" y="223"/>
                  </a:lnTo>
                  <a:lnTo>
                    <a:pt x="143" y="218"/>
                  </a:lnTo>
                  <a:lnTo>
                    <a:pt x="140" y="215"/>
                  </a:lnTo>
                  <a:lnTo>
                    <a:pt x="135" y="211"/>
                  </a:lnTo>
                  <a:lnTo>
                    <a:pt x="133" y="211"/>
                  </a:lnTo>
                  <a:lnTo>
                    <a:pt x="133" y="213"/>
                  </a:lnTo>
                  <a:lnTo>
                    <a:pt x="133" y="211"/>
                  </a:lnTo>
                  <a:lnTo>
                    <a:pt x="126" y="205"/>
                  </a:lnTo>
                  <a:lnTo>
                    <a:pt x="125" y="203"/>
                  </a:lnTo>
                  <a:lnTo>
                    <a:pt x="121" y="205"/>
                  </a:lnTo>
                  <a:lnTo>
                    <a:pt x="120" y="203"/>
                  </a:lnTo>
                  <a:lnTo>
                    <a:pt x="113" y="196"/>
                  </a:lnTo>
                  <a:lnTo>
                    <a:pt x="108" y="189"/>
                  </a:lnTo>
                  <a:lnTo>
                    <a:pt x="106" y="187"/>
                  </a:lnTo>
                  <a:lnTo>
                    <a:pt x="102" y="184"/>
                  </a:lnTo>
                  <a:lnTo>
                    <a:pt x="97" y="179"/>
                  </a:lnTo>
                  <a:lnTo>
                    <a:pt x="94" y="176"/>
                  </a:lnTo>
                  <a:lnTo>
                    <a:pt x="89" y="170"/>
                  </a:lnTo>
                  <a:lnTo>
                    <a:pt x="85" y="167"/>
                  </a:lnTo>
                  <a:lnTo>
                    <a:pt x="79" y="160"/>
                  </a:lnTo>
                  <a:lnTo>
                    <a:pt x="75" y="158"/>
                  </a:lnTo>
                  <a:lnTo>
                    <a:pt x="70" y="153"/>
                  </a:lnTo>
                  <a:lnTo>
                    <a:pt x="67" y="153"/>
                  </a:lnTo>
                  <a:lnTo>
                    <a:pt x="68" y="150"/>
                  </a:lnTo>
                  <a:lnTo>
                    <a:pt x="65" y="148"/>
                  </a:lnTo>
                  <a:lnTo>
                    <a:pt x="63" y="150"/>
                  </a:lnTo>
                  <a:lnTo>
                    <a:pt x="63" y="148"/>
                  </a:lnTo>
                  <a:lnTo>
                    <a:pt x="58" y="143"/>
                  </a:lnTo>
                  <a:lnTo>
                    <a:pt x="60" y="141"/>
                  </a:lnTo>
                  <a:lnTo>
                    <a:pt x="56" y="138"/>
                  </a:lnTo>
                  <a:lnTo>
                    <a:pt x="53" y="135"/>
                  </a:lnTo>
                  <a:lnTo>
                    <a:pt x="51" y="131"/>
                  </a:lnTo>
                  <a:lnTo>
                    <a:pt x="48" y="129"/>
                  </a:lnTo>
                  <a:lnTo>
                    <a:pt x="50" y="128"/>
                  </a:lnTo>
                  <a:lnTo>
                    <a:pt x="46" y="124"/>
                  </a:lnTo>
                  <a:lnTo>
                    <a:pt x="46" y="121"/>
                  </a:lnTo>
                  <a:lnTo>
                    <a:pt x="43" y="114"/>
                  </a:lnTo>
                  <a:lnTo>
                    <a:pt x="44" y="112"/>
                  </a:lnTo>
                  <a:lnTo>
                    <a:pt x="41" y="107"/>
                  </a:lnTo>
                  <a:lnTo>
                    <a:pt x="43" y="104"/>
                  </a:lnTo>
                  <a:lnTo>
                    <a:pt x="34" y="99"/>
                  </a:lnTo>
                  <a:lnTo>
                    <a:pt x="36" y="97"/>
                  </a:lnTo>
                  <a:lnTo>
                    <a:pt x="34" y="95"/>
                  </a:lnTo>
                  <a:lnTo>
                    <a:pt x="36" y="88"/>
                  </a:lnTo>
                  <a:lnTo>
                    <a:pt x="32" y="85"/>
                  </a:lnTo>
                  <a:lnTo>
                    <a:pt x="27" y="82"/>
                  </a:lnTo>
                  <a:lnTo>
                    <a:pt x="29" y="80"/>
                  </a:lnTo>
                  <a:lnTo>
                    <a:pt x="26" y="78"/>
                  </a:lnTo>
                  <a:lnTo>
                    <a:pt x="27" y="76"/>
                  </a:lnTo>
                  <a:lnTo>
                    <a:pt x="27" y="75"/>
                  </a:lnTo>
                  <a:lnTo>
                    <a:pt x="24" y="75"/>
                  </a:lnTo>
                  <a:lnTo>
                    <a:pt x="24" y="70"/>
                  </a:lnTo>
                  <a:lnTo>
                    <a:pt x="26" y="71"/>
                  </a:lnTo>
                  <a:lnTo>
                    <a:pt x="27" y="70"/>
                  </a:lnTo>
                  <a:lnTo>
                    <a:pt x="24" y="66"/>
                  </a:lnTo>
                  <a:lnTo>
                    <a:pt x="26" y="65"/>
                  </a:lnTo>
                  <a:lnTo>
                    <a:pt x="27" y="68"/>
                  </a:lnTo>
                  <a:lnTo>
                    <a:pt x="29" y="61"/>
                  </a:lnTo>
                  <a:lnTo>
                    <a:pt x="26" y="56"/>
                  </a:lnTo>
                  <a:lnTo>
                    <a:pt x="27" y="54"/>
                  </a:lnTo>
                  <a:lnTo>
                    <a:pt x="26" y="49"/>
                  </a:lnTo>
                  <a:lnTo>
                    <a:pt x="21" y="46"/>
                  </a:lnTo>
                  <a:lnTo>
                    <a:pt x="26" y="39"/>
                  </a:lnTo>
                  <a:lnTo>
                    <a:pt x="27" y="41"/>
                  </a:lnTo>
                  <a:lnTo>
                    <a:pt x="27" y="42"/>
                  </a:lnTo>
                  <a:lnTo>
                    <a:pt x="32" y="42"/>
                  </a:lnTo>
                  <a:lnTo>
                    <a:pt x="32" y="41"/>
                  </a:lnTo>
                  <a:lnTo>
                    <a:pt x="36" y="39"/>
                  </a:lnTo>
                  <a:lnTo>
                    <a:pt x="43" y="35"/>
                  </a:lnTo>
                  <a:lnTo>
                    <a:pt x="50" y="30"/>
                  </a:lnTo>
                  <a:lnTo>
                    <a:pt x="53" y="30"/>
                  </a:lnTo>
                  <a:lnTo>
                    <a:pt x="60" y="37"/>
                  </a:lnTo>
                  <a:lnTo>
                    <a:pt x="61" y="35"/>
                  </a:lnTo>
                  <a:lnTo>
                    <a:pt x="72" y="34"/>
                  </a:lnTo>
                  <a:lnTo>
                    <a:pt x="79" y="37"/>
                  </a:lnTo>
                  <a:lnTo>
                    <a:pt x="87" y="39"/>
                  </a:lnTo>
                  <a:lnTo>
                    <a:pt x="92" y="44"/>
                  </a:lnTo>
                  <a:lnTo>
                    <a:pt x="97" y="44"/>
                  </a:lnTo>
                  <a:lnTo>
                    <a:pt x="99" y="46"/>
                  </a:lnTo>
                  <a:lnTo>
                    <a:pt x="102" y="47"/>
                  </a:lnTo>
                  <a:lnTo>
                    <a:pt x="104" y="47"/>
                  </a:lnTo>
                  <a:lnTo>
                    <a:pt x="104" y="53"/>
                  </a:lnTo>
                  <a:lnTo>
                    <a:pt x="109" y="59"/>
                  </a:lnTo>
                  <a:lnTo>
                    <a:pt x="111" y="59"/>
                  </a:lnTo>
                  <a:lnTo>
                    <a:pt x="114" y="63"/>
                  </a:lnTo>
                  <a:lnTo>
                    <a:pt x="118" y="66"/>
                  </a:lnTo>
                  <a:lnTo>
                    <a:pt x="123" y="70"/>
                  </a:lnTo>
                  <a:lnTo>
                    <a:pt x="126" y="73"/>
                  </a:lnTo>
                  <a:lnTo>
                    <a:pt x="135" y="75"/>
                  </a:lnTo>
                  <a:lnTo>
                    <a:pt x="140" y="76"/>
                  </a:lnTo>
                  <a:lnTo>
                    <a:pt x="149" y="76"/>
                  </a:lnTo>
                  <a:lnTo>
                    <a:pt x="155" y="80"/>
                  </a:lnTo>
                  <a:lnTo>
                    <a:pt x="166" y="83"/>
                  </a:lnTo>
                  <a:lnTo>
                    <a:pt x="174" y="80"/>
                  </a:lnTo>
                  <a:lnTo>
                    <a:pt x="176" y="83"/>
                  </a:lnTo>
                  <a:lnTo>
                    <a:pt x="179" y="85"/>
                  </a:lnTo>
                  <a:lnTo>
                    <a:pt x="188" y="83"/>
                  </a:lnTo>
                  <a:lnTo>
                    <a:pt x="193" y="83"/>
                  </a:lnTo>
                  <a:lnTo>
                    <a:pt x="196" y="82"/>
                  </a:lnTo>
                  <a:lnTo>
                    <a:pt x="205" y="78"/>
                  </a:lnTo>
                  <a:lnTo>
                    <a:pt x="215" y="75"/>
                  </a:lnTo>
                  <a:lnTo>
                    <a:pt x="220" y="75"/>
                  </a:lnTo>
                  <a:lnTo>
                    <a:pt x="224" y="78"/>
                  </a:lnTo>
                  <a:lnTo>
                    <a:pt x="232" y="76"/>
                  </a:lnTo>
                  <a:lnTo>
                    <a:pt x="236" y="76"/>
                  </a:lnTo>
                  <a:lnTo>
                    <a:pt x="241" y="78"/>
                  </a:lnTo>
                  <a:lnTo>
                    <a:pt x="242" y="80"/>
                  </a:lnTo>
                  <a:lnTo>
                    <a:pt x="249" y="82"/>
                  </a:lnTo>
                  <a:lnTo>
                    <a:pt x="249" y="83"/>
                  </a:lnTo>
                  <a:lnTo>
                    <a:pt x="256" y="85"/>
                  </a:lnTo>
                  <a:lnTo>
                    <a:pt x="254" y="88"/>
                  </a:lnTo>
                  <a:lnTo>
                    <a:pt x="253" y="87"/>
                  </a:lnTo>
                  <a:lnTo>
                    <a:pt x="254" y="90"/>
                  </a:lnTo>
                  <a:lnTo>
                    <a:pt x="261" y="92"/>
                  </a:lnTo>
                  <a:lnTo>
                    <a:pt x="271" y="88"/>
                  </a:lnTo>
                  <a:lnTo>
                    <a:pt x="275" y="85"/>
                  </a:lnTo>
                  <a:lnTo>
                    <a:pt x="280" y="85"/>
                  </a:lnTo>
                  <a:lnTo>
                    <a:pt x="285" y="83"/>
                  </a:lnTo>
                  <a:lnTo>
                    <a:pt x="295" y="80"/>
                  </a:lnTo>
                  <a:lnTo>
                    <a:pt x="297" y="78"/>
                  </a:lnTo>
                  <a:lnTo>
                    <a:pt x="304" y="83"/>
                  </a:lnTo>
                  <a:lnTo>
                    <a:pt x="302" y="83"/>
                  </a:lnTo>
                  <a:lnTo>
                    <a:pt x="309" y="92"/>
                  </a:lnTo>
                  <a:lnTo>
                    <a:pt x="316" y="94"/>
                  </a:lnTo>
                  <a:lnTo>
                    <a:pt x="316" y="99"/>
                  </a:lnTo>
                  <a:lnTo>
                    <a:pt x="314" y="97"/>
                  </a:lnTo>
                  <a:lnTo>
                    <a:pt x="314" y="99"/>
                  </a:lnTo>
                  <a:lnTo>
                    <a:pt x="318" y="102"/>
                  </a:lnTo>
                  <a:lnTo>
                    <a:pt x="321" y="106"/>
                  </a:lnTo>
                  <a:lnTo>
                    <a:pt x="326" y="109"/>
                  </a:lnTo>
                  <a:lnTo>
                    <a:pt x="331" y="112"/>
                  </a:lnTo>
                  <a:lnTo>
                    <a:pt x="333" y="114"/>
                  </a:lnTo>
                  <a:lnTo>
                    <a:pt x="338" y="119"/>
                  </a:lnTo>
                  <a:lnTo>
                    <a:pt x="345" y="123"/>
                  </a:lnTo>
                  <a:lnTo>
                    <a:pt x="347" y="128"/>
                  </a:lnTo>
                  <a:lnTo>
                    <a:pt x="350" y="135"/>
                  </a:lnTo>
                  <a:lnTo>
                    <a:pt x="352" y="138"/>
                  </a:lnTo>
                  <a:lnTo>
                    <a:pt x="355" y="148"/>
                  </a:lnTo>
                  <a:lnTo>
                    <a:pt x="353" y="147"/>
                  </a:lnTo>
                  <a:lnTo>
                    <a:pt x="353" y="148"/>
                  </a:lnTo>
                  <a:lnTo>
                    <a:pt x="357" y="152"/>
                  </a:lnTo>
                  <a:lnTo>
                    <a:pt x="357" y="155"/>
                  </a:lnTo>
                  <a:lnTo>
                    <a:pt x="355" y="157"/>
                  </a:lnTo>
                  <a:lnTo>
                    <a:pt x="357" y="155"/>
                  </a:lnTo>
                  <a:lnTo>
                    <a:pt x="357" y="153"/>
                  </a:lnTo>
                  <a:lnTo>
                    <a:pt x="359" y="155"/>
                  </a:lnTo>
                  <a:lnTo>
                    <a:pt x="353" y="160"/>
                  </a:lnTo>
                  <a:lnTo>
                    <a:pt x="355" y="165"/>
                  </a:lnTo>
                  <a:lnTo>
                    <a:pt x="357" y="164"/>
                  </a:lnTo>
                  <a:lnTo>
                    <a:pt x="357" y="165"/>
                  </a:lnTo>
                  <a:lnTo>
                    <a:pt x="362" y="162"/>
                  </a:lnTo>
                  <a:lnTo>
                    <a:pt x="359" y="165"/>
                  </a:lnTo>
                  <a:lnTo>
                    <a:pt x="364" y="164"/>
                  </a:lnTo>
                  <a:lnTo>
                    <a:pt x="365" y="162"/>
                  </a:lnTo>
                  <a:lnTo>
                    <a:pt x="367" y="164"/>
                  </a:lnTo>
                  <a:lnTo>
                    <a:pt x="365" y="167"/>
                  </a:lnTo>
                  <a:lnTo>
                    <a:pt x="367" y="169"/>
                  </a:lnTo>
                  <a:lnTo>
                    <a:pt x="367" y="165"/>
                  </a:lnTo>
                  <a:lnTo>
                    <a:pt x="376" y="167"/>
                  </a:lnTo>
                  <a:lnTo>
                    <a:pt x="379" y="170"/>
                  </a:lnTo>
                  <a:lnTo>
                    <a:pt x="386" y="174"/>
                  </a:lnTo>
                  <a:lnTo>
                    <a:pt x="386" y="176"/>
                  </a:lnTo>
                  <a:lnTo>
                    <a:pt x="388" y="177"/>
                  </a:lnTo>
                  <a:lnTo>
                    <a:pt x="388" y="174"/>
                  </a:lnTo>
                  <a:lnTo>
                    <a:pt x="391" y="177"/>
                  </a:lnTo>
                  <a:lnTo>
                    <a:pt x="389" y="179"/>
                  </a:lnTo>
                  <a:lnTo>
                    <a:pt x="391" y="177"/>
                  </a:lnTo>
                  <a:lnTo>
                    <a:pt x="389" y="182"/>
                  </a:lnTo>
                  <a:lnTo>
                    <a:pt x="391" y="182"/>
                  </a:lnTo>
                  <a:lnTo>
                    <a:pt x="391" y="189"/>
                  </a:lnTo>
                  <a:lnTo>
                    <a:pt x="389" y="191"/>
                  </a:lnTo>
                  <a:lnTo>
                    <a:pt x="388" y="189"/>
                  </a:lnTo>
                  <a:lnTo>
                    <a:pt x="389" y="191"/>
                  </a:lnTo>
                  <a:lnTo>
                    <a:pt x="388" y="193"/>
                  </a:lnTo>
                  <a:lnTo>
                    <a:pt x="386" y="193"/>
                  </a:lnTo>
                  <a:close/>
                  <a:moveTo>
                    <a:pt x="17" y="29"/>
                  </a:moveTo>
                  <a:lnTo>
                    <a:pt x="21" y="35"/>
                  </a:lnTo>
                  <a:lnTo>
                    <a:pt x="15" y="37"/>
                  </a:lnTo>
                  <a:lnTo>
                    <a:pt x="15" y="35"/>
                  </a:lnTo>
                  <a:lnTo>
                    <a:pt x="14" y="37"/>
                  </a:lnTo>
                  <a:lnTo>
                    <a:pt x="12" y="34"/>
                  </a:lnTo>
                  <a:lnTo>
                    <a:pt x="15" y="32"/>
                  </a:lnTo>
                  <a:lnTo>
                    <a:pt x="15" y="30"/>
                  </a:lnTo>
                  <a:lnTo>
                    <a:pt x="17" y="29"/>
                  </a:lnTo>
                  <a:close/>
                  <a:moveTo>
                    <a:pt x="5" y="18"/>
                  </a:moveTo>
                  <a:lnTo>
                    <a:pt x="7" y="22"/>
                  </a:lnTo>
                  <a:lnTo>
                    <a:pt x="9" y="22"/>
                  </a:lnTo>
                  <a:lnTo>
                    <a:pt x="10" y="25"/>
                  </a:lnTo>
                  <a:lnTo>
                    <a:pt x="14" y="25"/>
                  </a:lnTo>
                  <a:lnTo>
                    <a:pt x="15" y="29"/>
                  </a:lnTo>
                  <a:lnTo>
                    <a:pt x="7" y="29"/>
                  </a:lnTo>
                  <a:lnTo>
                    <a:pt x="7" y="30"/>
                  </a:lnTo>
                  <a:lnTo>
                    <a:pt x="5" y="30"/>
                  </a:lnTo>
                  <a:lnTo>
                    <a:pt x="7" y="29"/>
                  </a:lnTo>
                  <a:lnTo>
                    <a:pt x="3" y="29"/>
                  </a:lnTo>
                  <a:lnTo>
                    <a:pt x="5" y="27"/>
                  </a:lnTo>
                  <a:lnTo>
                    <a:pt x="3" y="24"/>
                  </a:lnTo>
                  <a:lnTo>
                    <a:pt x="5" y="22"/>
                  </a:lnTo>
                  <a:lnTo>
                    <a:pt x="3" y="20"/>
                  </a:lnTo>
                  <a:lnTo>
                    <a:pt x="0" y="22"/>
                  </a:lnTo>
                  <a:lnTo>
                    <a:pt x="2" y="18"/>
                  </a:lnTo>
                  <a:lnTo>
                    <a:pt x="5" y="18"/>
                  </a:lnTo>
                  <a:close/>
                  <a:moveTo>
                    <a:pt x="26" y="0"/>
                  </a:moveTo>
                  <a:lnTo>
                    <a:pt x="27" y="3"/>
                  </a:lnTo>
                  <a:lnTo>
                    <a:pt x="31" y="5"/>
                  </a:lnTo>
                  <a:lnTo>
                    <a:pt x="32" y="8"/>
                  </a:lnTo>
                  <a:lnTo>
                    <a:pt x="34" y="8"/>
                  </a:lnTo>
                  <a:lnTo>
                    <a:pt x="34" y="3"/>
                  </a:lnTo>
                  <a:lnTo>
                    <a:pt x="36" y="5"/>
                  </a:lnTo>
                  <a:lnTo>
                    <a:pt x="38" y="3"/>
                  </a:lnTo>
                  <a:lnTo>
                    <a:pt x="36" y="1"/>
                  </a:lnTo>
                  <a:lnTo>
                    <a:pt x="39" y="1"/>
                  </a:lnTo>
                  <a:lnTo>
                    <a:pt x="43" y="6"/>
                  </a:lnTo>
                  <a:lnTo>
                    <a:pt x="43" y="12"/>
                  </a:lnTo>
                  <a:lnTo>
                    <a:pt x="39" y="10"/>
                  </a:lnTo>
                  <a:lnTo>
                    <a:pt x="39" y="13"/>
                  </a:lnTo>
                  <a:lnTo>
                    <a:pt x="38" y="15"/>
                  </a:lnTo>
                  <a:lnTo>
                    <a:pt x="32" y="15"/>
                  </a:lnTo>
                  <a:lnTo>
                    <a:pt x="29" y="6"/>
                  </a:lnTo>
                  <a:lnTo>
                    <a:pt x="24" y="3"/>
                  </a:lnTo>
                  <a:lnTo>
                    <a:pt x="26"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12" name="Freeform 50"/>
            <p:cNvSpPr>
              <a:spLocks noEditPoints="1"/>
            </p:cNvSpPr>
            <p:nvPr/>
          </p:nvSpPr>
          <p:spPr bwMode="gray">
            <a:xfrm>
              <a:off x="1327585" y="2217078"/>
              <a:ext cx="735145" cy="1078093"/>
            </a:xfrm>
            <a:custGeom>
              <a:avLst/>
              <a:gdLst>
                <a:gd name="T0" fmla="*/ 159 w 403"/>
                <a:gd name="T1" fmla="*/ 546 h 591"/>
                <a:gd name="T2" fmla="*/ 174 w 403"/>
                <a:gd name="T3" fmla="*/ 565 h 591"/>
                <a:gd name="T4" fmla="*/ 164 w 403"/>
                <a:gd name="T5" fmla="*/ 585 h 591"/>
                <a:gd name="T6" fmla="*/ 157 w 403"/>
                <a:gd name="T7" fmla="*/ 560 h 591"/>
                <a:gd name="T8" fmla="*/ 169 w 403"/>
                <a:gd name="T9" fmla="*/ 526 h 591"/>
                <a:gd name="T10" fmla="*/ 154 w 403"/>
                <a:gd name="T11" fmla="*/ 533 h 591"/>
                <a:gd name="T12" fmla="*/ 152 w 403"/>
                <a:gd name="T13" fmla="*/ 522 h 591"/>
                <a:gd name="T14" fmla="*/ 178 w 403"/>
                <a:gd name="T15" fmla="*/ 522 h 591"/>
                <a:gd name="T16" fmla="*/ 169 w 403"/>
                <a:gd name="T17" fmla="*/ 527 h 591"/>
                <a:gd name="T18" fmla="*/ 173 w 403"/>
                <a:gd name="T19" fmla="*/ 551 h 591"/>
                <a:gd name="T20" fmla="*/ 149 w 403"/>
                <a:gd name="T21" fmla="*/ 517 h 591"/>
                <a:gd name="T22" fmla="*/ 145 w 403"/>
                <a:gd name="T23" fmla="*/ 515 h 591"/>
                <a:gd name="T24" fmla="*/ 208 w 403"/>
                <a:gd name="T25" fmla="*/ 493 h 591"/>
                <a:gd name="T26" fmla="*/ 176 w 403"/>
                <a:gd name="T27" fmla="*/ 497 h 591"/>
                <a:gd name="T28" fmla="*/ 33 w 403"/>
                <a:gd name="T29" fmla="*/ 415 h 591"/>
                <a:gd name="T30" fmla="*/ 33 w 403"/>
                <a:gd name="T31" fmla="*/ 411 h 591"/>
                <a:gd name="T32" fmla="*/ 21 w 403"/>
                <a:gd name="T33" fmla="*/ 340 h 591"/>
                <a:gd name="T34" fmla="*/ 51 w 403"/>
                <a:gd name="T35" fmla="*/ 338 h 591"/>
                <a:gd name="T36" fmla="*/ 85 w 403"/>
                <a:gd name="T37" fmla="*/ 377 h 591"/>
                <a:gd name="T38" fmla="*/ 103 w 403"/>
                <a:gd name="T39" fmla="*/ 418 h 591"/>
                <a:gd name="T40" fmla="*/ 87 w 403"/>
                <a:gd name="T41" fmla="*/ 445 h 591"/>
                <a:gd name="T42" fmla="*/ 68 w 403"/>
                <a:gd name="T43" fmla="*/ 418 h 591"/>
                <a:gd name="T44" fmla="*/ 41 w 403"/>
                <a:gd name="T45" fmla="*/ 398 h 591"/>
                <a:gd name="T46" fmla="*/ 22 w 403"/>
                <a:gd name="T47" fmla="*/ 365 h 591"/>
                <a:gd name="T48" fmla="*/ 14 w 403"/>
                <a:gd name="T49" fmla="*/ 348 h 591"/>
                <a:gd name="T50" fmla="*/ 184 w 403"/>
                <a:gd name="T51" fmla="*/ 326 h 591"/>
                <a:gd name="T52" fmla="*/ 181 w 403"/>
                <a:gd name="T53" fmla="*/ 324 h 591"/>
                <a:gd name="T54" fmla="*/ 183 w 403"/>
                <a:gd name="T55" fmla="*/ 316 h 591"/>
                <a:gd name="T56" fmla="*/ 367 w 403"/>
                <a:gd name="T57" fmla="*/ 210 h 591"/>
                <a:gd name="T58" fmla="*/ 145 w 403"/>
                <a:gd name="T59" fmla="*/ 18 h 591"/>
                <a:gd name="T60" fmla="*/ 135 w 403"/>
                <a:gd name="T61" fmla="*/ 15 h 591"/>
                <a:gd name="T62" fmla="*/ 144 w 403"/>
                <a:gd name="T63" fmla="*/ 20 h 591"/>
                <a:gd name="T64" fmla="*/ 173 w 403"/>
                <a:gd name="T65" fmla="*/ 32 h 591"/>
                <a:gd name="T66" fmla="*/ 193 w 403"/>
                <a:gd name="T67" fmla="*/ 47 h 591"/>
                <a:gd name="T68" fmla="*/ 203 w 403"/>
                <a:gd name="T69" fmla="*/ 63 h 591"/>
                <a:gd name="T70" fmla="*/ 258 w 403"/>
                <a:gd name="T71" fmla="*/ 92 h 591"/>
                <a:gd name="T72" fmla="*/ 290 w 403"/>
                <a:gd name="T73" fmla="*/ 117 h 591"/>
                <a:gd name="T74" fmla="*/ 336 w 403"/>
                <a:gd name="T75" fmla="*/ 150 h 591"/>
                <a:gd name="T76" fmla="*/ 352 w 403"/>
                <a:gd name="T77" fmla="*/ 177 h 591"/>
                <a:gd name="T78" fmla="*/ 369 w 403"/>
                <a:gd name="T79" fmla="*/ 210 h 591"/>
                <a:gd name="T80" fmla="*/ 388 w 403"/>
                <a:gd name="T81" fmla="*/ 223 h 591"/>
                <a:gd name="T82" fmla="*/ 386 w 403"/>
                <a:gd name="T83" fmla="*/ 297 h 591"/>
                <a:gd name="T84" fmla="*/ 403 w 403"/>
                <a:gd name="T85" fmla="*/ 336 h 591"/>
                <a:gd name="T86" fmla="*/ 377 w 403"/>
                <a:gd name="T87" fmla="*/ 346 h 591"/>
                <a:gd name="T88" fmla="*/ 374 w 403"/>
                <a:gd name="T89" fmla="*/ 380 h 591"/>
                <a:gd name="T90" fmla="*/ 367 w 403"/>
                <a:gd name="T91" fmla="*/ 415 h 591"/>
                <a:gd name="T92" fmla="*/ 333 w 403"/>
                <a:gd name="T93" fmla="*/ 416 h 591"/>
                <a:gd name="T94" fmla="*/ 324 w 403"/>
                <a:gd name="T95" fmla="*/ 457 h 591"/>
                <a:gd name="T96" fmla="*/ 280 w 403"/>
                <a:gd name="T97" fmla="*/ 459 h 591"/>
                <a:gd name="T98" fmla="*/ 251 w 403"/>
                <a:gd name="T99" fmla="*/ 476 h 591"/>
                <a:gd name="T100" fmla="*/ 241 w 403"/>
                <a:gd name="T101" fmla="*/ 439 h 591"/>
                <a:gd name="T102" fmla="*/ 229 w 403"/>
                <a:gd name="T103" fmla="*/ 413 h 591"/>
                <a:gd name="T104" fmla="*/ 212 w 403"/>
                <a:gd name="T105" fmla="*/ 350 h 591"/>
                <a:gd name="T106" fmla="*/ 212 w 403"/>
                <a:gd name="T107" fmla="*/ 322 h 591"/>
                <a:gd name="T108" fmla="*/ 196 w 403"/>
                <a:gd name="T109" fmla="*/ 302 h 591"/>
                <a:gd name="T110" fmla="*/ 167 w 403"/>
                <a:gd name="T111" fmla="*/ 276 h 591"/>
                <a:gd name="T112" fmla="*/ 135 w 403"/>
                <a:gd name="T113" fmla="*/ 261 h 591"/>
                <a:gd name="T114" fmla="*/ 126 w 403"/>
                <a:gd name="T115" fmla="*/ 201 h 591"/>
                <a:gd name="T116" fmla="*/ 106 w 403"/>
                <a:gd name="T117" fmla="*/ 157 h 591"/>
                <a:gd name="T118" fmla="*/ 108 w 403"/>
                <a:gd name="T119" fmla="*/ 121 h 591"/>
                <a:gd name="T120" fmla="*/ 104 w 403"/>
                <a:gd name="T121" fmla="*/ 95 h 591"/>
                <a:gd name="T122" fmla="*/ 103 w 403"/>
                <a:gd name="T123" fmla="*/ 49 h 591"/>
                <a:gd name="T124" fmla="*/ 125 w 403"/>
                <a:gd name="T125" fmla="*/ 1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91">
                  <a:moveTo>
                    <a:pt x="176" y="591"/>
                  </a:moveTo>
                  <a:lnTo>
                    <a:pt x="173" y="589"/>
                  </a:lnTo>
                  <a:lnTo>
                    <a:pt x="173" y="585"/>
                  </a:lnTo>
                  <a:lnTo>
                    <a:pt x="176" y="591"/>
                  </a:lnTo>
                  <a:close/>
                  <a:moveTo>
                    <a:pt x="174" y="555"/>
                  </a:moveTo>
                  <a:lnTo>
                    <a:pt x="173" y="551"/>
                  </a:lnTo>
                  <a:lnTo>
                    <a:pt x="174" y="555"/>
                  </a:lnTo>
                  <a:close/>
                  <a:moveTo>
                    <a:pt x="159" y="546"/>
                  </a:moveTo>
                  <a:lnTo>
                    <a:pt x="159" y="548"/>
                  </a:lnTo>
                  <a:lnTo>
                    <a:pt x="159" y="546"/>
                  </a:lnTo>
                  <a:close/>
                  <a:moveTo>
                    <a:pt x="164" y="544"/>
                  </a:moveTo>
                  <a:lnTo>
                    <a:pt x="166" y="544"/>
                  </a:lnTo>
                  <a:lnTo>
                    <a:pt x="166" y="546"/>
                  </a:lnTo>
                  <a:lnTo>
                    <a:pt x="171" y="551"/>
                  </a:lnTo>
                  <a:lnTo>
                    <a:pt x="173" y="555"/>
                  </a:lnTo>
                  <a:lnTo>
                    <a:pt x="176" y="558"/>
                  </a:lnTo>
                  <a:lnTo>
                    <a:pt x="174" y="560"/>
                  </a:lnTo>
                  <a:lnTo>
                    <a:pt x="176" y="560"/>
                  </a:lnTo>
                  <a:lnTo>
                    <a:pt x="173" y="562"/>
                  </a:lnTo>
                  <a:lnTo>
                    <a:pt x="174" y="565"/>
                  </a:lnTo>
                  <a:lnTo>
                    <a:pt x="174" y="573"/>
                  </a:lnTo>
                  <a:lnTo>
                    <a:pt x="171" y="577"/>
                  </a:lnTo>
                  <a:lnTo>
                    <a:pt x="174" y="580"/>
                  </a:lnTo>
                  <a:lnTo>
                    <a:pt x="173" y="584"/>
                  </a:lnTo>
                  <a:lnTo>
                    <a:pt x="171" y="580"/>
                  </a:lnTo>
                  <a:lnTo>
                    <a:pt x="169" y="584"/>
                  </a:lnTo>
                  <a:lnTo>
                    <a:pt x="169" y="579"/>
                  </a:lnTo>
                  <a:lnTo>
                    <a:pt x="164" y="579"/>
                  </a:lnTo>
                  <a:lnTo>
                    <a:pt x="162" y="582"/>
                  </a:lnTo>
                  <a:lnTo>
                    <a:pt x="164" y="585"/>
                  </a:lnTo>
                  <a:lnTo>
                    <a:pt x="162" y="585"/>
                  </a:lnTo>
                  <a:lnTo>
                    <a:pt x="161" y="582"/>
                  </a:lnTo>
                  <a:lnTo>
                    <a:pt x="152" y="579"/>
                  </a:lnTo>
                  <a:lnTo>
                    <a:pt x="147" y="577"/>
                  </a:lnTo>
                  <a:lnTo>
                    <a:pt x="152" y="575"/>
                  </a:lnTo>
                  <a:lnTo>
                    <a:pt x="152" y="577"/>
                  </a:lnTo>
                  <a:lnTo>
                    <a:pt x="154" y="577"/>
                  </a:lnTo>
                  <a:lnTo>
                    <a:pt x="155" y="570"/>
                  </a:lnTo>
                  <a:lnTo>
                    <a:pt x="157" y="568"/>
                  </a:lnTo>
                  <a:lnTo>
                    <a:pt x="157" y="560"/>
                  </a:lnTo>
                  <a:lnTo>
                    <a:pt x="159" y="556"/>
                  </a:lnTo>
                  <a:lnTo>
                    <a:pt x="166" y="550"/>
                  </a:lnTo>
                  <a:lnTo>
                    <a:pt x="162" y="544"/>
                  </a:lnTo>
                  <a:lnTo>
                    <a:pt x="164" y="544"/>
                  </a:lnTo>
                  <a:close/>
                  <a:moveTo>
                    <a:pt x="135" y="533"/>
                  </a:moveTo>
                  <a:lnTo>
                    <a:pt x="135" y="529"/>
                  </a:lnTo>
                  <a:lnTo>
                    <a:pt x="137" y="527"/>
                  </a:lnTo>
                  <a:lnTo>
                    <a:pt x="138" y="529"/>
                  </a:lnTo>
                  <a:lnTo>
                    <a:pt x="135" y="533"/>
                  </a:lnTo>
                  <a:close/>
                  <a:moveTo>
                    <a:pt x="169" y="526"/>
                  </a:moveTo>
                  <a:lnTo>
                    <a:pt x="171" y="526"/>
                  </a:lnTo>
                  <a:lnTo>
                    <a:pt x="171" y="529"/>
                  </a:lnTo>
                  <a:lnTo>
                    <a:pt x="169" y="529"/>
                  </a:lnTo>
                  <a:lnTo>
                    <a:pt x="169" y="526"/>
                  </a:lnTo>
                  <a:close/>
                  <a:moveTo>
                    <a:pt x="149" y="526"/>
                  </a:moveTo>
                  <a:lnTo>
                    <a:pt x="152" y="526"/>
                  </a:lnTo>
                  <a:lnTo>
                    <a:pt x="152" y="529"/>
                  </a:lnTo>
                  <a:lnTo>
                    <a:pt x="149" y="529"/>
                  </a:lnTo>
                  <a:lnTo>
                    <a:pt x="149" y="526"/>
                  </a:lnTo>
                  <a:close/>
                  <a:moveTo>
                    <a:pt x="154" y="533"/>
                  </a:moveTo>
                  <a:lnTo>
                    <a:pt x="152" y="529"/>
                  </a:lnTo>
                  <a:lnTo>
                    <a:pt x="152" y="526"/>
                  </a:lnTo>
                  <a:lnTo>
                    <a:pt x="154" y="526"/>
                  </a:lnTo>
                  <a:lnTo>
                    <a:pt x="154" y="533"/>
                  </a:lnTo>
                  <a:close/>
                  <a:moveTo>
                    <a:pt x="150" y="521"/>
                  </a:moveTo>
                  <a:lnTo>
                    <a:pt x="155" y="526"/>
                  </a:lnTo>
                  <a:lnTo>
                    <a:pt x="154" y="526"/>
                  </a:lnTo>
                  <a:lnTo>
                    <a:pt x="149" y="524"/>
                  </a:lnTo>
                  <a:lnTo>
                    <a:pt x="149" y="522"/>
                  </a:lnTo>
                  <a:lnTo>
                    <a:pt x="152" y="522"/>
                  </a:lnTo>
                  <a:lnTo>
                    <a:pt x="150" y="521"/>
                  </a:lnTo>
                  <a:close/>
                  <a:moveTo>
                    <a:pt x="147" y="526"/>
                  </a:moveTo>
                  <a:lnTo>
                    <a:pt x="145" y="522"/>
                  </a:lnTo>
                  <a:lnTo>
                    <a:pt x="145" y="519"/>
                  </a:lnTo>
                  <a:lnTo>
                    <a:pt x="147" y="524"/>
                  </a:lnTo>
                  <a:lnTo>
                    <a:pt x="147" y="526"/>
                  </a:lnTo>
                  <a:close/>
                  <a:moveTo>
                    <a:pt x="178" y="522"/>
                  </a:moveTo>
                  <a:lnTo>
                    <a:pt x="176" y="521"/>
                  </a:lnTo>
                  <a:lnTo>
                    <a:pt x="176" y="519"/>
                  </a:lnTo>
                  <a:lnTo>
                    <a:pt x="178" y="522"/>
                  </a:lnTo>
                  <a:close/>
                  <a:moveTo>
                    <a:pt x="174" y="521"/>
                  </a:moveTo>
                  <a:lnTo>
                    <a:pt x="173" y="522"/>
                  </a:lnTo>
                  <a:lnTo>
                    <a:pt x="173" y="517"/>
                  </a:lnTo>
                  <a:lnTo>
                    <a:pt x="174" y="521"/>
                  </a:lnTo>
                  <a:close/>
                  <a:moveTo>
                    <a:pt x="159" y="514"/>
                  </a:moveTo>
                  <a:lnTo>
                    <a:pt x="161" y="515"/>
                  </a:lnTo>
                  <a:lnTo>
                    <a:pt x="162" y="514"/>
                  </a:lnTo>
                  <a:lnTo>
                    <a:pt x="162" y="519"/>
                  </a:lnTo>
                  <a:lnTo>
                    <a:pt x="169" y="526"/>
                  </a:lnTo>
                  <a:lnTo>
                    <a:pt x="169" y="527"/>
                  </a:lnTo>
                  <a:lnTo>
                    <a:pt x="171" y="531"/>
                  </a:lnTo>
                  <a:lnTo>
                    <a:pt x="171" y="533"/>
                  </a:lnTo>
                  <a:lnTo>
                    <a:pt x="173" y="539"/>
                  </a:lnTo>
                  <a:lnTo>
                    <a:pt x="179" y="544"/>
                  </a:lnTo>
                  <a:lnTo>
                    <a:pt x="181" y="548"/>
                  </a:lnTo>
                  <a:lnTo>
                    <a:pt x="181" y="555"/>
                  </a:lnTo>
                  <a:lnTo>
                    <a:pt x="178" y="555"/>
                  </a:lnTo>
                  <a:lnTo>
                    <a:pt x="179" y="562"/>
                  </a:lnTo>
                  <a:lnTo>
                    <a:pt x="176" y="553"/>
                  </a:lnTo>
                  <a:lnTo>
                    <a:pt x="173" y="551"/>
                  </a:lnTo>
                  <a:lnTo>
                    <a:pt x="174" y="550"/>
                  </a:lnTo>
                  <a:lnTo>
                    <a:pt x="171" y="546"/>
                  </a:lnTo>
                  <a:lnTo>
                    <a:pt x="164" y="539"/>
                  </a:lnTo>
                  <a:lnTo>
                    <a:pt x="164" y="538"/>
                  </a:lnTo>
                  <a:lnTo>
                    <a:pt x="164" y="536"/>
                  </a:lnTo>
                  <a:lnTo>
                    <a:pt x="164" y="534"/>
                  </a:lnTo>
                  <a:lnTo>
                    <a:pt x="157" y="527"/>
                  </a:lnTo>
                  <a:lnTo>
                    <a:pt x="159" y="527"/>
                  </a:lnTo>
                  <a:lnTo>
                    <a:pt x="155" y="519"/>
                  </a:lnTo>
                  <a:lnTo>
                    <a:pt x="149" y="517"/>
                  </a:lnTo>
                  <a:lnTo>
                    <a:pt x="154" y="514"/>
                  </a:lnTo>
                  <a:lnTo>
                    <a:pt x="159" y="514"/>
                  </a:lnTo>
                  <a:close/>
                  <a:moveTo>
                    <a:pt x="138" y="514"/>
                  </a:moveTo>
                  <a:lnTo>
                    <a:pt x="142" y="514"/>
                  </a:lnTo>
                  <a:lnTo>
                    <a:pt x="142" y="515"/>
                  </a:lnTo>
                  <a:lnTo>
                    <a:pt x="138" y="515"/>
                  </a:lnTo>
                  <a:lnTo>
                    <a:pt x="138" y="514"/>
                  </a:lnTo>
                  <a:close/>
                  <a:moveTo>
                    <a:pt x="142" y="514"/>
                  </a:moveTo>
                  <a:lnTo>
                    <a:pt x="145" y="514"/>
                  </a:lnTo>
                  <a:lnTo>
                    <a:pt x="145" y="515"/>
                  </a:lnTo>
                  <a:lnTo>
                    <a:pt x="142" y="515"/>
                  </a:lnTo>
                  <a:lnTo>
                    <a:pt x="142" y="514"/>
                  </a:lnTo>
                  <a:close/>
                  <a:moveTo>
                    <a:pt x="186" y="493"/>
                  </a:moveTo>
                  <a:lnTo>
                    <a:pt x="195" y="495"/>
                  </a:lnTo>
                  <a:lnTo>
                    <a:pt x="198" y="493"/>
                  </a:lnTo>
                  <a:lnTo>
                    <a:pt x="200" y="495"/>
                  </a:lnTo>
                  <a:lnTo>
                    <a:pt x="203" y="495"/>
                  </a:lnTo>
                  <a:lnTo>
                    <a:pt x="205" y="493"/>
                  </a:lnTo>
                  <a:lnTo>
                    <a:pt x="207" y="495"/>
                  </a:lnTo>
                  <a:lnTo>
                    <a:pt x="208" y="493"/>
                  </a:lnTo>
                  <a:lnTo>
                    <a:pt x="215" y="500"/>
                  </a:lnTo>
                  <a:lnTo>
                    <a:pt x="215" y="505"/>
                  </a:lnTo>
                  <a:lnTo>
                    <a:pt x="207" y="503"/>
                  </a:lnTo>
                  <a:lnTo>
                    <a:pt x="203" y="505"/>
                  </a:lnTo>
                  <a:lnTo>
                    <a:pt x="193" y="505"/>
                  </a:lnTo>
                  <a:lnTo>
                    <a:pt x="191" y="505"/>
                  </a:lnTo>
                  <a:lnTo>
                    <a:pt x="184" y="503"/>
                  </a:lnTo>
                  <a:lnTo>
                    <a:pt x="179" y="503"/>
                  </a:lnTo>
                  <a:lnTo>
                    <a:pt x="176" y="502"/>
                  </a:lnTo>
                  <a:lnTo>
                    <a:pt x="176" y="497"/>
                  </a:lnTo>
                  <a:lnTo>
                    <a:pt x="181" y="493"/>
                  </a:lnTo>
                  <a:lnTo>
                    <a:pt x="186" y="493"/>
                  </a:lnTo>
                  <a:close/>
                  <a:moveTo>
                    <a:pt x="244" y="469"/>
                  </a:moveTo>
                  <a:lnTo>
                    <a:pt x="246" y="469"/>
                  </a:lnTo>
                  <a:lnTo>
                    <a:pt x="246" y="471"/>
                  </a:lnTo>
                  <a:lnTo>
                    <a:pt x="244" y="471"/>
                  </a:lnTo>
                  <a:lnTo>
                    <a:pt x="244" y="469"/>
                  </a:lnTo>
                  <a:close/>
                  <a:moveTo>
                    <a:pt x="34" y="413"/>
                  </a:moveTo>
                  <a:lnTo>
                    <a:pt x="36" y="418"/>
                  </a:lnTo>
                  <a:lnTo>
                    <a:pt x="33" y="415"/>
                  </a:lnTo>
                  <a:lnTo>
                    <a:pt x="34" y="413"/>
                  </a:lnTo>
                  <a:close/>
                  <a:moveTo>
                    <a:pt x="36" y="411"/>
                  </a:moveTo>
                  <a:lnTo>
                    <a:pt x="39" y="411"/>
                  </a:lnTo>
                  <a:lnTo>
                    <a:pt x="39" y="413"/>
                  </a:lnTo>
                  <a:lnTo>
                    <a:pt x="36" y="413"/>
                  </a:lnTo>
                  <a:lnTo>
                    <a:pt x="36" y="411"/>
                  </a:lnTo>
                  <a:close/>
                  <a:moveTo>
                    <a:pt x="33" y="410"/>
                  </a:moveTo>
                  <a:lnTo>
                    <a:pt x="36" y="410"/>
                  </a:lnTo>
                  <a:lnTo>
                    <a:pt x="36" y="411"/>
                  </a:lnTo>
                  <a:lnTo>
                    <a:pt x="33" y="411"/>
                  </a:lnTo>
                  <a:lnTo>
                    <a:pt x="33" y="410"/>
                  </a:lnTo>
                  <a:close/>
                  <a:moveTo>
                    <a:pt x="26" y="404"/>
                  </a:moveTo>
                  <a:lnTo>
                    <a:pt x="27" y="404"/>
                  </a:lnTo>
                  <a:lnTo>
                    <a:pt x="27" y="408"/>
                  </a:lnTo>
                  <a:lnTo>
                    <a:pt x="26" y="408"/>
                  </a:lnTo>
                  <a:lnTo>
                    <a:pt x="26" y="404"/>
                  </a:lnTo>
                  <a:close/>
                  <a:moveTo>
                    <a:pt x="4" y="367"/>
                  </a:moveTo>
                  <a:lnTo>
                    <a:pt x="4" y="369"/>
                  </a:lnTo>
                  <a:lnTo>
                    <a:pt x="4" y="367"/>
                  </a:lnTo>
                  <a:close/>
                  <a:moveTo>
                    <a:pt x="21" y="340"/>
                  </a:moveTo>
                  <a:lnTo>
                    <a:pt x="24" y="340"/>
                  </a:lnTo>
                  <a:lnTo>
                    <a:pt x="24" y="341"/>
                  </a:lnTo>
                  <a:lnTo>
                    <a:pt x="21" y="341"/>
                  </a:lnTo>
                  <a:lnTo>
                    <a:pt x="21" y="340"/>
                  </a:lnTo>
                  <a:close/>
                  <a:moveTo>
                    <a:pt x="38" y="333"/>
                  </a:moveTo>
                  <a:lnTo>
                    <a:pt x="41" y="334"/>
                  </a:lnTo>
                  <a:lnTo>
                    <a:pt x="43" y="333"/>
                  </a:lnTo>
                  <a:lnTo>
                    <a:pt x="45" y="333"/>
                  </a:lnTo>
                  <a:lnTo>
                    <a:pt x="46" y="338"/>
                  </a:lnTo>
                  <a:lnTo>
                    <a:pt x="51" y="338"/>
                  </a:lnTo>
                  <a:lnTo>
                    <a:pt x="55" y="343"/>
                  </a:lnTo>
                  <a:lnTo>
                    <a:pt x="58" y="345"/>
                  </a:lnTo>
                  <a:lnTo>
                    <a:pt x="58" y="348"/>
                  </a:lnTo>
                  <a:lnTo>
                    <a:pt x="65" y="355"/>
                  </a:lnTo>
                  <a:lnTo>
                    <a:pt x="67" y="360"/>
                  </a:lnTo>
                  <a:lnTo>
                    <a:pt x="72" y="367"/>
                  </a:lnTo>
                  <a:lnTo>
                    <a:pt x="74" y="369"/>
                  </a:lnTo>
                  <a:lnTo>
                    <a:pt x="75" y="374"/>
                  </a:lnTo>
                  <a:lnTo>
                    <a:pt x="84" y="374"/>
                  </a:lnTo>
                  <a:lnTo>
                    <a:pt x="85" y="377"/>
                  </a:lnTo>
                  <a:lnTo>
                    <a:pt x="89" y="377"/>
                  </a:lnTo>
                  <a:lnTo>
                    <a:pt x="94" y="384"/>
                  </a:lnTo>
                  <a:lnTo>
                    <a:pt x="94" y="386"/>
                  </a:lnTo>
                  <a:lnTo>
                    <a:pt x="97" y="389"/>
                  </a:lnTo>
                  <a:lnTo>
                    <a:pt x="101" y="389"/>
                  </a:lnTo>
                  <a:lnTo>
                    <a:pt x="104" y="392"/>
                  </a:lnTo>
                  <a:lnTo>
                    <a:pt x="106" y="399"/>
                  </a:lnTo>
                  <a:lnTo>
                    <a:pt x="101" y="408"/>
                  </a:lnTo>
                  <a:lnTo>
                    <a:pt x="101" y="411"/>
                  </a:lnTo>
                  <a:lnTo>
                    <a:pt x="103" y="418"/>
                  </a:lnTo>
                  <a:lnTo>
                    <a:pt x="99" y="425"/>
                  </a:lnTo>
                  <a:lnTo>
                    <a:pt x="101" y="428"/>
                  </a:lnTo>
                  <a:lnTo>
                    <a:pt x="101" y="440"/>
                  </a:lnTo>
                  <a:lnTo>
                    <a:pt x="96" y="444"/>
                  </a:lnTo>
                  <a:lnTo>
                    <a:pt x="94" y="447"/>
                  </a:lnTo>
                  <a:lnTo>
                    <a:pt x="91" y="447"/>
                  </a:lnTo>
                  <a:lnTo>
                    <a:pt x="92" y="449"/>
                  </a:lnTo>
                  <a:lnTo>
                    <a:pt x="89" y="447"/>
                  </a:lnTo>
                  <a:lnTo>
                    <a:pt x="87" y="449"/>
                  </a:lnTo>
                  <a:lnTo>
                    <a:pt x="87" y="445"/>
                  </a:lnTo>
                  <a:lnTo>
                    <a:pt x="85" y="447"/>
                  </a:lnTo>
                  <a:lnTo>
                    <a:pt x="82" y="449"/>
                  </a:lnTo>
                  <a:lnTo>
                    <a:pt x="82" y="445"/>
                  </a:lnTo>
                  <a:lnTo>
                    <a:pt x="79" y="447"/>
                  </a:lnTo>
                  <a:lnTo>
                    <a:pt x="75" y="445"/>
                  </a:lnTo>
                  <a:lnTo>
                    <a:pt x="77" y="440"/>
                  </a:lnTo>
                  <a:lnTo>
                    <a:pt x="72" y="433"/>
                  </a:lnTo>
                  <a:lnTo>
                    <a:pt x="72" y="425"/>
                  </a:lnTo>
                  <a:lnTo>
                    <a:pt x="70" y="423"/>
                  </a:lnTo>
                  <a:lnTo>
                    <a:pt x="68" y="418"/>
                  </a:lnTo>
                  <a:lnTo>
                    <a:pt x="65" y="416"/>
                  </a:lnTo>
                  <a:lnTo>
                    <a:pt x="65" y="413"/>
                  </a:lnTo>
                  <a:lnTo>
                    <a:pt x="60" y="411"/>
                  </a:lnTo>
                  <a:lnTo>
                    <a:pt x="60" y="408"/>
                  </a:lnTo>
                  <a:lnTo>
                    <a:pt x="55" y="406"/>
                  </a:lnTo>
                  <a:lnTo>
                    <a:pt x="55" y="404"/>
                  </a:lnTo>
                  <a:lnTo>
                    <a:pt x="51" y="403"/>
                  </a:lnTo>
                  <a:lnTo>
                    <a:pt x="43" y="401"/>
                  </a:lnTo>
                  <a:lnTo>
                    <a:pt x="41" y="403"/>
                  </a:lnTo>
                  <a:lnTo>
                    <a:pt x="41" y="398"/>
                  </a:lnTo>
                  <a:lnTo>
                    <a:pt x="39" y="391"/>
                  </a:lnTo>
                  <a:lnTo>
                    <a:pt x="38" y="386"/>
                  </a:lnTo>
                  <a:lnTo>
                    <a:pt x="34" y="380"/>
                  </a:lnTo>
                  <a:lnTo>
                    <a:pt x="31" y="375"/>
                  </a:lnTo>
                  <a:lnTo>
                    <a:pt x="29" y="374"/>
                  </a:lnTo>
                  <a:lnTo>
                    <a:pt x="27" y="370"/>
                  </a:lnTo>
                  <a:lnTo>
                    <a:pt x="24" y="369"/>
                  </a:lnTo>
                  <a:lnTo>
                    <a:pt x="24" y="365"/>
                  </a:lnTo>
                  <a:lnTo>
                    <a:pt x="22" y="363"/>
                  </a:lnTo>
                  <a:lnTo>
                    <a:pt x="22" y="365"/>
                  </a:lnTo>
                  <a:lnTo>
                    <a:pt x="19" y="362"/>
                  </a:lnTo>
                  <a:lnTo>
                    <a:pt x="17" y="363"/>
                  </a:lnTo>
                  <a:lnTo>
                    <a:pt x="15" y="357"/>
                  </a:lnTo>
                  <a:lnTo>
                    <a:pt x="10" y="350"/>
                  </a:lnTo>
                  <a:lnTo>
                    <a:pt x="5" y="346"/>
                  </a:lnTo>
                  <a:lnTo>
                    <a:pt x="2" y="348"/>
                  </a:lnTo>
                  <a:lnTo>
                    <a:pt x="0" y="346"/>
                  </a:lnTo>
                  <a:lnTo>
                    <a:pt x="9" y="343"/>
                  </a:lnTo>
                  <a:lnTo>
                    <a:pt x="14" y="346"/>
                  </a:lnTo>
                  <a:lnTo>
                    <a:pt x="14" y="348"/>
                  </a:lnTo>
                  <a:lnTo>
                    <a:pt x="15" y="345"/>
                  </a:lnTo>
                  <a:lnTo>
                    <a:pt x="17" y="346"/>
                  </a:lnTo>
                  <a:lnTo>
                    <a:pt x="26" y="345"/>
                  </a:lnTo>
                  <a:lnTo>
                    <a:pt x="27" y="341"/>
                  </a:lnTo>
                  <a:lnTo>
                    <a:pt x="34" y="336"/>
                  </a:lnTo>
                  <a:lnTo>
                    <a:pt x="34" y="331"/>
                  </a:lnTo>
                  <a:lnTo>
                    <a:pt x="36" y="329"/>
                  </a:lnTo>
                  <a:lnTo>
                    <a:pt x="38" y="333"/>
                  </a:lnTo>
                  <a:close/>
                  <a:moveTo>
                    <a:pt x="183" y="326"/>
                  </a:moveTo>
                  <a:lnTo>
                    <a:pt x="184" y="326"/>
                  </a:lnTo>
                  <a:lnTo>
                    <a:pt x="184" y="328"/>
                  </a:lnTo>
                  <a:lnTo>
                    <a:pt x="183" y="328"/>
                  </a:lnTo>
                  <a:lnTo>
                    <a:pt x="183" y="326"/>
                  </a:lnTo>
                  <a:close/>
                  <a:moveTo>
                    <a:pt x="176" y="326"/>
                  </a:moveTo>
                  <a:lnTo>
                    <a:pt x="178" y="326"/>
                  </a:lnTo>
                  <a:lnTo>
                    <a:pt x="176" y="326"/>
                  </a:lnTo>
                  <a:close/>
                  <a:moveTo>
                    <a:pt x="181" y="321"/>
                  </a:moveTo>
                  <a:lnTo>
                    <a:pt x="183" y="321"/>
                  </a:lnTo>
                  <a:lnTo>
                    <a:pt x="183" y="324"/>
                  </a:lnTo>
                  <a:lnTo>
                    <a:pt x="181" y="324"/>
                  </a:lnTo>
                  <a:lnTo>
                    <a:pt x="181" y="321"/>
                  </a:lnTo>
                  <a:close/>
                  <a:moveTo>
                    <a:pt x="169" y="310"/>
                  </a:moveTo>
                  <a:lnTo>
                    <a:pt x="174" y="314"/>
                  </a:lnTo>
                  <a:lnTo>
                    <a:pt x="173" y="316"/>
                  </a:lnTo>
                  <a:lnTo>
                    <a:pt x="174" y="317"/>
                  </a:lnTo>
                  <a:lnTo>
                    <a:pt x="178" y="317"/>
                  </a:lnTo>
                  <a:lnTo>
                    <a:pt x="179" y="314"/>
                  </a:lnTo>
                  <a:lnTo>
                    <a:pt x="181" y="314"/>
                  </a:lnTo>
                  <a:lnTo>
                    <a:pt x="181" y="317"/>
                  </a:lnTo>
                  <a:lnTo>
                    <a:pt x="183" y="316"/>
                  </a:lnTo>
                  <a:lnTo>
                    <a:pt x="186" y="321"/>
                  </a:lnTo>
                  <a:lnTo>
                    <a:pt x="184" y="321"/>
                  </a:lnTo>
                  <a:lnTo>
                    <a:pt x="179" y="321"/>
                  </a:lnTo>
                  <a:lnTo>
                    <a:pt x="178" y="319"/>
                  </a:lnTo>
                  <a:lnTo>
                    <a:pt x="173" y="321"/>
                  </a:lnTo>
                  <a:lnTo>
                    <a:pt x="167" y="317"/>
                  </a:lnTo>
                  <a:lnTo>
                    <a:pt x="166" y="314"/>
                  </a:lnTo>
                  <a:lnTo>
                    <a:pt x="167" y="310"/>
                  </a:lnTo>
                  <a:lnTo>
                    <a:pt x="169" y="310"/>
                  </a:lnTo>
                  <a:close/>
                  <a:moveTo>
                    <a:pt x="367" y="210"/>
                  </a:moveTo>
                  <a:lnTo>
                    <a:pt x="365" y="208"/>
                  </a:lnTo>
                  <a:lnTo>
                    <a:pt x="365" y="199"/>
                  </a:lnTo>
                  <a:lnTo>
                    <a:pt x="367" y="210"/>
                  </a:lnTo>
                  <a:close/>
                  <a:moveTo>
                    <a:pt x="135" y="18"/>
                  </a:moveTo>
                  <a:lnTo>
                    <a:pt x="137" y="18"/>
                  </a:lnTo>
                  <a:lnTo>
                    <a:pt x="137" y="22"/>
                  </a:lnTo>
                  <a:lnTo>
                    <a:pt x="135" y="22"/>
                  </a:lnTo>
                  <a:lnTo>
                    <a:pt x="135" y="18"/>
                  </a:lnTo>
                  <a:close/>
                  <a:moveTo>
                    <a:pt x="145" y="15"/>
                  </a:moveTo>
                  <a:lnTo>
                    <a:pt x="145" y="18"/>
                  </a:lnTo>
                  <a:lnTo>
                    <a:pt x="144" y="18"/>
                  </a:lnTo>
                  <a:lnTo>
                    <a:pt x="142" y="18"/>
                  </a:lnTo>
                  <a:lnTo>
                    <a:pt x="142" y="13"/>
                  </a:lnTo>
                  <a:lnTo>
                    <a:pt x="145" y="15"/>
                  </a:lnTo>
                  <a:close/>
                  <a:moveTo>
                    <a:pt x="142" y="0"/>
                  </a:moveTo>
                  <a:lnTo>
                    <a:pt x="144" y="1"/>
                  </a:lnTo>
                  <a:lnTo>
                    <a:pt x="140" y="3"/>
                  </a:lnTo>
                  <a:lnTo>
                    <a:pt x="144" y="5"/>
                  </a:lnTo>
                  <a:lnTo>
                    <a:pt x="142" y="13"/>
                  </a:lnTo>
                  <a:lnTo>
                    <a:pt x="135" y="15"/>
                  </a:lnTo>
                  <a:lnTo>
                    <a:pt x="132" y="17"/>
                  </a:lnTo>
                  <a:lnTo>
                    <a:pt x="130" y="12"/>
                  </a:lnTo>
                  <a:lnTo>
                    <a:pt x="132" y="17"/>
                  </a:lnTo>
                  <a:lnTo>
                    <a:pt x="135" y="18"/>
                  </a:lnTo>
                  <a:lnTo>
                    <a:pt x="132" y="25"/>
                  </a:lnTo>
                  <a:lnTo>
                    <a:pt x="133" y="25"/>
                  </a:lnTo>
                  <a:lnTo>
                    <a:pt x="135" y="22"/>
                  </a:lnTo>
                  <a:lnTo>
                    <a:pt x="137" y="22"/>
                  </a:lnTo>
                  <a:lnTo>
                    <a:pt x="138" y="20"/>
                  </a:lnTo>
                  <a:lnTo>
                    <a:pt x="144" y="20"/>
                  </a:lnTo>
                  <a:lnTo>
                    <a:pt x="149" y="22"/>
                  </a:lnTo>
                  <a:lnTo>
                    <a:pt x="150" y="30"/>
                  </a:lnTo>
                  <a:lnTo>
                    <a:pt x="150" y="27"/>
                  </a:lnTo>
                  <a:lnTo>
                    <a:pt x="159" y="25"/>
                  </a:lnTo>
                  <a:lnTo>
                    <a:pt x="164" y="30"/>
                  </a:lnTo>
                  <a:lnTo>
                    <a:pt x="164" y="32"/>
                  </a:lnTo>
                  <a:lnTo>
                    <a:pt x="166" y="30"/>
                  </a:lnTo>
                  <a:lnTo>
                    <a:pt x="167" y="32"/>
                  </a:lnTo>
                  <a:lnTo>
                    <a:pt x="167" y="30"/>
                  </a:lnTo>
                  <a:lnTo>
                    <a:pt x="173" y="32"/>
                  </a:lnTo>
                  <a:lnTo>
                    <a:pt x="171" y="34"/>
                  </a:lnTo>
                  <a:lnTo>
                    <a:pt x="174" y="32"/>
                  </a:lnTo>
                  <a:lnTo>
                    <a:pt x="178" y="34"/>
                  </a:lnTo>
                  <a:lnTo>
                    <a:pt x="178" y="39"/>
                  </a:lnTo>
                  <a:lnTo>
                    <a:pt x="179" y="37"/>
                  </a:lnTo>
                  <a:lnTo>
                    <a:pt x="179" y="39"/>
                  </a:lnTo>
                  <a:lnTo>
                    <a:pt x="178" y="42"/>
                  </a:lnTo>
                  <a:lnTo>
                    <a:pt x="181" y="41"/>
                  </a:lnTo>
                  <a:lnTo>
                    <a:pt x="183" y="44"/>
                  </a:lnTo>
                  <a:lnTo>
                    <a:pt x="193" y="47"/>
                  </a:lnTo>
                  <a:lnTo>
                    <a:pt x="193" y="46"/>
                  </a:lnTo>
                  <a:lnTo>
                    <a:pt x="196" y="49"/>
                  </a:lnTo>
                  <a:lnTo>
                    <a:pt x="198" y="59"/>
                  </a:lnTo>
                  <a:lnTo>
                    <a:pt x="195" y="61"/>
                  </a:lnTo>
                  <a:lnTo>
                    <a:pt x="193" y="63"/>
                  </a:lnTo>
                  <a:lnTo>
                    <a:pt x="195" y="61"/>
                  </a:lnTo>
                  <a:lnTo>
                    <a:pt x="196" y="61"/>
                  </a:lnTo>
                  <a:lnTo>
                    <a:pt x="200" y="59"/>
                  </a:lnTo>
                  <a:lnTo>
                    <a:pt x="198" y="63"/>
                  </a:lnTo>
                  <a:lnTo>
                    <a:pt x="203" y="63"/>
                  </a:lnTo>
                  <a:lnTo>
                    <a:pt x="207" y="68"/>
                  </a:lnTo>
                  <a:lnTo>
                    <a:pt x="208" y="68"/>
                  </a:lnTo>
                  <a:lnTo>
                    <a:pt x="219" y="73"/>
                  </a:lnTo>
                  <a:lnTo>
                    <a:pt x="227" y="75"/>
                  </a:lnTo>
                  <a:lnTo>
                    <a:pt x="229" y="76"/>
                  </a:lnTo>
                  <a:lnTo>
                    <a:pt x="236" y="80"/>
                  </a:lnTo>
                  <a:lnTo>
                    <a:pt x="241" y="82"/>
                  </a:lnTo>
                  <a:lnTo>
                    <a:pt x="248" y="87"/>
                  </a:lnTo>
                  <a:lnTo>
                    <a:pt x="253" y="88"/>
                  </a:lnTo>
                  <a:lnTo>
                    <a:pt x="258" y="92"/>
                  </a:lnTo>
                  <a:lnTo>
                    <a:pt x="266" y="97"/>
                  </a:lnTo>
                  <a:lnTo>
                    <a:pt x="265" y="99"/>
                  </a:lnTo>
                  <a:lnTo>
                    <a:pt x="268" y="97"/>
                  </a:lnTo>
                  <a:lnTo>
                    <a:pt x="272" y="104"/>
                  </a:lnTo>
                  <a:lnTo>
                    <a:pt x="272" y="106"/>
                  </a:lnTo>
                  <a:lnTo>
                    <a:pt x="273" y="104"/>
                  </a:lnTo>
                  <a:lnTo>
                    <a:pt x="277" y="107"/>
                  </a:lnTo>
                  <a:lnTo>
                    <a:pt x="284" y="109"/>
                  </a:lnTo>
                  <a:lnTo>
                    <a:pt x="290" y="114"/>
                  </a:lnTo>
                  <a:lnTo>
                    <a:pt x="290" y="117"/>
                  </a:lnTo>
                  <a:lnTo>
                    <a:pt x="292" y="117"/>
                  </a:lnTo>
                  <a:lnTo>
                    <a:pt x="299" y="126"/>
                  </a:lnTo>
                  <a:lnTo>
                    <a:pt x="302" y="128"/>
                  </a:lnTo>
                  <a:lnTo>
                    <a:pt x="304" y="128"/>
                  </a:lnTo>
                  <a:lnTo>
                    <a:pt x="307" y="128"/>
                  </a:lnTo>
                  <a:lnTo>
                    <a:pt x="314" y="129"/>
                  </a:lnTo>
                  <a:lnTo>
                    <a:pt x="323" y="135"/>
                  </a:lnTo>
                  <a:lnTo>
                    <a:pt x="324" y="138"/>
                  </a:lnTo>
                  <a:lnTo>
                    <a:pt x="331" y="147"/>
                  </a:lnTo>
                  <a:lnTo>
                    <a:pt x="336" y="150"/>
                  </a:lnTo>
                  <a:lnTo>
                    <a:pt x="336" y="157"/>
                  </a:lnTo>
                  <a:lnTo>
                    <a:pt x="336" y="152"/>
                  </a:lnTo>
                  <a:lnTo>
                    <a:pt x="340" y="150"/>
                  </a:lnTo>
                  <a:lnTo>
                    <a:pt x="345" y="158"/>
                  </a:lnTo>
                  <a:lnTo>
                    <a:pt x="350" y="162"/>
                  </a:lnTo>
                  <a:lnTo>
                    <a:pt x="350" y="160"/>
                  </a:lnTo>
                  <a:lnTo>
                    <a:pt x="352" y="160"/>
                  </a:lnTo>
                  <a:lnTo>
                    <a:pt x="352" y="162"/>
                  </a:lnTo>
                  <a:lnTo>
                    <a:pt x="350" y="172"/>
                  </a:lnTo>
                  <a:lnTo>
                    <a:pt x="352" y="177"/>
                  </a:lnTo>
                  <a:lnTo>
                    <a:pt x="350" y="184"/>
                  </a:lnTo>
                  <a:lnTo>
                    <a:pt x="347" y="189"/>
                  </a:lnTo>
                  <a:lnTo>
                    <a:pt x="348" y="191"/>
                  </a:lnTo>
                  <a:lnTo>
                    <a:pt x="357" y="186"/>
                  </a:lnTo>
                  <a:lnTo>
                    <a:pt x="362" y="189"/>
                  </a:lnTo>
                  <a:lnTo>
                    <a:pt x="364" y="194"/>
                  </a:lnTo>
                  <a:lnTo>
                    <a:pt x="364" y="201"/>
                  </a:lnTo>
                  <a:lnTo>
                    <a:pt x="365" y="208"/>
                  </a:lnTo>
                  <a:lnTo>
                    <a:pt x="369" y="211"/>
                  </a:lnTo>
                  <a:lnTo>
                    <a:pt x="369" y="210"/>
                  </a:lnTo>
                  <a:lnTo>
                    <a:pt x="367" y="201"/>
                  </a:lnTo>
                  <a:lnTo>
                    <a:pt x="367" y="196"/>
                  </a:lnTo>
                  <a:lnTo>
                    <a:pt x="372" y="191"/>
                  </a:lnTo>
                  <a:lnTo>
                    <a:pt x="379" y="191"/>
                  </a:lnTo>
                  <a:lnTo>
                    <a:pt x="381" y="198"/>
                  </a:lnTo>
                  <a:lnTo>
                    <a:pt x="384" y="201"/>
                  </a:lnTo>
                  <a:lnTo>
                    <a:pt x="386" y="205"/>
                  </a:lnTo>
                  <a:lnTo>
                    <a:pt x="391" y="211"/>
                  </a:lnTo>
                  <a:lnTo>
                    <a:pt x="388" y="220"/>
                  </a:lnTo>
                  <a:lnTo>
                    <a:pt x="388" y="223"/>
                  </a:lnTo>
                  <a:lnTo>
                    <a:pt x="388" y="232"/>
                  </a:lnTo>
                  <a:lnTo>
                    <a:pt x="391" y="240"/>
                  </a:lnTo>
                  <a:lnTo>
                    <a:pt x="396" y="249"/>
                  </a:lnTo>
                  <a:lnTo>
                    <a:pt x="396" y="254"/>
                  </a:lnTo>
                  <a:lnTo>
                    <a:pt x="393" y="261"/>
                  </a:lnTo>
                  <a:lnTo>
                    <a:pt x="391" y="268"/>
                  </a:lnTo>
                  <a:lnTo>
                    <a:pt x="389" y="278"/>
                  </a:lnTo>
                  <a:lnTo>
                    <a:pt x="391" y="287"/>
                  </a:lnTo>
                  <a:lnTo>
                    <a:pt x="388" y="290"/>
                  </a:lnTo>
                  <a:lnTo>
                    <a:pt x="386" y="297"/>
                  </a:lnTo>
                  <a:lnTo>
                    <a:pt x="388" y="300"/>
                  </a:lnTo>
                  <a:lnTo>
                    <a:pt x="394" y="300"/>
                  </a:lnTo>
                  <a:lnTo>
                    <a:pt x="394" y="307"/>
                  </a:lnTo>
                  <a:lnTo>
                    <a:pt x="391" y="314"/>
                  </a:lnTo>
                  <a:lnTo>
                    <a:pt x="396" y="316"/>
                  </a:lnTo>
                  <a:lnTo>
                    <a:pt x="401" y="314"/>
                  </a:lnTo>
                  <a:lnTo>
                    <a:pt x="401" y="316"/>
                  </a:lnTo>
                  <a:lnTo>
                    <a:pt x="401" y="324"/>
                  </a:lnTo>
                  <a:lnTo>
                    <a:pt x="403" y="328"/>
                  </a:lnTo>
                  <a:lnTo>
                    <a:pt x="403" y="336"/>
                  </a:lnTo>
                  <a:lnTo>
                    <a:pt x="401" y="340"/>
                  </a:lnTo>
                  <a:lnTo>
                    <a:pt x="400" y="340"/>
                  </a:lnTo>
                  <a:lnTo>
                    <a:pt x="391" y="340"/>
                  </a:lnTo>
                  <a:lnTo>
                    <a:pt x="391" y="338"/>
                  </a:lnTo>
                  <a:lnTo>
                    <a:pt x="386" y="338"/>
                  </a:lnTo>
                  <a:lnTo>
                    <a:pt x="388" y="340"/>
                  </a:lnTo>
                  <a:lnTo>
                    <a:pt x="394" y="343"/>
                  </a:lnTo>
                  <a:lnTo>
                    <a:pt x="389" y="345"/>
                  </a:lnTo>
                  <a:lnTo>
                    <a:pt x="386" y="343"/>
                  </a:lnTo>
                  <a:lnTo>
                    <a:pt x="377" y="346"/>
                  </a:lnTo>
                  <a:lnTo>
                    <a:pt x="369" y="346"/>
                  </a:lnTo>
                  <a:lnTo>
                    <a:pt x="359" y="348"/>
                  </a:lnTo>
                  <a:lnTo>
                    <a:pt x="357" y="350"/>
                  </a:lnTo>
                  <a:lnTo>
                    <a:pt x="355" y="351"/>
                  </a:lnTo>
                  <a:lnTo>
                    <a:pt x="357" y="355"/>
                  </a:lnTo>
                  <a:lnTo>
                    <a:pt x="362" y="362"/>
                  </a:lnTo>
                  <a:lnTo>
                    <a:pt x="367" y="365"/>
                  </a:lnTo>
                  <a:lnTo>
                    <a:pt x="367" y="369"/>
                  </a:lnTo>
                  <a:lnTo>
                    <a:pt x="369" y="374"/>
                  </a:lnTo>
                  <a:lnTo>
                    <a:pt x="374" y="380"/>
                  </a:lnTo>
                  <a:lnTo>
                    <a:pt x="369" y="380"/>
                  </a:lnTo>
                  <a:lnTo>
                    <a:pt x="367" y="386"/>
                  </a:lnTo>
                  <a:lnTo>
                    <a:pt x="372" y="394"/>
                  </a:lnTo>
                  <a:lnTo>
                    <a:pt x="369" y="396"/>
                  </a:lnTo>
                  <a:lnTo>
                    <a:pt x="371" y="399"/>
                  </a:lnTo>
                  <a:lnTo>
                    <a:pt x="367" y="403"/>
                  </a:lnTo>
                  <a:lnTo>
                    <a:pt x="369" y="408"/>
                  </a:lnTo>
                  <a:lnTo>
                    <a:pt x="369" y="413"/>
                  </a:lnTo>
                  <a:lnTo>
                    <a:pt x="367" y="413"/>
                  </a:lnTo>
                  <a:lnTo>
                    <a:pt x="367" y="415"/>
                  </a:lnTo>
                  <a:lnTo>
                    <a:pt x="374" y="423"/>
                  </a:lnTo>
                  <a:lnTo>
                    <a:pt x="372" y="423"/>
                  </a:lnTo>
                  <a:lnTo>
                    <a:pt x="362" y="418"/>
                  </a:lnTo>
                  <a:lnTo>
                    <a:pt x="360" y="418"/>
                  </a:lnTo>
                  <a:lnTo>
                    <a:pt x="352" y="413"/>
                  </a:lnTo>
                  <a:lnTo>
                    <a:pt x="348" y="413"/>
                  </a:lnTo>
                  <a:lnTo>
                    <a:pt x="347" y="410"/>
                  </a:lnTo>
                  <a:lnTo>
                    <a:pt x="336" y="406"/>
                  </a:lnTo>
                  <a:lnTo>
                    <a:pt x="333" y="408"/>
                  </a:lnTo>
                  <a:lnTo>
                    <a:pt x="333" y="416"/>
                  </a:lnTo>
                  <a:lnTo>
                    <a:pt x="335" y="418"/>
                  </a:lnTo>
                  <a:lnTo>
                    <a:pt x="331" y="427"/>
                  </a:lnTo>
                  <a:lnTo>
                    <a:pt x="333" y="430"/>
                  </a:lnTo>
                  <a:lnTo>
                    <a:pt x="342" y="433"/>
                  </a:lnTo>
                  <a:lnTo>
                    <a:pt x="342" y="439"/>
                  </a:lnTo>
                  <a:lnTo>
                    <a:pt x="348" y="449"/>
                  </a:lnTo>
                  <a:lnTo>
                    <a:pt x="347" y="454"/>
                  </a:lnTo>
                  <a:lnTo>
                    <a:pt x="342" y="459"/>
                  </a:lnTo>
                  <a:lnTo>
                    <a:pt x="331" y="459"/>
                  </a:lnTo>
                  <a:lnTo>
                    <a:pt x="324" y="457"/>
                  </a:lnTo>
                  <a:lnTo>
                    <a:pt x="319" y="461"/>
                  </a:lnTo>
                  <a:lnTo>
                    <a:pt x="314" y="457"/>
                  </a:lnTo>
                  <a:lnTo>
                    <a:pt x="311" y="449"/>
                  </a:lnTo>
                  <a:lnTo>
                    <a:pt x="302" y="454"/>
                  </a:lnTo>
                  <a:lnTo>
                    <a:pt x="297" y="452"/>
                  </a:lnTo>
                  <a:lnTo>
                    <a:pt x="294" y="449"/>
                  </a:lnTo>
                  <a:lnTo>
                    <a:pt x="290" y="451"/>
                  </a:lnTo>
                  <a:lnTo>
                    <a:pt x="284" y="456"/>
                  </a:lnTo>
                  <a:lnTo>
                    <a:pt x="282" y="456"/>
                  </a:lnTo>
                  <a:lnTo>
                    <a:pt x="280" y="459"/>
                  </a:lnTo>
                  <a:lnTo>
                    <a:pt x="278" y="461"/>
                  </a:lnTo>
                  <a:lnTo>
                    <a:pt x="275" y="468"/>
                  </a:lnTo>
                  <a:lnTo>
                    <a:pt x="272" y="473"/>
                  </a:lnTo>
                  <a:lnTo>
                    <a:pt x="263" y="474"/>
                  </a:lnTo>
                  <a:lnTo>
                    <a:pt x="256" y="480"/>
                  </a:lnTo>
                  <a:lnTo>
                    <a:pt x="256" y="481"/>
                  </a:lnTo>
                  <a:lnTo>
                    <a:pt x="253" y="486"/>
                  </a:lnTo>
                  <a:lnTo>
                    <a:pt x="249" y="485"/>
                  </a:lnTo>
                  <a:lnTo>
                    <a:pt x="251" y="481"/>
                  </a:lnTo>
                  <a:lnTo>
                    <a:pt x="251" y="476"/>
                  </a:lnTo>
                  <a:lnTo>
                    <a:pt x="246" y="473"/>
                  </a:lnTo>
                  <a:lnTo>
                    <a:pt x="249" y="468"/>
                  </a:lnTo>
                  <a:lnTo>
                    <a:pt x="248" y="457"/>
                  </a:lnTo>
                  <a:lnTo>
                    <a:pt x="246" y="454"/>
                  </a:lnTo>
                  <a:lnTo>
                    <a:pt x="244" y="454"/>
                  </a:lnTo>
                  <a:lnTo>
                    <a:pt x="243" y="451"/>
                  </a:lnTo>
                  <a:lnTo>
                    <a:pt x="246" y="451"/>
                  </a:lnTo>
                  <a:lnTo>
                    <a:pt x="246" y="445"/>
                  </a:lnTo>
                  <a:lnTo>
                    <a:pt x="243" y="440"/>
                  </a:lnTo>
                  <a:lnTo>
                    <a:pt x="241" y="439"/>
                  </a:lnTo>
                  <a:lnTo>
                    <a:pt x="239" y="440"/>
                  </a:lnTo>
                  <a:lnTo>
                    <a:pt x="237" y="439"/>
                  </a:lnTo>
                  <a:lnTo>
                    <a:pt x="241" y="435"/>
                  </a:lnTo>
                  <a:lnTo>
                    <a:pt x="237" y="433"/>
                  </a:lnTo>
                  <a:lnTo>
                    <a:pt x="241" y="432"/>
                  </a:lnTo>
                  <a:lnTo>
                    <a:pt x="239" y="425"/>
                  </a:lnTo>
                  <a:lnTo>
                    <a:pt x="237" y="423"/>
                  </a:lnTo>
                  <a:lnTo>
                    <a:pt x="234" y="416"/>
                  </a:lnTo>
                  <a:lnTo>
                    <a:pt x="232" y="416"/>
                  </a:lnTo>
                  <a:lnTo>
                    <a:pt x="229" y="413"/>
                  </a:lnTo>
                  <a:lnTo>
                    <a:pt x="231" y="413"/>
                  </a:lnTo>
                  <a:lnTo>
                    <a:pt x="229" y="404"/>
                  </a:lnTo>
                  <a:lnTo>
                    <a:pt x="227" y="396"/>
                  </a:lnTo>
                  <a:lnTo>
                    <a:pt x="224" y="389"/>
                  </a:lnTo>
                  <a:lnTo>
                    <a:pt x="222" y="379"/>
                  </a:lnTo>
                  <a:lnTo>
                    <a:pt x="220" y="375"/>
                  </a:lnTo>
                  <a:lnTo>
                    <a:pt x="217" y="370"/>
                  </a:lnTo>
                  <a:lnTo>
                    <a:pt x="214" y="362"/>
                  </a:lnTo>
                  <a:lnTo>
                    <a:pt x="215" y="357"/>
                  </a:lnTo>
                  <a:lnTo>
                    <a:pt x="212" y="350"/>
                  </a:lnTo>
                  <a:lnTo>
                    <a:pt x="207" y="343"/>
                  </a:lnTo>
                  <a:lnTo>
                    <a:pt x="208" y="343"/>
                  </a:lnTo>
                  <a:lnTo>
                    <a:pt x="205" y="336"/>
                  </a:lnTo>
                  <a:lnTo>
                    <a:pt x="198" y="328"/>
                  </a:lnTo>
                  <a:lnTo>
                    <a:pt x="200" y="326"/>
                  </a:lnTo>
                  <a:lnTo>
                    <a:pt x="205" y="331"/>
                  </a:lnTo>
                  <a:lnTo>
                    <a:pt x="207" y="326"/>
                  </a:lnTo>
                  <a:lnTo>
                    <a:pt x="210" y="328"/>
                  </a:lnTo>
                  <a:lnTo>
                    <a:pt x="208" y="322"/>
                  </a:lnTo>
                  <a:lnTo>
                    <a:pt x="212" y="322"/>
                  </a:lnTo>
                  <a:lnTo>
                    <a:pt x="214" y="319"/>
                  </a:lnTo>
                  <a:lnTo>
                    <a:pt x="214" y="317"/>
                  </a:lnTo>
                  <a:lnTo>
                    <a:pt x="212" y="316"/>
                  </a:lnTo>
                  <a:lnTo>
                    <a:pt x="212" y="314"/>
                  </a:lnTo>
                  <a:lnTo>
                    <a:pt x="207" y="312"/>
                  </a:lnTo>
                  <a:lnTo>
                    <a:pt x="207" y="309"/>
                  </a:lnTo>
                  <a:lnTo>
                    <a:pt x="208" y="307"/>
                  </a:lnTo>
                  <a:lnTo>
                    <a:pt x="202" y="300"/>
                  </a:lnTo>
                  <a:lnTo>
                    <a:pt x="193" y="302"/>
                  </a:lnTo>
                  <a:lnTo>
                    <a:pt x="196" y="302"/>
                  </a:lnTo>
                  <a:lnTo>
                    <a:pt x="198" y="304"/>
                  </a:lnTo>
                  <a:lnTo>
                    <a:pt x="200" y="302"/>
                  </a:lnTo>
                  <a:lnTo>
                    <a:pt x="202" y="309"/>
                  </a:lnTo>
                  <a:lnTo>
                    <a:pt x="195" y="307"/>
                  </a:lnTo>
                  <a:lnTo>
                    <a:pt x="190" y="300"/>
                  </a:lnTo>
                  <a:lnTo>
                    <a:pt x="186" y="295"/>
                  </a:lnTo>
                  <a:lnTo>
                    <a:pt x="181" y="290"/>
                  </a:lnTo>
                  <a:lnTo>
                    <a:pt x="178" y="287"/>
                  </a:lnTo>
                  <a:lnTo>
                    <a:pt x="173" y="281"/>
                  </a:lnTo>
                  <a:lnTo>
                    <a:pt x="167" y="276"/>
                  </a:lnTo>
                  <a:lnTo>
                    <a:pt x="159" y="273"/>
                  </a:lnTo>
                  <a:lnTo>
                    <a:pt x="155" y="275"/>
                  </a:lnTo>
                  <a:lnTo>
                    <a:pt x="157" y="273"/>
                  </a:lnTo>
                  <a:lnTo>
                    <a:pt x="154" y="269"/>
                  </a:lnTo>
                  <a:lnTo>
                    <a:pt x="150" y="271"/>
                  </a:lnTo>
                  <a:lnTo>
                    <a:pt x="147" y="269"/>
                  </a:lnTo>
                  <a:lnTo>
                    <a:pt x="145" y="271"/>
                  </a:lnTo>
                  <a:lnTo>
                    <a:pt x="145" y="269"/>
                  </a:lnTo>
                  <a:lnTo>
                    <a:pt x="144" y="268"/>
                  </a:lnTo>
                  <a:lnTo>
                    <a:pt x="135" y="261"/>
                  </a:lnTo>
                  <a:lnTo>
                    <a:pt x="128" y="256"/>
                  </a:lnTo>
                  <a:lnTo>
                    <a:pt x="135" y="246"/>
                  </a:lnTo>
                  <a:lnTo>
                    <a:pt x="137" y="237"/>
                  </a:lnTo>
                  <a:lnTo>
                    <a:pt x="135" y="235"/>
                  </a:lnTo>
                  <a:lnTo>
                    <a:pt x="133" y="228"/>
                  </a:lnTo>
                  <a:lnTo>
                    <a:pt x="130" y="223"/>
                  </a:lnTo>
                  <a:lnTo>
                    <a:pt x="125" y="217"/>
                  </a:lnTo>
                  <a:lnTo>
                    <a:pt x="123" y="213"/>
                  </a:lnTo>
                  <a:lnTo>
                    <a:pt x="123" y="203"/>
                  </a:lnTo>
                  <a:lnTo>
                    <a:pt x="126" y="201"/>
                  </a:lnTo>
                  <a:lnTo>
                    <a:pt x="125" y="193"/>
                  </a:lnTo>
                  <a:lnTo>
                    <a:pt x="121" y="187"/>
                  </a:lnTo>
                  <a:lnTo>
                    <a:pt x="121" y="184"/>
                  </a:lnTo>
                  <a:lnTo>
                    <a:pt x="126" y="181"/>
                  </a:lnTo>
                  <a:lnTo>
                    <a:pt x="125" y="176"/>
                  </a:lnTo>
                  <a:lnTo>
                    <a:pt x="120" y="177"/>
                  </a:lnTo>
                  <a:lnTo>
                    <a:pt x="115" y="170"/>
                  </a:lnTo>
                  <a:lnTo>
                    <a:pt x="106" y="167"/>
                  </a:lnTo>
                  <a:lnTo>
                    <a:pt x="108" y="157"/>
                  </a:lnTo>
                  <a:lnTo>
                    <a:pt x="106" y="157"/>
                  </a:lnTo>
                  <a:lnTo>
                    <a:pt x="106" y="153"/>
                  </a:lnTo>
                  <a:lnTo>
                    <a:pt x="104" y="148"/>
                  </a:lnTo>
                  <a:lnTo>
                    <a:pt x="106" y="147"/>
                  </a:lnTo>
                  <a:lnTo>
                    <a:pt x="109" y="147"/>
                  </a:lnTo>
                  <a:lnTo>
                    <a:pt x="111" y="141"/>
                  </a:lnTo>
                  <a:lnTo>
                    <a:pt x="106" y="135"/>
                  </a:lnTo>
                  <a:lnTo>
                    <a:pt x="104" y="128"/>
                  </a:lnTo>
                  <a:lnTo>
                    <a:pt x="97" y="124"/>
                  </a:lnTo>
                  <a:lnTo>
                    <a:pt x="106" y="123"/>
                  </a:lnTo>
                  <a:lnTo>
                    <a:pt x="108" y="121"/>
                  </a:lnTo>
                  <a:lnTo>
                    <a:pt x="113" y="121"/>
                  </a:lnTo>
                  <a:lnTo>
                    <a:pt x="116" y="119"/>
                  </a:lnTo>
                  <a:lnTo>
                    <a:pt x="116" y="116"/>
                  </a:lnTo>
                  <a:lnTo>
                    <a:pt x="113" y="111"/>
                  </a:lnTo>
                  <a:lnTo>
                    <a:pt x="106" y="107"/>
                  </a:lnTo>
                  <a:lnTo>
                    <a:pt x="103" y="109"/>
                  </a:lnTo>
                  <a:lnTo>
                    <a:pt x="101" y="106"/>
                  </a:lnTo>
                  <a:lnTo>
                    <a:pt x="104" y="104"/>
                  </a:lnTo>
                  <a:lnTo>
                    <a:pt x="108" y="97"/>
                  </a:lnTo>
                  <a:lnTo>
                    <a:pt x="104" y="95"/>
                  </a:lnTo>
                  <a:lnTo>
                    <a:pt x="103" y="88"/>
                  </a:lnTo>
                  <a:lnTo>
                    <a:pt x="97" y="87"/>
                  </a:lnTo>
                  <a:lnTo>
                    <a:pt x="97" y="82"/>
                  </a:lnTo>
                  <a:lnTo>
                    <a:pt x="96" y="80"/>
                  </a:lnTo>
                  <a:lnTo>
                    <a:pt x="94" y="76"/>
                  </a:lnTo>
                  <a:lnTo>
                    <a:pt x="89" y="68"/>
                  </a:lnTo>
                  <a:lnTo>
                    <a:pt x="94" y="63"/>
                  </a:lnTo>
                  <a:lnTo>
                    <a:pt x="103" y="56"/>
                  </a:lnTo>
                  <a:lnTo>
                    <a:pt x="104" y="54"/>
                  </a:lnTo>
                  <a:lnTo>
                    <a:pt x="103" y="49"/>
                  </a:lnTo>
                  <a:lnTo>
                    <a:pt x="108" y="49"/>
                  </a:lnTo>
                  <a:lnTo>
                    <a:pt x="108" y="44"/>
                  </a:lnTo>
                  <a:lnTo>
                    <a:pt x="116" y="39"/>
                  </a:lnTo>
                  <a:lnTo>
                    <a:pt x="116" y="34"/>
                  </a:lnTo>
                  <a:lnTo>
                    <a:pt x="118" y="32"/>
                  </a:lnTo>
                  <a:lnTo>
                    <a:pt x="118" y="29"/>
                  </a:lnTo>
                  <a:lnTo>
                    <a:pt x="120" y="20"/>
                  </a:lnTo>
                  <a:lnTo>
                    <a:pt x="121" y="18"/>
                  </a:lnTo>
                  <a:lnTo>
                    <a:pt x="120" y="13"/>
                  </a:lnTo>
                  <a:lnTo>
                    <a:pt x="125" y="10"/>
                  </a:lnTo>
                  <a:lnTo>
                    <a:pt x="121" y="6"/>
                  </a:lnTo>
                  <a:lnTo>
                    <a:pt x="123" y="5"/>
                  </a:lnTo>
                  <a:lnTo>
                    <a:pt x="130" y="5"/>
                  </a:lnTo>
                  <a:lnTo>
                    <a:pt x="132" y="1"/>
                  </a:lnTo>
                  <a:lnTo>
                    <a:pt x="135" y="1"/>
                  </a:lnTo>
                  <a:lnTo>
                    <a:pt x="137" y="0"/>
                  </a:lnTo>
                  <a:lnTo>
                    <a:pt x="138" y="1"/>
                  </a:lnTo>
                  <a:lnTo>
                    <a:pt x="142" y="1"/>
                  </a:lnTo>
                  <a:lnTo>
                    <a:pt x="142"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13" name="Freeform 51"/>
            <p:cNvSpPr>
              <a:spLocks noEditPoints="1"/>
            </p:cNvSpPr>
            <p:nvPr/>
          </p:nvSpPr>
          <p:spPr bwMode="gray">
            <a:xfrm>
              <a:off x="1975170" y="2601980"/>
              <a:ext cx="828179" cy="800817"/>
            </a:xfrm>
            <a:custGeom>
              <a:avLst/>
              <a:gdLst>
                <a:gd name="T0" fmla="*/ 422 w 454"/>
                <a:gd name="T1" fmla="*/ 351 h 439"/>
                <a:gd name="T2" fmla="*/ 413 w 454"/>
                <a:gd name="T3" fmla="*/ 337 h 439"/>
                <a:gd name="T4" fmla="*/ 412 w 454"/>
                <a:gd name="T5" fmla="*/ 328 h 439"/>
                <a:gd name="T6" fmla="*/ 343 w 454"/>
                <a:gd name="T7" fmla="*/ 267 h 439"/>
                <a:gd name="T8" fmla="*/ 377 w 454"/>
                <a:gd name="T9" fmla="*/ 251 h 439"/>
                <a:gd name="T10" fmla="*/ 367 w 454"/>
                <a:gd name="T11" fmla="*/ 233 h 439"/>
                <a:gd name="T12" fmla="*/ 391 w 454"/>
                <a:gd name="T13" fmla="*/ 240 h 439"/>
                <a:gd name="T14" fmla="*/ 345 w 454"/>
                <a:gd name="T15" fmla="*/ 212 h 439"/>
                <a:gd name="T16" fmla="*/ 367 w 454"/>
                <a:gd name="T17" fmla="*/ 209 h 439"/>
                <a:gd name="T18" fmla="*/ 319 w 454"/>
                <a:gd name="T19" fmla="*/ 183 h 439"/>
                <a:gd name="T20" fmla="*/ 364 w 454"/>
                <a:gd name="T21" fmla="*/ 210 h 439"/>
                <a:gd name="T22" fmla="*/ 306 w 454"/>
                <a:gd name="T23" fmla="*/ 212 h 439"/>
                <a:gd name="T24" fmla="*/ 294 w 454"/>
                <a:gd name="T25" fmla="*/ 168 h 439"/>
                <a:gd name="T26" fmla="*/ 376 w 454"/>
                <a:gd name="T27" fmla="*/ 197 h 439"/>
                <a:gd name="T28" fmla="*/ 326 w 454"/>
                <a:gd name="T29" fmla="*/ 180 h 439"/>
                <a:gd name="T30" fmla="*/ 273 w 454"/>
                <a:gd name="T31" fmla="*/ 135 h 439"/>
                <a:gd name="T32" fmla="*/ 292 w 454"/>
                <a:gd name="T33" fmla="*/ 168 h 439"/>
                <a:gd name="T34" fmla="*/ 265 w 454"/>
                <a:gd name="T35" fmla="*/ 171 h 439"/>
                <a:gd name="T36" fmla="*/ 260 w 454"/>
                <a:gd name="T37" fmla="*/ 115 h 439"/>
                <a:gd name="T38" fmla="*/ 297 w 454"/>
                <a:gd name="T39" fmla="*/ 149 h 439"/>
                <a:gd name="T40" fmla="*/ 253 w 454"/>
                <a:gd name="T41" fmla="*/ 129 h 439"/>
                <a:gd name="T42" fmla="*/ 162 w 454"/>
                <a:gd name="T43" fmla="*/ 89 h 439"/>
                <a:gd name="T44" fmla="*/ 99 w 454"/>
                <a:gd name="T45" fmla="*/ 57 h 439"/>
                <a:gd name="T46" fmla="*/ 212 w 454"/>
                <a:gd name="T47" fmla="*/ 72 h 439"/>
                <a:gd name="T48" fmla="*/ 171 w 454"/>
                <a:gd name="T49" fmla="*/ 96 h 439"/>
                <a:gd name="T50" fmla="*/ 186 w 454"/>
                <a:gd name="T51" fmla="*/ 60 h 439"/>
                <a:gd name="T52" fmla="*/ 120 w 454"/>
                <a:gd name="T53" fmla="*/ 28 h 439"/>
                <a:gd name="T54" fmla="*/ 384 w 454"/>
                <a:gd name="T55" fmla="*/ 395 h 439"/>
                <a:gd name="T56" fmla="*/ 331 w 454"/>
                <a:gd name="T57" fmla="*/ 424 h 439"/>
                <a:gd name="T58" fmla="*/ 282 w 454"/>
                <a:gd name="T59" fmla="*/ 427 h 439"/>
                <a:gd name="T60" fmla="*/ 253 w 454"/>
                <a:gd name="T61" fmla="*/ 412 h 439"/>
                <a:gd name="T62" fmla="*/ 217 w 454"/>
                <a:gd name="T63" fmla="*/ 421 h 439"/>
                <a:gd name="T64" fmla="*/ 176 w 454"/>
                <a:gd name="T65" fmla="*/ 397 h 439"/>
                <a:gd name="T66" fmla="*/ 137 w 454"/>
                <a:gd name="T67" fmla="*/ 368 h 439"/>
                <a:gd name="T68" fmla="*/ 98 w 454"/>
                <a:gd name="T69" fmla="*/ 339 h 439"/>
                <a:gd name="T70" fmla="*/ 99 w 454"/>
                <a:gd name="T71" fmla="*/ 298 h 439"/>
                <a:gd name="T72" fmla="*/ 72 w 454"/>
                <a:gd name="T73" fmla="*/ 277 h 439"/>
                <a:gd name="T74" fmla="*/ 36 w 454"/>
                <a:gd name="T75" fmla="*/ 255 h 439"/>
                <a:gd name="T76" fmla="*/ 26 w 454"/>
                <a:gd name="T77" fmla="*/ 216 h 439"/>
                <a:gd name="T78" fmla="*/ 12 w 454"/>
                <a:gd name="T79" fmla="*/ 175 h 439"/>
                <a:gd name="T80" fmla="*/ 14 w 454"/>
                <a:gd name="T81" fmla="*/ 135 h 439"/>
                <a:gd name="T82" fmla="*/ 48 w 454"/>
                <a:gd name="T83" fmla="*/ 125 h 439"/>
                <a:gd name="T84" fmla="*/ 33 w 454"/>
                <a:gd name="T85" fmla="*/ 79 h 439"/>
                <a:gd name="T86" fmla="*/ 36 w 454"/>
                <a:gd name="T87" fmla="*/ 0 h 439"/>
                <a:gd name="T88" fmla="*/ 75 w 454"/>
                <a:gd name="T89" fmla="*/ 48 h 439"/>
                <a:gd name="T90" fmla="*/ 98 w 454"/>
                <a:gd name="T91" fmla="*/ 53 h 439"/>
                <a:gd name="T92" fmla="*/ 115 w 454"/>
                <a:gd name="T93" fmla="*/ 29 h 439"/>
                <a:gd name="T94" fmla="*/ 161 w 454"/>
                <a:gd name="T95" fmla="*/ 84 h 439"/>
                <a:gd name="T96" fmla="*/ 217 w 454"/>
                <a:gd name="T97" fmla="*/ 113 h 439"/>
                <a:gd name="T98" fmla="*/ 258 w 454"/>
                <a:gd name="T99" fmla="*/ 156 h 439"/>
                <a:gd name="T100" fmla="*/ 278 w 454"/>
                <a:gd name="T101" fmla="*/ 199 h 439"/>
                <a:gd name="T102" fmla="*/ 342 w 454"/>
                <a:gd name="T103" fmla="*/ 216 h 439"/>
                <a:gd name="T104" fmla="*/ 345 w 454"/>
                <a:gd name="T105" fmla="*/ 263 h 439"/>
                <a:gd name="T106" fmla="*/ 377 w 454"/>
                <a:gd name="T107" fmla="*/ 253 h 439"/>
                <a:gd name="T108" fmla="*/ 429 w 454"/>
                <a:gd name="T109" fmla="*/ 262 h 439"/>
                <a:gd name="T110" fmla="*/ 449 w 454"/>
                <a:gd name="T111" fmla="*/ 291 h 439"/>
                <a:gd name="T112" fmla="*/ 425 w 454"/>
                <a:gd name="T113" fmla="*/ 308 h 439"/>
                <a:gd name="T114" fmla="*/ 412 w 454"/>
                <a:gd name="T115" fmla="*/ 318 h 439"/>
                <a:gd name="T116" fmla="*/ 395 w 454"/>
                <a:gd name="T117" fmla="*/ 345 h 439"/>
                <a:gd name="T118" fmla="*/ 420 w 454"/>
                <a:gd name="T119" fmla="*/ 364 h 439"/>
                <a:gd name="T120" fmla="*/ 405 w 454"/>
                <a:gd name="T121" fmla="*/ 38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4" h="439">
                  <a:moveTo>
                    <a:pt x="422" y="330"/>
                  </a:moveTo>
                  <a:lnTo>
                    <a:pt x="434" y="330"/>
                  </a:lnTo>
                  <a:lnTo>
                    <a:pt x="437" y="333"/>
                  </a:lnTo>
                  <a:lnTo>
                    <a:pt x="442" y="333"/>
                  </a:lnTo>
                  <a:lnTo>
                    <a:pt x="447" y="340"/>
                  </a:lnTo>
                  <a:lnTo>
                    <a:pt x="451" y="345"/>
                  </a:lnTo>
                  <a:lnTo>
                    <a:pt x="446" y="345"/>
                  </a:lnTo>
                  <a:lnTo>
                    <a:pt x="441" y="345"/>
                  </a:lnTo>
                  <a:lnTo>
                    <a:pt x="437" y="347"/>
                  </a:lnTo>
                  <a:lnTo>
                    <a:pt x="429" y="351"/>
                  </a:lnTo>
                  <a:lnTo>
                    <a:pt x="422" y="351"/>
                  </a:lnTo>
                  <a:lnTo>
                    <a:pt x="418" y="345"/>
                  </a:lnTo>
                  <a:lnTo>
                    <a:pt x="418" y="347"/>
                  </a:lnTo>
                  <a:lnTo>
                    <a:pt x="412" y="349"/>
                  </a:lnTo>
                  <a:lnTo>
                    <a:pt x="412" y="347"/>
                  </a:lnTo>
                  <a:lnTo>
                    <a:pt x="413" y="340"/>
                  </a:lnTo>
                  <a:lnTo>
                    <a:pt x="413" y="339"/>
                  </a:lnTo>
                  <a:lnTo>
                    <a:pt x="420" y="332"/>
                  </a:lnTo>
                  <a:lnTo>
                    <a:pt x="422" y="330"/>
                  </a:lnTo>
                  <a:close/>
                  <a:moveTo>
                    <a:pt x="418" y="328"/>
                  </a:moveTo>
                  <a:lnTo>
                    <a:pt x="418" y="330"/>
                  </a:lnTo>
                  <a:lnTo>
                    <a:pt x="413" y="337"/>
                  </a:lnTo>
                  <a:lnTo>
                    <a:pt x="412" y="340"/>
                  </a:lnTo>
                  <a:lnTo>
                    <a:pt x="412" y="344"/>
                  </a:lnTo>
                  <a:lnTo>
                    <a:pt x="408" y="347"/>
                  </a:lnTo>
                  <a:lnTo>
                    <a:pt x="400" y="345"/>
                  </a:lnTo>
                  <a:lnTo>
                    <a:pt x="391" y="342"/>
                  </a:lnTo>
                  <a:lnTo>
                    <a:pt x="389" y="339"/>
                  </a:lnTo>
                  <a:lnTo>
                    <a:pt x="384" y="337"/>
                  </a:lnTo>
                  <a:lnTo>
                    <a:pt x="389" y="333"/>
                  </a:lnTo>
                  <a:lnTo>
                    <a:pt x="396" y="333"/>
                  </a:lnTo>
                  <a:lnTo>
                    <a:pt x="403" y="333"/>
                  </a:lnTo>
                  <a:lnTo>
                    <a:pt x="412" y="328"/>
                  </a:lnTo>
                  <a:lnTo>
                    <a:pt x="418" y="328"/>
                  </a:lnTo>
                  <a:close/>
                  <a:moveTo>
                    <a:pt x="424" y="325"/>
                  </a:moveTo>
                  <a:lnTo>
                    <a:pt x="425" y="327"/>
                  </a:lnTo>
                  <a:lnTo>
                    <a:pt x="424" y="327"/>
                  </a:lnTo>
                  <a:lnTo>
                    <a:pt x="413" y="328"/>
                  </a:lnTo>
                  <a:lnTo>
                    <a:pt x="424" y="325"/>
                  </a:lnTo>
                  <a:close/>
                  <a:moveTo>
                    <a:pt x="345" y="269"/>
                  </a:moveTo>
                  <a:lnTo>
                    <a:pt x="338" y="272"/>
                  </a:lnTo>
                  <a:lnTo>
                    <a:pt x="335" y="272"/>
                  </a:lnTo>
                  <a:lnTo>
                    <a:pt x="336" y="269"/>
                  </a:lnTo>
                  <a:lnTo>
                    <a:pt x="343" y="267"/>
                  </a:lnTo>
                  <a:lnTo>
                    <a:pt x="348" y="265"/>
                  </a:lnTo>
                  <a:lnTo>
                    <a:pt x="348" y="267"/>
                  </a:lnTo>
                  <a:lnTo>
                    <a:pt x="345" y="269"/>
                  </a:lnTo>
                  <a:close/>
                  <a:moveTo>
                    <a:pt x="354" y="262"/>
                  </a:moveTo>
                  <a:lnTo>
                    <a:pt x="355" y="262"/>
                  </a:lnTo>
                  <a:lnTo>
                    <a:pt x="355" y="263"/>
                  </a:lnTo>
                  <a:lnTo>
                    <a:pt x="350" y="267"/>
                  </a:lnTo>
                  <a:lnTo>
                    <a:pt x="348" y="263"/>
                  </a:lnTo>
                  <a:lnTo>
                    <a:pt x="354" y="262"/>
                  </a:lnTo>
                  <a:close/>
                  <a:moveTo>
                    <a:pt x="374" y="255"/>
                  </a:moveTo>
                  <a:lnTo>
                    <a:pt x="377" y="251"/>
                  </a:lnTo>
                  <a:lnTo>
                    <a:pt x="376" y="255"/>
                  </a:lnTo>
                  <a:lnTo>
                    <a:pt x="374" y="255"/>
                  </a:lnTo>
                  <a:close/>
                  <a:moveTo>
                    <a:pt x="427" y="255"/>
                  </a:moveTo>
                  <a:lnTo>
                    <a:pt x="422" y="250"/>
                  </a:lnTo>
                  <a:lnTo>
                    <a:pt x="425" y="251"/>
                  </a:lnTo>
                  <a:lnTo>
                    <a:pt x="427" y="255"/>
                  </a:lnTo>
                  <a:close/>
                  <a:moveTo>
                    <a:pt x="366" y="236"/>
                  </a:moveTo>
                  <a:lnTo>
                    <a:pt x="360" y="228"/>
                  </a:lnTo>
                  <a:lnTo>
                    <a:pt x="360" y="224"/>
                  </a:lnTo>
                  <a:lnTo>
                    <a:pt x="364" y="226"/>
                  </a:lnTo>
                  <a:lnTo>
                    <a:pt x="367" y="233"/>
                  </a:lnTo>
                  <a:lnTo>
                    <a:pt x="366" y="236"/>
                  </a:lnTo>
                  <a:close/>
                  <a:moveTo>
                    <a:pt x="369" y="228"/>
                  </a:moveTo>
                  <a:lnTo>
                    <a:pt x="367" y="226"/>
                  </a:lnTo>
                  <a:lnTo>
                    <a:pt x="371" y="224"/>
                  </a:lnTo>
                  <a:lnTo>
                    <a:pt x="371" y="226"/>
                  </a:lnTo>
                  <a:lnTo>
                    <a:pt x="369" y="228"/>
                  </a:lnTo>
                  <a:close/>
                  <a:moveTo>
                    <a:pt x="383" y="219"/>
                  </a:moveTo>
                  <a:lnTo>
                    <a:pt x="391" y="226"/>
                  </a:lnTo>
                  <a:lnTo>
                    <a:pt x="393" y="229"/>
                  </a:lnTo>
                  <a:lnTo>
                    <a:pt x="393" y="238"/>
                  </a:lnTo>
                  <a:lnTo>
                    <a:pt x="391" y="240"/>
                  </a:lnTo>
                  <a:lnTo>
                    <a:pt x="381" y="241"/>
                  </a:lnTo>
                  <a:lnTo>
                    <a:pt x="377" y="245"/>
                  </a:lnTo>
                  <a:lnTo>
                    <a:pt x="374" y="238"/>
                  </a:lnTo>
                  <a:lnTo>
                    <a:pt x="374" y="234"/>
                  </a:lnTo>
                  <a:lnTo>
                    <a:pt x="374" y="229"/>
                  </a:lnTo>
                  <a:lnTo>
                    <a:pt x="374" y="224"/>
                  </a:lnTo>
                  <a:lnTo>
                    <a:pt x="377" y="221"/>
                  </a:lnTo>
                  <a:lnTo>
                    <a:pt x="383" y="219"/>
                  </a:lnTo>
                  <a:close/>
                  <a:moveTo>
                    <a:pt x="343" y="210"/>
                  </a:moveTo>
                  <a:lnTo>
                    <a:pt x="345" y="210"/>
                  </a:lnTo>
                  <a:lnTo>
                    <a:pt x="345" y="212"/>
                  </a:lnTo>
                  <a:lnTo>
                    <a:pt x="343" y="212"/>
                  </a:lnTo>
                  <a:lnTo>
                    <a:pt x="343" y="210"/>
                  </a:lnTo>
                  <a:close/>
                  <a:moveTo>
                    <a:pt x="369" y="207"/>
                  </a:moveTo>
                  <a:lnTo>
                    <a:pt x="371" y="216"/>
                  </a:lnTo>
                  <a:lnTo>
                    <a:pt x="367" y="217"/>
                  </a:lnTo>
                  <a:lnTo>
                    <a:pt x="366" y="216"/>
                  </a:lnTo>
                  <a:lnTo>
                    <a:pt x="367" y="210"/>
                  </a:lnTo>
                  <a:lnTo>
                    <a:pt x="369" y="207"/>
                  </a:lnTo>
                  <a:close/>
                  <a:moveTo>
                    <a:pt x="367" y="205"/>
                  </a:moveTo>
                  <a:lnTo>
                    <a:pt x="371" y="207"/>
                  </a:lnTo>
                  <a:lnTo>
                    <a:pt x="367" y="209"/>
                  </a:lnTo>
                  <a:lnTo>
                    <a:pt x="366" y="205"/>
                  </a:lnTo>
                  <a:lnTo>
                    <a:pt x="367" y="205"/>
                  </a:lnTo>
                  <a:close/>
                  <a:moveTo>
                    <a:pt x="297" y="168"/>
                  </a:moveTo>
                  <a:lnTo>
                    <a:pt x="302" y="169"/>
                  </a:lnTo>
                  <a:lnTo>
                    <a:pt x="306" y="173"/>
                  </a:lnTo>
                  <a:lnTo>
                    <a:pt x="311" y="178"/>
                  </a:lnTo>
                  <a:lnTo>
                    <a:pt x="309" y="181"/>
                  </a:lnTo>
                  <a:lnTo>
                    <a:pt x="313" y="187"/>
                  </a:lnTo>
                  <a:lnTo>
                    <a:pt x="313" y="185"/>
                  </a:lnTo>
                  <a:lnTo>
                    <a:pt x="314" y="185"/>
                  </a:lnTo>
                  <a:lnTo>
                    <a:pt x="319" y="183"/>
                  </a:lnTo>
                  <a:lnTo>
                    <a:pt x="325" y="181"/>
                  </a:lnTo>
                  <a:lnTo>
                    <a:pt x="326" y="183"/>
                  </a:lnTo>
                  <a:lnTo>
                    <a:pt x="325" y="187"/>
                  </a:lnTo>
                  <a:lnTo>
                    <a:pt x="328" y="183"/>
                  </a:lnTo>
                  <a:lnTo>
                    <a:pt x="330" y="183"/>
                  </a:lnTo>
                  <a:lnTo>
                    <a:pt x="333" y="187"/>
                  </a:lnTo>
                  <a:lnTo>
                    <a:pt x="342" y="190"/>
                  </a:lnTo>
                  <a:lnTo>
                    <a:pt x="350" y="197"/>
                  </a:lnTo>
                  <a:lnTo>
                    <a:pt x="357" y="202"/>
                  </a:lnTo>
                  <a:lnTo>
                    <a:pt x="362" y="204"/>
                  </a:lnTo>
                  <a:lnTo>
                    <a:pt x="364" y="210"/>
                  </a:lnTo>
                  <a:lnTo>
                    <a:pt x="362" y="217"/>
                  </a:lnTo>
                  <a:lnTo>
                    <a:pt x="360" y="221"/>
                  </a:lnTo>
                  <a:lnTo>
                    <a:pt x="355" y="221"/>
                  </a:lnTo>
                  <a:lnTo>
                    <a:pt x="354" y="217"/>
                  </a:lnTo>
                  <a:lnTo>
                    <a:pt x="348" y="212"/>
                  </a:lnTo>
                  <a:lnTo>
                    <a:pt x="340" y="209"/>
                  </a:lnTo>
                  <a:lnTo>
                    <a:pt x="338" y="209"/>
                  </a:lnTo>
                  <a:lnTo>
                    <a:pt x="330" y="209"/>
                  </a:lnTo>
                  <a:lnTo>
                    <a:pt x="321" y="209"/>
                  </a:lnTo>
                  <a:lnTo>
                    <a:pt x="316" y="209"/>
                  </a:lnTo>
                  <a:lnTo>
                    <a:pt x="306" y="212"/>
                  </a:lnTo>
                  <a:lnTo>
                    <a:pt x="299" y="209"/>
                  </a:lnTo>
                  <a:lnTo>
                    <a:pt x="290" y="205"/>
                  </a:lnTo>
                  <a:lnTo>
                    <a:pt x="289" y="204"/>
                  </a:lnTo>
                  <a:lnTo>
                    <a:pt x="287" y="200"/>
                  </a:lnTo>
                  <a:lnTo>
                    <a:pt x="287" y="197"/>
                  </a:lnTo>
                  <a:lnTo>
                    <a:pt x="290" y="192"/>
                  </a:lnTo>
                  <a:lnTo>
                    <a:pt x="294" y="192"/>
                  </a:lnTo>
                  <a:lnTo>
                    <a:pt x="297" y="190"/>
                  </a:lnTo>
                  <a:lnTo>
                    <a:pt x="296" y="181"/>
                  </a:lnTo>
                  <a:lnTo>
                    <a:pt x="292" y="175"/>
                  </a:lnTo>
                  <a:lnTo>
                    <a:pt x="294" y="168"/>
                  </a:lnTo>
                  <a:lnTo>
                    <a:pt x="297" y="168"/>
                  </a:lnTo>
                  <a:close/>
                  <a:moveTo>
                    <a:pt x="328" y="164"/>
                  </a:moveTo>
                  <a:lnTo>
                    <a:pt x="331" y="164"/>
                  </a:lnTo>
                  <a:lnTo>
                    <a:pt x="342" y="168"/>
                  </a:lnTo>
                  <a:lnTo>
                    <a:pt x="350" y="171"/>
                  </a:lnTo>
                  <a:lnTo>
                    <a:pt x="354" y="171"/>
                  </a:lnTo>
                  <a:lnTo>
                    <a:pt x="357" y="175"/>
                  </a:lnTo>
                  <a:lnTo>
                    <a:pt x="362" y="181"/>
                  </a:lnTo>
                  <a:lnTo>
                    <a:pt x="366" y="183"/>
                  </a:lnTo>
                  <a:lnTo>
                    <a:pt x="369" y="188"/>
                  </a:lnTo>
                  <a:lnTo>
                    <a:pt x="376" y="197"/>
                  </a:lnTo>
                  <a:lnTo>
                    <a:pt x="376" y="202"/>
                  </a:lnTo>
                  <a:lnTo>
                    <a:pt x="371" y="204"/>
                  </a:lnTo>
                  <a:lnTo>
                    <a:pt x="366" y="204"/>
                  </a:lnTo>
                  <a:lnTo>
                    <a:pt x="362" y="200"/>
                  </a:lnTo>
                  <a:lnTo>
                    <a:pt x="355" y="197"/>
                  </a:lnTo>
                  <a:lnTo>
                    <a:pt x="350" y="195"/>
                  </a:lnTo>
                  <a:lnTo>
                    <a:pt x="345" y="188"/>
                  </a:lnTo>
                  <a:lnTo>
                    <a:pt x="342" y="187"/>
                  </a:lnTo>
                  <a:lnTo>
                    <a:pt x="335" y="185"/>
                  </a:lnTo>
                  <a:lnTo>
                    <a:pt x="331" y="181"/>
                  </a:lnTo>
                  <a:lnTo>
                    <a:pt x="326" y="180"/>
                  </a:lnTo>
                  <a:lnTo>
                    <a:pt x="325" y="180"/>
                  </a:lnTo>
                  <a:lnTo>
                    <a:pt x="318" y="181"/>
                  </a:lnTo>
                  <a:lnTo>
                    <a:pt x="314" y="183"/>
                  </a:lnTo>
                  <a:lnTo>
                    <a:pt x="313" y="183"/>
                  </a:lnTo>
                  <a:lnTo>
                    <a:pt x="311" y="181"/>
                  </a:lnTo>
                  <a:lnTo>
                    <a:pt x="316" y="180"/>
                  </a:lnTo>
                  <a:lnTo>
                    <a:pt x="319" y="169"/>
                  </a:lnTo>
                  <a:lnTo>
                    <a:pt x="325" y="166"/>
                  </a:lnTo>
                  <a:lnTo>
                    <a:pt x="328" y="164"/>
                  </a:lnTo>
                  <a:close/>
                  <a:moveTo>
                    <a:pt x="270" y="134"/>
                  </a:moveTo>
                  <a:lnTo>
                    <a:pt x="273" y="135"/>
                  </a:lnTo>
                  <a:lnTo>
                    <a:pt x="280" y="142"/>
                  </a:lnTo>
                  <a:lnTo>
                    <a:pt x="282" y="144"/>
                  </a:lnTo>
                  <a:lnTo>
                    <a:pt x="287" y="149"/>
                  </a:lnTo>
                  <a:lnTo>
                    <a:pt x="296" y="156"/>
                  </a:lnTo>
                  <a:lnTo>
                    <a:pt x="296" y="159"/>
                  </a:lnTo>
                  <a:lnTo>
                    <a:pt x="294" y="158"/>
                  </a:lnTo>
                  <a:lnTo>
                    <a:pt x="292" y="158"/>
                  </a:lnTo>
                  <a:lnTo>
                    <a:pt x="294" y="158"/>
                  </a:lnTo>
                  <a:lnTo>
                    <a:pt x="296" y="161"/>
                  </a:lnTo>
                  <a:lnTo>
                    <a:pt x="292" y="164"/>
                  </a:lnTo>
                  <a:lnTo>
                    <a:pt x="292" y="168"/>
                  </a:lnTo>
                  <a:lnTo>
                    <a:pt x="290" y="175"/>
                  </a:lnTo>
                  <a:lnTo>
                    <a:pt x="294" y="183"/>
                  </a:lnTo>
                  <a:lnTo>
                    <a:pt x="294" y="190"/>
                  </a:lnTo>
                  <a:lnTo>
                    <a:pt x="290" y="190"/>
                  </a:lnTo>
                  <a:lnTo>
                    <a:pt x="287" y="193"/>
                  </a:lnTo>
                  <a:lnTo>
                    <a:pt x="284" y="193"/>
                  </a:lnTo>
                  <a:lnTo>
                    <a:pt x="277" y="188"/>
                  </a:lnTo>
                  <a:lnTo>
                    <a:pt x="272" y="185"/>
                  </a:lnTo>
                  <a:lnTo>
                    <a:pt x="270" y="181"/>
                  </a:lnTo>
                  <a:lnTo>
                    <a:pt x="268" y="180"/>
                  </a:lnTo>
                  <a:lnTo>
                    <a:pt x="265" y="171"/>
                  </a:lnTo>
                  <a:lnTo>
                    <a:pt x="267" y="166"/>
                  </a:lnTo>
                  <a:lnTo>
                    <a:pt x="267" y="161"/>
                  </a:lnTo>
                  <a:lnTo>
                    <a:pt x="265" y="156"/>
                  </a:lnTo>
                  <a:lnTo>
                    <a:pt x="261" y="151"/>
                  </a:lnTo>
                  <a:lnTo>
                    <a:pt x="265" y="142"/>
                  </a:lnTo>
                  <a:lnTo>
                    <a:pt x="261" y="135"/>
                  </a:lnTo>
                  <a:lnTo>
                    <a:pt x="270" y="134"/>
                  </a:lnTo>
                  <a:close/>
                  <a:moveTo>
                    <a:pt x="241" y="111"/>
                  </a:moveTo>
                  <a:lnTo>
                    <a:pt x="248" y="111"/>
                  </a:lnTo>
                  <a:lnTo>
                    <a:pt x="255" y="115"/>
                  </a:lnTo>
                  <a:lnTo>
                    <a:pt x="260" y="115"/>
                  </a:lnTo>
                  <a:lnTo>
                    <a:pt x="268" y="117"/>
                  </a:lnTo>
                  <a:lnTo>
                    <a:pt x="270" y="117"/>
                  </a:lnTo>
                  <a:lnTo>
                    <a:pt x="277" y="118"/>
                  </a:lnTo>
                  <a:lnTo>
                    <a:pt x="285" y="120"/>
                  </a:lnTo>
                  <a:lnTo>
                    <a:pt x="292" y="122"/>
                  </a:lnTo>
                  <a:lnTo>
                    <a:pt x="297" y="127"/>
                  </a:lnTo>
                  <a:lnTo>
                    <a:pt x="296" y="130"/>
                  </a:lnTo>
                  <a:lnTo>
                    <a:pt x="294" y="130"/>
                  </a:lnTo>
                  <a:lnTo>
                    <a:pt x="296" y="132"/>
                  </a:lnTo>
                  <a:lnTo>
                    <a:pt x="296" y="139"/>
                  </a:lnTo>
                  <a:lnTo>
                    <a:pt x="297" y="149"/>
                  </a:lnTo>
                  <a:lnTo>
                    <a:pt x="297" y="152"/>
                  </a:lnTo>
                  <a:lnTo>
                    <a:pt x="296" y="154"/>
                  </a:lnTo>
                  <a:lnTo>
                    <a:pt x="294" y="151"/>
                  </a:lnTo>
                  <a:lnTo>
                    <a:pt x="287" y="147"/>
                  </a:lnTo>
                  <a:lnTo>
                    <a:pt x="285" y="146"/>
                  </a:lnTo>
                  <a:lnTo>
                    <a:pt x="278" y="137"/>
                  </a:lnTo>
                  <a:lnTo>
                    <a:pt x="272" y="132"/>
                  </a:lnTo>
                  <a:lnTo>
                    <a:pt x="270" y="132"/>
                  </a:lnTo>
                  <a:lnTo>
                    <a:pt x="265" y="132"/>
                  </a:lnTo>
                  <a:lnTo>
                    <a:pt x="258" y="132"/>
                  </a:lnTo>
                  <a:lnTo>
                    <a:pt x="253" y="129"/>
                  </a:lnTo>
                  <a:lnTo>
                    <a:pt x="248" y="125"/>
                  </a:lnTo>
                  <a:lnTo>
                    <a:pt x="241" y="120"/>
                  </a:lnTo>
                  <a:lnTo>
                    <a:pt x="237" y="113"/>
                  </a:lnTo>
                  <a:lnTo>
                    <a:pt x="237" y="111"/>
                  </a:lnTo>
                  <a:lnTo>
                    <a:pt x="241" y="111"/>
                  </a:lnTo>
                  <a:close/>
                  <a:moveTo>
                    <a:pt x="167" y="93"/>
                  </a:moveTo>
                  <a:lnTo>
                    <a:pt x="167" y="94"/>
                  </a:lnTo>
                  <a:lnTo>
                    <a:pt x="167" y="93"/>
                  </a:lnTo>
                  <a:close/>
                  <a:moveTo>
                    <a:pt x="162" y="89"/>
                  </a:moveTo>
                  <a:lnTo>
                    <a:pt x="162" y="93"/>
                  </a:lnTo>
                  <a:lnTo>
                    <a:pt x="162" y="89"/>
                  </a:lnTo>
                  <a:close/>
                  <a:moveTo>
                    <a:pt x="166" y="84"/>
                  </a:moveTo>
                  <a:lnTo>
                    <a:pt x="166" y="93"/>
                  </a:lnTo>
                  <a:lnTo>
                    <a:pt x="164" y="89"/>
                  </a:lnTo>
                  <a:lnTo>
                    <a:pt x="166" y="84"/>
                  </a:lnTo>
                  <a:close/>
                  <a:moveTo>
                    <a:pt x="159" y="77"/>
                  </a:moveTo>
                  <a:lnTo>
                    <a:pt x="161" y="77"/>
                  </a:lnTo>
                  <a:lnTo>
                    <a:pt x="161" y="79"/>
                  </a:lnTo>
                  <a:lnTo>
                    <a:pt x="159" y="79"/>
                  </a:lnTo>
                  <a:lnTo>
                    <a:pt x="159" y="77"/>
                  </a:lnTo>
                  <a:close/>
                  <a:moveTo>
                    <a:pt x="94" y="52"/>
                  </a:moveTo>
                  <a:lnTo>
                    <a:pt x="99" y="57"/>
                  </a:lnTo>
                  <a:lnTo>
                    <a:pt x="103" y="60"/>
                  </a:lnTo>
                  <a:lnTo>
                    <a:pt x="103" y="64"/>
                  </a:lnTo>
                  <a:lnTo>
                    <a:pt x="96" y="58"/>
                  </a:lnTo>
                  <a:lnTo>
                    <a:pt x="92" y="53"/>
                  </a:lnTo>
                  <a:lnTo>
                    <a:pt x="94" y="52"/>
                  </a:lnTo>
                  <a:close/>
                  <a:moveTo>
                    <a:pt x="198" y="50"/>
                  </a:moveTo>
                  <a:lnTo>
                    <a:pt x="202" y="53"/>
                  </a:lnTo>
                  <a:lnTo>
                    <a:pt x="203" y="58"/>
                  </a:lnTo>
                  <a:lnTo>
                    <a:pt x="207" y="58"/>
                  </a:lnTo>
                  <a:lnTo>
                    <a:pt x="210" y="67"/>
                  </a:lnTo>
                  <a:lnTo>
                    <a:pt x="212" y="72"/>
                  </a:lnTo>
                  <a:lnTo>
                    <a:pt x="208" y="72"/>
                  </a:lnTo>
                  <a:lnTo>
                    <a:pt x="210" y="72"/>
                  </a:lnTo>
                  <a:lnTo>
                    <a:pt x="207" y="77"/>
                  </a:lnTo>
                  <a:lnTo>
                    <a:pt x="207" y="79"/>
                  </a:lnTo>
                  <a:lnTo>
                    <a:pt x="205" y="89"/>
                  </a:lnTo>
                  <a:lnTo>
                    <a:pt x="205" y="93"/>
                  </a:lnTo>
                  <a:lnTo>
                    <a:pt x="202" y="94"/>
                  </a:lnTo>
                  <a:lnTo>
                    <a:pt x="198" y="96"/>
                  </a:lnTo>
                  <a:lnTo>
                    <a:pt x="191" y="101"/>
                  </a:lnTo>
                  <a:lnTo>
                    <a:pt x="181" y="99"/>
                  </a:lnTo>
                  <a:lnTo>
                    <a:pt x="171" y="96"/>
                  </a:lnTo>
                  <a:lnTo>
                    <a:pt x="169" y="91"/>
                  </a:lnTo>
                  <a:lnTo>
                    <a:pt x="166" y="81"/>
                  </a:lnTo>
                  <a:lnTo>
                    <a:pt x="162" y="74"/>
                  </a:lnTo>
                  <a:lnTo>
                    <a:pt x="164" y="72"/>
                  </a:lnTo>
                  <a:lnTo>
                    <a:pt x="164" y="64"/>
                  </a:lnTo>
                  <a:lnTo>
                    <a:pt x="166" y="62"/>
                  </a:lnTo>
                  <a:lnTo>
                    <a:pt x="174" y="57"/>
                  </a:lnTo>
                  <a:lnTo>
                    <a:pt x="179" y="58"/>
                  </a:lnTo>
                  <a:lnTo>
                    <a:pt x="178" y="60"/>
                  </a:lnTo>
                  <a:lnTo>
                    <a:pt x="183" y="58"/>
                  </a:lnTo>
                  <a:lnTo>
                    <a:pt x="186" y="60"/>
                  </a:lnTo>
                  <a:lnTo>
                    <a:pt x="185" y="58"/>
                  </a:lnTo>
                  <a:lnTo>
                    <a:pt x="188" y="53"/>
                  </a:lnTo>
                  <a:lnTo>
                    <a:pt x="193" y="52"/>
                  </a:lnTo>
                  <a:lnTo>
                    <a:pt x="195" y="48"/>
                  </a:lnTo>
                  <a:lnTo>
                    <a:pt x="198" y="50"/>
                  </a:lnTo>
                  <a:close/>
                  <a:moveTo>
                    <a:pt x="74" y="38"/>
                  </a:moveTo>
                  <a:lnTo>
                    <a:pt x="77" y="40"/>
                  </a:lnTo>
                  <a:lnTo>
                    <a:pt x="79" y="45"/>
                  </a:lnTo>
                  <a:lnTo>
                    <a:pt x="74" y="40"/>
                  </a:lnTo>
                  <a:lnTo>
                    <a:pt x="74" y="38"/>
                  </a:lnTo>
                  <a:close/>
                  <a:moveTo>
                    <a:pt x="120" y="28"/>
                  </a:moveTo>
                  <a:lnTo>
                    <a:pt x="121" y="28"/>
                  </a:lnTo>
                  <a:lnTo>
                    <a:pt x="120" y="28"/>
                  </a:lnTo>
                  <a:lnTo>
                    <a:pt x="116" y="28"/>
                  </a:lnTo>
                  <a:lnTo>
                    <a:pt x="120" y="28"/>
                  </a:lnTo>
                  <a:close/>
                  <a:moveTo>
                    <a:pt x="410" y="395"/>
                  </a:moveTo>
                  <a:lnTo>
                    <a:pt x="406" y="397"/>
                  </a:lnTo>
                  <a:lnTo>
                    <a:pt x="400" y="400"/>
                  </a:lnTo>
                  <a:lnTo>
                    <a:pt x="398" y="398"/>
                  </a:lnTo>
                  <a:lnTo>
                    <a:pt x="393" y="397"/>
                  </a:lnTo>
                  <a:lnTo>
                    <a:pt x="388" y="397"/>
                  </a:lnTo>
                  <a:lnTo>
                    <a:pt x="384" y="395"/>
                  </a:lnTo>
                  <a:lnTo>
                    <a:pt x="376" y="393"/>
                  </a:lnTo>
                  <a:lnTo>
                    <a:pt x="374" y="393"/>
                  </a:lnTo>
                  <a:lnTo>
                    <a:pt x="372" y="393"/>
                  </a:lnTo>
                  <a:lnTo>
                    <a:pt x="371" y="393"/>
                  </a:lnTo>
                  <a:lnTo>
                    <a:pt x="360" y="393"/>
                  </a:lnTo>
                  <a:lnTo>
                    <a:pt x="357" y="397"/>
                  </a:lnTo>
                  <a:lnTo>
                    <a:pt x="354" y="402"/>
                  </a:lnTo>
                  <a:lnTo>
                    <a:pt x="343" y="412"/>
                  </a:lnTo>
                  <a:lnTo>
                    <a:pt x="335" y="417"/>
                  </a:lnTo>
                  <a:lnTo>
                    <a:pt x="333" y="421"/>
                  </a:lnTo>
                  <a:lnTo>
                    <a:pt x="331" y="424"/>
                  </a:lnTo>
                  <a:lnTo>
                    <a:pt x="331" y="427"/>
                  </a:lnTo>
                  <a:lnTo>
                    <a:pt x="328" y="426"/>
                  </a:lnTo>
                  <a:lnTo>
                    <a:pt x="325" y="433"/>
                  </a:lnTo>
                  <a:lnTo>
                    <a:pt x="321" y="433"/>
                  </a:lnTo>
                  <a:lnTo>
                    <a:pt x="314" y="439"/>
                  </a:lnTo>
                  <a:lnTo>
                    <a:pt x="309" y="434"/>
                  </a:lnTo>
                  <a:lnTo>
                    <a:pt x="304" y="434"/>
                  </a:lnTo>
                  <a:lnTo>
                    <a:pt x="302" y="433"/>
                  </a:lnTo>
                  <a:lnTo>
                    <a:pt x="294" y="433"/>
                  </a:lnTo>
                  <a:lnTo>
                    <a:pt x="290" y="426"/>
                  </a:lnTo>
                  <a:lnTo>
                    <a:pt x="282" y="427"/>
                  </a:lnTo>
                  <a:lnTo>
                    <a:pt x="282" y="426"/>
                  </a:lnTo>
                  <a:lnTo>
                    <a:pt x="284" y="422"/>
                  </a:lnTo>
                  <a:lnTo>
                    <a:pt x="277" y="419"/>
                  </a:lnTo>
                  <a:lnTo>
                    <a:pt x="275" y="414"/>
                  </a:lnTo>
                  <a:lnTo>
                    <a:pt x="272" y="414"/>
                  </a:lnTo>
                  <a:lnTo>
                    <a:pt x="268" y="414"/>
                  </a:lnTo>
                  <a:lnTo>
                    <a:pt x="261" y="417"/>
                  </a:lnTo>
                  <a:lnTo>
                    <a:pt x="260" y="417"/>
                  </a:lnTo>
                  <a:lnTo>
                    <a:pt x="260" y="414"/>
                  </a:lnTo>
                  <a:lnTo>
                    <a:pt x="256" y="412"/>
                  </a:lnTo>
                  <a:lnTo>
                    <a:pt x="253" y="412"/>
                  </a:lnTo>
                  <a:lnTo>
                    <a:pt x="251" y="414"/>
                  </a:lnTo>
                  <a:lnTo>
                    <a:pt x="243" y="410"/>
                  </a:lnTo>
                  <a:lnTo>
                    <a:pt x="239" y="409"/>
                  </a:lnTo>
                  <a:lnTo>
                    <a:pt x="234" y="410"/>
                  </a:lnTo>
                  <a:lnTo>
                    <a:pt x="231" y="414"/>
                  </a:lnTo>
                  <a:lnTo>
                    <a:pt x="227" y="414"/>
                  </a:lnTo>
                  <a:lnTo>
                    <a:pt x="227" y="417"/>
                  </a:lnTo>
                  <a:lnTo>
                    <a:pt x="224" y="419"/>
                  </a:lnTo>
                  <a:lnTo>
                    <a:pt x="220" y="419"/>
                  </a:lnTo>
                  <a:lnTo>
                    <a:pt x="220" y="421"/>
                  </a:lnTo>
                  <a:lnTo>
                    <a:pt x="217" y="421"/>
                  </a:lnTo>
                  <a:lnTo>
                    <a:pt x="207" y="419"/>
                  </a:lnTo>
                  <a:lnTo>
                    <a:pt x="205" y="417"/>
                  </a:lnTo>
                  <a:lnTo>
                    <a:pt x="200" y="417"/>
                  </a:lnTo>
                  <a:lnTo>
                    <a:pt x="203" y="412"/>
                  </a:lnTo>
                  <a:lnTo>
                    <a:pt x="203" y="407"/>
                  </a:lnTo>
                  <a:lnTo>
                    <a:pt x="200" y="407"/>
                  </a:lnTo>
                  <a:lnTo>
                    <a:pt x="195" y="403"/>
                  </a:lnTo>
                  <a:lnTo>
                    <a:pt x="191" y="402"/>
                  </a:lnTo>
                  <a:lnTo>
                    <a:pt x="185" y="403"/>
                  </a:lnTo>
                  <a:lnTo>
                    <a:pt x="178" y="400"/>
                  </a:lnTo>
                  <a:lnTo>
                    <a:pt x="176" y="397"/>
                  </a:lnTo>
                  <a:lnTo>
                    <a:pt x="167" y="392"/>
                  </a:lnTo>
                  <a:lnTo>
                    <a:pt x="164" y="392"/>
                  </a:lnTo>
                  <a:lnTo>
                    <a:pt x="166" y="390"/>
                  </a:lnTo>
                  <a:lnTo>
                    <a:pt x="164" y="386"/>
                  </a:lnTo>
                  <a:lnTo>
                    <a:pt x="161" y="386"/>
                  </a:lnTo>
                  <a:lnTo>
                    <a:pt x="161" y="383"/>
                  </a:lnTo>
                  <a:lnTo>
                    <a:pt x="157" y="381"/>
                  </a:lnTo>
                  <a:lnTo>
                    <a:pt x="154" y="378"/>
                  </a:lnTo>
                  <a:lnTo>
                    <a:pt x="149" y="378"/>
                  </a:lnTo>
                  <a:lnTo>
                    <a:pt x="140" y="373"/>
                  </a:lnTo>
                  <a:lnTo>
                    <a:pt x="137" y="368"/>
                  </a:lnTo>
                  <a:lnTo>
                    <a:pt x="130" y="364"/>
                  </a:lnTo>
                  <a:lnTo>
                    <a:pt x="127" y="364"/>
                  </a:lnTo>
                  <a:lnTo>
                    <a:pt x="123" y="359"/>
                  </a:lnTo>
                  <a:lnTo>
                    <a:pt x="120" y="351"/>
                  </a:lnTo>
                  <a:lnTo>
                    <a:pt x="123" y="349"/>
                  </a:lnTo>
                  <a:lnTo>
                    <a:pt x="123" y="347"/>
                  </a:lnTo>
                  <a:lnTo>
                    <a:pt x="118" y="342"/>
                  </a:lnTo>
                  <a:lnTo>
                    <a:pt x="111" y="340"/>
                  </a:lnTo>
                  <a:lnTo>
                    <a:pt x="106" y="344"/>
                  </a:lnTo>
                  <a:lnTo>
                    <a:pt x="99" y="344"/>
                  </a:lnTo>
                  <a:lnTo>
                    <a:pt x="98" y="339"/>
                  </a:lnTo>
                  <a:lnTo>
                    <a:pt x="94" y="337"/>
                  </a:lnTo>
                  <a:lnTo>
                    <a:pt x="94" y="333"/>
                  </a:lnTo>
                  <a:lnTo>
                    <a:pt x="89" y="328"/>
                  </a:lnTo>
                  <a:lnTo>
                    <a:pt x="89" y="322"/>
                  </a:lnTo>
                  <a:lnTo>
                    <a:pt x="87" y="320"/>
                  </a:lnTo>
                  <a:lnTo>
                    <a:pt x="87" y="310"/>
                  </a:lnTo>
                  <a:lnTo>
                    <a:pt x="86" y="310"/>
                  </a:lnTo>
                  <a:lnTo>
                    <a:pt x="91" y="304"/>
                  </a:lnTo>
                  <a:lnTo>
                    <a:pt x="94" y="308"/>
                  </a:lnTo>
                  <a:lnTo>
                    <a:pt x="99" y="303"/>
                  </a:lnTo>
                  <a:lnTo>
                    <a:pt x="99" y="298"/>
                  </a:lnTo>
                  <a:lnTo>
                    <a:pt x="98" y="296"/>
                  </a:lnTo>
                  <a:lnTo>
                    <a:pt x="94" y="298"/>
                  </a:lnTo>
                  <a:lnTo>
                    <a:pt x="91" y="291"/>
                  </a:lnTo>
                  <a:lnTo>
                    <a:pt x="92" y="289"/>
                  </a:lnTo>
                  <a:lnTo>
                    <a:pt x="98" y="286"/>
                  </a:lnTo>
                  <a:lnTo>
                    <a:pt x="98" y="277"/>
                  </a:lnTo>
                  <a:lnTo>
                    <a:pt x="94" y="272"/>
                  </a:lnTo>
                  <a:lnTo>
                    <a:pt x="89" y="275"/>
                  </a:lnTo>
                  <a:lnTo>
                    <a:pt x="82" y="274"/>
                  </a:lnTo>
                  <a:lnTo>
                    <a:pt x="79" y="281"/>
                  </a:lnTo>
                  <a:lnTo>
                    <a:pt x="72" y="277"/>
                  </a:lnTo>
                  <a:lnTo>
                    <a:pt x="70" y="272"/>
                  </a:lnTo>
                  <a:lnTo>
                    <a:pt x="65" y="269"/>
                  </a:lnTo>
                  <a:lnTo>
                    <a:pt x="62" y="267"/>
                  </a:lnTo>
                  <a:lnTo>
                    <a:pt x="62" y="263"/>
                  </a:lnTo>
                  <a:lnTo>
                    <a:pt x="57" y="260"/>
                  </a:lnTo>
                  <a:lnTo>
                    <a:pt x="55" y="255"/>
                  </a:lnTo>
                  <a:lnTo>
                    <a:pt x="53" y="257"/>
                  </a:lnTo>
                  <a:lnTo>
                    <a:pt x="48" y="253"/>
                  </a:lnTo>
                  <a:lnTo>
                    <a:pt x="43" y="257"/>
                  </a:lnTo>
                  <a:lnTo>
                    <a:pt x="39" y="258"/>
                  </a:lnTo>
                  <a:lnTo>
                    <a:pt x="36" y="255"/>
                  </a:lnTo>
                  <a:lnTo>
                    <a:pt x="33" y="255"/>
                  </a:lnTo>
                  <a:lnTo>
                    <a:pt x="29" y="253"/>
                  </a:lnTo>
                  <a:lnTo>
                    <a:pt x="26" y="246"/>
                  </a:lnTo>
                  <a:lnTo>
                    <a:pt x="26" y="245"/>
                  </a:lnTo>
                  <a:lnTo>
                    <a:pt x="24" y="241"/>
                  </a:lnTo>
                  <a:lnTo>
                    <a:pt x="26" y="240"/>
                  </a:lnTo>
                  <a:lnTo>
                    <a:pt x="21" y="236"/>
                  </a:lnTo>
                  <a:lnTo>
                    <a:pt x="17" y="233"/>
                  </a:lnTo>
                  <a:lnTo>
                    <a:pt x="22" y="226"/>
                  </a:lnTo>
                  <a:lnTo>
                    <a:pt x="26" y="221"/>
                  </a:lnTo>
                  <a:lnTo>
                    <a:pt x="26" y="216"/>
                  </a:lnTo>
                  <a:lnTo>
                    <a:pt x="22" y="214"/>
                  </a:lnTo>
                  <a:lnTo>
                    <a:pt x="19" y="212"/>
                  </a:lnTo>
                  <a:lnTo>
                    <a:pt x="12" y="204"/>
                  </a:lnTo>
                  <a:lnTo>
                    <a:pt x="12" y="202"/>
                  </a:lnTo>
                  <a:lnTo>
                    <a:pt x="14" y="202"/>
                  </a:lnTo>
                  <a:lnTo>
                    <a:pt x="14" y="197"/>
                  </a:lnTo>
                  <a:lnTo>
                    <a:pt x="12" y="192"/>
                  </a:lnTo>
                  <a:lnTo>
                    <a:pt x="16" y="188"/>
                  </a:lnTo>
                  <a:lnTo>
                    <a:pt x="14" y="185"/>
                  </a:lnTo>
                  <a:lnTo>
                    <a:pt x="17" y="183"/>
                  </a:lnTo>
                  <a:lnTo>
                    <a:pt x="12" y="175"/>
                  </a:lnTo>
                  <a:lnTo>
                    <a:pt x="14" y="169"/>
                  </a:lnTo>
                  <a:lnTo>
                    <a:pt x="19" y="169"/>
                  </a:lnTo>
                  <a:lnTo>
                    <a:pt x="14" y="163"/>
                  </a:lnTo>
                  <a:lnTo>
                    <a:pt x="12" y="158"/>
                  </a:lnTo>
                  <a:lnTo>
                    <a:pt x="12" y="154"/>
                  </a:lnTo>
                  <a:lnTo>
                    <a:pt x="7" y="151"/>
                  </a:lnTo>
                  <a:lnTo>
                    <a:pt x="2" y="144"/>
                  </a:lnTo>
                  <a:lnTo>
                    <a:pt x="0" y="140"/>
                  </a:lnTo>
                  <a:lnTo>
                    <a:pt x="2" y="139"/>
                  </a:lnTo>
                  <a:lnTo>
                    <a:pt x="4" y="137"/>
                  </a:lnTo>
                  <a:lnTo>
                    <a:pt x="14" y="135"/>
                  </a:lnTo>
                  <a:lnTo>
                    <a:pt x="22" y="135"/>
                  </a:lnTo>
                  <a:lnTo>
                    <a:pt x="31" y="132"/>
                  </a:lnTo>
                  <a:lnTo>
                    <a:pt x="34" y="134"/>
                  </a:lnTo>
                  <a:lnTo>
                    <a:pt x="39" y="132"/>
                  </a:lnTo>
                  <a:lnTo>
                    <a:pt x="33" y="129"/>
                  </a:lnTo>
                  <a:lnTo>
                    <a:pt x="31" y="127"/>
                  </a:lnTo>
                  <a:lnTo>
                    <a:pt x="36" y="127"/>
                  </a:lnTo>
                  <a:lnTo>
                    <a:pt x="36" y="129"/>
                  </a:lnTo>
                  <a:lnTo>
                    <a:pt x="45" y="129"/>
                  </a:lnTo>
                  <a:lnTo>
                    <a:pt x="46" y="129"/>
                  </a:lnTo>
                  <a:lnTo>
                    <a:pt x="48" y="125"/>
                  </a:lnTo>
                  <a:lnTo>
                    <a:pt x="48" y="117"/>
                  </a:lnTo>
                  <a:lnTo>
                    <a:pt x="46" y="113"/>
                  </a:lnTo>
                  <a:lnTo>
                    <a:pt x="46" y="105"/>
                  </a:lnTo>
                  <a:lnTo>
                    <a:pt x="46" y="103"/>
                  </a:lnTo>
                  <a:lnTo>
                    <a:pt x="41" y="105"/>
                  </a:lnTo>
                  <a:lnTo>
                    <a:pt x="36" y="103"/>
                  </a:lnTo>
                  <a:lnTo>
                    <a:pt x="39" y="96"/>
                  </a:lnTo>
                  <a:lnTo>
                    <a:pt x="39" y="89"/>
                  </a:lnTo>
                  <a:lnTo>
                    <a:pt x="33" y="89"/>
                  </a:lnTo>
                  <a:lnTo>
                    <a:pt x="31" y="86"/>
                  </a:lnTo>
                  <a:lnTo>
                    <a:pt x="33" y="79"/>
                  </a:lnTo>
                  <a:lnTo>
                    <a:pt x="36" y="76"/>
                  </a:lnTo>
                  <a:lnTo>
                    <a:pt x="34" y="67"/>
                  </a:lnTo>
                  <a:lnTo>
                    <a:pt x="36" y="57"/>
                  </a:lnTo>
                  <a:lnTo>
                    <a:pt x="38" y="50"/>
                  </a:lnTo>
                  <a:lnTo>
                    <a:pt x="41" y="43"/>
                  </a:lnTo>
                  <a:lnTo>
                    <a:pt x="41" y="38"/>
                  </a:lnTo>
                  <a:lnTo>
                    <a:pt x="36" y="29"/>
                  </a:lnTo>
                  <a:lnTo>
                    <a:pt x="33" y="21"/>
                  </a:lnTo>
                  <a:lnTo>
                    <a:pt x="33" y="12"/>
                  </a:lnTo>
                  <a:lnTo>
                    <a:pt x="33" y="9"/>
                  </a:lnTo>
                  <a:lnTo>
                    <a:pt x="36" y="0"/>
                  </a:lnTo>
                  <a:lnTo>
                    <a:pt x="38" y="0"/>
                  </a:lnTo>
                  <a:lnTo>
                    <a:pt x="38" y="4"/>
                  </a:lnTo>
                  <a:lnTo>
                    <a:pt x="39" y="12"/>
                  </a:lnTo>
                  <a:lnTo>
                    <a:pt x="43" y="19"/>
                  </a:lnTo>
                  <a:lnTo>
                    <a:pt x="45" y="26"/>
                  </a:lnTo>
                  <a:lnTo>
                    <a:pt x="50" y="33"/>
                  </a:lnTo>
                  <a:lnTo>
                    <a:pt x="57" y="38"/>
                  </a:lnTo>
                  <a:lnTo>
                    <a:pt x="60" y="40"/>
                  </a:lnTo>
                  <a:lnTo>
                    <a:pt x="65" y="45"/>
                  </a:lnTo>
                  <a:lnTo>
                    <a:pt x="67" y="45"/>
                  </a:lnTo>
                  <a:lnTo>
                    <a:pt x="75" y="48"/>
                  </a:lnTo>
                  <a:lnTo>
                    <a:pt x="75" y="50"/>
                  </a:lnTo>
                  <a:lnTo>
                    <a:pt x="75" y="48"/>
                  </a:lnTo>
                  <a:lnTo>
                    <a:pt x="79" y="48"/>
                  </a:lnTo>
                  <a:lnTo>
                    <a:pt x="84" y="53"/>
                  </a:lnTo>
                  <a:lnTo>
                    <a:pt x="91" y="55"/>
                  </a:lnTo>
                  <a:lnTo>
                    <a:pt x="92" y="55"/>
                  </a:lnTo>
                  <a:lnTo>
                    <a:pt x="99" y="64"/>
                  </a:lnTo>
                  <a:lnTo>
                    <a:pt x="103" y="67"/>
                  </a:lnTo>
                  <a:lnTo>
                    <a:pt x="104" y="64"/>
                  </a:lnTo>
                  <a:lnTo>
                    <a:pt x="103" y="58"/>
                  </a:lnTo>
                  <a:lnTo>
                    <a:pt x="98" y="53"/>
                  </a:lnTo>
                  <a:lnTo>
                    <a:pt x="91" y="48"/>
                  </a:lnTo>
                  <a:lnTo>
                    <a:pt x="86" y="47"/>
                  </a:lnTo>
                  <a:lnTo>
                    <a:pt x="82" y="40"/>
                  </a:lnTo>
                  <a:lnTo>
                    <a:pt x="84" y="36"/>
                  </a:lnTo>
                  <a:lnTo>
                    <a:pt x="86" y="33"/>
                  </a:lnTo>
                  <a:lnTo>
                    <a:pt x="89" y="33"/>
                  </a:lnTo>
                  <a:lnTo>
                    <a:pt x="91" y="31"/>
                  </a:lnTo>
                  <a:lnTo>
                    <a:pt x="94" y="29"/>
                  </a:lnTo>
                  <a:lnTo>
                    <a:pt x="101" y="28"/>
                  </a:lnTo>
                  <a:lnTo>
                    <a:pt x="108" y="28"/>
                  </a:lnTo>
                  <a:lnTo>
                    <a:pt x="115" y="29"/>
                  </a:lnTo>
                  <a:lnTo>
                    <a:pt x="123" y="29"/>
                  </a:lnTo>
                  <a:lnTo>
                    <a:pt x="127" y="38"/>
                  </a:lnTo>
                  <a:lnTo>
                    <a:pt x="130" y="41"/>
                  </a:lnTo>
                  <a:lnTo>
                    <a:pt x="133" y="45"/>
                  </a:lnTo>
                  <a:lnTo>
                    <a:pt x="138" y="48"/>
                  </a:lnTo>
                  <a:lnTo>
                    <a:pt x="144" y="52"/>
                  </a:lnTo>
                  <a:lnTo>
                    <a:pt x="149" y="53"/>
                  </a:lnTo>
                  <a:lnTo>
                    <a:pt x="154" y="58"/>
                  </a:lnTo>
                  <a:lnTo>
                    <a:pt x="156" y="64"/>
                  </a:lnTo>
                  <a:lnTo>
                    <a:pt x="157" y="74"/>
                  </a:lnTo>
                  <a:lnTo>
                    <a:pt x="161" y="84"/>
                  </a:lnTo>
                  <a:lnTo>
                    <a:pt x="161" y="91"/>
                  </a:lnTo>
                  <a:lnTo>
                    <a:pt x="164" y="98"/>
                  </a:lnTo>
                  <a:lnTo>
                    <a:pt x="166" y="99"/>
                  </a:lnTo>
                  <a:lnTo>
                    <a:pt x="174" y="101"/>
                  </a:lnTo>
                  <a:lnTo>
                    <a:pt x="181" y="106"/>
                  </a:lnTo>
                  <a:lnTo>
                    <a:pt x="185" y="108"/>
                  </a:lnTo>
                  <a:lnTo>
                    <a:pt x="190" y="106"/>
                  </a:lnTo>
                  <a:lnTo>
                    <a:pt x="197" y="105"/>
                  </a:lnTo>
                  <a:lnTo>
                    <a:pt x="207" y="105"/>
                  </a:lnTo>
                  <a:lnTo>
                    <a:pt x="212" y="108"/>
                  </a:lnTo>
                  <a:lnTo>
                    <a:pt x="217" y="113"/>
                  </a:lnTo>
                  <a:lnTo>
                    <a:pt x="220" y="115"/>
                  </a:lnTo>
                  <a:lnTo>
                    <a:pt x="227" y="120"/>
                  </a:lnTo>
                  <a:lnTo>
                    <a:pt x="231" y="123"/>
                  </a:lnTo>
                  <a:lnTo>
                    <a:pt x="237" y="129"/>
                  </a:lnTo>
                  <a:lnTo>
                    <a:pt x="241" y="130"/>
                  </a:lnTo>
                  <a:lnTo>
                    <a:pt x="248" y="135"/>
                  </a:lnTo>
                  <a:lnTo>
                    <a:pt x="255" y="139"/>
                  </a:lnTo>
                  <a:lnTo>
                    <a:pt x="256" y="140"/>
                  </a:lnTo>
                  <a:lnTo>
                    <a:pt x="255" y="151"/>
                  </a:lnTo>
                  <a:lnTo>
                    <a:pt x="256" y="158"/>
                  </a:lnTo>
                  <a:lnTo>
                    <a:pt x="258" y="156"/>
                  </a:lnTo>
                  <a:lnTo>
                    <a:pt x="261" y="161"/>
                  </a:lnTo>
                  <a:lnTo>
                    <a:pt x="261" y="163"/>
                  </a:lnTo>
                  <a:lnTo>
                    <a:pt x="260" y="173"/>
                  </a:lnTo>
                  <a:lnTo>
                    <a:pt x="260" y="175"/>
                  </a:lnTo>
                  <a:lnTo>
                    <a:pt x="265" y="185"/>
                  </a:lnTo>
                  <a:lnTo>
                    <a:pt x="268" y="188"/>
                  </a:lnTo>
                  <a:lnTo>
                    <a:pt x="273" y="192"/>
                  </a:lnTo>
                  <a:lnTo>
                    <a:pt x="278" y="195"/>
                  </a:lnTo>
                  <a:lnTo>
                    <a:pt x="277" y="195"/>
                  </a:lnTo>
                  <a:lnTo>
                    <a:pt x="278" y="197"/>
                  </a:lnTo>
                  <a:lnTo>
                    <a:pt x="278" y="199"/>
                  </a:lnTo>
                  <a:lnTo>
                    <a:pt x="285" y="205"/>
                  </a:lnTo>
                  <a:lnTo>
                    <a:pt x="287" y="207"/>
                  </a:lnTo>
                  <a:lnTo>
                    <a:pt x="294" y="210"/>
                  </a:lnTo>
                  <a:lnTo>
                    <a:pt x="297" y="214"/>
                  </a:lnTo>
                  <a:lnTo>
                    <a:pt x="299" y="214"/>
                  </a:lnTo>
                  <a:lnTo>
                    <a:pt x="307" y="216"/>
                  </a:lnTo>
                  <a:lnTo>
                    <a:pt x="314" y="214"/>
                  </a:lnTo>
                  <a:lnTo>
                    <a:pt x="319" y="212"/>
                  </a:lnTo>
                  <a:lnTo>
                    <a:pt x="330" y="216"/>
                  </a:lnTo>
                  <a:lnTo>
                    <a:pt x="338" y="216"/>
                  </a:lnTo>
                  <a:lnTo>
                    <a:pt x="342" y="216"/>
                  </a:lnTo>
                  <a:lnTo>
                    <a:pt x="347" y="217"/>
                  </a:lnTo>
                  <a:lnTo>
                    <a:pt x="354" y="226"/>
                  </a:lnTo>
                  <a:lnTo>
                    <a:pt x="359" y="233"/>
                  </a:lnTo>
                  <a:lnTo>
                    <a:pt x="360" y="236"/>
                  </a:lnTo>
                  <a:lnTo>
                    <a:pt x="366" y="241"/>
                  </a:lnTo>
                  <a:lnTo>
                    <a:pt x="369" y="245"/>
                  </a:lnTo>
                  <a:lnTo>
                    <a:pt x="369" y="248"/>
                  </a:lnTo>
                  <a:lnTo>
                    <a:pt x="362" y="253"/>
                  </a:lnTo>
                  <a:lnTo>
                    <a:pt x="357" y="255"/>
                  </a:lnTo>
                  <a:lnTo>
                    <a:pt x="350" y="258"/>
                  </a:lnTo>
                  <a:lnTo>
                    <a:pt x="345" y="263"/>
                  </a:lnTo>
                  <a:lnTo>
                    <a:pt x="336" y="265"/>
                  </a:lnTo>
                  <a:lnTo>
                    <a:pt x="328" y="270"/>
                  </a:lnTo>
                  <a:lnTo>
                    <a:pt x="328" y="272"/>
                  </a:lnTo>
                  <a:lnTo>
                    <a:pt x="336" y="274"/>
                  </a:lnTo>
                  <a:lnTo>
                    <a:pt x="340" y="274"/>
                  </a:lnTo>
                  <a:lnTo>
                    <a:pt x="347" y="269"/>
                  </a:lnTo>
                  <a:lnTo>
                    <a:pt x="355" y="265"/>
                  </a:lnTo>
                  <a:lnTo>
                    <a:pt x="360" y="262"/>
                  </a:lnTo>
                  <a:lnTo>
                    <a:pt x="364" y="260"/>
                  </a:lnTo>
                  <a:lnTo>
                    <a:pt x="374" y="257"/>
                  </a:lnTo>
                  <a:lnTo>
                    <a:pt x="377" y="253"/>
                  </a:lnTo>
                  <a:lnTo>
                    <a:pt x="381" y="246"/>
                  </a:lnTo>
                  <a:lnTo>
                    <a:pt x="386" y="243"/>
                  </a:lnTo>
                  <a:lnTo>
                    <a:pt x="393" y="243"/>
                  </a:lnTo>
                  <a:lnTo>
                    <a:pt x="396" y="238"/>
                  </a:lnTo>
                  <a:lnTo>
                    <a:pt x="403" y="240"/>
                  </a:lnTo>
                  <a:lnTo>
                    <a:pt x="406" y="241"/>
                  </a:lnTo>
                  <a:lnTo>
                    <a:pt x="412" y="245"/>
                  </a:lnTo>
                  <a:lnTo>
                    <a:pt x="417" y="250"/>
                  </a:lnTo>
                  <a:lnTo>
                    <a:pt x="420" y="251"/>
                  </a:lnTo>
                  <a:lnTo>
                    <a:pt x="427" y="257"/>
                  </a:lnTo>
                  <a:lnTo>
                    <a:pt x="429" y="262"/>
                  </a:lnTo>
                  <a:lnTo>
                    <a:pt x="429" y="269"/>
                  </a:lnTo>
                  <a:lnTo>
                    <a:pt x="430" y="272"/>
                  </a:lnTo>
                  <a:lnTo>
                    <a:pt x="432" y="272"/>
                  </a:lnTo>
                  <a:lnTo>
                    <a:pt x="429" y="269"/>
                  </a:lnTo>
                  <a:lnTo>
                    <a:pt x="430" y="262"/>
                  </a:lnTo>
                  <a:lnTo>
                    <a:pt x="436" y="263"/>
                  </a:lnTo>
                  <a:lnTo>
                    <a:pt x="442" y="267"/>
                  </a:lnTo>
                  <a:lnTo>
                    <a:pt x="444" y="272"/>
                  </a:lnTo>
                  <a:lnTo>
                    <a:pt x="447" y="277"/>
                  </a:lnTo>
                  <a:lnTo>
                    <a:pt x="449" y="281"/>
                  </a:lnTo>
                  <a:lnTo>
                    <a:pt x="449" y="291"/>
                  </a:lnTo>
                  <a:lnTo>
                    <a:pt x="451" y="298"/>
                  </a:lnTo>
                  <a:lnTo>
                    <a:pt x="454" y="303"/>
                  </a:lnTo>
                  <a:lnTo>
                    <a:pt x="454" y="304"/>
                  </a:lnTo>
                  <a:lnTo>
                    <a:pt x="447" y="304"/>
                  </a:lnTo>
                  <a:lnTo>
                    <a:pt x="439" y="306"/>
                  </a:lnTo>
                  <a:lnTo>
                    <a:pt x="436" y="306"/>
                  </a:lnTo>
                  <a:lnTo>
                    <a:pt x="439" y="308"/>
                  </a:lnTo>
                  <a:lnTo>
                    <a:pt x="437" y="310"/>
                  </a:lnTo>
                  <a:lnTo>
                    <a:pt x="432" y="310"/>
                  </a:lnTo>
                  <a:lnTo>
                    <a:pt x="425" y="304"/>
                  </a:lnTo>
                  <a:lnTo>
                    <a:pt x="425" y="308"/>
                  </a:lnTo>
                  <a:lnTo>
                    <a:pt x="424" y="306"/>
                  </a:lnTo>
                  <a:lnTo>
                    <a:pt x="425" y="308"/>
                  </a:lnTo>
                  <a:lnTo>
                    <a:pt x="427" y="308"/>
                  </a:lnTo>
                  <a:lnTo>
                    <a:pt x="429" y="310"/>
                  </a:lnTo>
                  <a:lnTo>
                    <a:pt x="425" y="311"/>
                  </a:lnTo>
                  <a:lnTo>
                    <a:pt x="424" y="310"/>
                  </a:lnTo>
                  <a:lnTo>
                    <a:pt x="429" y="315"/>
                  </a:lnTo>
                  <a:lnTo>
                    <a:pt x="427" y="316"/>
                  </a:lnTo>
                  <a:lnTo>
                    <a:pt x="420" y="318"/>
                  </a:lnTo>
                  <a:lnTo>
                    <a:pt x="413" y="316"/>
                  </a:lnTo>
                  <a:lnTo>
                    <a:pt x="412" y="318"/>
                  </a:lnTo>
                  <a:lnTo>
                    <a:pt x="417" y="320"/>
                  </a:lnTo>
                  <a:lnTo>
                    <a:pt x="417" y="322"/>
                  </a:lnTo>
                  <a:lnTo>
                    <a:pt x="412" y="323"/>
                  </a:lnTo>
                  <a:lnTo>
                    <a:pt x="405" y="330"/>
                  </a:lnTo>
                  <a:lnTo>
                    <a:pt x="396" y="333"/>
                  </a:lnTo>
                  <a:lnTo>
                    <a:pt x="389" y="332"/>
                  </a:lnTo>
                  <a:lnTo>
                    <a:pt x="386" y="335"/>
                  </a:lnTo>
                  <a:lnTo>
                    <a:pt x="381" y="337"/>
                  </a:lnTo>
                  <a:lnTo>
                    <a:pt x="386" y="339"/>
                  </a:lnTo>
                  <a:lnTo>
                    <a:pt x="389" y="342"/>
                  </a:lnTo>
                  <a:lnTo>
                    <a:pt x="395" y="345"/>
                  </a:lnTo>
                  <a:lnTo>
                    <a:pt x="396" y="347"/>
                  </a:lnTo>
                  <a:lnTo>
                    <a:pt x="405" y="349"/>
                  </a:lnTo>
                  <a:lnTo>
                    <a:pt x="410" y="349"/>
                  </a:lnTo>
                  <a:lnTo>
                    <a:pt x="413" y="349"/>
                  </a:lnTo>
                  <a:lnTo>
                    <a:pt x="418" y="347"/>
                  </a:lnTo>
                  <a:lnTo>
                    <a:pt x="422" y="351"/>
                  </a:lnTo>
                  <a:lnTo>
                    <a:pt x="425" y="351"/>
                  </a:lnTo>
                  <a:lnTo>
                    <a:pt x="429" y="354"/>
                  </a:lnTo>
                  <a:lnTo>
                    <a:pt x="429" y="356"/>
                  </a:lnTo>
                  <a:lnTo>
                    <a:pt x="424" y="362"/>
                  </a:lnTo>
                  <a:lnTo>
                    <a:pt x="420" y="364"/>
                  </a:lnTo>
                  <a:lnTo>
                    <a:pt x="412" y="364"/>
                  </a:lnTo>
                  <a:lnTo>
                    <a:pt x="406" y="366"/>
                  </a:lnTo>
                  <a:lnTo>
                    <a:pt x="410" y="369"/>
                  </a:lnTo>
                  <a:lnTo>
                    <a:pt x="408" y="374"/>
                  </a:lnTo>
                  <a:lnTo>
                    <a:pt x="405" y="376"/>
                  </a:lnTo>
                  <a:lnTo>
                    <a:pt x="408" y="376"/>
                  </a:lnTo>
                  <a:lnTo>
                    <a:pt x="408" y="378"/>
                  </a:lnTo>
                  <a:lnTo>
                    <a:pt x="401" y="381"/>
                  </a:lnTo>
                  <a:lnTo>
                    <a:pt x="405" y="381"/>
                  </a:lnTo>
                  <a:lnTo>
                    <a:pt x="406" y="383"/>
                  </a:lnTo>
                  <a:lnTo>
                    <a:pt x="405" y="386"/>
                  </a:lnTo>
                  <a:lnTo>
                    <a:pt x="400" y="386"/>
                  </a:lnTo>
                  <a:lnTo>
                    <a:pt x="408" y="388"/>
                  </a:lnTo>
                  <a:lnTo>
                    <a:pt x="406" y="392"/>
                  </a:lnTo>
                  <a:lnTo>
                    <a:pt x="400" y="390"/>
                  </a:lnTo>
                  <a:lnTo>
                    <a:pt x="410" y="392"/>
                  </a:lnTo>
                  <a:lnTo>
                    <a:pt x="412" y="392"/>
                  </a:lnTo>
                  <a:lnTo>
                    <a:pt x="410" y="39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14" name="Freeform 52"/>
            <p:cNvSpPr>
              <a:spLocks noEditPoints="1"/>
            </p:cNvSpPr>
            <p:nvPr/>
          </p:nvSpPr>
          <p:spPr bwMode="gray">
            <a:xfrm>
              <a:off x="5151073" y="2191539"/>
              <a:ext cx="747915" cy="735146"/>
            </a:xfrm>
            <a:custGeom>
              <a:avLst/>
              <a:gdLst>
                <a:gd name="T0" fmla="*/ 369 w 410"/>
                <a:gd name="T1" fmla="*/ 191 h 403"/>
                <a:gd name="T2" fmla="*/ 359 w 410"/>
                <a:gd name="T3" fmla="*/ 157 h 403"/>
                <a:gd name="T4" fmla="*/ 328 w 410"/>
                <a:gd name="T5" fmla="*/ 142 h 403"/>
                <a:gd name="T6" fmla="*/ 369 w 410"/>
                <a:gd name="T7" fmla="*/ 140 h 403"/>
                <a:gd name="T8" fmla="*/ 342 w 410"/>
                <a:gd name="T9" fmla="*/ 116 h 403"/>
                <a:gd name="T10" fmla="*/ 369 w 410"/>
                <a:gd name="T11" fmla="*/ 106 h 403"/>
                <a:gd name="T12" fmla="*/ 345 w 410"/>
                <a:gd name="T13" fmla="*/ 106 h 403"/>
                <a:gd name="T14" fmla="*/ 332 w 410"/>
                <a:gd name="T15" fmla="*/ 101 h 403"/>
                <a:gd name="T16" fmla="*/ 354 w 410"/>
                <a:gd name="T17" fmla="*/ 111 h 403"/>
                <a:gd name="T18" fmla="*/ 361 w 410"/>
                <a:gd name="T19" fmla="*/ 99 h 403"/>
                <a:gd name="T20" fmla="*/ 396 w 410"/>
                <a:gd name="T21" fmla="*/ 113 h 403"/>
                <a:gd name="T22" fmla="*/ 347 w 410"/>
                <a:gd name="T23" fmla="*/ 101 h 403"/>
                <a:gd name="T24" fmla="*/ 335 w 410"/>
                <a:gd name="T25" fmla="*/ 96 h 403"/>
                <a:gd name="T26" fmla="*/ 337 w 410"/>
                <a:gd name="T27" fmla="*/ 94 h 403"/>
                <a:gd name="T28" fmla="*/ 362 w 410"/>
                <a:gd name="T29" fmla="*/ 75 h 403"/>
                <a:gd name="T30" fmla="*/ 381 w 410"/>
                <a:gd name="T31" fmla="*/ 84 h 403"/>
                <a:gd name="T32" fmla="*/ 355 w 410"/>
                <a:gd name="T33" fmla="*/ 77 h 403"/>
                <a:gd name="T34" fmla="*/ 376 w 410"/>
                <a:gd name="T35" fmla="*/ 67 h 403"/>
                <a:gd name="T36" fmla="*/ 378 w 410"/>
                <a:gd name="T37" fmla="*/ 38 h 403"/>
                <a:gd name="T38" fmla="*/ 403 w 410"/>
                <a:gd name="T39" fmla="*/ 41 h 403"/>
                <a:gd name="T40" fmla="*/ 398 w 410"/>
                <a:gd name="T41" fmla="*/ 27 h 403"/>
                <a:gd name="T42" fmla="*/ 378 w 410"/>
                <a:gd name="T43" fmla="*/ 241 h 403"/>
                <a:gd name="T44" fmla="*/ 328 w 410"/>
                <a:gd name="T45" fmla="*/ 217 h 403"/>
                <a:gd name="T46" fmla="*/ 268 w 410"/>
                <a:gd name="T47" fmla="*/ 242 h 403"/>
                <a:gd name="T48" fmla="*/ 236 w 410"/>
                <a:gd name="T49" fmla="*/ 236 h 403"/>
                <a:gd name="T50" fmla="*/ 207 w 410"/>
                <a:gd name="T51" fmla="*/ 260 h 403"/>
                <a:gd name="T52" fmla="*/ 195 w 410"/>
                <a:gd name="T53" fmla="*/ 290 h 403"/>
                <a:gd name="T54" fmla="*/ 173 w 410"/>
                <a:gd name="T55" fmla="*/ 347 h 403"/>
                <a:gd name="T56" fmla="*/ 118 w 410"/>
                <a:gd name="T57" fmla="*/ 377 h 403"/>
                <a:gd name="T58" fmla="*/ 76 w 410"/>
                <a:gd name="T59" fmla="*/ 401 h 403"/>
                <a:gd name="T60" fmla="*/ 36 w 410"/>
                <a:gd name="T61" fmla="*/ 391 h 403"/>
                <a:gd name="T62" fmla="*/ 7 w 410"/>
                <a:gd name="T63" fmla="*/ 347 h 403"/>
                <a:gd name="T64" fmla="*/ 23 w 410"/>
                <a:gd name="T65" fmla="*/ 304 h 403"/>
                <a:gd name="T66" fmla="*/ 29 w 410"/>
                <a:gd name="T67" fmla="*/ 282 h 403"/>
                <a:gd name="T68" fmla="*/ 45 w 410"/>
                <a:gd name="T69" fmla="*/ 254 h 403"/>
                <a:gd name="T70" fmla="*/ 77 w 410"/>
                <a:gd name="T71" fmla="*/ 232 h 403"/>
                <a:gd name="T72" fmla="*/ 70 w 410"/>
                <a:gd name="T73" fmla="*/ 200 h 403"/>
                <a:gd name="T74" fmla="*/ 82 w 410"/>
                <a:gd name="T75" fmla="*/ 169 h 403"/>
                <a:gd name="T76" fmla="*/ 117 w 410"/>
                <a:gd name="T77" fmla="*/ 152 h 403"/>
                <a:gd name="T78" fmla="*/ 122 w 410"/>
                <a:gd name="T79" fmla="*/ 120 h 403"/>
                <a:gd name="T80" fmla="*/ 125 w 410"/>
                <a:gd name="T81" fmla="*/ 70 h 403"/>
                <a:gd name="T82" fmla="*/ 151 w 410"/>
                <a:gd name="T83" fmla="*/ 17 h 403"/>
                <a:gd name="T84" fmla="*/ 186 w 410"/>
                <a:gd name="T85" fmla="*/ 8 h 403"/>
                <a:gd name="T86" fmla="*/ 231 w 410"/>
                <a:gd name="T87" fmla="*/ 8 h 403"/>
                <a:gd name="T88" fmla="*/ 260 w 410"/>
                <a:gd name="T89" fmla="*/ 7 h 403"/>
                <a:gd name="T90" fmla="*/ 304 w 410"/>
                <a:gd name="T91" fmla="*/ 10 h 403"/>
                <a:gd name="T92" fmla="*/ 354 w 410"/>
                <a:gd name="T93" fmla="*/ 29 h 403"/>
                <a:gd name="T94" fmla="*/ 340 w 410"/>
                <a:gd name="T95" fmla="*/ 34 h 403"/>
                <a:gd name="T96" fmla="*/ 354 w 410"/>
                <a:gd name="T97" fmla="*/ 44 h 403"/>
                <a:gd name="T98" fmla="*/ 366 w 410"/>
                <a:gd name="T99" fmla="*/ 65 h 403"/>
                <a:gd name="T100" fmla="*/ 371 w 410"/>
                <a:gd name="T101" fmla="*/ 75 h 403"/>
                <a:gd name="T102" fmla="*/ 345 w 410"/>
                <a:gd name="T103" fmla="*/ 89 h 403"/>
                <a:gd name="T104" fmla="*/ 323 w 410"/>
                <a:gd name="T105" fmla="*/ 96 h 403"/>
                <a:gd name="T106" fmla="*/ 337 w 410"/>
                <a:gd name="T107" fmla="*/ 116 h 403"/>
                <a:gd name="T108" fmla="*/ 345 w 410"/>
                <a:gd name="T109" fmla="*/ 128 h 403"/>
                <a:gd name="T110" fmla="*/ 337 w 410"/>
                <a:gd name="T111" fmla="*/ 142 h 403"/>
                <a:gd name="T112" fmla="*/ 313 w 410"/>
                <a:gd name="T113" fmla="*/ 140 h 403"/>
                <a:gd name="T114" fmla="*/ 347 w 410"/>
                <a:gd name="T115" fmla="*/ 154 h 403"/>
                <a:gd name="T116" fmla="*/ 364 w 410"/>
                <a:gd name="T117" fmla="*/ 157 h 403"/>
                <a:gd name="T118" fmla="*/ 366 w 410"/>
                <a:gd name="T119" fmla="*/ 171 h 403"/>
                <a:gd name="T120" fmla="*/ 378 w 410"/>
                <a:gd name="T121" fmla="*/ 183 h 403"/>
                <a:gd name="T122" fmla="*/ 386 w 410"/>
                <a:gd name="T123" fmla="*/ 19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0" h="403">
                  <a:moveTo>
                    <a:pt x="366" y="191"/>
                  </a:moveTo>
                  <a:lnTo>
                    <a:pt x="367" y="191"/>
                  </a:lnTo>
                  <a:lnTo>
                    <a:pt x="367" y="193"/>
                  </a:lnTo>
                  <a:lnTo>
                    <a:pt x="366" y="193"/>
                  </a:lnTo>
                  <a:lnTo>
                    <a:pt x="366" y="191"/>
                  </a:lnTo>
                  <a:close/>
                  <a:moveTo>
                    <a:pt x="374" y="186"/>
                  </a:moveTo>
                  <a:lnTo>
                    <a:pt x="379" y="190"/>
                  </a:lnTo>
                  <a:lnTo>
                    <a:pt x="379" y="191"/>
                  </a:lnTo>
                  <a:lnTo>
                    <a:pt x="371" y="193"/>
                  </a:lnTo>
                  <a:lnTo>
                    <a:pt x="369" y="191"/>
                  </a:lnTo>
                  <a:lnTo>
                    <a:pt x="374" y="186"/>
                  </a:lnTo>
                  <a:close/>
                  <a:moveTo>
                    <a:pt x="366" y="159"/>
                  </a:moveTo>
                  <a:lnTo>
                    <a:pt x="367" y="159"/>
                  </a:lnTo>
                  <a:lnTo>
                    <a:pt x="367" y="161"/>
                  </a:lnTo>
                  <a:lnTo>
                    <a:pt x="366" y="161"/>
                  </a:lnTo>
                  <a:lnTo>
                    <a:pt x="366" y="159"/>
                  </a:lnTo>
                  <a:close/>
                  <a:moveTo>
                    <a:pt x="359" y="155"/>
                  </a:moveTo>
                  <a:lnTo>
                    <a:pt x="362" y="155"/>
                  </a:lnTo>
                  <a:lnTo>
                    <a:pt x="362" y="157"/>
                  </a:lnTo>
                  <a:lnTo>
                    <a:pt x="359" y="157"/>
                  </a:lnTo>
                  <a:lnTo>
                    <a:pt x="359" y="155"/>
                  </a:lnTo>
                  <a:close/>
                  <a:moveTo>
                    <a:pt x="364" y="155"/>
                  </a:moveTo>
                  <a:lnTo>
                    <a:pt x="362" y="154"/>
                  </a:lnTo>
                  <a:lnTo>
                    <a:pt x="366" y="154"/>
                  </a:lnTo>
                  <a:lnTo>
                    <a:pt x="366" y="155"/>
                  </a:lnTo>
                  <a:lnTo>
                    <a:pt x="364" y="155"/>
                  </a:lnTo>
                  <a:close/>
                  <a:moveTo>
                    <a:pt x="328" y="142"/>
                  </a:moveTo>
                  <a:lnTo>
                    <a:pt x="325" y="143"/>
                  </a:lnTo>
                  <a:lnTo>
                    <a:pt x="325" y="142"/>
                  </a:lnTo>
                  <a:lnTo>
                    <a:pt x="328" y="142"/>
                  </a:lnTo>
                  <a:close/>
                  <a:moveTo>
                    <a:pt x="350" y="120"/>
                  </a:moveTo>
                  <a:lnTo>
                    <a:pt x="352" y="128"/>
                  </a:lnTo>
                  <a:lnTo>
                    <a:pt x="347" y="128"/>
                  </a:lnTo>
                  <a:lnTo>
                    <a:pt x="345" y="121"/>
                  </a:lnTo>
                  <a:lnTo>
                    <a:pt x="350" y="120"/>
                  </a:lnTo>
                  <a:close/>
                  <a:moveTo>
                    <a:pt x="366" y="116"/>
                  </a:moveTo>
                  <a:lnTo>
                    <a:pt x="373" y="121"/>
                  </a:lnTo>
                  <a:lnTo>
                    <a:pt x="371" y="130"/>
                  </a:lnTo>
                  <a:lnTo>
                    <a:pt x="371" y="138"/>
                  </a:lnTo>
                  <a:lnTo>
                    <a:pt x="369" y="140"/>
                  </a:lnTo>
                  <a:lnTo>
                    <a:pt x="366" y="138"/>
                  </a:lnTo>
                  <a:lnTo>
                    <a:pt x="366" y="135"/>
                  </a:lnTo>
                  <a:lnTo>
                    <a:pt x="357" y="130"/>
                  </a:lnTo>
                  <a:lnTo>
                    <a:pt x="354" y="123"/>
                  </a:lnTo>
                  <a:lnTo>
                    <a:pt x="354" y="120"/>
                  </a:lnTo>
                  <a:lnTo>
                    <a:pt x="357" y="116"/>
                  </a:lnTo>
                  <a:lnTo>
                    <a:pt x="366" y="116"/>
                  </a:lnTo>
                  <a:close/>
                  <a:moveTo>
                    <a:pt x="338" y="114"/>
                  </a:moveTo>
                  <a:lnTo>
                    <a:pt x="342" y="114"/>
                  </a:lnTo>
                  <a:lnTo>
                    <a:pt x="342" y="116"/>
                  </a:lnTo>
                  <a:lnTo>
                    <a:pt x="338" y="116"/>
                  </a:lnTo>
                  <a:lnTo>
                    <a:pt x="338" y="114"/>
                  </a:lnTo>
                  <a:close/>
                  <a:moveTo>
                    <a:pt x="344" y="114"/>
                  </a:moveTo>
                  <a:lnTo>
                    <a:pt x="345" y="114"/>
                  </a:lnTo>
                  <a:lnTo>
                    <a:pt x="345" y="116"/>
                  </a:lnTo>
                  <a:lnTo>
                    <a:pt x="344" y="116"/>
                  </a:lnTo>
                  <a:lnTo>
                    <a:pt x="344" y="114"/>
                  </a:lnTo>
                  <a:close/>
                  <a:moveTo>
                    <a:pt x="369" y="106"/>
                  </a:moveTo>
                  <a:lnTo>
                    <a:pt x="371" y="106"/>
                  </a:lnTo>
                  <a:lnTo>
                    <a:pt x="369" y="106"/>
                  </a:lnTo>
                  <a:close/>
                  <a:moveTo>
                    <a:pt x="342" y="102"/>
                  </a:moveTo>
                  <a:lnTo>
                    <a:pt x="352" y="104"/>
                  </a:lnTo>
                  <a:lnTo>
                    <a:pt x="359" y="106"/>
                  </a:lnTo>
                  <a:lnTo>
                    <a:pt x="366" y="111"/>
                  </a:lnTo>
                  <a:lnTo>
                    <a:pt x="357" y="113"/>
                  </a:lnTo>
                  <a:lnTo>
                    <a:pt x="355" y="109"/>
                  </a:lnTo>
                  <a:lnTo>
                    <a:pt x="355" y="111"/>
                  </a:lnTo>
                  <a:lnTo>
                    <a:pt x="354" y="109"/>
                  </a:lnTo>
                  <a:lnTo>
                    <a:pt x="345" y="108"/>
                  </a:lnTo>
                  <a:lnTo>
                    <a:pt x="345" y="106"/>
                  </a:lnTo>
                  <a:lnTo>
                    <a:pt x="342" y="104"/>
                  </a:lnTo>
                  <a:lnTo>
                    <a:pt x="342" y="102"/>
                  </a:lnTo>
                  <a:close/>
                  <a:moveTo>
                    <a:pt x="338" y="99"/>
                  </a:moveTo>
                  <a:lnTo>
                    <a:pt x="342" y="99"/>
                  </a:lnTo>
                  <a:lnTo>
                    <a:pt x="342" y="101"/>
                  </a:lnTo>
                  <a:lnTo>
                    <a:pt x="337" y="99"/>
                  </a:lnTo>
                  <a:lnTo>
                    <a:pt x="338" y="99"/>
                  </a:lnTo>
                  <a:close/>
                  <a:moveTo>
                    <a:pt x="328" y="99"/>
                  </a:moveTo>
                  <a:lnTo>
                    <a:pt x="332" y="99"/>
                  </a:lnTo>
                  <a:lnTo>
                    <a:pt x="332" y="101"/>
                  </a:lnTo>
                  <a:lnTo>
                    <a:pt x="328" y="101"/>
                  </a:lnTo>
                  <a:lnTo>
                    <a:pt x="328" y="99"/>
                  </a:lnTo>
                  <a:close/>
                  <a:moveTo>
                    <a:pt x="325" y="99"/>
                  </a:moveTo>
                  <a:lnTo>
                    <a:pt x="328" y="102"/>
                  </a:lnTo>
                  <a:lnTo>
                    <a:pt x="335" y="101"/>
                  </a:lnTo>
                  <a:lnTo>
                    <a:pt x="338" y="102"/>
                  </a:lnTo>
                  <a:lnTo>
                    <a:pt x="344" y="106"/>
                  </a:lnTo>
                  <a:lnTo>
                    <a:pt x="345" y="109"/>
                  </a:lnTo>
                  <a:lnTo>
                    <a:pt x="352" y="109"/>
                  </a:lnTo>
                  <a:lnTo>
                    <a:pt x="354" y="111"/>
                  </a:lnTo>
                  <a:lnTo>
                    <a:pt x="350" y="118"/>
                  </a:lnTo>
                  <a:lnTo>
                    <a:pt x="345" y="114"/>
                  </a:lnTo>
                  <a:lnTo>
                    <a:pt x="337" y="113"/>
                  </a:lnTo>
                  <a:lnTo>
                    <a:pt x="330" y="109"/>
                  </a:lnTo>
                  <a:lnTo>
                    <a:pt x="326" y="111"/>
                  </a:lnTo>
                  <a:lnTo>
                    <a:pt x="320" y="109"/>
                  </a:lnTo>
                  <a:lnTo>
                    <a:pt x="316" y="104"/>
                  </a:lnTo>
                  <a:lnTo>
                    <a:pt x="320" y="99"/>
                  </a:lnTo>
                  <a:lnTo>
                    <a:pt x="325" y="99"/>
                  </a:lnTo>
                  <a:close/>
                  <a:moveTo>
                    <a:pt x="361" y="99"/>
                  </a:moveTo>
                  <a:lnTo>
                    <a:pt x="367" y="101"/>
                  </a:lnTo>
                  <a:lnTo>
                    <a:pt x="371" y="102"/>
                  </a:lnTo>
                  <a:lnTo>
                    <a:pt x="366" y="104"/>
                  </a:lnTo>
                  <a:lnTo>
                    <a:pt x="355" y="102"/>
                  </a:lnTo>
                  <a:lnTo>
                    <a:pt x="352" y="99"/>
                  </a:lnTo>
                  <a:lnTo>
                    <a:pt x="357" y="101"/>
                  </a:lnTo>
                  <a:lnTo>
                    <a:pt x="361" y="99"/>
                  </a:lnTo>
                  <a:close/>
                  <a:moveTo>
                    <a:pt x="388" y="99"/>
                  </a:moveTo>
                  <a:lnTo>
                    <a:pt x="393" y="104"/>
                  </a:lnTo>
                  <a:lnTo>
                    <a:pt x="396" y="113"/>
                  </a:lnTo>
                  <a:lnTo>
                    <a:pt x="395" y="114"/>
                  </a:lnTo>
                  <a:lnTo>
                    <a:pt x="393" y="114"/>
                  </a:lnTo>
                  <a:lnTo>
                    <a:pt x="391" y="113"/>
                  </a:lnTo>
                  <a:lnTo>
                    <a:pt x="383" y="108"/>
                  </a:lnTo>
                  <a:lnTo>
                    <a:pt x="383" y="102"/>
                  </a:lnTo>
                  <a:lnTo>
                    <a:pt x="388" y="99"/>
                  </a:lnTo>
                  <a:close/>
                  <a:moveTo>
                    <a:pt x="347" y="99"/>
                  </a:moveTo>
                  <a:lnTo>
                    <a:pt x="350" y="99"/>
                  </a:lnTo>
                  <a:lnTo>
                    <a:pt x="350" y="101"/>
                  </a:lnTo>
                  <a:lnTo>
                    <a:pt x="347" y="101"/>
                  </a:lnTo>
                  <a:lnTo>
                    <a:pt x="347" y="99"/>
                  </a:lnTo>
                  <a:close/>
                  <a:moveTo>
                    <a:pt x="338" y="96"/>
                  </a:moveTo>
                  <a:lnTo>
                    <a:pt x="347" y="99"/>
                  </a:lnTo>
                  <a:lnTo>
                    <a:pt x="347" y="101"/>
                  </a:lnTo>
                  <a:lnTo>
                    <a:pt x="345" y="102"/>
                  </a:lnTo>
                  <a:lnTo>
                    <a:pt x="340" y="99"/>
                  </a:lnTo>
                  <a:lnTo>
                    <a:pt x="332" y="99"/>
                  </a:lnTo>
                  <a:lnTo>
                    <a:pt x="328" y="99"/>
                  </a:lnTo>
                  <a:lnTo>
                    <a:pt x="326" y="97"/>
                  </a:lnTo>
                  <a:lnTo>
                    <a:pt x="335" y="96"/>
                  </a:lnTo>
                  <a:lnTo>
                    <a:pt x="338" y="96"/>
                  </a:lnTo>
                  <a:close/>
                  <a:moveTo>
                    <a:pt x="357" y="96"/>
                  </a:moveTo>
                  <a:lnTo>
                    <a:pt x="357" y="99"/>
                  </a:lnTo>
                  <a:lnTo>
                    <a:pt x="352" y="97"/>
                  </a:lnTo>
                  <a:lnTo>
                    <a:pt x="354" y="96"/>
                  </a:lnTo>
                  <a:lnTo>
                    <a:pt x="357" y="96"/>
                  </a:lnTo>
                  <a:close/>
                  <a:moveTo>
                    <a:pt x="337" y="94"/>
                  </a:moveTo>
                  <a:lnTo>
                    <a:pt x="335" y="96"/>
                  </a:lnTo>
                  <a:lnTo>
                    <a:pt x="330" y="96"/>
                  </a:lnTo>
                  <a:lnTo>
                    <a:pt x="337" y="94"/>
                  </a:lnTo>
                  <a:close/>
                  <a:moveTo>
                    <a:pt x="350" y="87"/>
                  </a:moveTo>
                  <a:lnTo>
                    <a:pt x="344" y="87"/>
                  </a:lnTo>
                  <a:lnTo>
                    <a:pt x="349" y="84"/>
                  </a:lnTo>
                  <a:lnTo>
                    <a:pt x="350" y="87"/>
                  </a:lnTo>
                  <a:close/>
                  <a:moveTo>
                    <a:pt x="385" y="79"/>
                  </a:moveTo>
                  <a:lnTo>
                    <a:pt x="388" y="79"/>
                  </a:lnTo>
                  <a:lnTo>
                    <a:pt x="390" y="80"/>
                  </a:lnTo>
                  <a:lnTo>
                    <a:pt x="381" y="79"/>
                  </a:lnTo>
                  <a:lnTo>
                    <a:pt x="385" y="79"/>
                  </a:lnTo>
                  <a:close/>
                  <a:moveTo>
                    <a:pt x="362" y="75"/>
                  </a:moveTo>
                  <a:lnTo>
                    <a:pt x="364" y="77"/>
                  </a:lnTo>
                  <a:lnTo>
                    <a:pt x="369" y="77"/>
                  </a:lnTo>
                  <a:lnTo>
                    <a:pt x="371" y="75"/>
                  </a:lnTo>
                  <a:lnTo>
                    <a:pt x="374" y="77"/>
                  </a:lnTo>
                  <a:lnTo>
                    <a:pt x="378" y="79"/>
                  </a:lnTo>
                  <a:lnTo>
                    <a:pt x="388" y="82"/>
                  </a:lnTo>
                  <a:lnTo>
                    <a:pt x="390" y="82"/>
                  </a:lnTo>
                  <a:lnTo>
                    <a:pt x="391" y="85"/>
                  </a:lnTo>
                  <a:lnTo>
                    <a:pt x="385" y="87"/>
                  </a:lnTo>
                  <a:lnTo>
                    <a:pt x="381" y="84"/>
                  </a:lnTo>
                  <a:lnTo>
                    <a:pt x="385" y="87"/>
                  </a:lnTo>
                  <a:lnTo>
                    <a:pt x="379" y="94"/>
                  </a:lnTo>
                  <a:lnTo>
                    <a:pt x="378" y="92"/>
                  </a:lnTo>
                  <a:lnTo>
                    <a:pt x="371" y="96"/>
                  </a:lnTo>
                  <a:lnTo>
                    <a:pt x="362" y="94"/>
                  </a:lnTo>
                  <a:lnTo>
                    <a:pt x="359" y="92"/>
                  </a:lnTo>
                  <a:lnTo>
                    <a:pt x="354" y="87"/>
                  </a:lnTo>
                  <a:lnTo>
                    <a:pt x="349" y="79"/>
                  </a:lnTo>
                  <a:lnTo>
                    <a:pt x="350" y="77"/>
                  </a:lnTo>
                  <a:lnTo>
                    <a:pt x="355" y="77"/>
                  </a:lnTo>
                  <a:lnTo>
                    <a:pt x="362" y="73"/>
                  </a:lnTo>
                  <a:lnTo>
                    <a:pt x="362" y="75"/>
                  </a:lnTo>
                  <a:close/>
                  <a:moveTo>
                    <a:pt x="381" y="65"/>
                  </a:moveTo>
                  <a:lnTo>
                    <a:pt x="383" y="65"/>
                  </a:lnTo>
                  <a:lnTo>
                    <a:pt x="390" y="72"/>
                  </a:lnTo>
                  <a:lnTo>
                    <a:pt x="391" y="75"/>
                  </a:lnTo>
                  <a:lnTo>
                    <a:pt x="386" y="75"/>
                  </a:lnTo>
                  <a:lnTo>
                    <a:pt x="381" y="72"/>
                  </a:lnTo>
                  <a:lnTo>
                    <a:pt x="381" y="68"/>
                  </a:lnTo>
                  <a:lnTo>
                    <a:pt x="376" y="67"/>
                  </a:lnTo>
                  <a:lnTo>
                    <a:pt x="378" y="65"/>
                  </a:lnTo>
                  <a:lnTo>
                    <a:pt x="381" y="65"/>
                  </a:lnTo>
                  <a:close/>
                  <a:moveTo>
                    <a:pt x="361" y="32"/>
                  </a:moveTo>
                  <a:lnTo>
                    <a:pt x="362" y="32"/>
                  </a:lnTo>
                  <a:lnTo>
                    <a:pt x="359" y="36"/>
                  </a:lnTo>
                  <a:lnTo>
                    <a:pt x="355" y="36"/>
                  </a:lnTo>
                  <a:lnTo>
                    <a:pt x="357" y="32"/>
                  </a:lnTo>
                  <a:lnTo>
                    <a:pt x="361" y="32"/>
                  </a:lnTo>
                  <a:close/>
                  <a:moveTo>
                    <a:pt x="371" y="32"/>
                  </a:moveTo>
                  <a:lnTo>
                    <a:pt x="378" y="38"/>
                  </a:lnTo>
                  <a:lnTo>
                    <a:pt x="381" y="43"/>
                  </a:lnTo>
                  <a:lnTo>
                    <a:pt x="378" y="51"/>
                  </a:lnTo>
                  <a:lnTo>
                    <a:pt x="373" y="53"/>
                  </a:lnTo>
                  <a:lnTo>
                    <a:pt x="364" y="48"/>
                  </a:lnTo>
                  <a:lnTo>
                    <a:pt x="362" y="39"/>
                  </a:lnTo>
                  <a:lnTo>
                    <a:pt x="367" y="32"/>
                  </a:lnTo>
                  <a:lnTo>
                    <a:pt x="371" y="32"/>
                  </a:lnTo>
                  <a:close/>
                  <a:moveTo>
                    <a:pt x="400" y="29"/>
                  </a:moveTo>
                  <a:lnTo>
                    <a:pt x="402" y="34"/>
                  </a:lnTo>
                  <a:lnTo>
                    <a:pt x="403" y="41"/>
                  </a:lnTo>
                  <a:lnTo>
                    <a:pt x="400" y="44"/>
                  </a:lnTo>
                  <a:lnTo>
                    <a:pt x="395" y="46"/>
                  </a:lnTo>
                  <a:lnTo>
                    <a:pt x="388" y="41"/>
                  </a:lnTo>
                  <a:lnTo>
                    <a:pt x="381" y="36"/>
                  </a:lnTo>
                  <a:lnTo>
                    <a:pt x="373" y="29"/>
                  </a:lnTo>
                  <a:lnTo>
                    <a:pt x="379" y="29"/>
                  </a:lnTo>
                  <a:lnTo>
                    <a:pt x="385" y="29"/>
                  </a:lnTo>
                  <a:lnTo>
                    <a:pt x="395" y="29"/>
                  </a:lnTo>
                  <a:lnTo>
                    <a:pt x="396" y="29"/>
                  </a:lnTo>
                  <a:lnTo>
                    <a:pt x="398" y="27"/>
                  </a:lnTo>
                  <a:lnTo>
                    <a:pt x="400" y="29"/>
                  </a:lnTo>
                  <a:close/>
                  <a:moveTo>
                    <a:pt x="410" y="237"/>
                  </a:moveTo>
                  <a:lnTo>
                    <a:pt x="407" y="237"/>
                  </a:lnTo>
                  <a:lnTo>
                    <a:pt x="403" y="242"/>
                  </a:lnTo>
                  <a:lnTo>
                    <a:pt x="402" y="241"/>
                  </a:lnTo>
                  <a:lnTo>
                    <a:pt x="396" y="242"/>
                  </a:lnTo>
                  <a:lnTo>
                    <a:pt x="390" y="249"/>
                  </a:lnTo>
                  <a:lnTo>
                    <a:pt x="381" y="249"/>
                  </a:lnTo>
                  <a:lnTo>
                    <a:pt x="379" y="248"/>
                  </a:lnTo>
                  <a:lnTo>
                    <a:pt x="378" y="241"/>
                  </a:lnTo>
                  <a:lnTo>
                    <a:pt x="374" y="241"/>
                  </a:lnTo>
                  <a:lnTo>
                    <a:pt x="373" y="236"/>
                  </a:lnTo>
                  <a:lnTo>
                    <a:pt x="369" y="232"/>
                  </a:lnTo>
                  <a:lnTo>
                    <a:pt x="366" y="227"/>
                  </a:lnTo>
                  <a:lnTo>
                    <a:pt x="361" y="229"/>
                  </a:lnTo>
                  <a:lnTo>
                    <a:pt x="352" y="225"/>
                  </a:lnTo>
                  <a:lnTo>
                    <a:pt x="347" y="224"/>
                  </a:lnTo>
                  <a:lnTo>
                    <a:pt x="340" y="217"/>
                  </a:lnTo>
                  <a:lnTo>
                    <a:pt x="338" y="217"/>
                  </a:lnTo>
                  <a:lnTo>
                    <a:pt x="328" y="217"/>
                  </a:lnTo>
                  <a:lnTo>
                    <a:pt x="321" y="220"/>
                  </a:lnTo>
                  <a:lnTo>
                    <a:pt x="313" y="219"/>
                  </a:lnTo>
                  <a:lnTo>
                    <a:pt x="306" y="217"/>
                  </a:lnTo>
                  <a:lnTo>
                    <a:pt x="301" y="217"/>
                  </a:lnTo>
                  <a:lnTo>
                    <a:pt x="296" y="225"/>
                  </a:lnTo>
                  <a:lnTo>
                    <a:pt x="287" y="227"/>
                  </a:lnTo>
                  <a:lnTo>
                    <a:pt x="282" y="231"/>
                  </a:lnTo>
                  <a:lnTo>
                    <a:pt x="274" y="234"/>
                  </a:lnTo>
                  <a:lnTo>
                    <a:pt x="270" y="241"/>
                  </a:lnTo>
                  <a:lnTo>
                    <a:pt x="268" y="242"/>
                  </a:lnTo>
                  <a:lnTo>
                    <a:pt x="267" y="242"/>
                  </a:lnTo>
                  <a:lnTo>
                    <a:pt x="265" y="236"/>
                  </a:lnTo>
                  <a:lnTo>
                    <a:pt x="262" y="227"/>
                  </a:lnTo>
                  <a:lnTo>
                    <a:pt x="260" y="225"/>
                  </a:lnTo>
                  <a:lnTo>
                    <a:pt x="255" y="229"/>
                  </a:lnTo>
                  <a:lnTo>
                    <a:pt x="248" y="236"/>
                  </a:lnTo>
                  <a:lnTo>
                    <a:pt x="246" y="239"/>
                  </a:lnTo>
                  <a:lnTo>
                    <a:pt x="241" y="237"/>
                  </a:lnTo>
                  <a:lnTo>
                    <a:pt x="239" y="234"/>
                  </a:lnTo>
                  <a:lnTo>
                    <a:pt x="236" y="236"/>
                  </a:lnTo>
                  <a:lnTo>
                    <a:pt x="233" y="234"/>
                  </a:lnTo>
                  <a:lnTo>
                    <a:pt x="231" y="241"/>
                  </a:lnTo>
                  <a:lnTo>
                    <a:pt x="233" y="248"/>
                  </a:lnTo>
                  <a:lnTo>
                    <a:pt x="229" y="251"/>
                  </a:lnTo>
                  <a:lnTo>
                    <a:pt x="229" y="254"/>
                  </a:lnTo>
                  <a:lnTo>
                    <a:pt x="227" y="254"/>
                  </a:lnTo>
                  <a:lnTo>
                    <a:pt x="222" y="253"/>
                  </a:lnTo>
                  <a:lnTo>
                    <a:pt x="212" y="254"/>
                  </a:lnTo>
                  <a:lnTo>
                    <a:pt x="210" y="254"/>
                  </a:lnTo>
                  <a:lnTo>
                    <a:pt x="207" y="260"/>
                  </a:lnTo>
                  <a:lnTo>
                    <a:pt x="209" y="261"/>
                  </a:lnTo>
                  <a:lnTo>
                    <a:pt x="216" y="268"/>
                  </a:lnTo>
                  <a:lnTo>
                    <a:pt x="210" y="273"/>
                  </a:lnTo>
                  <a:lnTo>
                    <a:pt x="207" y="273"/>
                  </a:lnTo>
                  <a:lnTo>
                    <a:pt x="207" y="275"/>
                  </a:lnTo>
                  <a:lnTo>
                    <a:pt x="198" y="278"/>
                  </a:lnTo>
                  <a:lnTo>
                    <a:pt x="198" y="282"/>
                  </a:lnTo>
                  <a:lnTo>
                    <a:pt x="200" y="282"/>
                  </a:lnTo>
                  <a:lnTo>
                    <a:pt x="200" y="287"/>
                  </a:lnTo>
                  <a:lnTo>
                    <a:pt x="195" y="290"/>
                  </a:lnTo>
                  <a:lnTo>
                    <a:pt x="197" y="295"/>
                  </a:lnTo>
                  <a:lnTo>
                    <a:pt x="193" y="301"/>
                  </a:lnTo>
                  <a:lnTo>
                    <a:pt x="195" y="309"/>
                  </a:lnTo>
                  <a:lnTo>
                    <a:pt x="192" y="319"/>
                  </a:lnTo>
                  <a:lnTo>
                    <a:pt x="188" y="330"/>
                  </a:lnTo>
                  <a:lnTo>
                    <a:pt x="183" y="330"/>
                  </a:lnTo>
                  <a:lnTo>
                    <a:pt x="176" y="338"/>
                  </a:lnTo>
                  <a:lnTo>
                    <a:pt x="178" y="340"/>
                  </a:lnTo>
                  <a:lnTo>
                    <a:pt x="176" y="343"/>
                  </a:lnTo>
                  <a:lnTo>
                    <a:pt x="173" y="347"/>
                  </a:lnTo>
                  <a:lnTo>
                    <a:pt x="169" y="345"/>
                  </a:lnTo>
                  <a:lnTo>
                    <a:pt x="166" y="352"/>
                  </a:lnTo>
                  <a:lnTo>
                    <a:pt x="156" y="357"/>
                  </a:lnTo>
                  <a:lnTo>
                    <a:pt x="154" y="364"/>
                  </a:lnTo>
                  <a:lnTo>
                    <a:pt x="146" y="367"/>
                  </a:lnTo>
                  <a:lnTo>
                    <a:pt x="140" y="376"/>
                  </a:lnTo>
                  <a:lnTo>
                    <a:pt x="139" y="377"/>
                  </a:lnTo>
                  <a:lnTo>
                    <a:pt x="130" y="374"/>
                  </a:lnTo>
                  <a:lnTo>
                    <a:pt x="127" y="374"/>
                  </a:lnTo>
                  <a:lnTo>
                    <a:pt x="118" y="377"/>
                  </a:lnTo>
                  <a:lnTo>
                    <a:pt x="111" y="377"/>
                  </a:lnTo>
                  <a:lnTo>
                    <a:pt x="105" y="381"/>
                  </a:lnTo>
                  <a:lnTo>
                    <a:pt x="101" y="386"/>
                  </a:lnTo>
                  <a:lnTo>
                    <a:pt x="103" y="393"/>
                  </a:lnTo>
                  <a:lnTo>
                    <a:pt x="98" y="400"/>
                  </a:lnTo>
                  <a:lnTo>
                    <a:pt x="94" y="401"/>
                  </a:lnTo>
                  <a:lnTo>
                    <a:pt x="89" y="401"/>
                  </a:lnTo>
                  <a:lnTo>
                    <a:pt x="87" y="403"/>
                  </a:lnTo>
                  <a:lnTo>
                    <a:pt x="84" y="403"/>
                  </a:lnTo>
                  <a:lnTo>
                    <a:pt x="76" y="401"/>
                  </a:lnTo>
                  <a:lnTo>
                    <a:pt x="76" y="396"/>
                  </a:lnTo>
                  <a:lnTo>
                    <a:pt x="74" y="394"/>
                  </a:lnTo>
                  <a:lnTo>
                    <a:pt x="67" y="393"/>
                  </a:lnTo>
                  <a:lnTo>
                    <a:pt x="62" y="394"/>
                  </a:lnTo>
                  <a:lnTo>
                    <a:pt x="53" y="394"/>
                  </a:lnTo>
                  <a:lnTo>
                    <a:pt x="52" y="388"/>
                  </a:lnTo>
                  <a:lnTo>
                    <a:pt x="47" y="389"/>
                  </a:lnTo>
                  <a:lnTo>
                    <a:pt x="41" y="384"/>
                  </a:lnTo>
                  <a:lnTo>
                    <a:pt x="36" y="388"/>
                  </a:lnTo>
                  <a:lnTo>
                    <a:pt x="36" y="391"/>
                  </a:lnTo>
                  <a:lnTo>
                    <a:pt x="31" y="388"/>
                  </a:lnTo>
                  <a:lnTo>
                    <a:pt x="24" y="379"/>
                  </a:lnTo>
                  <a:lnTo>
                    <a:pt x="19" y="377"/>
                  </a:lnTo>
                  <a:lnTo>
                    <a:pt x="21" y="374"/>
                  </a:lnTo>
                  <a:lnTo>
                    <a:pt x="17" y="369"/>
                  </a:lnTo>
                  <a:lnTo>
                    <a:pt x="11" y="367"/>
                  </a:lnTo>
                  <a:lnTo>
                    <a:pt x="6" y="364"/>
                  </a:lnTo>
                  <a:lnTo>
                    <a:pt x="0" y="357"/>
                  </a:lnTo>
                  <a:lnTo>
                    <a:pt x="4" y="355"/>
                  </a:lnTo>
                  <a:lnTo>
                    <a:pt x="7" y="347"/>
                  </a:lnTo>
                  <a:lnTo>
                    <a:pt x="6" y="345"/>
                  </a:lnTo>
                  <a:lnTo>
                    <a:pt x="6" y="340"/>
                  </a:lnTo>
                  <a:lnTo>
                    <a:pt x="14" y="336"/>
                  </a:lnTo>
                  <a:lnTo>
                    <a:pt x="17" y="333"/>
                  </a:lnTo>
                  <a:lnTo>
                    <a:pt x="17" y="324"/>
                  </a:lnTo>
                  <a:lnTo>
                    <a:pt x="19" y="321"/>
                  </a:lnTo>
                  <a:lnTo>
                    <a:pt x="17" y="311"/>
                  </a:lnTo>
                  <a:lnTo>
                    <a:pt x="19" y="309"/>
                  </a:lnTo>
                  <a:lnTo>
                    <a:pt x="19" y="306"/>
                  </a:lnTo>
                  <a:lnTo>
                    <a:pt x="23" y="304"/>
                  </a:lnTo>
                  <a:lnTo>
                    <a:pt x="28" y="307"/>
                  </a:lnTo>
                  <a:lnTo>
                    <a:pt x="31" y="302"/>
                  </a:lnTo>
                  <a:lnTo>
                    <a:pt x="36" y="301"/>
                  </a:lnTo>
                  <a:lnTo>
                    <a:pt x="38" y="299"/>
                  </a:lnTo>
                  <a:lnTo>
                    <a:pt x="35" y="294"/>
                  </a:lnTo>
                  <a:lnTo>
                    <a:pt x="40" y="285"/>
                  </a:lnTo>
                  <a:lnTo>
                    <a:pt x="36" y="283"/>
                  </a:lnTo>
                  <a:lnTo>
                    <a:pt x="31" y="285"/>
                  </a:lnTo>
                  <a:lnTo>
                    <a:pt x="29" y="283"/>
                  </a:lnTo>
                  <a:lnTo>
                    <a:pt x="29" y="282"/>
                  </a:lnTo>
                  <a:lnTo>
                    <a:pt x="29" y="278"/>
                  </a:lnTo>
                  <a:lnTo>
                    <a:pt x="31" y="275"/>
                  </a:lnTo>
                  <a:lnTo>
                    <a:pt x="28" y="270"/>
                  </a:lnTo>
                  <a:lnTo>
                    <a:pt x="28" y="263"/>
                  </a:lnTo>
                  <a:lnTo>
                    <a:pt x="29" y="260"/>
                  </a:lnTo>
                  <a:lnTo>
                    <a:pt x="31" y="258"/>
                  </a:lnTo>
                  <a:lnTo>
                    <a:pt x="33" y="260"/>
                  </a:lnTo>
                  <a:lnTo>
                    <a:pt x="38" y="258"/>
                  </a:lnTo>
                  <a:lnTo>
                    <a:pt x="43" y="258"/>
                  </a:lnTo>
                  <a:lnTo>
                    <a:pt x="45" y="254"/>
                  </a:lnTo>
                  <a:lnTo>
                    <a:pt x="48" y="254"/>
                  </a:lnTo>
                  <a:lnTo>
                    <a:pt x="47" y="251"/>
                  </a:lnTo>
                  <a:lnTo>
                    <a:pt x="48" y="246"/>
                  </a:lnTo>
                  <a:lnTo>
                    <a:pt x="52" y="248"/>
                  </a:lnTo>
                  <a:lnTo>
                    <a:pt x="58" y="242"/>
                  </a:lnTo>
                  <a:lnTo>
                    <a:pt x="58" y="241"/>
                  </a:lnTo>
                  <a:lnTo>
                    <a:pt x="65" y="241"/>
                  </a:lnTo>
                  <a:lnTo>
                    <a:pt x="65" y="237"/>
                  </a:lnTo>
                  <a:lnTo>
                    <a:pt x="69" y="232"/>
                  </a:lnTo>
                  <a:lnTo>
                    <a:pt x="77" y="232"/>
                  </a:lnTo>
                  <a:lnTo>
                    <a:pt x="82" y="227"/>
                  </a:lnTo>
                  <a:lnTo>
                    <a:pt x="82" y="224"/>
                  </a:lnTo>
                  <a:lnTo>
                    <a:pt x="79" y="224"/>
                  </a:lnTo>
                  <a:lnTo>
                    <a:pt x="74" y="215"/>
                  </a:lnTo>
                  <a:lnTo>
                    <a:pt x="67" y="219"/>
                  </a:lnTo>
                  <a:lnTo>
                    <a:pt x="64" y="217"/>
                  </a:lnTo>
                  <a:lnTo>
                    <a:pt x="67" y="210"/>
                  </a:lnTo>
                  <a:lnTo>
                    <a:pt x="67" y="207"/>
                  </a:lnTo>
                  <a:lnTo>
                    <a:pt x="64" y="205"/>
                  </a:lnTo>
                  <a:lnTo>
                    <a:pt x="70" y="200"/>
                  </a:lnTo>
                  <a:lnTo>
                    <a:pt x="69" y="196"/>
                  </a:lnTo>
                  <a:lnTo>
                    <a:pt x="70" y="195"/>
                  </a:lnTo>
                  <a:lnTo>
                    <a:pt x="64" y="190"/>
                  </a:lnTo>
                  <a:lnTo>
                    <a:pt x="70" y="184"/>
                  </a:lnTo>
                  <a:lnTo>
                    <a:pt x="70" y="181"/>
                  </a:lnTo>
                  <a:lnTo>
                    <a:pt x="72" y="178"/>
                  </a:lnTo>
                  <a:lnTo>
                    <a:pt x="76" y="178"/>
                  </a:lnTo>
                  <a:lnTo>
                    <a:pt x="77" y="174"/>
                  </a:lnTo>
                  <a:lnTo>
                    <a:pt x="82" y="172"/>
                  </a:lnTo>
                  <a:lnTo>
                    <a:pt x="82" y="169"/>
                  </a:lnTo>
                  <a:lnTo>
                    <a:pt x="86" y="164"/>
                  </a:lnTo>
                  <a:lnTo>
                    <a:pt x="91" y="167"/>
                  </a:lnTo>
                  <a:lnTo>
                    <a:pt x="93" y="172"/>
                  </a:lnTo>
                  <a:lnTo>
                    <a:pt x="99" y="171"/>
                  </a:lnTo>
                  <a:lnTo>
                    <a:pt x="105" y="166"/>
                  </a:lnTo>
                  <a:lnTo>
                    <a:pt x="110" y="167"/>
                  </a:lnTo>
                  <a:lnTo>
                    <a:pt x="111" y="166"/>
                  </a:lnTo>
                  <a:lnTo>
                    <a:pt x="115" y="162"/>
                  </a:lnTo>
                  <a:lnTo>
                    <a:pt x="115" y="155"/>
                  </a:lnTo>
                  <a:lnTo>
                    <a:pt x="117" y="152"/>
                  </a:lnTo>
                  <a:lnTo>
                    <a:pt x="120" y="150"/>
                  </a:lnTo>
                  <a:lnTo>
                    <a:pt x="120" y="149"/>
                  </a:lnTo>
                  <a:lnTo>
                    <a:pt x="115" y="145"/>
                  </a:lnTo>
                  <a:lnTo>
                    <a:pt x="115" y="142"/>
                  </a:lnTo>
                  <a:lnTo>
                    <a:pt x="117" y="142"/>
                  </a:lnTo>
                  <a:lnTo>
                    <a:pt x="115" y="138"/>
                  </a:lnTo>
                  <a:lnTo>
                    <a:pt x="117" y="131"/>
                  </a:lnTo>
                  <a:lnTo>
                    <a:pt x="118" y="130"/>
                  </a:lnTo>
                  <a:lnTo>
                    <a:pt x="118" y="126"/>
                  </a:lnTo>
                  <a:lnTo>
                    <a:pt x="122" y="120"/>
                  </a:lnTo>
                  <a:lnTo>
                    <a:pt x="123" y="114"/>
                  </a:lnTo>
                  <a:lnTo>
                    <a:pt x="125" y="116"/>
                  </a:lnTo>
                  <a:lnTo>
                    <a:pt x="127" y="120"/>
                  </a:lnTo>
                  <a:lnTo>
                    <a:pt x="132" y="116"/>
                  </a:lnTo>
                  <a:lnTo>
                    <a:pt x="125" y="108"/>
                  </a:lnTo>
                  <a:lnTo>
                    <a:pt x="125" y="101"/>
                  </a:lnTo>
                  <a:lnTo>
                    <a:pt x="122" y="96"/>
                  </a:lnTo>
                  <a:lnTo>
                    <a:pt x="122" y="85"/>
                  </a:lnTo>
                  <a:lnTo>
                    <a:pt x="122" y="80"/>
                  </a:lnTo>
                  <a:lnTo>
                    <a:pt x="125" y="70"/>
                  </a:lnTo>
                  <a:lnTo>
                    <a:pt x="127" y="65"/>
                  </a:lnTo>
                  <a:lnTo>
                    <a:pt x="120" y="58"/>
                  </a:lnTo>
                  <a:lnTo>
                    <a:pt x="128" y="53"/>
                  </a:lnTo>
                  <a:lnTo>
                    <a:pt x="130" y="44"/>
                  </a:lnTo>
                  <a:lnTo>
                    <a:pt x="134" y="39"/>
                  </a:lnTo>
                  <a:lnTo>
                    <a:pt x="135" y="27"/>
                  </a:lnTo>
                  <a:lnTo>
                    <a:pt x="142" y="24"/>
                  </a:lnTo>
                  <a:lnTo>
                    <a:pt x="144" y="20"/>
                  </a:lnTo>
                  <a:lnTo>
                    <a:pt x="151" y="22"/>
                  </a:lnTo>
                  <a:lnTo>
                    <a:pt x="151" y="17"/>
                  </a:lnTo>
                  <a:lnTo>
                    <a:pt x="156" y="14"/>
                  </a:lnTo>
                  <a:lnTo>
                    <a:pt x="156" y="8"/>
                  </a:lnTo>
                  <a:lnTo>
                    <a:pt x="157" y="2"/>
                  </a:lnTo>
                  <a:lnTo>
                    <a:pt x="161" y="2"/>
                  </a:lnTo>
                  <a:lnTo>
                    <a:pt x="164" y="7"/>
                  </a:lnTo>
                  <a:lnTo>
                    <a:pt x="169" y="7"/>
                  </a:lnTo>
                  <a:lnTo>
                    <a:pt x="175" y="10"/>
                  </a:lnTo>
                  <a:lnTo>
                    <a:pt x="178" y="14"/>
                  </a:lnTo>
                  <a:lnTo>
                    <a:pt x="181" y="15"/>
                  </a:lnTo>
                  <a:lnTo>
                    <a:pt x="186" y="8"/>
                  </a:lnTo>
                  <a:lnTo>
                    <a:pt x="190" y="8"/>
                  </a:lnTo>
                  <a:lnTo>
                    <a:pt x="192" y="3"/>
                  </a:lnTo>
                  <a:lnTo>
                    <a:pt x="202" y="3"/>
                  </a:lnTo>
                  <a:lnTo>
                    <a:pt x="204" y="5"/>
                  </a:lnTo>
                  <a:lnTo>
                    <a:pt x="214" y="3"/>
                  </a:lnTo>
                  <a:lnTo>
                    <a:pt x="219" y="7"/>
                  </a:lnTo>
                  <a:lnTo>
                    <a:pt x="224" y="10"/>
                  </a:lnTo>
                  <a:lnTo>
                    <a:pt x="226" y="14"/>
                  </a:lnTo>
                  <a:lnTo>
                    <a:pt x="229" y="14"/>
                  </a:lnTo>
                  <a:lnTo>
                    <a:pt x="231" y="8"/>
                  </a:lnTo>
                  <a:lnTo>
                    <a:pt x="236" y="10"/>
                  </a:lnTo>
                  <a:lnTo>
                    <a:pt x="236" y="5"/>
                  </a:lnTo>
                  <a:lnTo>
                    <a:pt x="239" y="0"/>
                  </a:lnTo>
                  <a:lnTo>
                    <a:pt x="243" y="5"/>
                  </a:lnTo>
                  <a:lnTo>
                    <a:pt x="245" y="5"/>
                  </a:lnTo>
                  <a:lnTo>
                    <a:pt x="246" y="8"/>
                  </a:lnTo>
                  <a:lnTo>
                    <a:pt x="248" y="8"/>
                  </a:lnTo>
                  <a:lnTo>
                    <a:pt x="251" y="7"/>
                  </a:lnTo>
                  <a:lnTo>
                    <a:pt x="256" y="8"/>
                  </a:lnTo>
                  <a:lnTo>
                    <a:pt x="260" y="7"/>
                  </a:lnTo>
                  <a:lnTo>
                    <a:pt x="262" y="3"/>
                  </a:lnTo>
                  <a:lnTo>
                    <a:pt x="267" y="8"/>
                  </a:lnTo>
                  <a:lnTo>
                    <a:pt x="268" y="7"/>
                  </a:lnTo>
                  <a:lnTo>
                    <a:pt x="272" y="10"/>
                  </a:lnTo>
                  <a:lnTo>
                    <a:pt x="280" y="5"/>
                  </a:lnTo>
                  <a:lnTo>
                    <a:pt x="287" y="8"/>
                  </a:lnTo>
                  <a:lnTo>
                    <a:pt x="291" y="8"/>
                  </a:lnTo>
                  <a:lnTo>
                    <a:pt x="294" y="10"/>
                  </a:lnTo>
                  <a:lnTo>
                    <a:pt x="296" y="8"/>
                  </a:lnTo>
                  <a:lnTo>
                    <a:pt x="304" y="10"/>
                  </a:lnTo>
                  <a:lnTo>
                    <a:pt x="308" y="7"/>
                  </a:lnTo>
                  <a:lnTo>
                    <a:pt x="316" y="8"/>
                  </a:lnTo>
                  <a:lnTo>
                    <a:pt x="321" y="5"/>
                  </a:lnTo>
                  <a:lnTo>
                    <a:pt x="328" y="12"/>
                  </a:lnTo>
                  <a:lnTo>
                    <a:pt x="337" y="15"/>
                  </a:lnTo>
                  <a:lnTo>
                    <a:pt x="337" y="17"/>
                  </a:lnTo>
                  <a:lnTo>
                    <a:pt x="344" y="20"/>
                  </a:lnTo>
                  <a:lnTo>
                    <a:pt x="344" y="24"/>
                  </a:lnTo>
                  <a:lnTo>
                    <a:pt x="347" y="27"/>
                  </a:lnTo>
                  <a:lnTo>
                    <a:pt x="354" y="29"/>
                  </a:lnTo>
                  <a:lnTo>
                    <a:pt x="361" y="27"/>
                  </a:lnTo>
                  <a:lnTo>
                    <a:pt x="362" y="29"/>
                  </a:lnTo>
                  <a:lnTo>
                    <a:pt x="357" y="32"/>
                  </a:lnTo>
                  <a:lnTo>
                    <a:pt x="354" y="38"/>
                  </a:lnTo>
                  <a:lnTo>
                    <a:pt x="350" y="36"/>
                  </a:lnTo>
                  <a:lnTo>
                    <a:pt x="350" y="34"/>
                  </a:lnTo>
                  <a:lnTo>
                    <a:pt x="349" y="36"/>
                  </a:lnTo>
                  <a:lnTo>
                    <a:pt x="340" y="32"/>
                  </a:lnTo>
                  <a:lnTo>
                    <a:pt x="337" y="32"/>
                  </a:lnTo>
                  <a:lnTo>
                    <a:pt x="340" y="34"/>
                  </a:lnTo>
                  <a:lnTo>
                    <a:pt x="342" y="36"/>
                  </a:lnTo>
                  <a:lnTo>
                    <a:pt x="340" y="38"/>
                  </a:lnTo>
                  <a:lnTo>
                    <a:pt x="342" y="38"/>
                  </a:lnTo>
                  <a:lnTo>
                    <a:pt x="349" y="39"/>
                  </a:lnTo>
                  <a:lnTo>
                    <a:pt x="347" y="43"/>
                  </a:lnTo>
                  <a:lnTo>
                    <a:pt x="349" y="43"/>
                  </a:lnTo>
                  <a:lnTo>
                    <a:pt x="350" y="41"/>
                  </a:lnTo>
                  <a:lnTo>
                    <a:pt x="349" y="43"/>
                  </a:lnTo>
                  <a:lnTo>
                    <a:pt x="352" y="43"/>
                  </a:lnTo>
                  <a:lnTo>
                    <a:pt x="354" y="44"/>
                  </a:lnTo>
                  <a:lnTo>
                    <a:pt x="354" y="46"/>
                  </a:lnTo>
                  <a:lnTo>
                    <a:pt x="355" y="46"/>
                  </a:lnTo>
                  <a:lnTo>
                    <a:pt x="361" y="55"/>
                  </a:lnTo>
                  <a:lnTo>
                    <a:pt x="361" y="53"/>
                  </a:lnTo>
                  <a:lnTo>
                    <a:pt x="364" y="56"/>
                  </a:lnTo>
                  <a:lnTo>
                    <a:pt x="367" y="60"/>
                  </a:lnTo>
                  <a:lnTo>
                    <a:pt x="374" y="60"/>
                  </a:lnTo>
                  <a:lnTo>
                    <a:pt x="373" y="63"/>
                  </a:lnTo>
                  <a:lnTo>
                    <a:pt x="366" y="63"/>
                  </a:lnTo>
                  <a:lnTo>
                    <a:pt x="366" y="65"/>
                  </a:lnTo>
                  <a:lnTo>
                    <a:pt x="374" y="65"/>
                  </a:lnTo>
                  <a:lnTo>
                    <a:pt x="379" y="68"/>
                  </a:lnTo>
                  <a:lnTo>
                    <a:pt x="378" y="72"/>
                  </a:lnTo>
                  <a:lnTo>
                    <a:pt x="385" y="75"/>
                  </a:lnTo>
                  <a:lnTo>
                    <a:pt x="390" y="75"/>
                  </a:lnTo>
                  <a:lnTo>
                    <a:pt x="390" y="79"/>
                  </a:lnTo>
                  <a:lnTo>
                    <a:pt x="386" y="79"/>
                  </a:lnTo>
                  <a:lnTo>
                    <a:pt x="381" y="77"/>
                  </a:lnTo>
                  <a:lnTo>
                    <a:pt x="374" y="77"/>
                  </a:lnTo>
                  <a:lnTo>
                    <a:pt x="371" y="75"/>
                  </a:lnTo>
                  <a:lnTo>
                    <a:pt x="369" y="77"/>
                  </a:lnTo>
                  <a:lnTo>
                    <a:pt x="364" y="77"/>
                  </a:lnTo>
                  <a:lnTo>
                    <a:pt x="362" y="73"/>
                  </a:lnTo>
                  <a:lnTo>
                    <a:pt x="355" y="77"/>
                  </a:lnTo>
                  <a:lnTo>
                    <a:pt x="354" y="75"/>
                  </a:lnTo>
                  <a:lnTo>
                    <a:pt x="350" y="77"/>
                  </a:lnTo>
                  <a:lnTo>
                    <a:pt x="349" y="79"/>
                  </a:lnTo>
                  <a:lnTo>
                    <a:pt x="350" y="82"/>
                  </a:lnTo>
                  <a:lnTo>
                    <a:pt x="342" y="87"/>
                  </a:lnTo>
                  <a:lnTo>
                    <a:pt x="345" y="89"/>
                  </a:lnTo>
                  <a:lnTo>
                    <a:pt x="347" y="89"/>
                  </a:lnTo>
                  <a:lnTo>
                    <a:pt x="349" y="89"/>
                  </a:lnTo>
                  <a:lnTo>
                    <a:pt x="354" y="90"/>
                  </a:lnTo>
                  <a:lnTo>
                    <a:pt x="354" y="94"/>
                  </a:lnTo>
                  <a:lnTo>
                    <a:pt x="350" y="97"/>
                  </a:lnTo>
                  <a:lnTo>
                    <a:pt x="345" y="96"/>
                  </a:lnTo>
                  <a:lnTo>
                    <a:pt x="340" y="92"/>
                  </a:lnTo>
                  <a:lnTo>
                    <a:pt x="338" y="92"/>
                  </a:lnTo>
                  <a:lnTo>
                    <a:pt x="330" y="94"/>
                  </a:lnTo>
                  <a:lnTo>
                    <a:pt x="323" y="96"/>
                  </a:lnTo>
                  <a:lnTo>
                    <a:pt x="318" y="94"/>
                  </a:lnTo>
                  <a:lnTo>
                    <a:pt x="320" y="97"/>
                  </a:lnTo>
                  <a:lnTo>
                    <a:pt x="315" y="104"/>
                  </a:lnTo>
                  <a:lnTo>
                    <a:pt x="318" y="109"/>
                  </a:lnTo>
                  <a:lnTo>
                    <a:pt x="323" y="113"/>
                  </a:lnTo>
                  <a:lnTo>
                    <a:pt x="330" y="113"/>
                  </a:lnTo>
                  <a:lnTo>
                    <a:pt x="328" y="116"/>
                  </a:lnTo>
                  <a:lnTo>
                    <a:pt x="333" y="114"/>
                  </a:lnTo>
                  <a:lnTo>
                    <a:pt x="335" y="118"/>
                  </a:lnTo>
                  <a:lnTo>
                    <a:pt x="337" y="116"/>
                  </a:lnTo>
                  <a:lnTo>
                    <a:pt x="344" y="120"/>
                  </a:lnTo>
                  <a:lnTo>
                    <a:pt x="344" y="128"/>
                  </a:lnTo>
                  <a:lnTo>
                    <a:pt x="340" y="130"/>
                  </a:lnTo>
                  <a:lnTo>
                    <a:pt x="338" y="130"/>
                  </a:lnTo>
                  <a:lnTo>
                    <a:pt x="338" y="128"/>
                  </a:lnTo>
                  <a:lnTo>
                    <a:pt x="335" y="125"/>
                  </a:lnTo>
                  <a:lnTo>
                    <a:pt x="338" y="128"/>
                  </a:lnTo>
                  <a:lnTo>
                    <a:pt x="338" y="131"/>
                  </a:lnTo>
                  <a:lnTo>
                    <a:pt x="340" y="131"/>
                  </a:lnTo>
                  <a:lnTo>
                    <a:pt x="345" y="128"/>
                  </a:lnTo>
                  <a:lnTo>
                    <a:pt x="352" y="130"/>
                  </a:lnTo>
                  <a:lnTo>
                    <a:pt x="354" y="135"/>
                  </a:lnTo>
                  <a:lnTo>
                    <a:pt x="354" y="137"/>
                  </a:lnTo>
                  <a:lnTo>
                    <a:pt x="347" y="135"/>
                  </a:lnTo>
                  <a:lnTo>
                    <a:pt x="342" y="140"/>
                  </a:lnTo>
                  <a:lnTo>
                    <a:pt x="337" y="137"/>
                  </a:lnTo>
                  <a:lnTo>
                    <a:pt x="335" y="138"/>
                  </a:lnTo>
                  <a:lnTo>
                    <a:pt x="337" y="137"/>
                  </a:lnTo>
                  <a:lnTo>
                    <a:pt x="340" y="138"/>
                  </a:lnTo>
                  <a:lnTo>
                    <a:pt x="337" y="142"/>
                  </a:lnTo>
                  <a:lnTo>
                    <a:pt x="332" y="143"/>
                  </a:lnTo>
                  <a:lnTo>
                    <a:pt x="330" y="143"/>
                  </a:lnTo>
                  <a:lnTo>
                    <a:pt x="328" y="140"/>
                  </a:lnTo>
                  <a:lnTo>
                    <a:pt x="325" y="140"/>
                  </a:lnTo>
                  <a:lnTo>
                    <a:pt x="325" y="138"/>
                  </a:lnTo>
                  <a:lnTo>
                    <a:pt x="320" y="138"/>
                  </a:lnTo>
                  <a:lnTo>
                    <a:pt x="315" y="137"/>
                  </a:lnTo>
                  <a:lnTo>
                    <a:pt x="315" y="138"/>
                  </a:lnTo>
                  <a:lnTo>
                    <a:pt x="308" y="135"/>
                  </a:lnTo>
                  <a:lnTo>
                    <a:pt x="313" y="140"/>
                  </a:lnTo>
                  <a:lnTo>
                    <a:pt x="323" y="142"/>
                  </a:lnTo>
                  <a:lnTo>
                    <a:pt x="325" y="145"/>
                  </a:lnTo>
                  <a:lnTo>
                    <a:pt x="328" y="143"/>
                  </a:lnTo>
                  <a:lnTo>
                    <a:pt x="330" y="150"/>
                  </a:lnTo>
                  <a:lnTo>
                    <a:pt x="333" y="147"/>
                  </a:lnTo>
                  <a:lnTo>
                    <a:pt x="338" y="149"/>
                  </a:lnTo>
                  <a:lnTo>
                    <a:pt x="338" y="150"/>
                  </a:lnTo>
                  <a:lnTo>
                    <a:pt x="342" y="149"/>
                  </a:lnTo>
                  <a:lnTo>
                    <a:pt x="344" y="149"/>
                  </a:lnTo>
                  <a:lnTo>
                    <a:pt x="347" y="154"/>
                  </a:lnTo>
                  <a:lnTo>
                    <a:pt x="345" y="154"/>
                  </a:lnTo>
                  <a:lnTo>
                    <a:pt x="349" y="157"/>
                  </a:lnTo>
                  <a:lnTo>
                    <a:pt x="345" y="159"/>
                  </a:lnTo>
                  <a:lnTo>
                    <a:pt x="347" y="159"/>
                  </a:lnTo>
                  <a:lnTo>
                    <a:pt x="347" y="161"/>
                  </a:lnTo>
                  <a:lnTo>
                    <a:pt x="349" y="159"/>
                  </a:lnTo>
                  <a:lnTo>
                    <a:pt x="352" y="161"/>
                  </a:lnTo>
                  <a:lnTo>
                    <a:pt x="354" y="157"/>
                  </a:lnTo>
                  <a:lnTo>
                    <a:pt x="361" y="159"/>
                  </a:lnTo>
                  <a:lnTo>
                    <a:pt x="364" y="157"/>
                  </a:lnTo>
                  <a:lnTo>
                    <a:pt x="366" y="161"/>
                  </a:lnTo>
                  <a:lnTo>
                    <a:pt x="361" y="164"/>
                  </a:lnTo>
                  <a:lnTo>
                    <a:pt x="367" y="162"/>
                  </a:lnTo>
                  <a:lnTo>
                    <a:pt x="366" y="167"/>
                  </a:lnTo>
                  <a:lnTo>
                    <a:pt x="361" y="171"/>
                  </a:lnTo>
                  <a:lnTo>
                    <a:pt x="359" y="167"/>
                  </a:lnTo>
                  <a:lnTo>
                    <a:pt x="359" y="172"/>
                  </a:lnTo>
                  <a:lnTo>
                    <a:pt x="355" y="176"/>
                  </a:lnTo>
                  <a:lnTo>
                    <a:pt x="359" y="176"/>
                  </a:lnTo>
                  <a:lnTo>
                    <a:pt x="366" y="171"/>
                  </a:lnTo>
                  <a:lnTo>
                    <a:pt x="371" y="171"/>
                  </a:lnTo>
                  <a:lnTo>
                    <a:pt x="373" y="172"/>
                  </a:lnTo>
                  <a:lnTo>
                    <a:pt x="371" y="174"/>
                  </a:lnTo>
                  <a:lnTo>
                    <a:pt x="373" y="172"/>
                  </a:lnTo>
                  <a:lnTo>
                    <a:pt x="376" y="176"/>
                  </a:lnTo>
                  <a:lnTo>
                    <a:pt x="367" y="178"/>
                  </a:lnTo>
                  <a:lnTo>
                    <a:pt x="376" y="178"/>
                  </a:lnTo>
                  <a:lnTo>
                    <a:pt x="378" y="179"/>
                  </a:lnTo>
                  <a:lnTo>
                    <a:pt x="367" y="181"/>
                  </a:lnTo>
                  <a:lnTo>
                    <a:pt x="378" y="183"/>
                  </a:lnTo>
                  <a:lnTo>
                    <a:pt x="378" y="186"/>
                  </a:lnTo>
                  <a:lnTo>
                    <a:pt x="369" y="186"/>
                  </a:lnTo>
                  <a:lnTo>
                    <a:pt x="371" y="188"/>
                  </a:lnTo>
                  <a:lnTo>
                    <a:pt x="369" y="191"/>
                  </a:lnTo>
                  <a:lnTo>
                    <a:pt x="362" y="188"/>
                  </a:lnTo>
                  <a:lnTo>
                    <a:pt x="366" y="193"/>
                  </a:lnTo>
                  <a:lnTo>
                    <a:pt x="376" y="195"/>
                  </a:lnTo>
                  <a:lnTo>
                    <a:pt x="379" y="196"/>
                  </a:lnTo>
                  <a:lnTo>
                    <a:pt x="381" y="198"/>
                  </a:lnTo>
                  <a:lnTo>
                    <a:pt x="386" y="198"/>
                  </a:lnTo>
                  <a:lnTo>
                    <a:pt x="386" y="203"/>
                  </a:lnTo>
                  <a:lnTo>
                    <a:pt x="386" y="210"/>
                  </a:lnTo>
                  <a:lnTo>
                    <a:pt x="388" y="213"/>
                  </a:lnTo>
                  <a:lnTo>
                    <a:pt x="393" y="219"/>
                  </a:lnTo>
                  <a:lnTo>
                    <a:pt x="396" y="222"/>
                  </a:lnTo>
                  <a:lnTo>
                    <a:pt x="398" y="224"/>
                  </a:lnTo>
                  <a:lnTo>
                    <a:pt x="405" y="232"/>
                  </a:lnTo>
                  <a:lnTo>
                    <a:pt x="410" y="23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15" name="Freeform 53"/>
            <p:cNvSpPr>
              <a:spLocks noEditPoints="1"/>
            </p:cNvSpPr>
            <p:nvPr/>
          </p:nvSpPr>
          <p:spPr bwMode="gray">
            <a:xfrm>
              <a:off x="4992370" y="2587386"/>
              <a:ext cx="1127345" cy="1092686"/>
            </a:xfrm>
            <a:custGeom>
              <a:avLst/>
              <a:gdLst>
                <a:gd name="T0" fmla="*/ 436 w 618"/>
                <a:gd name="T1" fmla="*/ 411 h 599"/>
                <a:gd name="T2" fmla="*/ 413 w 618"/>
                <a:gd name="T3" fmla="*/ 410 h 599"/>
                <a:gd name="T4" fmla="*/ 415 w 618"/>
                <a:gd name="T5" fmla="*/ 403 h 599"/>
                <a:gd name="T6" fmla="*/ 431 w 618"/>
                <a:gd name="T7" fmla="*/ 398 h 599"/>
                <a:gd name="T8" fmla="*/ 419 w 618"/>
                <a:gd name="T9" fmla="*/ 403 h 599"/>
                <a:gd name="T10" fmla="*/ 437 w 618"/>
                <a:gd name="T11" fmla="*/ 391 h 599"/>
                <a:gd name="T12" fmla="*/ 424 w 618"/>
                <a:gd name="T13" fmla="*/ 398 h 599"/>
                <a:gd name="T14" fmla="*/ 425 w 618"/>
                <a:gd name="T15" fmla="*/ 410 h 599"/>
                <a:gd name="T16" fmla="*/ 441 w 618"/>
                <a:gd name="T17" fmla="*/ 384 h 599"/>
                <a:gd name="T18" fmla="*/ 436 w 618"/>
                <a:gd name="T19" fmla="*/ 396 h 599"/>
                <a:gd name="T20" fmla="*/ 446 w 618"/>
                <a:gd name="T21" fmla="*/ 406 h 599"/>
                <a:gd name="T22" fmla="*/ 439 w 618"/>
                <a:gd name="T23" fmla="*/ 372 h 599"/>
                <a:gd name="T24" fmla="*/ 439 w 618"/>
                <a:gd name="T25" fmla="*/ 372 h 599"/>
                <a:gd name="T26" fmla="*/ 431 w 618"/>
                <a:gd name="T27" fmla="*/ 376 h 599"/>
                <a:gd name="T28" fmla="*/ 436 w 618"/>
                <a:gd name="T29" fmla="*/ 362 h 599"/>
                <a:gd name="T30" fmla="*/ 434 w 618"/>
                <a:gd name="T31" fmla="*/ 353 h 599"/>
                <a:gd name="T32" fmla="*/ 490 w 618"/>
                <a:gd name="T33" fmla="*/ 179 h 599"/>
                <a:gd name="T34" fmla="*/ 489 w 618"/>
                <a:gd name="T35" fmla="*/ 66 h 599"/>
                <a:gd name="T36" fmla="*/ 465 w 618"/>
                <a:gd name="T37" fmla="*/ 63 h 599"/>
                <a:gd name="T38" fmla="*/ 564 w 618"/>
                <a:gd name="T39" fmla="*/ 56 h 599"/>
                <a:gd name="T40" fmla="*/ 473 w 618"/>
                <a:gd name="T41" fmla="*/ 49 h 599"/>
                <a:gd name="T42" fmla="*/ 485 w 618"/>
                <a:gd name="T43" fmla="*/ 53 h 599"/>
                <a:gd name="T44" fmla="*/ 485 w 618"/>
                <a:gd name="T45" fmla="*/ 53 h 599"/>
                <a:gd name="T46" fmla="*/ 567 w 618"/>
                <a:gd name="T47" fmla="*/ 34 h 599"/>
                <a:gd name="T48" fmla="*/ 511 w 618"/>
                <a:gd name="T49" fmla="*/ 37 h 599"/>
                <a:gd name="T50" fmla="*/ 463 w 618"/>
                <a:gd name="T51" fmla="*/ 66 h 599"/>
                <a:gd name="T52" fmla="*/ 480 w 618"/>
                <a:gd name="T53" fmla="*/ 84 h 599"/>
                <a:gd name="T54" fmla="*/ 502 w 618"/>
                <a:gd name="T55" fmla="*/ 102 h 599"/>
                <a:gd name="T56" fmla="*/ 548 w 618"/>
                <a:gd name="T57" fmla="*/ 140 h 599"/>
                <a:gd name="T58" fmla="*/ 562 w 618"/>
                <a:gd name="T59" fmla="*/ 148 h 599"/>
                <a:gd name="T60" fmla="*/ 601 w 618"/>
                <a:gd name="T61" fmla="*/ 186 h 599"/>
                <a:gd name="T62" fmla="*/ 576 w 618"/>
                <a:gd name="T63" fmla="*/ 210 h 599"/>
                <a:gd name="T64" fmla="*/ 507 w 618"/>
                <a:gd name="T65" fmla="*/ 203 h 599"/>
                <a:gd name="T66" fmla="*/ 497 w 618"/>
                <a:gd name="T67" fmla="*/ 189 h 599"/>
                <a:gd name="T68" fmla="*/ 463 w 618"/>
                <a:gd name="T69" fmla="*/ 236 h 599"/>
                <a:gd name="T70" fmla="*/ 444 w 618"/>
                <a:gd name="T71" fmla="*/ 277 h 599"/>
                <a:gd name="T72" fmla="*/ 442 w 618"/>
                <a:gd name="T73" fmla="*/ 297 h 599"/>
                <a:gd name="T74" fmla="*/ 432 w 618"/>
                <a:gd name="T75" fmla="*/ 333 h 599"/>
                <a:gd name="T76" fmla="*/ 429 w 618"/>
                <a:gd name="T77" fmla="*/ 376 h 599"/>
                <a:gd name="T78" fmla="*/ 400 w 618"/>
                <a:gd name="T79" fmla="*/ 427 h 599"/>
                <a:gd name="T80" fmla="*/ 354 w 618"/>
                <a:gd name="T81" fmla="*/ 452 h 599"/>
                <a:gd name="T82" fmla="*/ 350 w 618"/>
                <a:gd name="T83" fmla="*/ 451 h 599"/>
                <a:gd name="T84" fmla="*/ 318 w 618"/>
                <a:gd name="T85" fmla="*/ 509 h 599"/>
                <a:gd name="T86" fmla="*/ 313 w 618"/>
                <a:gd name="T87" fmla="*/ 524 h 599"/>
                <a:gd name="T88" fmla="*/ 326 w 618"/>
                <a:gd name="T89" fmla="*/ 572 h 599"/>
                <a:gd name="T90" fmla="*/ 258 w 618"/>
                <a:gd name="T91" fmla="*/ 589 h 599"/>
                <a:gd name="T92" fmla="*/ 229 w 618"/>
                <a:gd name="T93" fmla="*/ 550 h 599"/>
                <a:gd name="T94" fmla="*/ 217 w 618"/>
                <a:gd name="T95" fmla="*/ 499 h 599"/>
                <a:gd name="T96" fmla="*/ 219 w 618"/>
                <a:gd name="T97" fmla="*/ 430 h 599"/>
                <a:gd name="T98" fmla="*/ 168 w 618"/>
                <a:gd name="T99" fmla="*/ 347 h 599"/>
                <a:gd name="T100" fmla="*/ 130 w 618"/>
                <a:gd name="T101" fmla="*/ 328 h 599"/>
                <a:gd name="T102" fmla="*/ 149 w 618"/>
                <a:gd name="T103" fmla="*/ 271 h 599"/>
                <a:gd name="T104" fmla="*/ 115 w 618"/>
                <a:gd name="T105" fmla="*/ 224 h 599"/>
                <a:gd name="T106" fmla="*/ 64 w 618"/>
                <a:gd name="T107" fmla="*/ 248 h 599"/>
                <a:gd name="T108" fmla="*/ 7 w 618"/>
                <a:gd name="T109" fmla="*/ 234 h 599"/>
                <a:gd name="T110" fmla="*/ 31 w 618"/>
                <a:gd name="T111" fmla="*/ 171 h 599"/>
                <a:gd name="T112" fmla="*/ 81 w 618"/>
                <a:gd name="T113" fmla="*/ 137 h 599"/>
                <a:gd name="T114" fmla="*/ 154 w 618"/>
                <a:gd name="T115" fmla="*/ 176 h 599"/>
                <a:gd name="T116" fmla="*/ 226 w 618"/>
                <a:gd name="T117" fmla="*/ 160 h 599"/>
                <a:gd name="T118" fmla="*/ 284 w 618"/>
                <a:gd name="T119" fmla="*/ 78 h 599"/>
                <a:gd name="T120" fmla="*/ 316 w 618"/>
                <a:gd name="T121" fmla="*/ 37 h 599"/>
                <a:gd name="T122" fmla="*/ 357 w 618"/>
                <a:gd name="T123" fmla="*/ 24 h 599"/>
                <a:gd name="T124" fmla="*/ 456 w 618"/>
                <a:gd name="T125" fmla="*/ 1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599">
                  <a:moveTo>
                    <a:pt x="345" y="446"/>
                  </a:moveTo>
                  <a:lnTo>
                    <a:pt x="347" y="446"/>
                  </a:lnTo>
                  <a:lnTo>
                    <a:pt x="347" y="447"/>
                  </a:lnTo>
                  <a:lnTo>
                    <a:pt x="345" y="447"/>
                  </a:lnTo>
                  <a:lnTo>
                    <a:pt x="345" y="446"/>
                  </a:lnTo>
                  <a:close/>
                  <a:moveTo>
                    <a:pt x="412" y="418"/>
                  </a:moveTo>
                  <a:lnTo>
                    <a:pt x="410" y="417"/>
                  </a:lnTo>
                  <a:lnTo>
                    <a:pt x="410" y="413"/>
                  </a:lnTo>
                  <a:lnTo>
                    <a:pt x="412" y="418"/>
                  </a:lnTo>
                  <a:close/>
                  <a:moveTo>
                    <a:pt x="424" y="418"/>
                  </a:moveTo>
                  <a:lnTo>
                    <a:pt x="424" y="417"/>
                  </a:lnTo>
                  <a:lnTo>
                    <a:pt x="424" y="413"/>
                  </a:lnTo>
                  <a:lnTo>
                    <a:pt x="427" y="417"/>
                  </a:lnTo>
                  <a:lnTo>
                    <a:pt x="424" y="418"/>
                  </a:lnTo>
                  <a:close/>
                  <a:moveTo>
                    <a:pt x="437" y="411"/>
                  </a:moveTo>
                  <a:lnTo>
                    <a:pt x="436" y="411"/>
                  </a:lnTo>
                  <a:lnTo>
                    <a:pt x="436" y="408"/>
                  </a:lnTo>
                  <a:lnTo>
                    <a:pt x="437" y="411"/>
                  </a:lnTo>
                  <a:close/>
                  <a:moveTo>
                    <a:pt x="413" y="418"/>
                  </a:moveTo>
                  <a:lnTo>
                    <a:pt x="412" y="411"/>
                  </a:lnTo>
                  <a:lnTo>
                    <a:pt x="413" y="408"/>
                  </a:lnTo>
                  <a:lnTo>
                    <a:pt x="413" y="410"/>
                  </a:lnTo>
                  <a:lnTo>
                    <a:pt x="412" y="413"/>
                  </a:lnTo>
                  <a:lnTo>
                    <a:pt x="413" y="418"/>
                  </a:lnTo>
                  <a:close/>
                  <a:moveTo>
                    <a:pt x="436" y="408"/>
                  </a:moveTo>
                  <a:lnTo>
                    <a:pt x="437" y="408"/>
                  </a:lnTo>
                  <a:lnTo>
                    <a:pt x="437" y="410"/>
                  </a:lnTo>
                  <a:lnTo>
                    <a:pt x="436" y="410"/>
                  </a:lnTo>
                  <a:lnTo>
                    <a:pt x="436" y="408"/>
                  </a:lnTo>
                  <a:close/>
                  <a:moveTo>
                    <a:pt x="413" y="417"/>
                  </a:moveTo>
                  <a:lnTo>
                    <a:pt x="412" y="413"/>
                  </a:lnTo>
                  <a:lnTo>
                    <a:pt x="413" y="410"/>
                  </a:lnTo>
                  <a:lnTo>
                    <a:pt x="413" y="406"/>
                  </a:lnTo>
                  <a:lnTo>
                    <a:pt x="415" y="413"/>
                  </a:lnTo>
                  <a:lnTo>
                    <a:pt x="413" y="417"/>
                  </a:lnTo>
                  <a:close/>
                  <a:moveTo>
                    <a:pt x="422" y="417"/>
                  </a:moveTo>
                  <a:lnTo>
                    <a:pt x="420" y="417"/>
                  </a:lnTo>
                  <a:lnTo>
                    <a:pt x="422" y="417"/>
                  </a:lnTo>
                  <a:lnTo>
                    <a:pt x="420" y="420"/>
                  </a:lnTo>
                  <a:lnTo>
                    <a:pt x="417" y="417"/>
                  </a:lnTo>
                  <a:lnTo>
                    <a:pt x="417" y="413"/>
                  </a:lnTo>
                  <a:lnTo>
                    <a:pt x="420" y="411"/>
                  </a:lnTo>
                  <a:lnTo>
                    <a:pt x="419" y="406"/>
                  </a:lnTo>
                  <a:lnTo>
                    <a:pt x="420" y="405"/>
                  </a:lnTo>
                  <a:lnTo>
                    <a:pt x="424" y="411"/>
                  </a:lnTo>
                  <a:lnTo>
                    <a:pt x="422" y="417"/>
                  </a:lnTo>
                  <a:close/>
                  <a:moveTo>
                    <a:pt x="413" y="403"/>
                  </a:moveTo>
                  <a:lnTo>
                    <a:pt x="415" y="403"/>
                  </a:lnTo>
                  <a:lnTo>
                    <a:pt x="415" y="406"/>
                  </a:lnTo>
                  <a:lnTo>
                    <a:pt x="413" y="406"/>
                  </a:lnTo>
                  <a:lnTo>
                    <a:pt x="413" y="403"/>
                  </a:lnTo>
                  <a:close/>
                  <a:moveTo>
                    <a:pt x="432" y="400"/>
                  </a:moveTo>
                  <a:lnTo>
                    <a:pt x="436" y="401"/>
                  </a:lnTo>
                  <a:lnTo>
                    <a:pt x="439" y="408"/>
                  </a:lnTo>
                  <a:lnTo>
                    <a:pt x="432" y="400"/>
                  </a:lnTo>
                  <a:close/>
                  <a:moveTo>
                    <a:pt x="419" y="398"/>
                  </a:moveTo>
                  <a:lnTo>
                    <a:pt x="419" y="401"/>
                  </a:lnTo>
                  <a:lnTo>
                    <a:pt x="419" y="398"/>
                  </a:lnTo>
                  <a:close/>
                  <a:moveTo>
                    <a:pt x="439" y="394"/>
                  </a:moveTo>
                  <a:lnTo>
                    <a:pt x="442" y="394"/>
                  </a:lnTo>
                  <a:lnTo>
                    <a:pt x="442" y="396"/>
                  </a:lnTo>
                  <a:lnTo>
                    <a:pt x="439" y="396"/>
                  </a:lnTo>
                  <a:lnTo>
                    <a:pt x="439" y="394"/>
                  </a:lnTo>
                  <a:close/>
                  <a:moveTo>
                    <a:pt x="431" y="398"/>
                  </a:moveTo>
                  <a:lnTo>
                    <a:pt x="432" y="400"/>
                  </a:lnTo>
                  <a:lnTo>
                    <a:pt x="431" y="400"/>
                  </a:lnTo>
                  <a:lnTo>
                    <a:pt x="429" y="398"/>
                  </a:lnTo>
                  <a:lnTo>
                    <a:pt x="431" y="400"/>
                  </a:lnTo>
                  <a:lnTo>
                    <a:pt x="432" y="400"/>
                  </a:lnTo>
                  <a:lnTo>
                    <a:pt x="434" y="405"/>
                  </a:lnTo>
                  <a:lnTo>
                    <a:pt x="431" y="403"/>
                  </a:lnTo>
                  <a:lnTo>
                    <a:pt x="425" y="398"/>
                  </a:lnTo>
                  <a:lnTo>
                    <a:pt x="425" y="394"/>
                  </a:lnTo>
                  <a:lnTo>
                    <a:pt x="431" y="398"/>
                  </a:lnTo>
                  <a:close/>
                  <a:moveTo>
                    <a:pt x="419" y="400"/>
                  </a:moveTo>
                  <a:lnTo>
                    <a:pt x="420" y="405"/>
                  </a:lnTo>
                  <a:lnTo>
                    <a:pt x="419" y="408"/>
                  </a:lnTo>
                  <a:lnTo>
                    <a:pt x="419" y="406"/>
                  </a:lnTo>
                  <a:lnTo>
                    <a:pt x="417" y="400"/>
                  </a:lnTo>
                  <a:lnTo>
                    <a:pt x="419" y="403"/>
                  </a:lnTo>
                  <a:lnTo>
                    <a:pt x="417" y="405"/>
                  </a:lnTo>
                  <a:lnTo>
                    <a:pt x="419" y="406"/>
                  </a:lnTo>
                  <a:lnTo>
                    <a:pt x="417" y="408"/>
                  </a:lnTo>
                  <a:lnTo>
                    <a:pt x="417" y="406"/>
                  </a:lnTo>
                  <a:lnTo>
                    <a:pt x="420" y="411"/>
                  </a:lnTo>
                  <a:lnTo>
                    <a:pt x="417" y="411"/>
                  </a:lnTo>
                  <a:lnTo>
                    <a:pt x="415" y="406"/>
                  </a:lnTo>
                  <a:lnTo>
                    <a:pt x="415" y="403"/>
                  </a:lnTo>
                  <a:lnTo>
                    <a:pt x="415" y="398"/>
                  </a:lnTo>
                  <a:lnTo>
                    <a:pt x="417" y="393"/>
                  </a:lnTo>
                  <a:lnTo>
                    <a:pt x="419" y="400"/>
                  </a:lnTo>
                  <a:close/>
                  <a:moveTo>
                    <a:pt x="441" y="391"/>
                  </a:moveTo>
                  <a:lnTo>
                    <a:pt x="442" y="391"/>
                  </a:lnTo>
                  <a:lnTo>
                    <a:pt x="442" y="394"/>
                  </a:lnTo>
                  <a:lnTo>
                    <a:pt x="436" y="394"/>
                  </a:lnTo>
                  <a:lnTo>
                    <a:pt x="437" y="391"/>
                  </a:lnTo>
                  <a:lnTo>
                    <a:pt x="437" y="389"/>
                  </a:lnTo>
                  <a:lnTo>
                    <a:pt x="441" y="391"/>
                  </a:lnTo>
                  <a:close/>
                  <a:moveTo>
                    <a:pt x="437" y="386"/>
                  </a:moveTo>
                  <a:lnTo>
                    <a:pt x="441" y="389"/>
                  </a:lnTo>
                  <a:lnTo>
                    <a:pt x="441" y="391"/>
                  </a:lnTo>
                  <a:lnTo>
                    <a:pt x="437" y="389"/>
                  </a:lnTo>
                  <a:lnTo>
                    <a:pt x="437" y="391"/>
                  </a:lnTo>
                  <a:lnTo>
                    <a:pt x="436" y="391"/>
                  </a:lnTo>
                  <a:lnTo>
                    <a:pt x="434" y="388"/>
                  </a:lnTo>
                  <a:lnTo>
                    <a:pt x="437" y="386"/>
                  </a:lnTo>
                  <a:close/>
                  <a:moveTo>
                    <a:pt x="425" y="394"/>
                  </a:moveTo>
                  <a:lnTo>
                    <a:pt x="425" y="396"/>
                  </a:lnTo>
                  <a:lnTo>
                    <a:pt x="425" y="394"/>
                  </a:lnTo>
                  <a:lnTo>
                    <a:pt x="424" y="394"/>
                  </a:lnTo>
                  <a:lnTo>
                    <a:pt x="425" y="394"/>
                  </a:lnTo>
                  <a:lnTo>
                    <a:pt x="424" y="398"/>
                  </a:lnTo>
                  <a:lnTo>
                    <a:pt x="427" y="403"/>
                  </a:lnTo>
                  <a:lnTo>
                    <a:pt x="429" y="401"/>
                  </a:lnTo>
                  <a:lnTo>
                    <a:pt x="436" y="408"/>
                  </a:lnTo>
                  <a:lnTo>
                    <a:pt x="436" y="410"/>
                  </a:lnTo>
                  <a:lnTo>
                    <a:pt x="432" y="405"/>
                  </a:lnTo>
                  <a:lnTo>
                    <a:pt x="431" y="405"/>
                  </a:lnTo>
                  <a:lnTo>
                    <a:pt x="429" y="406"/>
                  </a:lnTo>
                  <a:lnTo>
                    <a:pt x="432" y="406"/>
                  </a:lnTo>
                  <a:lnTo>
                    <a:pt x="432" y="410"/>
                  </a:lnTo>
                  <a:lnTo>
                    <a:pt x="429" y="411"/>
                  </a:lnTo>
                  <a:lnTo>
                    <a:pt x="427" y="408"/>
                  </a:lnTo>
                  <a:lnTo>
                    <a:pt x="429" y="411"/>
                  </a:lnTo>
                  <a:lnTo>
                    <a:pt x="432" y="413"/>
                  </a:lnTo>
                  <a:lnTo>
                    <a:pt x="432" y="418"/>
                  </a:lnTo>
                  <a:lnTo>
                    <a:pt x="429" y="417"/>
                  </a:lnTo>
                  <a:lnTo>
                    <a:pt x="425" y="410"/>
                  </a:lnTo>
                  <a:lnTo>
                    <a:pt x="424" y="408"/>
                  </a:lnTo>
                  <a:lnTo>
                    <a:pt x="422" y="405"/>
                  </a:lnTo>
                  <a:lnTo>
                    <a:pt x="420" y="401"/>
                  </a:lnTo>
                  <a:lnTo>
                    <a:pt x="419" y="400"/>
                  </a:lnTo>
                  <a:lnTo>
                    <a:pt x="419" y="394"/>
                  </a:lnTo>
                  <a:lnTo>
                    <a:pt x="417" y="391"/>
                  </a:lnTo>
                  <a:lnTo>
                    <a:pt x="415" y="386"/>
                  </a:lnTo>
                  <a:lnTo>
                    <a:pt x="424" y="391"/>
                  </a:lnTo>
                  <a:lnTo>
                    <a:pt x="425" y="394"/>
                  </a:lnTo>
                  <a:close/>
                  <a:moveTo>
                    <a:pt x="437" y="377"/>
                  </a:moveTo>
                  <a:lnTo>
                    <a:pt x="437" y="379"/>
                  </a:lnTo>
                  <a:lnTo>
                    <a:pt x="441" y="381"/>
                  </a:lnTo>
                  <a:lnTo>
                    <a:pt x="439" y="382"/>
                  </a:lnTo>
                  <a:lnTo>
                    <a:pt x="436" y="382"/>
                  </a:lnTo>
                  <a:lnTo>
                    <a:pt x="439" y="382"/>
                  </a:lnTo>
                  <a:lnTo>
                    <a:pt x="441" y="384"/>
                  </a:lnTo>
                  <a:lnTo>
                    <a:pt x="448" y="386"/>
                  </a:lnTo>
                  <a:lnTo>
                    <a:pt x="446" y="389"/>
                  </a:lnTo>
                  <a:lnTo>
                    <a:pt x="442" y="389"/>
                  </a:lnTo>
                  <a:lnTo>
                    <a:pt x="439" y="386"/>
                  </a:lnTo>
                  <a:lnTo>
                    <a:pt x="434" y="388"/>
                  </a:lnTo>
                  <a:lnTo>
                    <a:pt x="432" y="384"/>
                  </a:lnTo>
                  <a:lnTo>
                    <a:pt x="432" y="388"/>
                  </a:lnTo>
                  <a:lnTo>
                    <a:pt x="429" y="386"/>
                  </a:lnTo>
                  <a:lnTo>
                    <a:pt x="434" y="388"/>
                  </a:lnTo>
                  <a:lnTo>
                    <a:pt x="437" y="391"/>
                  </a:lnTo>
                  <a:lnTo>
                    <a:pt x="436" y="393"/>
                  </a:lnTo>
                  <a:lnTo>
                    <a:pt x="434" y="391"/>
                  </a:lnTo>
                  <a:lnTo>
                    <a:pt x="431" y="391"/>
                  </a:lnTo>
                  <a:lnTo>
                    <a:pt x="431" y="393"/>
                  </a:lnTo>
                  <a:lnTo>
                    <a:pt x="432" y="391"/>
                  </a:lnTo>
                  <a:lnTo>
                    <a:pt x="436" y="396"/>
                  </a:lnTo>
                  <a:lnTo>
                    <a:pt x="432" y="396"/>
                  </a:lnTo>
                  <a:lnTo>
                    <a:pt x="437" y="396"/>
                  </a:lnTo>
                  <a:lnTo>
                    <a:pt x="441" y="400"/>
                  </a:lnTo>
                  <a:lnTo>
                    <a:pt x="446" y="398"/>
                  </a:lnTo>
                  <a:lnTo>
                    <a:pt x="451" y="400"/>
                  </a:lnTo>
                  <a:lnTo>
                    <a:pt x="453" y="398"/>
                  </a:lnTo>
                  <a:lnTo>
                    <a:pt x="453" y="401"/>
                  </a:lnTo>
                  <a:lnTo>
                    <a:pt x="451" y="406"/>
                  </a:lnTo>
                  <a:lnTo>
                    <a:pt x="446" y="406"/>
                  </a:lnTo>
                  <a:lnTo>
                    <a:pt x="442" y="405"/>
                  </a:lnTo>
                  <a:lnTo>
                    <a:pt x="442" y="403"/>
                  </a:lnTo>
                  <a:lnTo>
                    <a:pt x="439" y="400"/>
                  </a:lnTo>
                  <a:lnTo>
                    <a:pt x="437" y="400"/>
                  </a:lnTo>
                  <a:lnTo>
                    <a:pt x="439" y="401"/>
                  </a:lnTo>
                  <a:lnTo>
                    <a:pt x="441" y="405"/>
                  </a:lnTo>
                  <a:lnTo>
                    <a:pt x="446" y="406"/>
                  </a:lnTo>
                  <a:lnTo>
                    <a:pt x="444" y="410"/>
                  </a:lnTo>
                  <a:lnTo>
                    <a:pt x="439" y="408"/>
                  </a:lnTo>
                  <a:lnTo>
                    <a:pt x="436" y="401"/>
                  </a:lnTo>
                  <a:lnTo>
                    <a:pt x="431" y="396"/>
                  </a:lnTo>
                  <a:lnTo>
                    <a:pt x="425" y="394"/>
                  </a:lnTo>
                  <a:lnTo>
                    <a:pt x="422" y="388"/>
                  </a:lnTo>
                  <a:lnTo>
                    <a:pt x="419" y="386"/>
                  </a:lnTo>
                  <a:lnTo>
                    <a:pt x="413" y="381"/>
                  </a:lnTo>
                  <a:lnTo>
                    <a:pt x="422" y="382"/>
                  </a:lnTo>
                  <a:lnTo>
                    <a:pt x="429" y="379"/>
                  </a:lnTo>
                  <a:lnTo>
                    <a:pt x="437" y="377"/>
                  </a:lnTo>
                  <a:close/>
                  <a:moveTo>
                    <a:pt x="439" y="372"/>
                  </a:moveTo>
                  <a:lnTo>
                    <a:pt x="441" y="372"/>
                  </a:lnTo>
                  <a:lnTo>
                    <a:pt x="441" y="374"/>
                  </a:lnTo>
                  <a:lnTo>
                    <a:pt x="439" y="374"/>
                  </a:lnTo>
                  <a:lnTo>
                    <a:pt x="439" y="372"/>
                  </a:lnTo>
                  <a:close/>
                  <a:moveTo>
                    <a:pt x="446" y="370"/>
                  </a:moveTo>
                  <a:lnTo>
                    <a:pt x="448" y="370"/>
                  </a:lnTo>
                  <a:lnTo>
                    <a:pt x="448" y="372"/>
                  </a:lnTo>
                  <a:lnTo>
                    <a:pt x="446" y="372"/>
                  </a:lnTo>
                  <a:lnTo>
                    <a:pt x="446" y="370"/>
                  </a:lnTo>
                  <a:close/>
                  <a:moveTo>
                    <a:pt x="442" y="360"/>
                  </a:moveTo>
                  <a:lnTo>
                    <a:pt x="444" y="360"/>
                  </a:lnTo>
                  <a:lnTo>
                    <a:pt x="444" y="364"/>
                  </a:lnTo>
                  <a:lnTo>
                    <a:pt x="442" y="364"/>
                  </a:lnTo>
                  <a:lnTo>
                    <a:pt x="442" y="360"/>
                  </a:lnTo>
                  <a:close/>
                  <a:moveTo>
                    <a:pt x="454" y="364"/>
                  </a:moveTo>
                  <a:lnTo>
                    <a:pt x="453" y="369"/>
                  </a:lnTo>
                  <a:lnTo>
                    <a:pt x="449" y="367"/>
                  </a:lnTo>
                  <a:lnTo>
                    <a:pt x="451" y="369"/>
                  </a:lnTo>
                  <a:lnTo>
                    <a:pt x="449" y="370"/>
                  </a:lnTo>
                  <a:lnTo>
                    <a:pt x="439" y="372"/>
                  </a:lnTo>
                  <a:lnTo>
                    <a:pt x="439" y="374"/>
                  </a:lnTo>
                  <a:lnTo>
                    <a:pt x="434" y="376"/>
                  </a:lnTo>
                  <a:lnTo>
                    <a:pt x="441" y="374"/>
                  </a:lnTo>
                  <a:lnTo>
                    <a:pt x="444" y="372"/>
                  </a:lnTo>
                  <a:lnTo>
                    <a:pt x="442" y="376"/>
                  </a:lnTo>
                  <a:lnTo>
                    <a:pt x="444" y="372"/>
                  </a:lnTo>
                  <a:lnTo>
                    <a:pt x="449" y="372"/>
                  </a:lnTo>
                  <a:lnTo>
                    <a:pt x="449" y="381"/>
                  </a:lnTo>
                  <a:lnTo>
                    <a:pt x="446" y="382"/>
                  </a:lnTo>
                  <a:lnTo>
                    <a:pt x="441" y="384"/>
                  </a:lnTo>
                  <a:lnTo>
                    <a:pt x="441" y="379"/>
                  </a:lnTo>
                  <a:lnTo>
                    <a:pt x="437" y="379"/>
                  </a:lnTo>
                  <a:lnTo>
                    <a:pt x="437" y="377"/>
                  </a:lnTo>
                  <a:lnTo>
                    <a:pt x="436" y="377"/>
                  </a:lnTo>
                  <a:lnTo>
                    <a:pt x="431" y="379"/>
                  </a:lnTo>
                  <a:lnTo>
                    <a:pt x="431" y="376"/>
                  </a:lnTo>
                  <a:lnTo>
                    <a:pt x="437" y="370"/>
                  </a:lnTo>
                  <a:lnTo>
                    <a:pt x="439" y="367"/>
                  </a:lnTo>
                  <a:lnTo>
                    <a:pt x="442" y="367"/>
                  </a:lnTo>
                  <a:lnTo>
                    <a:pt x="451" y="360"/>
                  </a:lnTo>
                  <a:lnTo>
                    <a:pt x="454" y="362"/>
                  </a:lnTo>
                  <a:lnTo>
                    <a:pt x="454" y="364"/>
                  </a:lnTo>
                  <a:close/>
                  <a:moveTo>
                    <a:pt x="442" y="353"/>
                  </a:moveTo>
                  <a:lnTo>
                    <a:pt x="444" y="357"/>
                  </a:lnTo>
                  <a:lnTo>
                    <a:pt x="439" y="360"/>
                  </a:lnTo>
                  <a:lnTo>
                    <a:pt x="439" y="364"/>
                  </a:lnTo>
                  <a:lnTo>
                    <a:pt x="439" y="360"/>
                  </a:lnTo>
                  <a:lnTo>
                    <a:pt x="444" y="359"/>
                  </a:lnTo>
                  <a:lnTo>
                    <a:pt x="441" y="364"/>
                  </a:lnTo>
                  <a:lnTo>
                    <a:pt x="437" y="369"/>
                  </a:lnTo>
                  <a:lnTo>
                    <a:pt x="432" y="372"/>
                  </a:lnTo>
                  <a:lnTo>
                    <a:pt x="436" y="362"/>
                  </a:lnTo>
                  <a:lnTo>
                    <a:pt x="442" y="353"/>
                  </a:lnTo>
                  <a:close/>
                  <a:moveTo>
                    <a:pt x="437" y="359"/>
                  </a:moveTo>
                  <a:lnTo>
                    <a:pt x="439" y="353"/>
                  </a:lnTo>
                  <a:lnTo>
                    <a:pt x="441" y="353"/>
                  </a:lnTo>
                  <a:lnTo>
                    <a:pt x="437" y="359"/>
                  </a:lnTo>
                  <a:close/>
                  <a:moveTo>
                    <a:pt x="437" y="352"/>
                  </a:moveTo>
                  <a:lnTo>
                    <a:pt x="439" y="353"/>
                  </a:lnTo>
                  <a:lnTo>
                    <a:pt x="434" y="362"/>
                  </a:lnTo>
                  <a:lnTo>
                    <a:pt x="434" y="364"/>
                  </a:lnTo>
                  <a:lnTo>
                    <a:pt x="431" y="364"/>
                  </a:lnTo>
                  <a:lnTo>
                    <a:pt x="432" y="362"/>
                  </a:lnTo>
                  <a:lnTo>
                    <a:pt x="432" y="357"/>
                  </a:lnTo>
                  <a:lnTo>
                    <a:pt x="436" y="359"/>
                  </a:lnTo>
                  <a:lnTo>
                    <a:pt x="436" y="357"/>
                  </a:lnTo>
                  <a:lnTo>
                    <a:pt x="436" y="355"/>
                  </a:lnTo>
                  <a:lnTo>
                    <a:pt x="434" y="353"/>
                  </a:lnTo>
                  <a:lnTo>
                    <a:pt x="437" y="352"/>
                  </a:lnTo>
                  <a:close/>
                  <a:moveTo>
                    <a:pt x="501" y="222"/>
                  </a:moveTo>
                  <a:lnTo>
                    <a:pt x="501" y="225"/>
                  </a:lnTo>
                  <a:lnTo>
                    <a:pt x="499" y="224"/>
                  </a:lnTo>
                  <a:lnTo>
                    <a:pt x="501" y="222"/>
                  </a:lnTo>
                  <a:close/>
                  <a:moveTo>
                    <a:pt x="501" y="205"/>
                  </a:moveTo>
                  <a:lnTo>
                    <a:pt x="502" y="205"/>
                  </a:lnTo>
                  <a:lnTo>
                    <a:pt x="502" y="207"/>
                  </a:lnTo>
                  <a:lnTo>
                    <a:pt x="501" y="207"/>
                  </a:lnTo>
                  <a:lnTo>
                    <a:pt x="501" y="205"/>
                  </a:lnTo>
                  <a:close/>
                  <a:moveTo>
                    <a:pt x="501" y="200"/>
                  </a:moveTo>
                  <a:lnTo>
                    <a:pt x="501" y="203"/>
                  </a:lnTo>
                  <a:lnTo>
                    <a:pt x="499" y="200"/>
                  </a:lnTo>
                  <a:lnTo>
                    <a:pt x="501" y="200"/>
                  </a:lnTo>
                  <a:close/>
                  <a:moveTo>
                    <a:pt x="489" y="179"/>
                  </a:moveTo>
                  <a:lnTo>
                    <a:pt x="490" y="179"/>
                  </a:lnTo>
                  <a:lnTo>
                    <a:pt x="490" y="181"/>
                  </a:lnTo>
                  <a:lnTo>
                    <a:pt x="489" y="181"/>
                  </a:lnTo>
                  <a:lnTo>
                    <a:pt x="489" y="179"/>
                  </a:lnTo>
                  <a:close/>
                  <a:moveTo>
                    <a:pt x="555" y="137"/>
                  </a:moveTo>
                  <a:lnTo>
                    <a:pt x="559" y="138"/>
                  </a:lnTo>
                  <a:lnTo>
                    <a:pt x="559" y="142"/>
                  </a:lnTo>
                  <a:lnTo>
                    <a:pt x="562" y="145"/>
                  </a:lnTo>
                  <a:lnTo>
                    <a:pt x="560" y="147"/>
                  </a:lnTo>
                  <a:lnTo>
                    <a:pt x="557" y="145"/>
                  </a:lnTo>
                  <a:lnTo>
                    <a:pt x="555" y="142"/>
                  </a:lnTo>
                  <a:lnTo>
                    <a:pt x="557" y="140"/>
                  </a:lnTo>
                  <a:lnTo>
                    <a:pt x="553" y="137"/>
                  </a:lnTo>
                  <a:lnTo>
                    <a:pt x="555" y="137"/>
                  </a:lnTo>
                  <a:close/>
                  <a:moveTo>
                    <a:pt x="478" y="60"/>
                  </a:moveTo>
                  <a:lnTo>
                    <a:pt x="489" y="65"/>
                  </a:lnTo>
                  <a:lnTo>
                    <a:pt x="489" y="66"/>
                  </a:lnTo>
                  <a:lnTo>
                    <a:pt x="485" y="66"/>
                  </a:lnTo>
                  <a:lnTo>
                    <a:pt x="485" y="68"/>
                  </a:lnTo>
                  <a:lnTo>
                    <a:pt x="480" y="68"/>
                  </a:lnTo>
                  <a:lnTo>
                    <a:pt x="480" y="66"/>
                  </a:lnTo>
                  <a:lnTo>
                    <a:pt x="478" y="65"/>
                  </a:lnTo>
                  <a:lnTo>
                    <a:pt x="480" y="66"/>
                  </a:lnTo>
                  <a:lnTo>
                    <a:pt x="475" y="68"/>
                  </a:lnTo>
                  <a:lnTo>
                    <a:pt x="475" y="66"/>
                  </a:lnTo>
                  <a:lnTo>
                    <a:pt x="473" y="70"/>
                  </a:lnTo>
                  <a:lnTo>
                    <a:pt x="470" y="68"/>
                  </a:lnTo>
                  <a:lnTo>
                    <a:pt x="468" y="65"/>
                  </a:lnTo>
                  <a:lnTo>
                    <a:pt x="465" y="68"/>
                  </a:lnTo>
                  <a:lnTo>
                    <a:pt x="465" y="66"/>
                  </a:lnTo>
                  <a:lnTo>
                    <a:pt x="465" y="65"/>
                  </a:lnTo>
                  <a:lnTo>
                    <a:pt x="466" y="65"/>
                  </a:lnTo>
                  <a:lnTo>
                    <a:pt x="465" y="63"/>
                  </a:lnTo>
                  <a:lnTo>
                    <a:pt x="473" y="60"/>
                  </a:lnTo>
                  <a:lnTo>
                    <a:pt x="475" y="58"/>
                  </a:lnTo>
                  <a:lnTo>
                    <a:pt x="478" y="60"/>
                  </a:lnTo>
                  <a:close/>
                  <a:moveTo>
                    <a:pt x="487" y="63"/>
                  </a:moveTo>
                  <a:lnTo>
                    <a:pt x="483" y="61"/>
                  </a:lnTo>
                  <a:lnTo>
                    <a:pt x="478" y="58"/>
                  </a:lnTo>
                  <a:lnTo>
                    <a:pt x="482" y="56"/>
                  </a:lnTo>
                  <a:lnTo>
                    <a:pt x="482" y="55"/>
                  </a:lnTo>
                  <a:lnTo>
                    <a:pt x="485" y="55"/>
                  </a:lnTo>
                  <a:lnTo>
                    <a:pt x="487" y="56"/>
                  </a:lnTo>
                  <a:lnTo>
                    <a:pt x="487" y="60"/>
                  </a:lnTo>
                  <a:lnTo>
                    <a:pt x="489" y="61"/>
                  </a:lnTo>
                  <a:lnTo>
                    <a:pt x="487" y="63"/>
                  </a:lnTo>
                  <a:close/>
                  <a:moveTo>
                    <a:pt x="565" y="55"/>
                  </a:moveTo>
                  <a:lnTo>
                    <a:pt x="567" y="58"/>
                  </a:lnTo>
                  <a:lnTo>
                    <a:pt x="564" y="56"/>
                  </a:lnTo>
                  <a:lnTo>
                    <a:pt x="560" y="56"/>
                  </a:lnTo>
                  <a:lnTo>
                    <a:pt x="562" y="53"/>
                  </a:lnTo>
                  <a:lnTo>
                    <a:pt x="564" y="53"/>
                  </a:lnTo>
                  <a:lnTo>
                    <a:pt x="565" y="55"/>
                  </a:lnTo>
                  <a:close/>
                  <a:moveTo>
                    <a:pt x="475" y="51"/>
                  </a:moveTo>
                  <a:lnTo>
                    <a:pt x="475" y="58"/>
                  </a:lnTo>
                  <a:lnTo>
                    <a:pt x="472" y="58"/>
                  </a:lnTo>
                  <a:lnTo>
                    <a:pt x="470" y="58"/>
                  </a:lnTo>
                  <a:lnTo>
                    <a:pt x="473" y="58"/>
                  </a:lnTo>
                  <a:lnTo>
                    <a:pt x="473" y="60"/>
                  </a:lnTo>
                  <a:lnTo>
                    <a:pt x="472" y="60"/>
                  </a:lnTo>
                  <a:lnTo>
                    <a:pt x="466" y="61"/>
                  </a:lnTo>
                  <a:lnTo>
                    <a:pt x="466" y="55"/>
                  </a:lnTo>
                  <a:lnTo>
                    <a:pt x="465" y="53"/>
                  </a:lnTo>
                  <a:lnTo>
                    <a:pt x="472" y="53"/>
                  </a:lnTo>
                  <a:lnTo>
                    <a:pt x="473" y="49"/>
                  </a:lnTo>
                  <a:lnTo>
                    <a:pt x="475" y="51"/>
                  </a:lnTo>
                  <a:close/>
                  <a:moveTo>
                    <a:pt x="470" y="49"/>
                  </a:moveTo>
                  <a:lnTo>
                    <a:pt x="472" y="49"/>
                  </a:lnTo>
                  <a:lnTo>
                    <a:pt x="472" y="51"/>
                  </a:lnTo>
                  <a:lnTo>
                    <a:pt x="465" y="51"/>
                  </a:lnTo>
                  <a:lnTo>
                    <a:pt x="470" y="49"/>
                  </a:lnTo>
                  <a:close/>
                  <a:moveTo>
                    <a:pt x="483" y="49"/>
                  </a:moveTo>
                  <a:lnTo>
                    <a:pt x="487" y="49"/>
                  </a:lnTo>
                  <a:lnTo>
                    <a:pt x="487" y="51"/>
                  </a:lnTo>
                  <a:lnTo>
                    <a:pt x="483" y="51"/>
                  </a:lnTo>
                  <a:lnTo>
                    <a:pt x="483" y="49"/>
                  </a:lnTo>
                  <a:close/>
                  <a:moveTo>
                    <a:pt x="485" y="53"/>
                  </a:moveTo>
                  <a:lnTo>
                    <a:pt x="480" y="51"/>
                  </a:lnTo>
                  <a:lnTo>
                    <a:pt x="478" y="49"/>
                  </a:lnTo>
                  <a:lnTo>
                    <a:pt x="485" y="51"/>
                  </a:lnTo>
                  <a:lnTo>
                    <a:pt x="485" y="53"/>
                  </a:lnTo>
                  <a:close/>
                  <a:moveTo>
                    <a:pt x="485" y="53"/>
                  </a:moveTo>
                  <a:lnTo>
                    <a:pt x="492" y="56"/>
                  </a:lnTo>
                  <a:lnTo>
                    <a:pt x="494" y="58"/>
                  </a:lnTo>
                  <a:lnTo>
                    <a:pt x="489" y="60"/>
                  </a:lnTo>
                  <a:lnTo>
                    <a:pt x="487" y="56"/>
                  </a:lnTo>
                  <a:lnTo>
                    <a:pt x="485" y="55"/>
                  </a:lnTo>
                  <a:lnTo>
                    <a:pt x="483" y="55"/>
                  </a:lnTo>
                  <a:lnTo>
                    <a:pt x="482" y="55"/>
                  </a:lnTo>
                  <a:lnTo>
                    <a:pt x="482" y="56"/>
                  </a:lnTo>
                  <a:lnTo>
                    <a:pt x="478" y="58"/>
                  </a:lnTo>
                  <a:lnTo>
                    <a:pt x="477" y="58"/>
                  </a:lnTo>
                  <a:lnTo>
                    <a:pt x="475" y="49"/>
                  </a:lnTo>
                  <a:lnTo>
                    <a:pt x="477" y="49"/>
                  </a:lnTo>
                  <a:lnTo>
                    <a:pt x="478" y="49"/>
                  </a:lnTo>
                  <a:lnTo>
                    <a:pt x="480" y="51"/>
                  </a:lnTo>
                  <a:lnTo>
                    <a:pt x="485" y="53"/>
                  </a:lnTo>
                  <a:close/>
                  <a:moveTo>
                    <a:pt x="489" y="53"/>
                  </a:moveTo>
                  <a:lnTo>
                    <a:pt x="487" y="49"/>
                  </a:lnTo>
                  <a:lnTo>
                    <a:pt x="487" y="48"/>
                  </a:lnTo>
                  <a:lnTo>
                    <a:pt x="490" y="51"/>
                  </a:lnTo>
                  <a:lnTo>
                    <a:pt x="489" y="53"/>
                  </a:lnTo>
                  <a:close/>
                  <a:moveTo>
                    <a:pt x="569" y="36"/>
                  </a:moveTo>
                  <a:lnTo>
                    <a:pt x="576" y="43"/>
                  </a:lnTo>
                  <a:lnTo>
                    <a:pt x="571" y="39"/>
                  </a:lnTo>
                  <a:lnTo>
                    <a:pt x="567" y="36"/>
                  </a:lnTo>
                  <a:lnTo>
                    <a:pt x="567" y="43"/>
                  </a:lnTo>
                  <a:lnTo>
                    <a:pt x="571" y="46"/>
                  </a:lnTo>
                  <a:lnTo>
                    <a:pt x="577" y="53"/>
                  </a:lnTo>
                  <a:lnTo>
                    <a:pt x="571" y="48"/>
                  </a:lnTo>
                  <a:lnTo>
                    <a:pt x="567" y="44"/>
                  </a:lnTo>
                  <a:lnTo>
                    <a:pt x="567" y="36"/>
                  </a:lnTo>
                  <a:lnTo>
                    <a:pt x="567" y="34"/>
                  </a:lnTo>
                  <a:lnTo>
                    <a:pt x="569" y="36"/>
                  </a:lnTo>
                  <a:close/>
                  <a:moveTo>
                    <a:pt x="523" y="25"/>
                  </a:moveTo>
                  <a:lnTo>
                    <a:pt x="524" y="31"/>
                  </a:lnTo>
                  <a:lnTo>
                    <a:pt x="523" y="27"/>
                  </a:lnTo>
                  <a:lnTo>
                    <a:pt x="523" y="25"/>
                  </a:lnTo>
                  <a:close/>
                  <a:moveTo>
                    <a:pt x="497" y="20"/>
                  </a:moveTo>
                  <a:lnTo>
                    <a:pt x="502" y="25"/>
                  </a:lnTo>
                  <a:lnTo>
                    <a:pt x="499" y="27"/>
                  </a:lnTo>
                  <a:lnTo>
                    <a:pt x="502" y="29"/>
                  </a:lnTo>
                  <a:lnTo>
                    <a:pt x="504" y="27"/>
                  </a:lnTo>
                  <a:lnTo>
                    <a:pt x="509" y="32"/>
                  </a:lnTo>
                  <a:lnTo>
                    <a:pt x="507" y="34"/>
                  </a:lnTo>
                  <a:lnTo>
                    <a:pt x="509" y="32"/>
                  </a:lnTo>
                  <a:lnTo>
                    <a:pt x="511" y="34"/>
                  </a:lnTo>
                  <a:lnTo>
                    <a:pt x="509" y="37"/>
                  </a:lnTo>
                  <a:lnTo>
                    <a:pt x="511" y="37"/>
                  </a:lnTo>
                  <a:lnTo>
                    <a:pt x="507" y="41"/>
                  </a:lnTo>
                  <a:lnTo>
                    <a:pt x="509" y="43"/>
                  </a:lnTo>
                  <a:lnTo>
                    <a:pt x="502" y="48"/>
                  </a:lnTo>
                  <a:lnTo>
                    <a:pt x="492" y="49"/>
                  </a:lnTo>
                  <a:lnTo>
                    <a:pt x="489" y="46"/>
                  </a:lnTo>
                  <a:lnTo>
                    <a:pt x="487" y="48"/>
                  </a:lnTo>
                  <a:lnTo>
                    <a:pt x="477" y="48"/>
                  </a:lnTo>
                  <a:lnTo>
                    <a:pt x="473" y="49"/>
                  </a:lnTo>
                  <a:lnTo>
                    <a:pt x="463" y="49"/>
                  </a:lnTo>
                  <a:lnTo>
                    <a:pt x="463" y="51"/>
                  </a:lnTo>
                  <a:lnTo>
                    <a:pt x="466" y="55"/>
                  </a:lnTo>
                  <a:lnTo>
                    <a:pt x="466" y="61"/>
                  </a:lnTo>
                  <a:lnTo>
                    <a:pt x="465" y="61"/>
                  </a:lnTo>
                  <a:lnTo>
                    <a:pt x="465" y="63"/>
                  </a:lnTo>
                  <a:lnTo>
                    <a:pt x="465" y="65"/>
                  </a:lnTo>
                  <a:lnTo>
                    <a:pt x="463" y="66"/>
                  </a:lnTo>
                  <a:lnTo>
                    <a:pt x="463" y="68"/>
                  </a:lnTo>
                  <a:lnTo>
                    <a:pt x="466" y="68"/>
                  </a:lnTo>
                  <a:lnTo>
                    <a:pt x="468" y="66"/>
                  </a:lnTo>
                  <a:lnTo>
                    <a:pt x="470" y="68"/>
                  </a:lnTo>
                  <a:lnTo>
                    <a:pt x="473" y="70"/>
                  </a:lnTo>
                  <a:lnTo>
                    <a:pt x="472" y="73"/>
                  </a:lnTo>
                  <a:lnTo>
                    <a:pt x="473" y="70"/>
                  </a:lnTo>
                  <a:lnTo>
                    <a:pt x="478" y="70"/>
                  </a:lnTo>
                  <a:lnTo>
                    <a:pt x="478" y="73"/>
                  </a:lnTo>
                  <a:lnTo>
                    <a:pt x="480" y="70"/>
                  </a:lnTo>
                  <a:lnTo>
                    <a:pt x="483" y="75"/>
                  </a:lnTo>
                  <a:lnTo>
                    <a:pt x="480" y="78"/>
                  </a:lnTo>
                  <a:lnTo>
                    <a:pt x="485" y="75"/>
                  </a:lnTo>
                  <a:lnTo>
                    <a:pt x="483" y="84"/>
                  </a:lnTo>
                  <a:lnTo>
                    <a:pt x="482" y="85"/>
                  </a:lnTo>
                  <a:lnTo>
                    <a:pt x="480" y="84"/>
                  </a:lnTo>
                  <a:lnTo>
                    <a:pt x="482" y="87"/>
                  </a:lnTo>
                  <a:lnTo>
                    <a:pt x="480" y="89"/>
                  </a:lnTo>
                  <a:lnTo>
                    <a:pt x="480" y="92"/>
                  </a:lnTo>
                  <a:lnTo>
                    <a:pt x="482" y="92"/>
                  </a:lnTo>
                  <a:lnTo>
                    <a:pt x="480" y="89"/>
                  </a:lnTo>
                  <a:lnTo>
                    <a:pt x="483" y="85"/>
                  </a:lnTo>
                  <a:lnTo>
                    <a:pt x="487" y="87"/>
                  </a:lnTo>
                  <a:lnTo>
                    <a:pt x="487" y="92"/>
                  </a:lnTo>
                  <a:lnTo>
                    <a:pt x="490" y="96"/>
                  </a:lnTo>
                  <a:lnTo>
                    <a:pt x="495" y="97"/>
                  </a:lnTo>
                  <a:lnTo>
                    <a:pt x="502" y="97"/>
                  </a:lnTo>
                  <a:lnTo>
                    <a:pt x="502" y="99"/>
                  </a:lnTo>
                  <a:lnTo>
                    <a:pt x="504" y="97"/>
                  </a:lnTo>
                  <a:lnTo>
                    <a:pt x="507" y="102"/>
                  </a:lnTo>
                  <a:lnTo>
                    <a:pt x="504" y="101"/>
                  </a:lnTo>
                  <a:lnTo>
                    <a:pt x="502" y="102"/>
                  </a:lnTo>
                  <a:lnTo>
                    <a:pt x="504" y="102"/>
                  </a:lnTo>
                  <a:lnTo>
                    <a:pt x="504" y="104"/>
                  </a:lnTo>
                  <a:lnTo>
                    <a:pt x="506" y="102"/>
                  </a:lnTo>
                  <a:lnTo>
                    <a:pt x="507" y="106"/>
                  </a:lnTo>
                  <a:lnTo>
                    <a:pt x="507" y="107"/>
                  </a:lnTo>
                  <a:lnTo>
                    <a:pt x="514" y="114"/>
                  </a:lnTo>
                  <a:lnTo>
                    <a:pt x="519" y="116"/>
                  </a:lnTo>
                  <a:lnTo>
                    <a:pt x="521" y="119"/>
                  </a:lnTo>
                  <a:lnTo>
                    <a:pt x="530" y="125"/>
                  </a:lnTo>
                  <a:lnTo>
                    <a:pt x="535" y="128"/>
                  </a:lnTo>
                  <a:lnTo>
                    <a:pt x="545" y="131"/>
                  </a:lnTo>
                  <a:lnTo>
                    <a:pt x="545" y="133"/>
                  </a:lnTo>
                  <a:lnTo>
                    <a:pt x="548" y="133"/>
                  </a:lnTo>
                  <a:lnTo>
                    <a:pt x="550" y="138"/>
                  </a:lnTo>
                  <a:lnTo>
                    <a:pt x="545" y="140"/>
                  </a:lnTo>
                  <a:lnTo>
                    <a:pt x="548" y="140"/>
                  </a:lnTo>
                  <a:lnTo>
                    <a:pt x="550" y="140"/>
                  </a:lnTo>
                  <a:lnTo>
                    <a:pt x="548" y="140"/>
                  </a:lnTo>
                  <a:lnTo>
                    <a:pt x="550" y="142"/>
                  </a:lnTo>
                  <a:lnTo>
                    <a:pt x="548" y="143"/>
                  </a:lnTo>
                  <a:lnTo>
                    <a:pt x="552" y="143"/>
                  </a:lnTo>
                  <a:lnTo>
                    <a:pt x="552" y="145"/>
                  </a:lnTo>
                  <a:lnTo>
                    <a:pt x="552" y="147"/>
                  </a:lnTo>
                  <a:lnTo>
                    <a:pt x="555" y="143"/>
                  </a:lnTo>
                  <a:lnTo>
                    <a:pt x="555" y="145"/>
                  </a:lnTo>
                  <a:lnTo>
                    <a:pt x="553" y="147"/>
                  </a:lnTo>
                  <a:lnTo>
                    <a:pt x="555" y="148"/>
                  </a:lnTo>
                  <a:lnTo>
                    <a:pt x="557" y="145"/>
                  </a:lnTo>
                  <a:lnTo>
                    <a:pt x="557" y="148"/>
                  </a:lnTo>
                  <a:lnTo>
                    <a:pt x="560" y="147"/>
                  </a:lnTo>
                  <a:lnTo>
                    <a:pt x="560" y="148"/>
                  </a:lnTo>
                  <a:lnTo>
                    <a:pt x="562" y="148"/>
                  </a:lnTo>
                  <a:lnTo>
                    <a:pt x="565" y="148"/>
                  </a:lnTo>
                  <a:lnTo>
                    <a:pt x="565" y="147"/>
                  </a:lnTo>
                  <a:lnTo>
                    <a:pt x="569" y="150"/>
                  </a:lnTo>
                  <a:lnTo>
                    <a:pt x="572" y="152"/>
                  </a:lnTo>
                  <a:lnTo>
                    <a:pt x="579" y="159"/>
                  </a:lnTo>
                  <a:lnTo>
                    <a:pt x="582" y="160"/>
                  </a:lnTo>
                  <a:lnTo>
                    <a:pt x="584" y="162"/>
                  </a:lnTo>
                  <a:lnTo>
                    <a:pt x="591" y="167"/>
                  </a:lnTo>
                  <a:lnTo>
                    <a:pt x="591" y="172"/>
                  </a:lnTo>
                  <a:lnTo>
                    <a:pt x="586" y="172"/>
                  </a:lnTo>
                  <a:lnTo>
                    <a:pt x="593" y="172"/>
                  </a:lnTo>
                  <a:lnTo>
                    <a:pt x="594" y="176"/>
                  </a:lnTo>
                  <a:lnTo>
                    <a:pt x="593" y="176"/>
                  </a:lnTo>
                  <a:lnTo>
                    <a:pt x="600" y="179"/>
                  </a:lnTo>
                  <a:lnTo>
                    <a:pt x="600" y="186"/>
                  </a:lnTo>
                  <a:lnTo>
                    <a:pt x="601" y="186"/>
                  </a:lnTo>
                  <a:lnTo>
                    <a:pt x="603" y="184"/>
                  </a:lnTo>
                  <a:lnTo>
                    <a:pt x="613" y="184"/>
                  </a:lnTo>
                  <a:lnTo>
                    <a:pt x="618" y="188"/>
                  </a:lnTo>
                  <a:lnTo>
                    <a:pt x="618" y="193"/>
                  </a:lnTo>
                  <a:lnTo>
                    <a:pt x="615" y="198"/>
                  </a:lnTo>
                  <a:lnTo>
                    <a:pt x="608" y="203"/>
                  </a:lnTo>
                  <a:lnTo>
                    <a:pt x="606" y="207"/>
                  </a:lnTo>
                  <a:lnTo>
                    <a:pt x="601" y="207"/>
                  </a:lnTo>
                  <a:lnTo>
                    <a:pt x="598" y="210"/>
                  </a:lnTo>
                  <a:lnTo>
                    <a:pt x="598" y="212"/>
                  </a:lnTo>
                  <a:lnTo>
                    <a:pt x="594" y="215"/>
                  </a:lnTo>
                  <a:lnTo>
                    <a:pt x="586" y="213"/>
                  </a:lnTo>
                  <a:lnTo>
                    <a:pt x="584" y="213"/>
                  </a:lnTo>
                  <a:lnTo>
                    <a:pt x="584" y="212"/>
                  </a:lnTo>
                  <a:lnTo>
                    <a:pt x="579" y="208"/>
                  </a:lnTo>
                  <a:lnTo>
                    <a:pt x="576" y="210"/>
                  </a:lnTo>
                  <a:lnTo>
                    <a:pt x="571" y="215"/>
                  </a:lnTo>
                  <a:lnTo>
                    <a:pt x="565" y="215"/>
                  </a:lnTo>
                  <a:lnTo>
                    <a:pt x="557" y="212"/>
                  </a:lnTo>
                  <a:lnTo>
                    <a:pt x="557" y="210"/>
                  </a:lnTo>
                  <a:lnTo>
                    <a:pt x="555" y="212"/>
                  </a:lnTo>
                  <a:lnTo>
                    <a:pt x="552" y="210"/>
                  </a:lnTo>
                  <a:lnTo>
                    <a:pt x="543" y="215"/>
                  </a:lnTo>
                  <a:lnTo>
                    <a:pt x="540" y="213"/>
                  </a:lnTo>
                  <a:lnTo>
                    <a:pt x="540" y="212"/>
                  </a:lnTo>
                  <a:lnTo>
                    <a:pt x="538" y="210"/>
                  </a:lnTo>
                  <a:lnTo>
                    <a:pt x="535" y="210"/>
                  </a:lnTo>
                  <a:lnTo>
                    <a:pt x="524" y="208"/>
                  </a:lnTo>
                  <a:lnTo>
                    <a:pt x="523" y="207"/>
                  </a:lnTo>
                  <a:lnTo>
                    <a:pt x="514" y="205"/>
                  </a:lnTo>
                  <a:lnTo>
                    <a:pt x="512" y="205"/>
                  </a:lnTo>
                  <a:lnTo>
                    <a:pt x="507" y="203"/>
                  </a:lnTo>
                  <a:lnTo>
                    <a:pt x="506" y="201"/>
                  </a:lnTo>
                  <a:lnTo>
                    <a:pt x="506" y="200"/>
                  </a:lnTo>
                  <a:lnTo>
                    <a:pt x="499" y="196"/>
                  </a:lnTo>
                  <a:lnTo>
                    <a:pt x="499" y="189"/>
                  </a:lnTo>
                  <a:lnTo>
                    <a:pt x="497" y="184"/>
                  </a:lnTo>
                  <a:lnTo>
                    <a:pt x="494" y="183"/>
                  </a:lnTo>
                  <a:lnTo>
                    <a:pt x="490" y="179"/>
                  </a:lnTo>
                  <a:lnTo>
                    <a:pt x="489" y="179"/>
                  </a:lnTo>
                  <a:lnTo>
                    <a:pt x="490" y="176"/>
                  </a:lnTo>
                  <a:lnTo>
                    <a:pt x="489" y="177"/>
                  </a:lnTo>
                  <a:lnTo>
                    <a:pt x="487" y="177"/>
                  </a:lnTo>
                  <a:lnTo>
                    <a:pt x="487" y="179"/>
                  </a:lnTo>
                  <a:lnTo>
                    <a:pt x="490" y="183"/>
                  </a:lnTo>
                  <a:lnTo>
                    <a:pt x="487" y="184"/>
                  </a:lnTo>
                  <a:lnTo>
                    <a:pt x="492" y="184"/>
                  </a:lnTo>
                  <a:lnTo>
                    <a:pt x="497" y="189"/>
                  </a:lnTo>
                  <a:lnTo>
                    <a:pt x="497" y="195"/>
                  </a:lnTo>
                  <a:lnTo>
                    <a:pt x="495" y="196"/>
                  </a:lnTo>
                  <a:lnTo>
                    <a:pt x="499" y="205"/>
                  </a:lnTo>
                  <a:lnTo>
                    <a:pt x="502" y="208"/>
                  </a:lnTo>
                  <a:lnTo>
                    <a:pt x="502" y="218"/>
                  </a:lnTo>
                  <a:lnTo>
                    <a:pt x="495" y="218"/>
                  </a:lnTo>
                  <a:lnTo>
                    <a:pt x="494" y="217"/>
                  </a:lnTo>
                  <a:lnTo>
                    <a:pt x="490" y="215"/>
                  </a:lnTo>
                  <a:lnTo>
                    <a:pt x="489" y="212"/>
                  </a:lnTo>
                  <a:lnTo>
                    <a:pt x="485" y="213"/>
                  </a:lnTo>
                  <a:lnTo>
                    <a:pt x="483" y="215"/>
                  </a:lnTo>
                  <a:lnTo>
                    <a:pt x="477" y="215"/>
                  </a:lnTo>
                  <a:lnTo>
                    <a:pt x="472" y="220"/>
                  </a:lnTo>
                  <a:lnTo>
                    <a:pt x="465" y="229"/>
                  </a:lnTo>
                  <a:lnTo>
                    <a:pt x="465" y="236"/>
                  </a:lnTo>
                  <a:lnTo>
                    <a:pt x="463" y="236"/>
                  </a:lnTo>
                  <a:lnTo>
                    <a:pt x="463" y="237"/>
                  </a:lnTo>
                  <a:lnTo>
                    <a:pt x="460" y="239"/>
                  </a:lnTo>
                  <a:lnTo>
                    <a:pt x="456" y="248"/>
                  </a:lnTo>
                  <a:lnTo>
                    <a:pt x="460" y="248"/>
                  </a:lnTo>
                  <a:lnTo>
                    <a:pt x="456" y="248"/>
                  </a:lnTo>
                  <a:lnTo>
                    <a:pt x="453" y="253"/>
                  </a:lnTo>
                  <a:lnTo>
                    <a:pt x="453" y="261"/>
                  </a:lnTo>
                  <a:lnTo>
                    <a:pt x="449" y="263"/>
                  </a:lnTo>
                  <a:lnTo>
                    <a:pt x="448" y="261"/>
                  </a:lnTo>
                  <a:lnTo>
                    <a:pt x="446" y="261"/>
                  </a:lnTo>
                  <a:lnTo>
                    <a:pt x="448" y="261"/>
                  </a:lnTo>
                  <a:lnTo>
                    <a:pt x="448" y="265"/>
                  </a:lnTo>
                  <a:lnTo>
                    <a:pt x="446" y="271"/>
                  </a:lnTo>
                  <a:lnTo>
                    <a:pt x="444" y="273"/>
                  </a:lnTo>
                  <a:lnTo>
                    <a:pt x="442" y="273"/>
                  </a:lnTo>
                  <a:lnTo>
                    <a:pt x="444" y="277"/>
                  </a:lnTo>
                  <a:lnTo>
                    <a:pt x="441" y="278"/>
                  </a:lnTo>
                  <a:lnTo>
                    <a:pt x="442" y="280"/>
                  </a:lnTo>
                  <a:lnTo>
                    <a:pt x="441" y="282"/>
                  </a:lnTo>
                  <a:lnTo>
                    <a:pt x="442" y="285"/>
                  </a:lnTo>
                  <a:lnTo>
                    <a:pt x="439" y="287"/>
                  </a:lnTo>
                  <a:lnTo>
                    <a:pt x="441" y="287"/>
                  </a:lnTo>
                  <a:lnTo>
                    <a:pt x="441" y="289"/>
                  </a:lnTo>
                  <a:lnTo>
                    <a:pt x="437" y="289"/>
                  </a:lnTo>
                  <a:lnTo>
                    <a:pt x="441" y="290"/>
                  </a:lnTo>
                  <a:lnTo>
                    <a:pt x="436" y="292"/>
                  </a:lnTo>
                  <a:lnTo>
                    <a:pt x="437" y="292"/>
                  </a:lnTo>
                  <a:lnTo>
                    <a:pt x="437" y="294"/>
                  </a:lnTo>
                  <a:lnTo>
                    <a:pt x="439" y="292"/>
                  </a:lnTo>
                  <a:lnTo>
                    <a:pt x="439" y="294"/>
                  </a:lnTo>
                  <a:lnTo>
                    <a:pt x="441" y="292"/>
                  </a:lnTo>
                  <a:lnTo>
                    <a:pt x="442" y="297"/>
                  </a:lnTo>
                  <a:lnTo>
                    <a:pt x="441" y="299"/>
                  </a:lnTo>
                  <a:lnTo>
                    <a:pt x="437" y="297"/>
                  </a:lnTo>
                  <a:lnTo>
                    <a:pt x="437" y="302"/>
                  </a:lnTo>
                  <a:lnTo>
                    <a:pt x="434" y="299"/>
                  </a:lnTo>
                  <a:lnTo>
                    <a:pt x="437" y="302"/>
                  </a:lnTo>
                  <a:lnTo>
                    <a:pt x="436" y="306"/>
                  </a:lnTo>
                  <a:lnTo>
                    <a:pt x="441" y="304"/>
                  </a:lnTo>
                  <a:lnTo>
                    <a:pt x="441" y="306"/>
                  </a:lnTo>
                  <a:lnTo>
                    <a:pt x="439" y="306"/>
                  </a:lnTo>
                  <a:lnTo>
                    <a:pt x="439" y="307"/>
                  </a:lnTo>
                  <a:lnTo>
                    <a:pt x="444" y="307"/>
                  </a:lnTo>
                  <a:lnTo>
                    <a:pt x="441" y="311"/>
                  </a:lnTo>
                  <a:lnTo>
                    <a:pt x="442" y="316"/>
                  </a:lnTo>
                  <a:lnTo>
                    <a:pt x="437" y="321"/>
                  </a:lnTo>
                  <a:lnTo>
                    <a:pt x="436" y="324"/>
                  </a:lnTo>
                  <a:lnTo>
                    <a:pt x="432" y="333"/>
                  </a:lnTo>
                  <a:lnTo>
                    <a:pt x="432" y="336"/>
                  </a:lnTo>
                  <a:lnTo>
                    <a:pt x="429" y="338"/>
                  </a:lnTo>
                  <a:lnTo>
                    <a:pt x="431" y="345"/>
                  </a:lnTo>
                  <a:lnTo>
                    <a:pt x="434" y="348"/>
                  </a:lnTo>
                  <a:lnTo>
                    <a:pt x="434" y="353"/>
                  </a:lnTo>
                  <a:lnTo>
                    <a:pt x="436" y="355"/>
                  </a:lnTo>
                  <a:lnTo>
                    <a:pt x="434" y="359"/>
                  </a:lnTo>
                  <a:lnTo>
                    <a:pt x="432" y="357"/>
                  </a:lnTo>
                  <a:lnTo>
                    <a:pt x="432" y="362"/>
                  </a:lnTo>
                  <a:lnTo>
                    <a:pt x="431" y="364"/>
                  </a:lnTo>
                  <a:lnTo>
                    <a:pt x="434" y="367"/>
                  </a:lnTo>
                  <a:lnTo>
                    <a:pt x="431" y="372"/>
                  </a:lnTo>
                  <a:lnTo>
                    <a:pt x="427" y="374"/>
                  </a:lnTo>
                  <a:lnTo>
                    <a:pt x="431" y="372"/>
                  </a:lnTo>
                  <a:lnTo>
                    <a:pt x="431" y="374"/>
                  </a:lnTo>
                  <a:lnTo>
                    <a:pt x="429" y="376"/>
                  </a:lnTo>
                  <a:lnTo>
                    <a:pt x="429" y="377"/>
                  </a:lnTo>
                  <a:lnTo>
                    <a:pt x="424" y="381"/>
                  </a:lnTo>
                  <a:lnTo>
                    <a:pt x="417" y="379"/>
                  </a:lnTo>
                  <a:lnTo>
                    <a:pt x="413" y="381"/>
                  </a:lnTo>
                  <a:lnTo>
                    <a:pt x="412" y="382"/>
                  </a:lnTo>
                  <a:lnTo>
                    <a:pt x="415" y="384"/>
                  </a:lnTo>
                  <a:lnTo>
                    <a:pt x="415" y="393"/>
                  </a:lnTo>
                  <a:lnTo>
                    <a:pt x="413" y="398"/>
                  </a:lnTo>
                  <a:lnTo>
                    <a:pt x="413" y="406"/>
                  </a:lnTo>
                  <a:lnTo>
                    <a:pt x="412" y="408"/>
                  </a:lnTo>
                  <a:lnTo>
                    <a:pt x="402" y="405"/>
                  </a:lnTo>
                  <a:lnTo>
                    <a:pt x="410" y="408"/>
                  </a:lnTo>
                  <a:lnTo>
                    <a:pt x="410" y="411"/>
                  </a:lnTo>
                  <a:lnTo>
                    <a:pt x="410" y="420"/>
                  </a:lnTo>
                  <a:lnTo>
                    <a:pt x="403" y="423"/>
                  </a:lnTo>
                  <a:lnTo>
                    <a:pt x="400" y="427"/>
                  </a:lnTo>
                  <a:lnTo>
                    <a:pt x="395" y="434"/>
                  </a:lnTo>
                  <a:lnTo>
                    <a:pt x="391" y="439"/>
                  </a:lnTo>
                  <a:lnTo>
                    <a:pt x="388" y="444"/>
                  </a:lnTo>
                  <a:lnTo>
                    <a:pt x="383" y="447"/>
                  </a:lnTo>
                  <a:lnTo>
                    <a:pt x="379" y="456"/>
                  </a:lnTo>
                  <a:lnTo>
                    <a:pt x="373" y="461"/>
                  </a:lnTo>
                  <a:lnTo>
                    <a:pt x="366" y="464"/>
                  </a:lnTo>
                  <a:lnTo>
                    <a:pt x="355" y="464"/>
                  </a:lnTo>
                  <a:lnTo>
                    <a:pt x="357" y="459"/>
                  </a:lnTo>
                  <a:lnTo>
                    <a:pt x="357" y="458"/>
                  </a:lnTo>
                  <a:lnTo>
                    <a:pt x="359" y="458"/>
                  </a:lnTo>
                  <a:lnTo>
                    <a:pt x="357" y="456"/>
                  </a:lnTo>
                  <a:lnTo>
                    <a:pt x="359" y="454"/>
                  </a:lnTo>
                  <a:lnTo>
                    <a:pt x="355" y="458"/>
                  </a:lnTo>
                  <a:lnTo>
                    <a:pt x="354" y="456"/>
                  </a:lnTo>
                  <a:lnTo>
                    <a:pt x="354" y="452"/>
                  </a:lnTo>
                  <a:lnTo>
                    <a:pt x="352" y="446"/>
                  </a:lnTo>
                  <a:lnTo>
                    <a:pt x="349" y="446"/>
                  </a:lnTo>
                  <a:lnTo>
                    <a:pt x="350" y="444"/>
                  </a:lnTo>
                  <a:lnTo>
                    <a:pt x="347" y="444"/>
                  </a:lnTo>
                  <a:lnTo>
                    <a:pt x="350" y="435"/>
                  </a:lnTo>
                  <a:lnTo>
                    <a:pt x="349" y="435"/>
                  </a:lnTo>
                  <a:lnTo>
                    <a:pt x="345" y="442"/>
                  </a:lnTo>
                  <a:lnTo>
                    <a:pt x="343" y="442"/>
                  </a:lnTo>
                  <a:lnTo>
                    <a:pt x="345" y="444"/>
                  </a:lnTo>
                  <a:lnTo>
                    <a:pt x="343" y="446"/>
                  </a:lnTo>
                  <a:lnTo>
                    <a:pt x="345" y="447"/>
                  </a:lnTo>
                  <a:lnTo>
                    <a:pt x="342" y="447"/>
                  </a:lnTo>
                  <a:lnTo>
                    <a:pt x="343" y="447"/>
                  </a:lnTo>
                  <a:lnTo>
                    <a:pt x="345" y="447"/>
                  </a:lnTo>
                  <a:lnTo>
                    <a:pt x="347" y="447"/>
                  </a:lnTo>
                  <a:lnTo>
                    <a:pt x="350" y="451"/>
                  </a:lnTo>
                  <a:lnTo>
                    <a:pt x="349" y="451"/>
                  </a:lnTo>
                  <a:lnTo>
                    <a:pt x="352" y="454"/>
                  </a:lnTo>
                  <a:lnTo>
                    <a:pt x="349" y="456"/>
                  </a:lnTo>
                  <a:lnTo>
                    <a:pt x="354" y="461"/>
                  </a:lnTo>
                  <a:lnTo>
                    <a:pt x="350" y="466"/>
                  </a:lnTo>
                  <a:lnTo>
                    <a:pt x="350" y="475"/>
                  </a:lnTo>
                  <a:lnTo>
                    <a:pt x="350" y="476"/>
                  </a:lnTo>
                  <a:lnTo>
                    <a:pt x="345" y="476"/>
                  </a:lnTo>
                  <a:lnTo>
                    <a:pt x="338" y="480"/>
                  </a:lnTo>
                  <a:lnTo>
                    <a:pt x="333" y="482"/>
                  </a:lnTo>
                  <a:lnTo>
                    <a:pt x="325" y="487"/>
                  </a:lnTo>
                  <a:lnTo>
                    <a:pt x="323" y="492"/>
                  </a:lnTo>
                  <a:lnTo>
                    <a:pt x="325" y="495"/>
                  </a:lnTo>
                  <a:lnTo>
                    <a:pt x="326" y="504"/>
                  </a:lnTo>
                  <a:lnTo>
                    <a:pt x="323" y="505"/>
                  </a:lnTo>
                  <a:lnTo>
                    <a:pt x="318" y="509"/>
                  </a:lnTo>
                  <a:lnTo>
                    <a:pt x="313" y="509"/>
                  </a:lnTo>
                  <a:lnTo>
                    <a:pt x="306" y="514"/>
                  </a:lnTo>
                  <a:lnTo>
                    <a:pt x="301" y="516"/>
                  </a:lnTo>
                  <a:lnTo>
                    <a:pt x="299" y="516"/>
                  </a:lnTo>
                  <a:lnTo>
                    <a:pt x="297" y="512"/>
                  </a:lnTo>
                  <a:lnTo>
                    <a:pt x="296" y="519"/>
                  </a:lnTo>
                  <a:lnTo>
                    <a:pt x="287" y="517"/>
                  </a:lnTo>
                  <a:lnTo>
                    <a:pt x="294" y="519"/>
                  </a:lnTo>
                  <a:lnTo>
                    <a:pt x="291" y="524"/>
                  </a:lnTo>
                  <a:lnTo>
                    <a:pt x="284" y="522"/>
                  </a:lnTo>
                  <a:lnTo>
                    <a:pt x="284" y="524"/>
                  </a:lnTo>
                  <a:lnTo>
                    <a:pt x="291" y="528"/>
                  </a:lnTo>
                  <a:lnTo>
                    <a:pt x="301" y="524"/>
                  </a:lnTo>
                  <a:lnTo>
                    <a:pt x="304" y="526"/>
                  </a:lnTo>
                  <a:lnTo>
                    <a:pt x="304" y="522"/>
                  </a:lnTo>
                  <a:lnTo>
                    <a:pt x="313" y="524"/>
                  </a:lnTo>
                  <a:lnTo>
                    <a:pt x="314" y="529"/>
                  </a:lnTo>
                  <a:lnTo>
                    <a:pt x="309" y="536"/>
                  </a:lnTo>
                  <a:lnTo>
                    <a:pt x="311" y="536"/>
                  </a:lnTo>
                  <a:lnTo>
                    <a:pt x="314" y="541"/>
                  </a:lnTo>
                  <a:lnTo>
                    <a:pt x="314" y="548"/>
                  </a:lnTo>
                  <a:lnTo>
                    <a:pt x="314" y="557"/>
                  </a:lnTo>
                  <a:lnTo>
                    <a:pt x="314" y="558"/>
                  </a:lnTo>
                  <a:lnTo>
                    <a:pt x="306" y="562"/>
                  </a:lnTo>
                  <a:lnTo>
                    <a:pt x="301" y="567"/>
                  </a:lnTo>
                  <a:lnTo>
                    <a:pt x="306" y="565"/>
                  </a:lnTo>
                  <a:lnTo>
                    <a:pt x="306" y="567"/>
                  </a:lnTo>
                  <a:lnTo>
                    <a:pt x="313" y="567"/>
                  </a:lnTo>
                  <a:lnTo>
                    <a:pt x="320" y="563"/>
                  </a:lnTo>
                  <a:lnTo>
                    <a:pt x="323" y="570"/>
                  </a:lnTo>
                  <a:lnTo>
                    <a:pt x="321" y="570"/>
                  </a:lnTo>
                  <a:lnTo>
                    <a:pt x="326" y="572"/>
                  </a:lnTo>
                  <a:lnTo>
                    <a:pt x="325" y="575"/>
                  </a:lnTo>
                  <a:lnTo>
                    <a:pt x="330" y="572"/>
                  </a:lnTo>
                  <a:lnTo>
                    <a:pt x="332" y="575"/>
                  </a:lnTo>
                  <a:lnTo>
                    <a:pt x="330" y="575"/>
                  </a:lnTo>
                  <a:lnTo>
                    <a:pt x="330" y="582"/>
                  </a:lnTo>
                  <a:lnTo>
                    <a:pt x="328" y="591"/>
                  </a:lnTo>
                  <a:lnTo>
                    <a:pt x="326" y="599"/>
                  </a:lnTo>
                  <a:lnTo>
                    <a:pt x="318" y="596"/>
                  </a:lnTo>
                  <a:lnTo>
                    <a:pt x="308" y="594"/>
                  </a:lnTo>
                  <a:lnTo>
                    <a:pt x="304" y="594"/>
                  </a:lnTo>
                  <a:lnTo>
                    <a:pt x="297" y="593"/>
                  </a:lnTo>
                  <a:lnTo>
                    <a:pt x="289" y="589"/>
                  </a:lnTo>
                  <a:lnTo>
                    <a:pt x="282" y="589"/>
                  </a:lnTo>
                  <a:lnTo>
                    <a:pt x="262" y="589"/>
                  </a:lnTo>
                  <a:lnTo>
                    <a:pt x="260" y="589"/>
                  </a:lnTo>
                  <a:lnTo>
                    <a:pt x="258" y="589"/>
                  </a:lnTo>
                  <a:lnTo>
                    <a:pt x="253" y="591"/>
                  </a:lnTo>
                  <a:lnTo>
                    <a:pt x="246" y="591"/>
                  </a:lnTo>
                  <a:lnTo>
                    <a:pt x="246" y="596"/>
                  </a:lnTo>
                  <a:lnTo>
                    <a:pt x="241" y="598"/>
                  </a:lnTo>
                  <a:lnTo>
                    <a:pt x="239" y="589"/>
                  </a:lnTo>
                  <a:lnTo>
                    <a:pt x="243" y="586"/>
                  </a:lnTo>
                  <a:lnTo>
                    <a:pt x="238" y="582"/>
                  </a:lnTo>
                  <a:lnTo>
                    <a:pt x="239" y="579"/>
                  </a:lnTo>
                  <a:lnTo>
                    <a:pt x="236" y="574"/>
                  </a:lnTo>
                  <a:lnTo>
                    <a:pt x="236" y="572"/>
                  </a:lnTo>
                  <a:lnTo>
                    <a:pt x="238" y="563"/>
                  </a:lnTo>
                  <a:lnTo>
                    <a:pt x="239" y="558"/>
                  </a:lnTo>
                  <a:lnTo>
                    <a:pt x="236" y="557"/>
                  </a:lnTo>
                  <a:lnTo>
                    <a:pt x="231" y="557"/>
                  </a:lnTo>
                  <a:lnTo>
                    <a:pt x="227" y="555"/>
                  </a:lnTo>
                  <a:lnTo>
                    <a:pt x="229" y="550"/>
                  </a:lnTo>
                  <a:lnTo>
                    <a:pt x="226" y="548"/>
                  </a:lnTo>
                  <a:lnTo>
                    <a:pt x="226" y="550"/>
                  </a:lnTo>
                  <a:lnTo>
                    <a:pt x="224" y="548"/>
                  </a:lnTo>
                  <a:lnTo>
                    <a:pt x="227" y="541"/>
                  </a:lnTo>
                  <a:lnTo>
                    <a:pt x="226" y="541"/>
                  </a:lnTo>
                  <a:lnTo>
                    <a:pt x="227" y="534"/>
                  </a:lnTo>
                  <a:lnTo>
                    <a:pt x="227" y="528"/>
                  </a:lnTo>
                  <a:lnTo>
                    <a:pt x="224" y="526"/>
                  </a:lnTo>
                  <a:lnTo>
                    <a:pt x="222" y="528"/>
                  </a:lnTo>
                  <a:lnTo>
                    <a:pt x="222" y="526"/>
                  </a:lnTo>
                  <a:lnTo>
                    <a:pt x="224" y="519"/>
                  </a:lnTo>
                  <a:lnTo>
                    <a:pt x="221" y="516"/>
                  </a:lnTo>
                  <a:lnTo>
                    <a:pt x="221" y="507"/>
                  </a:lnTo>
                  <a:lnTo>
                    <a:pt x="217" y="504"/>
                  </a:lnTo>
                  <a:lnTo>
                    <a:pt x="215" y="500"/>
                  </a:lnTo>
                  <a:lnTo>
                    <a:pt x="217" y="499"/>
                  </a:lnTo>
                  <a:lnTo>
                    <a:pt x="215" y="495"/>
                  </a:lnTo>
                  <a:lnTo>
                    <a:pt x="219" y="493"/>
                  </a:lnTo>
                  <a:lnTo>
                    <a:pt x="219" y="488"/>
                  </a:lnTo>
                  <a:lnTo>
                    <a:pt x="221" y="487"/>
                  </a:lnTo>
                  <a:lnTo>
                    <a:pt x="224" y="482"/>
                  </a:lnTo>
                  <a:lnTo>
                    <a:pt x="229" y="475"/>
                  </a:lnTo>
                  <a:lnTo>
                    <a:pt x="231" y="468"/>
                  </a:lnTo>
                  <a:lnTo>
                    <a:pt x="234" y="458"/>
                  </a:lnTo>
                  <a:lnTo>
                    <a:pt x="238" y="454"/>
                  </a:lnTo>
                  <a:lnTo>
                    <a:pt x="241" y="451"/>
                  </a:lnTo>
                  <a:lnTo>
                    <a:pt x="236" y="446"/>
                  </a:lnTo>
                  <a:lnTo>
                    <a:pt x="231" y="447"/>
                  </a:lnTo>
                  <a:lnTo>
                    <a:pt x="229" y="442"/>
                  </a:lnTo>
                  <a:lnTo>
                    <a:pt x="224" y="437"/>
                  </a:lnTo>
                  <a:lnTo>
                    <a:pt x="221" y="439"/>
                  </a:lnTo>
                  <a:lnTo>
                    <a:pt x="219" y="430"/>
                  </a:lnTo>
                  <a:lnTo>
                    <a:pt x="210" y="425"/>
                  </a:lnTo>
                  <a:lnTo>
                    <a:pt x="205" y="417"/>
                  </a:lnTo>
                  <a:lnTo>
                    <a:pt x="204" y="417"/>
                  </a:lnTo>
                  <a:lnTo>
                    <a:pt x="197" y="411"/>
                  </a:lnTo>
                  <a:lnTo>
                    <a:pt x="190" y="411"/>
                  </a:lnTo>
                  <a:lnTo>
                    <a:pt x="186" y="408"/>
                  </a:lnTo>
                  <a:lnTo>
                    <a:pt x="185" y="401"/>
                  </a:lnTo>
                  <a:lnTo>
                    <a:pt x="183" y="394"/>
                  </a:lnTo>
                  <a:lnTo>
                    <a:pt x="181" y="389"/>
                  </a:lnTo>
                  <a:lnTo>
                    <a:pt x="181" y="381"/>
                  </a:lnTo>
                  <a:lnTo>
                    <a:pt x="176" y="372"/>
                  </a:lnTo>
                  <a:lnTo>
                    <a:pt x="169" y="365"/>
                  </a:lnTo>
                  <a:lnTo>
                    <a:pt x="171" y="362"/>
                  </a:lnTo>
                  <a:lnTo>
                    <a:pt x="169" y="357"/>
                  </a:lnTo>
                  <a:lnTo>
                    <a:pt x="169" y="353"/>
                  </a:lnTo>
                  <a:lnTo>
                    <a:pt x="168" y="347"/>
                  </a:lnTo>
                  <a:lnTo>
                    <a:pt x="171" y="347"/>
                  </a:lnTo>
                  <a:lnTo>
                    <a:pt x="169" y="340"/>
                  </a:lnTo>
                  <a:lnTo>
                    <a:pt x="173" y="335"/>
                  </a:lnTo>
                  <a:lnTo>
                    <a:pt x="173" y="330"/>
                  </a:lnTo>
                  <a:lnTo>
                    <a:pt x="178" y="323"/>
                  </a:lnTo>
                  <a:lnTo>
                    <a:pt x="176" y="316"/>
                  </a:lnTo>
                  <a:lnTo>
                    <a:pt x="169" y="318"/>
                  </a:lnTo>
                  <a:lnTo>
                    <a:pt x="166" y="321"/>
                  </a:lnTo>
                  <a:lnTo>
                    <a:pt x="164" y="321"/>
                  </a:lnTo>
                  <a:lnTo>
                    <a:pt x="159" y="324"/>
                  </a:lnTo>
                  <a:lnTo>
                    <a:pt x="157" y="328"/>
                  </a:lnTo>
                  <a:lnTo>
                    <a:pt x="151" y="330"/>
                  </a:lnTo>
                  <a:lnTo>
                    <a:pt x="145" y="335"/>
                  </a:lnTo>
                  <a:lnTo>
                    <a:pt x="139" y="333"/>
                  </a:lnTo>
                  <a:lnTo>
                    <a:pt x="132" y="335"/>
                  </a:lnTo>
                  <a:lnTo>
                    <a:pt x="130" y="328"/>
                  </a:lnTo>
                  <a:lnTo>
                    <a:pt x="132" y="323"/>
                  </a:lnTo>
                  <a:lnTo>
                    <a:pt x="127" y="314"/>
                  </a:lnTo>
                  <a:lnTo>
                    <a:pt x="128" y="307"/>
                  </a:lnTo>
                  <a:lnTo>
                    <a:pt x="120" y="302"/>
                  </a:lnTo>
                  <a:lnTo>
                    <a:pt x="118" y="304"/>
                  </a:lnTo>
                  <a:lnTo>
                    <a:pt x="115" y="300"/>
                  </a:lnTo>
                  <a:lnTo>
                    <a:pt x="116" y="290"/>
                  </a:lnTo>
                  <a:lnTo>
                    <a:pt x="120" y="289"/>
                  </a:lnTo>
                  <a:lnTo>
                    <a:pt x="120" y="285"/>
                  </a:lnTo>
                  <a:lnTo>
                    <a:pt x="125" y="283"/>
                  </a:lnTo>
                  <a:lnTo>
                    <a:pt x="128" y="275"/>
                  </a:lnTo>
                  <a:lnTo>
                    <a:pt x="132" y="271"/>
                  </a:lnTo>
                  <a:lnTo>
                    <a:pt x="135" y="275"/>
                  </a:lnTo>
                  <a:lnTo>
                    <a:pt x="142" y="271"/>
                  </a:lnTo>
                  <a:lnTo>
                    <a:pt x="145" y="275"/>
                  </a:lnTo>
                  <a:lnTo>
                    <a:pt x="149" y="271"/>
                  </a:lnTo>
                  <a:lnTo>
                    <a:pt x="152" y="271"/>
                  </a:lnTo>
                  <a:lnTo>
                    <a:pt x="156" y="265"/>
                  </a:lnTo>
                  <a:lnTo>
                    <a:pt x="156" y="259"/>
                  </a:lnTo>
                  <a:lnTo>
                    <a:pt x="152" y="258"/>
                  </a:lnTo>
                  <a:lnTo>
                    <a:pt x="149" y="251"/>
                  </a:lnTo>
                  <a:lnTo>
                    <a:pt x="145" y="246"/>
                  </a:lnTo>
                  <a:lnTo>
                    <a:pt x="142" y="239"/>
                  </a:lnTo>
                  <a:lnTo>
                    <a:pt x="142" y="237"/>
                  </a:lnTo>
                  <a:lnTo>
                    <a:pt x="140" y="236"/>
                  </a:lnTo>
                  <a:lnTo>
                    <a:pt x="139" y="227"/>
                  </a:lnTo>
                  <a:lnTo>
                    <a:pt x="137" y="222"/>
                  </a:lnTo>
                  <a:lnTo>
                    <a:pt x="130" y="217"/>
                  </a:lnTo>
                  <a:lnTo>
                    <a:pt x="125" y="224"/>
                  </a:lnTo>
                  <a:lnTo>
                    <a:pt x="125" y="227"/>
                  </a:lnTo>
                  <a:lnTo>
                    <a:pt x="118" y="222"/>
                  </a:lnTo>
                  <a:lnTo>
                    <a:pt x="115" y="224"/>
                  </a:lnTo>
                  <a:lnTo>
                    <a:pt x="111" y="222"/>
                  </a:lnTo>
                  <a:lnTo>
                    <a:pt x="106" y="227"/>
                  </a:lnTo>
                  <a:lnTo>
                    <a:pt x="104" y="227"/>
                  </a:lnTo>
                  <a:lnTo>
                    <a:pt x="104" y="225"/>
                  </a:lnTo>
                  <a:lnTo>
                    <a:pt x="99" y="227"/>
                  </a:lnTo>
                  <a:lnTo>
                    <a:pt x="98" y="230"/>
                  </a:lnTo>
                  <a:lnTo>
                    <a:pt x="91" y="237"/>
                  </a:lnTo>
                  <a:lnTo>
                    <a:pt x="86" y="236"/>
                  </a:lnTo>
                  <a:lnTo>
                    <a:pt x="86" y="241"/>
                  </a:lnTo>
                  <a:lnTo>
                    <a:pt x="82" y="244"/>
                  </a:lnTo>
                  <a:lnTo>
                    <a:pt x="75" y="244"/>
                  </a:lnTo>
                  <a:lnTo>
                    <a:pt x="72" y="246"/>
                  </a:lnTo>
                  <a:lnTo>
                    <a:pt x="72" y="251"/>
                  </a:lnTo>
                  <a:lnTo>
                    <a:pt x="70" y="253"/>
                  </a:lnTo>
                  <a:lnTo>
                    <a:pt x="67" y="251"/>
                  </a:lnTo>
                  <a:lnTo>
                    <a:pt x="64" y="248"/>
                  </a:lnTo>
                  <a:lnTo>
                    <a:pt x="58" y="246"/>
                  </a:lnTo>
                  <a:lnTo>
                    <a:pt x="53" y="248"/>
                  </a:lnTo>
                  <a:lnTo>
                    <a:pt x="48" y="248"/>
                  </a:lnTo>
                  <a:lnTo>
                    <a:pt x="45" y="248"/>
                  </a:lnTo>
                  <a:lnTo>
                    <a:pt x="41" y="242"/>
                  </a:lnTo>
                  <a:lnTo>
                    <a:pt x="38" y="241"/>
                  </a:lnTo>
                  <a:lnTo>
                    <a:pt x="38" y="239"/>
                  </a:lnTo>
                  <a:lnTo>
                    <a:pt x="41" y="237"/>
                  </a:lnTo>
                  <a:lnTo>
                    <a:pt x="41" y="236"/>
                  </a:lnTo>
                  <a:lnTo>
                    <a:pt x="38" y="230"/>
                  </a:lnTo>
                  <a:lnTo>
                    <a:pt x="33" y="229"/>
                  </a:lnTo>
                  <a:lnTo>
                    <a:pt x="28" y="229"/>
                  </a:lnTo>
                  <a:lnTo>
                    <a:pt x="21" y="232"/>
                  </a:lnTo>
                  <a:lnTo>
                    <a:pt x="19" y="232"/>
                  </a:lnTo>
                  <a:lnTo>
                    <a:pt x="9" y="232"/>
                  </a:lnTo>
                  <a:lnTo>
                    <a:pt x="7" y="234"/>
                  </a:lnTo>
                  <a:lnTo>
                    <a:pt x="5" y="232"/>
                  </a:lnTo>
                  <a:lnTo>
                    <a:pt x="2" y="232"/>
                  </a:lnTo>
                  <a:lnTo>
                    <a:pt x="0" y="229"/>
                  </a:lnTo>
                  <a:lnTo>
                    <a:pt x="7" y="225"/>
                  </a:lnTo>
                  <a:lnTo>
                    <a:pt x="7" y="217"/>
                  </a:lnTo>
                  <a:lnTo>
                    <a:pt x="11" y="210"/>
                  </a:lnTo>
                  <a:lnTo>
                    <a:pt x="5" y="205"/>
                  </a:lnTo>
                  <a:lnTo>
                    <a:pt x="5" y="200"/>
                  </a:lnTo>
                  <a:lnTo>
                    <a:pt x="11" y="193"/>
                  </a:lnTo>
                  <a:lnTo>
                    <a:pt x="7" y="188"/>
                  </a:lnTo>
                  <a:lnTo>
                    <a:pt x="7" y="186"/>
                  </a:lnTo>
                  <a:lnTo>
                    <a:pt x="14" y="183"/>
                  </a:lnTo>
                  <a:lnTo>
                    <a:pt x="16" y="177"/>
                  </a:lnTo>
                  <a:lnTo>
                    <a:pt x="19" y="174"/>
                  </a:lnTo>
                  <a:lnTo>
                    <a:pt x="26" y="176"/>
                  </a:lnTo>
                  <a:lnTo>
                    <a:pt x="31" y="171"/>
                  </a:lnTo>
                  <a:lnTo>
                    <a:pt x="33" y="174"/>
                  </a:lnTo>
                  <a:lnTo>
                    <a:pt x="35" y="174"/>
                  </a:lnTo>
                  <a:lnTo>
                    <a:pt x="38" y="169"/>
                  </a:lnTo>
                  <a:lnTo>
                    <a:pt x="36" y="162"/>
                  </a:lnTo>
                  <a:lnTo>
                    <a:pt x="40" y="160"/>
                  </a:lnTo>
                  <a:lnTo>
                    <a:pt x="38" y="157"/>
                  </a:lnTo>
                  <a:lnTo>
                    <a:pt x="38" y="148"/>
                  </a:lnTo>
                  <a:lnTo>
                    <a:pt x="45" y="142"/>
                  </a:lnTo>
                  <a:lnTo>
                    <a:pt x="48" y="138"/>
                  </a:lnTo>
                  <a:lnTo>
                    <a:pt x="57" y="137"/>
                  </a:lnTo>
                  <a:lnTo>
                    <a:pt x="60" y="133"/>
                  </a:lnTo>
                  <a:lnTo>
                    <a:pt x="65" y="133"/>
                  </a:lnTo>
                  <a:lnTo>
                    <a:pt x="67" y="130"/>
                  </a:lnTo>
                  <a:lnTo>
                    <a:pt x="69" y="130"/>
                  </a:lnTo>
                  <a:lnTo>
                    <a:pt x="77" y="135"/>
                  </a:lnTo>
                  <a:lnTo>
                    <a:pt x="81" y="137"/>
                  </a:lnTo>
                  <a:lnTo>
                    <a:pt x="87" y="140"/>
                  </a:lnTo>
                  <a:lnTo>
                    <a:pt x="93" y="147"/>
                  </a:lnTo>
                  <a:lnTo>
                    <a:pt x="98" y="150"/>
                  </a:lnTo>
                  <a:lnTo>
                    <a:pt x="104" y="152"/>
                  </a:lnTo>
                  <a:lnTo>
                    <a:pt x="108" y="157"/>
                  </a:lnTo>
                  <a:lnTo>
                    <a:pt x="106" y="160"/>
                  </a:lnTo>
                  <a:lnTo>
                    <a:pt x="111" y="162"/>
                  </a:lnTo>
                  <a:lnTo>
                    <a:pt x="118" y="171"/>
                  </a:lnTo>
                  <a:lnTo>
                    <a:pt x="123" y="174"/>
                  </a:lnTo>
                  <a:lnTo>
                    <a:pt x="123" y="171"/>
                  </a:lnTo>
                  <a:lnTo>
                    <a:pt x="128" y="167"/>
                  </a:lnTo>
                  <a:lnTo>
                    <a:pt x="134" y="172"/>
                  </a:lnTo>
                  <a:lnTo>
                    <a:pt x="139" y="171"/>
                  </a:lnTo>
                  <a:lnTo>
                    <a:pt x="140" y="177"/>
                  </a:lnTo>
                  <a:lnTo>
                    <a:pt x="149" y="177"/>
                  </a:lnTo>
                  <a:lnTo>
                    <a:pt x="154" y="176"/>
                  </a:lnTo>
                  <a:lnTo>
                    <a:pt x="161" y="177"/>
                  </a:lnTo>
                  <a:lnTo>
                    <a:pt x="163" y="179"/>
                  </a:lnTo>
                  <a:lnTo>
                    <a:pt x="163" y="184"/>
                  </a:lnTo>
                  <a:lnTo>
                    <a:pt x="171" y="186"/>
                  </a:lnTo>
                  <a:lnTo>
                    <a:pt x="174" y="186"/>
                  </a:lnTo>
                  <a:lnTo>
                    <a:pt x="176" y="184"/>
                  </a:lnTo>
                  <a:lnTo>
                    <a:pt x="181" y="184"/>
                  </a:lnTo>
                  <a:lnTo>
                    <a:pt x="185" y="183"/>
                  </a:lnTo>
                  <a:lnTo>
                    <a:pt x="190" y="176"/>
                  </a:lnTo>
                  <a:lnTo>
                    <a:pt x="188" y="169"/>
                  </a:lnTo>
                  <a:lnTo>
                    <a:pt x="192" y="164"/>
                  </a:lnTo>
                  <a:lnTo>
                    <a:pt x="198" y="160"/>
                  </a:lnTo>
                  <a:lnTo>
                    <a:pt x="205" y="160"/>
                  </a:lnTo>
                  <a:lnTo>
                    <a:pt x="214" y="157"/>
                  </a:lnTo>
                  <a:lnTo>
                    <a:pt x="217" y="157"/>
                  </a:lnTo>
                  <a:lnTo>
                    <a:pt x="226" y="160"/>
                  </a:lnTo>
                  <a:lnTo>
                    <a:pt x="227" y="159"/>
                  </a:lnTo>
                  <a:lnTo>
                    <a:pt x="233" y="150"/>
                  </a:lnTo>
                  <a:lnTo>
                    <a:pt x="241" y="147"/>
                  </a:lnTo>
                  <a:lnTo>
                    <a:pt x="243" y="140"/>
                  </a:lnTo>
                  <a:lnTo>
                    <a:pt x="253" y="135"/>
                  </a:lnTo>
                  <a:lnTo>
                    <a:pt x="256" y="128"/>
                  </a:lnTo>
                  <a:lnTo>
                    <a:pt x="260" y="130"/>
                  </a:lnTo>
                  <a:lnTo>
                    <a:pt x="263" y="126"/>
                  </a:lnTo>
                  <a:lnTo>
                    <a:pt x="265" y="123"/>
                  </a:lnTo>
                  <a:lnTo>
                    <a:pt x="263" y="121"/>
                  </a:lnTo>
                  <a:lnTo>
                    <a:pt x="270" y="113"/>
                  </a:lnTo>
                  <a:lnTo>
                    <a:pt x="275" y="113"/>
                  </a:lnTo>
                  <a:lnTo>
                    <a:pt x="279" y="102"/>
                  </a:lnTo>
                  <a:lnTo>
                    <a:pt x="282" y="92"/>
                  </a:lnTo>
                  <a:lnTo>
                    <a:pt x="280" y="84"/>
                  </a:lnTo>
                  <a:lnTo>
                    <a:pt x="284" y="78"/>
                  </a:lnTo>
                  <a:lnTo>
                    <a:pt x="282" y="73"/>
                  </a:lnTo>
                  <a:lnTo>
                    <a:pt x="287" y="70"/>
                  </a:lnTo>
                  <a:lnTo>
                    <a:pt x="287" y="65"/>
                  </a:lnTo>
                  <a:lnTo>
                    <a:pt x="285" y="65"/>
                  </a:lnTo>
                  <a:lnTo>
                    <a:pt x="285" y="61"/>
                  </a:lnTo>
                  <a:lnTo>
                    <a:pt x="294" y="58"/>
                  </a:lnTo>
                  <a:lnTo>
                    <a:pt x="294" y="56"/>
                  </a:lnTo>
                  <a:lnTo>
                    <a:pt x="297" y="56"/>
                  </a:lnTo>
                  <a:lnTo>
                    <a:pt x="303" y="51"/>
                  </a:lnTo>
                  <a:lnTo>
                    <a:pt x="296" y="44"/>
                  </a:lnTo>
                  <a:lnTo>
                    <a:pt x="294" y="43"/>
                  </a:lnTo>
                  <a:lnTo>
                    <a:pt x="297" y="37"/>
                  </a:lnTo>
                  <a:lnTo>
                    <a:pt x="299" y="37"/>
                  </a:lnTo>
                  <a:lnTo>
                    <a:pt x="309" y="36"/>
                  </a:lnTo>
                  <a:lnTo>
                    <a:pt x="314" y="37"/>
                  </a:lnTo>
                  <a:lnTo>
                    <a:pt x="316" y="37"/>
                  </a:lnTo>
                  <a:lnTo>
                    <a:pt x="316" y="34"/>
                  </a:lnTo>
                  <a:lnTo>
                    <a:pt x="320" y="31"/>
                  </a:lnTo>
                  <a:lnTo>
                    <a:pt x="318" y="24"/>
                  </a:lnTo>
                  <a:lnTo>
                    <a:pt x="320" y="17"/>
                  </a:lnTo>
                  <a:lnTo>
                    <a:pt x="323" y="19"/>
                  </a:lnTo>
                  <a:lnTo>
                    <a:pt x="326" y="17"/>
                  </a:lnTo>
                  <a:lnTo>
                    <a:pt x="328" y="20"/>
                  </a:lnTo>
                  <a:lnTo>
                    <a:pt x="333" y="22"/>
                  </a:lnTo>
                  <a:lnTo>
                    <a:pt x="335" y="19"/>
                  </a:lnTo>
                  <a:lnTo>
                    <a:pt x="342" y="12"/>
                  </a:lnTo>
                  <a:lnTo>
                    <a:pt x="347" y="8"/>
                  </a:lnTo>
                  <a:lnTo>
                    <a:pt x="349" y="10"/>
                  </a:lnTo>
                  <a:lnTo>
                    <a:pt x="352" y="19"/>
                  </a:lnTo>
                  <a:lnTo>
                    <a:pt x="354" y="25"/>
                  </a:lnTo>
                  <a:lnTo>
                    <a:pt x="355" y="25"/>
                  </a:lnTo>
                  <a:lnTo>
                    <a:pt x="357" y="24"/>
                  </a:lnTo>
                  <a:lnTo>
                    <a:pt x="361" y="17"/>
                  </a:lnTo>
                  <a:lnTo>
                    <a:pt x="369" y="14"/>
                  </a:lnTo>
                  <a:lnTo>
                    <a:pt x="374" y="10"/>
                  </a:lnTo>
                  <a:lnTo>
                    <a:pt x="383" y="8"/>
                  </a:lnTo>
                  <a:lnTo>
                    <a:pt x="388" y="0"/>
                  </a:lnTo>
                  <a:lnTo>
                    <a:pt x="393" y="0"/>
                  </a:lnTo>
                  <a:lnTo>
                    <a:pt x="400" y="2"/>
                  </a:lnTo>
                  <a:lnTo>
                    <a:pt x="408" y="3"/>
                  </a:lnTo>
                  <a:lnTo>
                    <a:pt x="415" y="0"/>
                  </a:lnTo>
                  <a:lnTo>
                    <a:pt x="425" y="0"/>
                  </a:lnTo>
                  <a:lnTo>
                    <a:pt x="427" y="0"/>
                  </a:lnTo>
                  <a:lnTo>
                    <a:pt x="434" y="7"/>
                  </a:lnTo>
                  <a:lnTo>
                    <a:pt x="439" y="8"/>
                  </a:lnTo>
                  <a:lnTo>
                    <a:pt x="448" y="12"/>
                  </a:lnTo>
                  <a:lnTo>
                    <a:pt x="453" y="10"/>
                  </a:lnTo>
                  <a:lnTo>
                    <a:pt x="456" y="15"/>
                  </a:lnTo>
                  <a:lnTo>
                    <a:pt x="460" y="19"/>
                  </a:lnTo>
                  <a:lnTo>
                    <a:pt x="461" y="24"/>
                  </a:lnTo>
                  <a:lnTo>
                    <a:pt x="465" y="24"/>
                  </a:lnTo>
                  <a:lnTo>
                    <a:pt x="466" y="31"/>
                  </a:lnTo>
                  <a:lnTo>
                    <a:pt x="468" y="32"/>
                  </a:lnTo>
                  <a:lnTo>
                    <a:pt x="477" y="32"/>
                  </a:lnTo>
                  <a:lnTo>
                    <a:pt x="483" y="25"/>
                  </a:lnTo>
                  <a:lnTo>
                    <a:pt x="489" y="24"/>
                  </a:lnTo>
                  <a:lnTo>
                    <a:pt x="490" y="25"/>
                  </a:lnTo>
                  <a:lnTo>
                    <a:pt x="494" y="20"/>
                  </a:lnTo>
                  <a:lnTo>
                    <a:pt x="497" y="20"/>
                  </a:lnTo>
                  <a:close/>
                </a:path>
              </a:pathLst>
            </a:custGeom>
            <a:grpFill/>
            <a:ln w="6350">
              <a:noFill/>
            </a:ln>
          </p:spPr>
          <p:txBody>
            <a:bodyPr vert="horz" wrap="square" lIns="91440" tIns="45720" rIns="91440" bIns="45720" numCol="1" anchor="t" anchorCtr="0" compatLnSpc="1"/>
            <a:lstStyle/>
            <a:p>
              <a:pPr fontAlgn="auto">
                <a:spcBef>
                  <a:spcPts val="0"/>
                </a:spcBef>
                <a:spcAft>
                  <a:spcPts val="0"/>
                </a:spcAft>
              </a:pPr>
              <a:endParaRPr lang="en-US" sz="1800" kern="0">
                <a:solidFill>
                  <a:srgbClr val="000000"/>
                </a:solidFill>
              </a:endParaRPr>
            </a:p>
          </p:txBody>
        </p:sp>
        <p:sp>
          <p:nvSpPr>
            <p:cNvPr id="116" name="Freeform 54"/>
            <p:cNvSpPr>
              <a:spLocks noEditPoints="1"/>
            </p:cNvSpPr>
            <p:nvPr/>
          </p:nvSpPr>
          <p:spPr bwMode="gray">
            <a:xfrm>
              <a:off x="6594003" y="2926684"/>
              <a:ext cx="523540" cy="162353"/>
            </a:xfrm>
            <a:custGeom>
              <a:avLst/>
              <a:gdLst>
                <a:gd name="T0" fmla="*/ 63 w 287"/>
                <a:gd name="T1" fmla="*/ 67 h 89"/>
                <a:gd name="T2" fmla="*/ 208 w 287"/>
                <a:gd name="T3" fmla="*/ 24 h 89"/>
                <a:gd name="T4" fmla="*/ 193 w 287"/>
                <a:gd name="T5" fmla="*/ 17 h 89"/>
                <a:gd name="T6" fmla="*/ 193 w 287"/>
                <a:gd name="T7" fmla="*/ 17 h 89"/>
                <a:gd name="T8" fmla="*/ 246 w 287"/>
                <a:gd name="T9" fmla="*/ 22 h 89"/>
                <a:gd name="T10" fmla="*/ 249 w 287"/>
                <a:gd name="T11" fmla="*/ 39 h 89"/>
                <a:gd name="T12" fmla="*/ 273 w 287"/>
                <a:gd name="T13" fmla="*/ 48 h 89"/>
                <a:gd name="T14" fmla="*/ 283 w 287"/>
                <a:gd name="T15" fmla="*/ 62 h 89"/>
                <a:gd name="T16" fmla="*/ 287 w 287"/>
                <a:gd name="T17" fmla="*/ 73 h 89"/>
                <a:gd name="T18" fmla="*/ 270 w 287"/>
                <a:gd name="T19" fmla="*/ 89 h 89"/>
                <a:gd name="T20" fmla="*/ 244 w 287"/>
                <a:gd name="T21" fmla="*/ 79 h 89"/>
                <a:gd name="T22" fmla="*/ 229 w 287"/>
                <a:gd name="T23" fmla="*/ 63 h 89"/>
                <a:gd name="T24" fmla="*/ 206 w 287"/>
                <a:gd name="T25" fmla="*/ 67 h 89"/>
                <a:gd name="T26" fmla="*/ 193 w 287"/>
                <a:gd name="T27" fmla="*/ 68 h 89"/>
                <a:gd name="T28" fmla="*/ 179 w 287"/>
                <a:gd name="T29" fmla="*/ 67 h 89"/>
                <a:gd name="T30" fmla="*/ 172 w 287"/>
                <a:gd name="T31" fmla="*/ 65 h 89"/>
                <a:gd name="T32" fmla="*/ 167 w 287"/>
                <a:gd name="T33" fmla="*/ 63 h 89"/>
                <a:gd name="T34" fmla="*/ 164 w 287"/>
                <a:gd name="T35" fmla="*/ 67 h 89"/>
                <a:gd name="T36" fmla="*/ 162 w 287"/>
                <a:gd name="T37" fmla="*/ 63 h 89"/>
                <a:gd name="T38" fmla="*/ 150 w 287"/>
                <a:gd name="T39" fmla="*/ 65 h 89"/>
                <a:gd name="T40" fmla="*/ 143 w 287"/>
                <a:gd name="T41" fmla="*/ 67 h 89"/>
                <a:gd name="T42" fmla="*/ 138 w 287"/>
                <a:gd name="T43" fmla="*/ 65 h 89"/>
                <a:gd name="T44" fmla="*/ 135 w 287"/>
                <a:gd name="T45" fmla="*/ 68 h 89"/>
                <a:gd name="T46" fmla="*/ 114 w 287"/>
                <a:gd name="T47" fmla="*/ 67 h 89"/>
                <a:gd name="T48" fmla="*/ 94 w 287"/>
                <a:gd name="T49" fmla="*/ 72 h 89"/>
                <a:gd name="T50" fmla="*/ 68 w 287"/>
                <a:gd name="T51" fmla="*/ 65 h 89"/>
                <a:gd name="T52" fmla="*/ 56 w 287"/>
                <a:gd name="T53" fmla="*/ 60 h 89"/>
                <a:gd name="T54" fmla="*/ 54 w 287"/>
                <a:gd name="T55" fmla="*/ 60 h 89"/>
                <a:gd name="T56" fmla="*/ 49 w 287"/>
                <a:gd name="T57" fmla="*/ 62 h 89"/>
                <a:gd name="T58" fmla="*/ 39 w 287"/>
                <a:gd name="T59" fmla="*/ 68 h 89"/>
                <a:gd name="T60" fmla="*/ 31 w 287"/>
                <a:gd name="T61" fmla="*/ 67 h 89"/>
                <a:gd name="T62" fmla="*/ 24 w 287"/>
                <a:gd name="T63" fmla="*/ 67 h 89"/>
                <a:gd name="T64" fmla="*/ 17 w 287"/>
                <a:gd name="T65" fmla="*/ 56 h 89"/>
                <a:gd name="T66" fmla="*/ 0 w 287"/>
                <a:gd name="T67" fmla="*/ 44 h 89"/>
                <a:gd name="T68" fmla="*/ 7 w 287"/>
                <a:gd name="T69" fmla="*/ 31 h 89"/>
                <a:gd name="T70" fmla="*/ 24 w 287"/>
                <a:gd name="T71" fmla="*/ 29 h 89"/>
                <a:gd name="T72" fmla="*/ 36 w 287"/>
                <a:gd name="T73" fmla="*/ 24 h 89"/>
                <a:gd name="T74" fmla="*/ 53 w 287"/>
                <a:gd name="T75" fmla="*/ 21 h 89"/>
                <a:gd name="T76" fmla="*/ 77 w 287"/>
                <a:gd name="T77" fmla="*/ 12 h 89"/>
                <a:gd name="T78" fmla="*/ 90 w 287"/>
                <a:gd name="T79" fmla="*/ 14 h 89"/>
                <a:gd name="T80" fmla="*/ 101 w 287"/>
                <a:gd name="T81" fmla="*/ 12 h 89"/>
                <a:gd name="T82" fmla="*/ 121 w 287"/>
                <a:gd name="T83" fmla="*/ 2 h 89"/>
                <a:gd name="T84" fmla="*/ 128 w 287"/>
                <a:gd name="T85" fmla="*/ 7 h 89"/>
                <a:gd name="T86" fmla="*/ 143 w 287"/>
                <a:gd name="T87" fmla="*/ 7 h 89"/>
                <a:gd name="T88" fmla="*/ 153 w 287"/>
                <a:gd name="T89" fmla="*/ 3 h 89"/>
                <a:gd name="T90" fmla="*/ 174 w 287"/>
                <a:gd name="T91" fmla="*/ 12 h 89"/>
                <a:gd name="T92" fmla="*/ 182 w 287"/>
                <a:gd name="T93" fmla="*/ 19 h 89"/>
                <a:gd name="T94" fmla="*/ 193 w 287"/>
                <a:gd name="T95" fmla="*/ 22 h 89"/>
                <a:gd name="T96" fmla="*/ 196 w 287"/>
                <a:gd name="T97" fmla="*/ 26 h 89"/>
                <a:gd name="T98" fmla="*/ 211 w 287"/>
                <a:gd name="T99" fmla="*/ 22 h 89"/>
                <a:gd name="T100" fmla="*/ 213 w 287"/>
                <a:gd name="T101" fmla="*/ 14 h 89"/>
                <a:gd name="T102" fmla="*/ 220 w 287"/>
                <a:gd name="T103" fmla="*/ 12 h 89"/>
                <a:gd name="T104" fmla="*/ 230 w 287"/>
                <a:gd name="T105" fmla="*/ 1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7" h="89">
                  <a:moveTo>
                    <a:pt x="63" y="65"/>
                  </a:moveTo>
                  <a:lnTo>
                    <a:pt x="65" y="65"/>
                  </a:lnTo>
                  <a:lnTo>
                    <a:pt x="65" y="67"/>
                  </a:lnTo>
                  <a:lnTo>
                    <a:pt x="63" y="67"/>
                  </a:lnTo>
                  <a:lnTo>
                    <a:pt x="63" y="65"/>
                  </a:lnTo>
                  <a:close/>
                  <a:moveTo>
                    <a:pt x="203" y="17"/>
                  </a:moveTo>
                  <a:lnTo>
                    <a:pt x="208" y="19"/>
                  </a:lnTo>
                  <a:lnTo>
                    <a:pt x="208" y="24"/>
                  </a:lnTo>
                  <a:lnTo>
                    <a:pt x="206" y="22"/>
                  </a:lnTo>
                  <a:lnTo>
                    <a:pt x="206" y="19"/>
                  </a:lnTo>
                  <a:lnTo>
                    <a:pt x="203" y="17"/>
                  </a:lnTo>
                  <a:close/>
                  <a:moveTo>
                    <a:pt x="193" y="17"/>
                  </a:moveTo>
                  <a:lnTo>
                    <a:pt x="198" y="19"/>
                  </a:lnTo>
                  <a:lnTo>
                    <a:pt x="198" y="21"/>
                  </a:lnTo>
                  <a:lnTo>
                    <a:pt x="191" y="17"/>
                  </a:lnTo>
                  <a:lnTo>
                    <a:pt x="193" y="17"/>
                  </a:lnTo>
                  <a:close/>
                  <a:moveTo>
                    <a:pt x="234" y="15"/>
                  </a:moveTo>
                  <a:lnTo>
                    <a:pt x="235" y="19"/>
                  </a:lnTo>
                  <a:lnTo>
                    <a:pt x="239" y="21"/>
                  </a:lnTo>
                  <a:lnTo>
                    <a:pt x="246" y="22"/>
                  </a:lnTo>
                  <a:lnTo>
                    <a:pt x="252" y="29"/>
                  </a:lnTo>
                  <a:lnTo>
                    <a:pt x="252" y="31"/>
                  </a:lnTo>
                  <a:lnTo>
                    <a:pt x="251" y="34"/>
                  </a:lnTo>
                  <a:lnTo>
                    <a:pt x="249" y="39"/>
                  </a:lnTo>
                  <a:lnTo>
                    <a:pt x="252" y="41"/>
                  </a:lnTo>
                  <a:lnTo>
                    <a:pt x="259" y="41"/>
                  </a:lnTo>
                  <a:lnTo>
                    <a:pt x="266" y="50"/>
                  </a:lnTo>
                  <a:lnTo>
                    <a:pt x="273" y="48"/>
                  </a:lnTo>
                  <a:lnTo>
                    <a:pt x="278" y="50"/>
                  </a:lnTo>
                  <a:lnTo>
                    <a:pt x="280" y="53"/>
                  </a:lnTo>
                  <a:lnTo>
                    <a:pt x="283" y="56"/>
                  </a:lnTo>
                  <a:lnTo>
                    <a:pt x="283" y="62"/>
                  </a:lnTo>
                  <a:lnTo>
                    <a:pt x="287" y="65"/>
                  </a:lnTo>
                  <a:lnTo>
                    <a:pt x="283" y="67"/>
                  </a:lnTo>
                  <a:lnTo>
                    <a:pt x="283" y="70"/>
                  </a:lnTo>
                  <a:lnTo>
                    <a:pt x="287" y="73"/>
                  </a:lnTo>
                  <a:lnTo>
                    <a:pt x="280" y="80"/>
                  </a:lnTo>
                  <a:lnTo>
                    <a:pt x="278" y="87"/>
                  </a:lnTo>
                  <a:lnTo>
                    <a:pt x="275" y="85"/>
                  </a:lnTo>
                  <a:lnTo>
                    <a:pt x="270" y="89"/>
                  </a:lnTo>
                  <a:lnTo>
                    <a:pt x="261" y="89"/>
                  </a:lnTo>
                  <a:lnTo>
                    <a:pt x="252" y="87"/>
                  </a:lnTo>
                  <a:lnTo>
                    <a:pt x="247" y="84"/>
                  </a:lnTo>
                  <a:lnTo>
                    <a:pt x="244" y="79"/>
                  </a:lnTo>
                  <a:lnTo>
                    <a:pt x="239" y="77"/>
                  </a:lnTo>
                  <a:lnTo>
                    <a:pt x="234" y="70"/>
                  </a:lnTo>
                  <a:lnTo>
                    <a:pt x="229" y="65"/>
                  </a:lnTo>
                  <a:lnTo>
                    <a:pt x="229" y="63"/>
                  </a:lnTo>
                  <a:lnTo>
                    <a:pt x="225" y="67"/>
                  </a:lnTo>
                  <a:lnTo>
                    <a:pt x="218" y="67"/>
                  </a:lnTo>
                  <a:lnTo>
                    <a:pt x="215" y="67"/>
                  </a:lnTo>
                  <a:lnTo>
                    <a:pt x="206" y="67"/>
                  </a:lnTo>
                  <a:lnTo>
                    <a:pt x="200" y="67"/>
                  </a:lnTo>
                  <a:lnTo>
                    <a:pt x="198" y="67"/>
                  </a:lnTo>
                  <a:lnTo>
                    <a:pt x="194" y="67"/>
                  </a:lnTo>
                  <a:lnTo>
                    <a:pt x="193" y="68"/>
                  </a:lnTo>
                  <a:lnTo>
                    <a:pt x="184" y="68"/>
                  </a:lnTo>
                  <a:lnTo>
                    <a:pt x="182" y="65"/>
                  </a:lnTo>
                  <a:lnTo>
                    <a:pt x="177" y="63"/>
                  </a:lnTo>
                  <a:lnTo>
                    <a:pt x="179" y="67"/>
                  </a:lnTo>
                  <a:lnTo>
                    <a:pt x="177" y="68"/>
                  </a:lnTo>
                  <a:lnTo>
                    <a:pt x="174" y="67"/>
                  </a:lnTo>
                  <a:lnTo>
                    <a:pt x="172" y="67"/>
                  </a:lnTo>
                  <a:lnTo>
                    <a:pt x="172" y="65"/>
                  </a:lnTo>
                  <a:lnTo>
                    <a:pt x="171" y="65"/>
                  </a:lnTo>
                  <a:lnTo>
                    <a:pt x="172" y="65"/>
                  </a:lnTo>
                  <a:lnTo>
                    <a:pt x="171" y="67"/>
                  </a:lnTo>
                  <a:lnTo>
                    <a:pt x="167" y="63"/>
                  </a:lnTo>
                  <a:lnTo>
                    <a:pt x="167" y="67"/>
                  </a:lnTo>
                  <a:lnTo>
                    <a:pt x="165" y="67"/>
                  </a:lnTo>
                  <a:lnTo>
                    <a:pt x="165" y="65"/>
                  </a:lnTo>
                  <a:lnTo>
                    <a:pt x="164" y="67"/>
                  </a:lnTo>
                  <a:lnTo>
                    <a:pt x="164" y="65"/>
                  </a:lnTo>
                  <a:lnTo>
                    <a:pt x="162" y="65"/>
                  </a:lnTo>
                  <a:lnTo>
                    <a:pt x="162" y="67"/>
                  </a:lnTo>
                  <a:lnTo>
                    <a:pt x="162" y="63"/>
                  </a:lnTo>
                  <a:lnTo>
                    <a:pt x="157" y="65"/>
                  </a:lnTo>
                  <a:lnTo>
                    <a:pt x="153" y="63"/>
                  </a:lnTo>
                  <a:lnTo>
                    <a:pt x="153" y="65"/>
                  </a:lnTo>
                  <a:lnTo>
                    <a:pt x="150" y="65"/>
                  </a:lnTo>
                  <a:lnTo>
                    <a:pt x="148" y="63"/>
                  </a:lnTo>
                  <a:lnTo>
                    <a:pt x="145" y="65"/>
                  </a:lnTo>
                  <a:lnTo>
                    <a:pt x="143" y="65"/>
                  </a:lnTo>
                  <a:lnTo>
                    <a:pt x="143" y="67"/>
                  </a:lnTo>
                  <a:lnTo>
                    <a:pt x="141" y="67"/>
                  </a:lnTo>
                  <a:lnTo>
                    <a:pt x="140" y="65"/>
                  </a:lnTo>
                  <a:lnTo>
                    <a:pt x="140" y="67"/>
                  </a:lnTo>
                  <a:lnTo>
                    <a:pt x="138" y="65"/>
                  </a:lnTo>
                  <a:lnTo>
                    <a:pt x="138" y="67"/>
                  </a:lnTo>
                  <a:lnTo>
                    <a:pt x="135" y="67"/>
                  </a:lnTo>
                  <a:lnTo>
                    <a:pt x="136" y="68"/>
                  </a:lnTo>
                  <a:lnTo>
                    <a:pt x="135" y="68"/>
                  </a:lnTo>
                  <a:lnTo>
                    <a:pt x="128" y="67"/>
                  </a:lnTo>
                  <a:lnTo>
                    <a:pt x="119" y="70"/>
                  </a:lnTo>
                  <a:lnTo>
                    <a:pt x="118" y="68"/>
                  </a:lnTo>
                  <a:lnTo>
                    <a:pt x="114" y="67"/>
                  </a:lnTo>
                  <a:lnTo>
                    <a:pt x="107" y="68"/>
                  </a:lnTo>
                  <a:lnTo>
                    <a:pt x="99" y="72"/>
                  </a:lnTo>
                  <a:lnTo>
                    <a:pt x="97" y="70"/>
                  </a:lnTo>
                  <a:lnTo>
                    <a:pt x="94" y="72"/>
                  </a:lnTo>
                  <a:lnTo>
                    <a:pt x="83" y="72"/>
                  </a:lnTo>
                  <a:lnTo>
                    <a:pt x="77" y="77"/>
                  </a:lnTo>
                  <a:lnTo>
                    <a:pt x="71" y="72"/>
                  </a:lnTo>
                  <a:lnTo>
                    <a:pt x="68" y="65"/>
                  </a:lnTo>
                  <a:lnTo>
                    <a:pt x="66" y="65"/>
                  </a:lnTo>
                  <a:lnTo>
                    <a:pt x="66" y="63"/>
                  </a:lnTo>
                  <a:lnTo>
                    <a:pt x="63" y="63"/>
                  </a:lnTo>
                  <a:lnTo>
                    <a:pt x="56" y="60"/>
                  </a:lnTo>
                  <a:lnTo>
                    <a:pt x="58" y="63"/>
                  </a:lnTo>
                  <a:lnTo>
                    <a:pt x="56" y="62"/>
                  </a:lnTo>
                  <a:lnTo>
                    <a:pt x="54" y="63"/>
                  </a:lnTo>
                  <a:lnTo>
                    <a:pt x="54" y="60"/>
                  </a:lnTo>
                  <a:lnTo>
                    <a:pt x="53" y="62"/>
                  </a:lnTo>
                  <a:lnTo>
                    <a:pt x="53" y="60"/>
                  </a:lnTo>
                  <a:lnTo>
                    <a:pt x="53" y="62"/>
                  </a:lnTo>
                  <a:lnTo>
                    <a:pt x="49" y="62"/>
                  </a:lnTo>
                  <a:lnTo>
                    <a:pt x="44" y="60"/>
                  </a:lnTo>
                  <a:lnTo>
                    <a:pt x="42" y="62"/>
                  </a:lnTo>
                  <a:lnTo>
                    <a:pt x="42" y="67"/>
                  </a:lnTo>
                  <a:lnTo>
                    <a:pt x="39" y="68"/>
                  </a:lnTo>
                  <a:lnTo>
                    <a:pt x="37" y="68"/>
                  </a:lnTo>
                  <a:lnTo>
                    <a:pt x="34" y="70"/>
                  </a:lnTo>
                  <a:lnTo>
                    <a:pt x="34" y="65"/>
                  </a:lnTo>
                  <a:lnTo>
                    <a:pt x="31" y="67"/>
                  </a:lnTo>
                  <a:lnTo>
                    <a:pt x="31" y="68"/>
                  </a:lnTo>
                  <a:lnTo>
                    <a:pt x="29" y="67"/>
                  </a:lnTo>
                  <a:lnTo>
                    <a:pt x="20" y="68"/>
                  </a:lnTo>
                  <a:lnTo>
                    <a:pt x="24" y="67"/>
                  </a:lnTo>
                  <a:lnTo>
                    <a:pt x="20" y="65"/>
                  </a:lnTo>
                  <a:lnTo>
                    <a:pt x="22" y="62"/>
                  </a:lnTo>
                  <a:lnTo>
                    <a:pt x="22" y="56"/>
                  </a:lnTo>
                  <a:lnTo>
                    <a:pt x="17" y="56"/>
                  </a:lnTo>
                  <a:lnTo>
                    <a:pt x="10" y="53"/>
                  </a:lnTo>
                  <a:lnTo>
                    <a:pt x="8" y="48"/>
                  </a:lnTo>
                  <a:lnTo>
                    <a:pt x="5" y="48"/>
                  </a:lnTo>
                  <a:lnTo>
                    <a:pt x="0" y="44"/>
                  </a:lnTo>
                  <a:lnTo>
                    <a:pt x="3" y="39"/>
                  </a:lnTo>
                  <a:lnTo>
                    <a:pt x="3" y="34"/>
                  </a:lnTo>
                  <a:lnTo>
                    <a:pt x="7" y="32"/>
                  </a:lnTo>
                  <a:lnTo>
                    <a:pt x="7" y="31"/>
                  </a:lnTo>
                  <a:lnTo>
                    <a:pt x="10" y="29"/>
                  </a:lnTo>
                  <a:lnTo>
                    <a:pt x="19" y="31"/>
                  </a:lnTo>
                  <a:lnTo>
                    <a:pt x="22" y="31"/>
                  </a:lnTo>
                  <a:lnTo>
                    <a:pt x="24" y="29"/>
                  </a:lnTo>
                  <a:lnTo>
                    <a:pt x="22" y="24"/>
                  </a:lnTo>
                  <a:lnTo>
                    <a:pt x="27" y="22"/>
                  </a:lnTo>
                  <a:lnTo>
                    <a:pt x="29" y="24"/>
                  </a:lnTo>
                  <a:lnTo>
                    <a:pt x="36" y="24"/>
                  </a:lnTo>
                  <a:lnTo>
                    <a:pt x="41" y="26"/>
                  </a:lnTo>
                  <a:lnTo>
                    <a:pt x="44" y="24"/>
                  </a:lnTo>
                  <a:lnTo>
                    <a:pt x="46" y="21"/>
                  </a:lnTo>
                  <a:lnTo>
                    <a:pt x="53" y="21"/>
                  </a:lnTo>
                  <a:lnTo>
                    <a:pt x="54" y="19"/>
                  </a:lnTo>
                  <a:lnTo>
                    <a:pt x="65" y="17"/>
                  </a:lnTo>
                  <a:lnTo>
                    <a:pt x="66" y="15"/>
                  </a:lnTo>
                  <a:lnTo>
                    <a:pt x="77" y="12"/>
                  </a:lnTo>
                  <a:lnTo>
                    <a:pt x="78" y="12"/>
                  </a:lnTo>
                  <a:lnTo>
                    <a:pt x="85" y="7"/>
                  </a:lnTo>
                  <a:lnTo>
                    <a:pt x="89" y="10"/>
                  </a:lnTo>
                  <a:lnTo>
                    <a:pt x="90" y="14"/>
                  </a:lnTo>
                  <a:lnTo>
                    <a:pt x="92" y="14"/>
                  </a:lnTo>
                  <a:lnTo>
                    <a:pt x="95" y="17"/>
                  </a:lnTo>
                  <a:lnTo>
                    <a:pt x="99" y="17"/>
                  </a:lnTo>
                  <a:lnTo>
                    <a:pt x="101" y="12"/>
                  </a:lnTo>
                  <a:lnTo>
                    <a:pt x="104" y="12"/>
                  </a:lnTo>
                  <a:lnTo>
                    <a:pt x="107" y="7"/>
                  </a:lnTo>
                  <a:lnTo>
                    <a:pt x="111" y="5"/>
                  </a:lnTo>
                  <a:lnTo>
                    <a:pt x="121" y="2"/>
                  </a:lnTo>
                  <a:lnTo>
                    <a:pt x="123" y="2"/>
                  </a:lnTo>
                  <a:lnTo>
                    <a:pt x="124" y="2"/>
                  </a:lnTo>
                  <a:lnTo>
                    <a:pt x="128" y="3"/>
                  </a:lnTo>
                  <a:lnTo>
                    <a:pt x="128" y="7"/>
                  </a:lnTo>
                  <a:lnTo>
                    <a:pt x="130" y="5"/>
                  </a:lnTo>
                  <a:lnTo>
                    <a:pt x="138" y="5"/>
                  </a:lnTo>
                  <a:lnTo>
                    <a:pt x="140" y="0"/>
                  </a:lnTo>
                  <a:lnTo>
                    <a:pt x="143" y="7"/>
                  </a:lnTo>
                  <a:lnTo>
                    <a:pt x="148" y="3"/>
                  </a:lnTo>
                  <a:lnTo>
                    <a:pt x="150" y="7"/>
                  </a:lnTo>
                  <a:lnTo>
                    <a:pt x="153" y="5"/>
                  </a:lnTo>
                  <a:lnTo>
                    <a:pt x="153" y="3"/>
                  </a:lnTo>
                  <a:lnTo>
                    <a:pt x="155" y="2"/>
                  </a:lnTo>
                  <a:lnTo>
                    <a:pt x="160" y="7"/>
                  </a:lnTo>
                  <a:lnTo>
                    <a:pt x="167" y="9"/>
                  </a:lnTo>
                  <a:lnTo>
                    <a:pt x="174" y="12"/>
                  </a:lnTo>
                  <a:lnTo>
                    <a:pt x="176" y="10"/>
                  </a:lnTo>
                  <a:lnTo>
                    <a:pt x="177" y="12"/>
                  </a:lnTo>
                  <a:lnTo>
                    <a:pt x="179" y="12"/>
                  </a:lnTo>
                  <a:lnTo>
                    <a:pt x="182" y="19"/>
                  </a:lnTo>
                  <a:lnTo>
                    <a:pt x="188" y="19"/>
                  </a:lnTo>
                  <a:lnTo>
                    <a:pt x="186" y="22"/>
                  </a:lnTo>
                  <a:lnTo>
                    <a:pt x="189" y="21"/>
                  </a:lnTo>
                  <a:lnTo>
                    <a:pt x="193" y="22"/>
                  </a:lnTo>
                  <a:lnTo>
                    <a:pt x="193" y="21"/>
                  </a:lnTo>
                  <a:lnTo>
                    <a:pt x="196" y="24"/>
                  </a:lnTo>
                  <a:lnTo>
                    <a:pt x="194" y="24"/>
                  </a:lnTo>
                  <a:lnTo>
                    <a:pt x="196" y="26"/>
                  </a:lnTo>
                  <a:lnTo>
                    <a:pt x="200" y="26"/>
                  </a:lnTo>
                  <a:lnTo>
                    <a:pt x="201" y="29"/>
                  </a:lnTo>
                  <a:lnTo>
                    <a:pt x="203" y="26"/>
                  </a:lnTo>
                  <a:lnTo>
                    <a:pt x="211" y="22"/>
                  </a:lnTo>
                  <a:lnTo>
                    <a:pt x="215" y="19"/>
                  </a:lnTo>
                  <a:lnTo>
                    <a:pt x="215" y="15"/>
                  </a:lnTo>
                  <a:lnTo>
                    <a:pt x="217" y="14"/>
                  </a:lnTo>
                  <a:lnTo>
                    <a:pt x="213" y="14"/>
                  </a:lnTo>
                  <a:lnTo>
                    <a:pt x="213" y="10"/>
                  </a:lnTo>
                  <a:lnTo>
                    <a:pt x="218" y="10"/>
                  </a:lnTo>
                  <a:lnTo>
                    <a:pt x="220" y="10"/>
                  </a:lnTo>
                  <a:lnTo>
                    <a:pt x="220" y="12"/>
                  </a:lnTo>
                  <a:lnTo>
                    <a:pt x="223" y="14"/>
                  </a:lnTo>
                  <a:lnTo>
                    <a:pt x="225" y="14"/>
                  </a:lnTo>
                  <a:lnTo>
                    <a:pt x="229" y="15"/>
                  </a:lnTo>
                  <a:lnTo>
                    <a:pt x="230" y="14"/>
                  </a:lnTo>
                  <a:lnTo>
                    <a:pt x="230" y="17"/>
                  </a:lnTo>
                  <a:lnTo>
                    <a:pt x="232" y="14"/>
                  </a:lnTo>
                  <a:lnTo>
                    <a:pt x="234" y="1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17" name="Freeform 55"/>
            <p:cNvSpPr>
              <a:spLocks noEditPoints="1"/>
            </p:cNvSpPr>
            <p:nvPr/>
          </p:nvSpPr>
          <p:spPr bwMode="gray">
            <a:xfrm>
              <a:off x="7020862" y="2111275"/>
              <a:ext cx="877432" cy="981410"/>
            </a:xfrm>
            <a:custGeom>
              <a:avLst/>
              <a:gdLst>
                <a:gd name="T0" fmla="*/ 252 w 481"/>
                <a:gd name="T1" fmla="*/ 404 h 538"/>
                <a:gd name="T2" fmla="*/ 254 w 481"/>
                <a:gd name="T3" fmla="*/ 398 h 538"/>
                <a:gd name="T4" fmla="*/ 194 w 481"/>
                <a:gd name="T5" fmla="*/ 377 h 538"/>
                <a:gd name="T6" fmla="*/ 46 w 481"/>
                <a:gd name="T7" fmla="*/ 527 h 538"/>
                <a:gd name="T8" fmla="*/ 44 w 481"/>
                <a:gd name="T9" fmla="*/ 497 h 538"/>
                <a:gd name="T10" fmla="*/ 18 w 481"/>
                <a:gd name="T11" fmla="*/ 476 h 538"/>
                <a:gd name="T12" fmla="*/ 12 w 481"/>
                <a:gd name="T13" fmla="*/ 461 h 538"/>
                <a:gd name="T14" fmla="*/ 30 w 481"/>
                <a:gd name="T15" fmla="*/ 462 h 538"/>
                <a:gd name="T16" fmla="*/ 68 w 481"/>
                <a:gd name="T17" fmla="*/ 468 h 538"/>
                <a:gd name="T18" fmla="*/ 83 w 481"/>
                <a:gd name="T19" fmla="*/ 473 h 538"/>
                <a:gd name="T20" fmla="*/ 104 w 481"/>
                <a:gd name="T21" fmla="*/ 468 h 538"/>
                <a:gd name="T22" fmla="*/ 146 w 481"/>
                <a:gd name="T23" fmla="*/ 440 h 538"/>
                <a:gd name="T24" fmla="*/ 169 w 481"/>
                <a:gd name="T25" fmla="*/ 427 h 538"/>
                <a:gd name="T26" fmla="*/ 170 w 481"/>
                <a:gd name="T27" fmla="*/ 411 h 538"/>
                <a:gd name="T28" fmla="*/ 203 w 481"/>
                <a:gd name="T29" fmla="*/ 386 h 538"/>
                <a:gd name="T30" fmla="*/ 223 w 481"/>
                <a:gd name="T31" fmla="*/ 367 h 538"/>
                <a:gd name="T32" fmla="*/ 242 w 481"/>
                <a:gd name="T33" fmla="*/ 370 h 538"/>
                <a:gd name="T34" fmla="*/ 240 w 481"/>
                <a:gd name="T35" fmla="*/ 401 h 538"/>
                <a:gd name="T36" fmla="*/ 213 w 481"/>
                <a:gd name="T37" fmla="*/ 452 h 538"/>
                <a:gd name="T38" fmla="*/ 186 w 481"/>
                <a:gd name="T39" fmla="*/ 473 h 538"/>
                <a:gd name="T40" fmla="*/ 170 w 481"/>
                <a:gd name="T41" fmla="*/ 498 h 538"/>
                <a:gd name="T42" fmla="*/ 165 w 481"/>
                <a:gd name="T43" fmla="*/ 514 h 538"/>
                <a:gd name="T44" fmla="*/ 146 w 481"/>
                <a:gd name="T45" fmla="*/ 520 h 538"/>
                <a:gd name="T46" fmla="*/ 131 w 481"/>
                <a:gd name="T47" fmla="*/ 526 h 538"/>
                <a:gd name="T48" fmla="*/ 100 w 481"/>
                <a:gd name="T49" fmla="*/ 529 h 538"/>
                <a:gd name="T50" fmla="*/ 65 w 481"/>
                <a:gd name="T51" fmla="*/ 536 h 538"/>
                <a:gd name="T52" fmla="*/ 193 w 481"/>
                <a:gd name="T53" fmla="*/ 365 h 538"/>
                <a:gd name="T54" fmla="*/ 199 w 481"/>
                <a:gd name="T55" fmla="*/ 358 h 538"/>
                <a:gd name="T56" fmla="*/ 247 w 481"/>
                <a:gd name="T57" fmla="*/ 360 h 538"/>
                <a:gd name="T58" fmla="*/ 244 w 481"/>
                <a:gd name="T59" fmla="*/ 353 h 538"/>
                <a:gd name="T60" fmla="*/ 275 w 481"/>
                <a:gd name="T61" fmla="*/ 321 h 538"/>
                <a:gd name="T62" fmla="*/ 273 w 481"/>
                <a:gd name="T63" fmla="*/ 319 h 538"/>
                <a:gd name="T64" fmla="*/ 275 w 481"/>
                <a:gd name="T65" fmla="*/ 288 h 538"/>
                <a:gd name="T66" fmla="*/ 281 w 481"/>
                <a:gd name="T67" fmla="*/ 252 h 538"/>
                <a:gd name="T68" fmla="*/ 247 w 481"/>
                <a:gd name="T69" fmla="*/ 245 h 538"/>
                <a:gd name="T70" fmla="*/ 276 w 481"/>
                <a:gd name="T71" fmla="*/ 256 h 538"/>
                <a:gd name="T72" fmla="*/ 285 w 481"/>
                <a:gd name="T73" fmla="*/ 203 h 538"/>
                <a:gd name="T74" fmla="*/ 285 w 481"/>
                <a:gd name="T75" fmla="*/ 193 h 538"/>
                <a:gd name="T76" fmla="*/ 278 w 481"/>
                <a:gd name="T77" fmla="*/ 182 h 538"/>
                <a:gd name="T78" fmla="*/ 310 w 481"/>
                <a:gd name="T79" fmla="*/ 158 h 538"/>
                <a:gd name="T80" fmla="*/ 295 w 481"/>
                <a:gd name="T81" fmla="*/ 140 h 538"/>
                <a:gd name="T82" fmla="*/ 302 w 481"/>
                <a:gd name="T83" fmla="*/ 153 h 538"/>
                <a:gd name="T84" fmla="*/ 300 w 481"/>
                <a:gd name="T85" fmla="*/ 167 h 538"/>
                <a:gd name="T86" fmla="*/ 292 w 481"/>
                <a:gd name="T87" fmla="*/ 162 h 538"/>
                <a:gd name="T88" fmla="*/ 285 w 481"/>
                <a:gd name="T89" fmla="*/ 157 h 538"/>
                <a:gd name="T90" fmla="*/ 273 w 481"/>
                <a:gd name="T91" fmla="*/ 133 h 538"/>
                <a:gd name="T92" fmla="*/ 297 w 481"/>
                <a:gd name="T93" fmla="*/ 117 h 538"/>
                <a:gd name="T94" fmla="*/ 444 w 481"/>
                <a:gd name="T95" fmla="*/ 117 h 538"/>
                <a:gd name="T96" fmla="*/ 421 w 481"/>
                <a:gd name="T97" fmla="*/ 93 h 538"/>
                <a:gd name="T98" fmla="*/ 426 w 481"/>
                <a:gd name="T99" fmla="*/ 116 h 538"/>
                <a:gd name="T100" fmla="*/ 421 w 481"/>
                <a:gd name="T101" fmla="*/ 93 h 538"/>
                <a:gd name="T102" fmla="*/ 445 w 481"/>
                <a:gd name="T103" fmla="*/ 49 h 538"/>
                <a:gd name="T104" fmla="*/ 440 w 481"/>
                <a:gd name="T105" fmla="*/ 90 h 538"/>
                <a:gd name="T106" fmla="*/ 438 w 481"/>
                <a:gd name="T107" fmla="*/ 68 h 538"/>
                <a:gd name="T108" fmla="*/ 430 w 481"/>
                <a:gd name="T109" fmla="*/ 32 h 538"/>
                <a:gd name="T110" fmla="*/ 479 w 481"/>
                <a:gd name="T111" fmla="*/ 8 h 538"/>
                <a:gd name="T112" fmla="*/ 283 w 481"/>
                <a:gd name="T113" fmla="*/ 6 h 538"/>
                <a:gd name="T114" fmla="*/ 479 w 481"/>
                <a:gd name="T115" fmla="*/ 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1" h="538">
                  <a:moveTo>
                    <a:pt x="186" y="476"/>
                  </a:moveTo>
                  <a:lnTo>
                    <a:pt x="187" y="476"/>
                  </a:lnTo>
                  <a:lnTo>
                    <a:pt x="186" y="476"/>
                  </a:lnTo>
                  <a:close/>
                  <a:moveTo>
                    <a:pt x="261" y="387"/>
                  </a:moveTo>
                  <a:lnTo>
                    <a:pt x="259" y="392"/>
                  </a:lnTo>
                  <a:lnTo>
                    <a:pt x="259" y="396"/>
                  </a:lnTo>
                  <a:lnTo>
                    <a:pt x="257" y="403"/>
                  </a:lnTo>
                  <a:lnTo>
                    <a:pt x="252" y="404"/>
                  </a:lnTo>
                  <a:lnTo>
                    <a:pt x="247" y="404"/>
                  </a:lnTo>
                  <a:lnTo>
                    <a:pt x="247" y="406"/>
                  </a:lnTo>
                  <a:lnTo>
                    <a:pt x="245" y="404"/>
                  </a:lnTo>
                  <a:lnTo>
                    <a:pt x="247" y="404"/>
                  </a:lnTo>
                  <a:lnTo>
                    <a:pt x="245" y="404"/>
                  </a:lnTo>
                  <a:lnTo>
                    <a:pt x="247" y="401"/>
                  </a:lnTo>
                  <a:lnTo>
                    <a:pt x="254" y="399"/>
                  </a:lnTo>
                  <a:lnTo>
                    <a:pt x="254" y="398"/>
                  </a:lnTo>
                  <a:lnTo>
                    <a:pt x="259" y="391"/>
                  </a:lnTo>
                  <a:lnTo>
                    <a:pt x="261" y="387"/>
                  </a:lnTo>
                  <a:close/>
                  <a:moveTo>
                    <a:pt x="196" y="377"/>
                  </a:moveTo>
                  <a:lnTo>
                    <a:pt x="199" y="377"/>
                  </a:lnTo>
                  <a:lnTo>
                    <a:pt x="199" y="382"/>
                  </a:lnTo>
                  <a:lnTo>
                    <a:pt x="198" y="379"/>
                  </a:lnTo>
                  <a:lnTo>
                    <a:pt x="194" y="379"/>
                  </a:lnTo>
                  <a:lnTo>
                    <a:pt x="194" y="377"/>
                  </a:lnTo>
                  <a:lnTo>
                    <a:pt x="196" y="377"/>
                  </a:lnTo>
                  <a:close/>
                  <a:moveTo>
                    <a:pt x="189" y="375"/>
                  </a:moveTo>
                  <a:lnTo>
                    <a:pt x="191" y="377"/>
                  </a:lnTo>
                  <a:lnTo>
                    <a:pt x="187" y="379"/>
                  </a:lnTo>
                  <a:lnTo>
                    <a:pt x="187" y="375"/>
                  </a:lnTo>
                  <a:lnTo>
                    <a:pt x="189" y="375"/>
                  </a:lnTo>
                  <a:close/>
                  <a:moveTo>
                    <a:pt x="44" y="534"/>
                  </a:moveTo>
                  <a:lnTo>
                    <a:pt x="46" y="527"/>
                  </a:lnTo>
                  <a:lnTo>
                    <a:pt x="53" y="520"/>
                  </a:lnTo>
                  <a:lnTo>
                    <a:pt x="49" y="517"/>
                  </a:lnTo>
                  <a:lnTo>
                    <a:pt x="49" y="514"/>
                  </a:lnTo>
                  <a:lnTo>
                    <a:pt x="53" y="512"/>
                  </a:lnTo>
                  <a:lnTo>
                    <a:pt x="49" y="509"/>
                  </a:lnTo>
                  <a:lnTo>
                    <a:pt x="49" y="503"/>
                  </a:lnTo>
                  <a:lnTo>
                    <a:pt x="46" y="500"/>
                  </a:lnTo>
                  <a:lnTo>
                    <a:pt x="44" y="497"/>
                  </a:lnTo>
                  <a:lnTo>
                    <a:pt x="39" y="495"/>
                  </a:lnTo>
                  <a:lnTo>
                    <a:pt x="32" y="497"/>
                  </a:lnTo>
                  <a:lnTo>
                    <a:pt x="25" y="488"/>
                  </a:lnTo>
                  <a:lnTo>
                    <a:pt x="18" y="488"/>
                  </a:lnTo>
                  <a:lnTo>
                    <a:pt x="15" y="486"/>
                  </a:lnTo>
                  <a:lnTo>
                    <a:pt x="17" y="481"/>
                  </a:lnTo>
                  <a:lnTo>
                    <a:pt x="18" y="478"/>
                  </a:lnTo>
                  <a:lnTo>
                    <a:pt x="18" y="476"/>
                  </a:lnTo>
                  <a:lnTo>
                    <a:pt x="12" y="469"/>
                  </a:lnTo>
                  <a:lnTo>
                    <a:pt x="5" y="468"/>
                  </a:lnTo>
                  <a:lnTo>
                    <a:pt x="1" y="466"/>
                  </a:lnTo>
                  <a:lnTo>
                    <a:pt x="0" y="462"/>
                  </a:lnTo>
                  <a:lnTo>
                    <a:pt x="8" y="464"/>
                  </a:lnTo>
                  <a:lnTo>
                    <a:pt x="10" y="462"/>
                  </a:lnTo>
                  <a:lnTo>
                    <a:pt x="6" y="459"/>
                  </a:lnTo>
                  <a:lnTo>
                    <a:pt x="12" y="461"/>
                  </a:lnTo>
                  <a:lnTo>
                    <a:pt x="15" y="459"/>
                  </a:lnTo>
                  <a:lnTo>
                    <a:pt x="15" y="457"/>
                  </a:lnTo>
                  <a:lnTo>
                    <a:pt x="17" y="462"/>
                  </a:lnTo>
                  <a:lnTo>
                    <a:pt x="18" y="462"/>
                  </a:lnTo>
                  <a:lnTo>
                    <a:pt x="27" y="464"/>
                  </a:lnTo>
                  <a:lnTo>
                    <a:pt x="29" y="462"/>
                  </a:lnTo>
                  <a:lnTo>
                    <a:pt x="29" y="464"/>
                  </a:lnTo>
                  <a:lnTo>
                    <a:pt x="30" y="462"/>
                  </a:lnTo>
                  <a:lnTo>
                    <a:pt x="34" y="464"/>
                  </a:lnTo>
                  <a:lnTo>
                    <a:pt x="34" y="462"/>
                  </a:lnTo>
                  <a:lnTo>
                    <a:pt x="36" y="466"/>
                  </a:lnTo>
                  <a:lnTo>
                    <a:pt x="39" y="464"/>
                  </a:lnTo>
                  <a:lnTo>
                    <a:pt x="49" y="466"/>
                  </a:lnTo>
                  <a:lnTo>
                    <a:pt x="58" y="464"/>
                  </a:lnTo>
                  <a:lnTo>
                    <a:pt x="65" y="468"/>
                  </a:lnTo>
                  <a:lnTo>
                    <a:pt x="68" y="468"/>
                  </a:lnTo>
                  <a:lnTo>
                    <a:pt x="70" y="469"/>
                  </a:lnTo>
                  <a:lnTo>
                    <a:pt x="71" y="468"/>
                  </a:lnTo>
                  <a:lnTo>
                    <a:pt x="75" y="469"/>
                  </a:lnTo>
                  <a:lnTo>
                    <a:pt x="76" y="473"/>
                  </a:lnTo>
                  <a:lnTo>
                    <a:pt x="78" y="473"/>
                  </a:lnTo>
                  <a:lnTo>
                    <a:pt x="76" y="469"/>
                  </a:lnTo>
                  <a:lnTo>
                    <a:pt x="80" y="473"/>
                  </a:lnTo>
                  <a:lnTo>
                    <a:pt x="83" y="473"/>
                  </a:lnTo>
                  <a:lnTo>
                    <a:pt x="82" y="469"/>
                  </a:lnTo>
                  <a:lnTo>
                    <a:pt x="85" y="471"/>
                  </a:lnTo>
                  <a:lnTo>
                    <a:pt x="95" y="471"/>
                  </a:lnTo>
                  <a:lnTo>
                    <a:pt x="99" y="473"/>
                  </a:lnTo>
                  <a:lnTo>
                    <a:pt x="100" y="473"/>
                  </a:lnTo>
                  <a:lnTo>
                    <a:pt x="97" y="469"/>
                  </a:lnTo>
                  <a:lnTo>
                    <a:pt x="100" y="469"/>
                  </a:lnTo>
                  <a:lnTo>
                    <a:pt x="104" y="468"/>
                  </a:lnTo>
                  <a:lnTo>
                    <a:pt x="109" y="464"/>
                  </a:lnTo>
                  <a:lnTo>
                    <a:pt x="114" y="462"/>
                  </a:lnTo>
                  <a:lnTo>
                    <a:pt x="123" y="461"/>
                  </a:lnTo>
                  <a:lnTo>
                    <a:pt x="129" y="454"/>
                  </a:lnTo>
                  <a:lnTo>
                    <a:pt x="140" y="452"/>
                  </a:lnTo>
                  <a:lnTo>
                    <a:pt x="141" y="452"/>
                  </a:lnTo>
                  <a:lnTo>
                    <a:pt x="145" y="444"/>
                  </a:lnTo>
                  <a:lnTo>
                    <a:pt x="146" y="440"/>
                  </a:lnTo>
                  <a:lnTo>
                    <a:pt x="146" y="438"/>
                  </a:lnTo>
                  <a:lnTo>
                    <a:pt x="148" y="437"/>
                  </a:lnTo>
                  <a:lnTo>
                    <a:pt x="146" y="433"/>
                  </a:lnTo>
                  <a:lnTo>
                    <a:pt x="148" y="433"/>
                  </a:lnTo>
                  <a:lnTo>
                    <a:pt x="155" y="430"/>
                  </a:lnTo>
                  <a:lnTo>
                    <a:pt x="160" y="430"/>
                  </a:lnTo>
                  <a:lnTo>
                    <a:pt x="169" y="430"/>
                  </a:lnTo>
                  <a:lnTo>
                    <a:pt x="169" y="427"/>
                  </a:lnTo>
                  <a:lnTo>
                    <a:pt x="172" y="428"/>
                  </a:lnTo>
                  <a:lnTo>
                    <a:pt x="174" y="432"/>
                  </a:lnTo>
                  <a:lnTo>
                    <a:pt x="175" y="430"/>
                  </a:lnTo>
                  <a:lnTo>
                    <a:pt x="179" y="423"/>
                  </a:lnTo>
                  <a:lnTo>
                    <a:pt x="174" y="420"/>
                  </a:lnTo>
                  <a:lnTo>
                    <a:pt x="172" y="420"/>
                  </a:lnTo>
                  <a:lnTo>
                    <a:pt x="167" y="416"/>
                  </a:lnTo>
                  <a:lnTo>
                    <a:pt x="170" y="411"/>
                  </a:lnTo>
                  <a:lnTo>
                    <a:pt x="172" y="408"/>
                  </a:lnTo>
                  <a:lnTo>
                    <a:pt x="179" y="403"/>
                  </a:lnTo>
                  <a:lnTo>
                    <a:pt x="187" y="406"/>
                  </a:lnTo>
                  <a:lnTo>
                    <a:pt x="194" y="401"/>
                  </a:lnTo>
                  <a:lnTo>
                    <a:pt x="196" y="398"/>
                  </a:lnTo>
                  <a:lnTo>
                    <a:pt x="205" y="398"/>
                  </a:lnTo>
                  <a:lnTo>
                    <a:pt x="206" y="391"/>
                  </a:lnTo>
                  <a:lnTo>
                    <a:pt x="203" y="386"/>
                  </a:lnTo>
                  <a:lnTo>
                    <a:pt x="203" y="384"/>
                  </a:lnTo>
                  <a:lnTo>
                    <a:pt x="210" y="380"/>
                  </a:lnTo>
                  <a:lnTo>
                    <a:pt x="211" y="377"/>
                  </a:lnTo>
                  <a:lnTo>
                    <a:pt x="216" y="374"/>
                  </a:lnTo>
                  <a:lnTo>
                    <a:pt x="218" y="370"/>
                  </a:lnTo>
                  <a:lnTo>
                    <a:pt x="222" y="372"/>
                  </a:lnTo>
                  <a:lnTo>
                    <a:pt x="222" y="365"/>
                  </a:lnTo>
                  <a:lnTo>
                    <a:pt x="223" y="367"/>
                  </a:lnTo>
                  <a:lnTo>
                    <a:pt x="223" y="363"/>
                  </a:lnTo>
                  <a:lnTo>
                    <a:pt x="228" y="365"/>
                  </a:lnTo>
                  <a:lnTo>
                    <a:pt x="227" y="370"/>
                  </a:lnTo>
                  <a:lnTo>
                    <a:pt x="230" y="370"/>
                  </a:lnTo>
                  <a:lnTo>
                    <a:pt x="239" y="374"/>
                  </a:lnTo>
                  <a:lnTo>
                    <a:pt x="240" y="372"/>
                  </a:lnTo>
                  <a:lnTo>
                    <a:pt x="242" y="372"/>
                  </a:lnTo>
                  <a:lnTo>
                    <a:pt x="242" y="370"/>
                  </a:lnTo>
                  <a:lnTo>
                    <a:pt x="247" y="370"/>
                  </a:lnTo>
                  <a:lnTo>
                    <a:pt x="242" y="380"/>
                  </a:lnTo>
                  <a:lnTo>
                    <a:pt x="245" y="384"/>
                  </a:lnTo>
                  <a:lnTo>
                    <a:pt x="251" y="387"/>
                  </a:lnTo>
                  <a:lnTo>
                    <a:pt x="256" y="391"/>
                  </a:lnTo>
                  <a:lnTo>
                    <a:pt x="254" y="396"/>
                  </a:lnTo>
                  <a:lnTo>
                    <a:pt x="249" y="401"/>
                  </a:lnTo>
                  <a:lnTo>
                    <a:pt x="240" y="401"/>
                  </a:lnTo>
                  <a:lnTo>
                    <a:pt x="240" y="404"/>
                  </a:lnTo>
                  <a:lnTo>
                    <a:pt x="235" y="408"/>
                  </a:lnTo>
                  <a:lnTo>
                    <a:pt x="234" y="418"/>
                  </a:lnTo>
                  <a:lnTo>
                    <a:pt x="232" y="427"/>
                  </a:lnTo>
                  <a:lnTo>
                    <a:pt x="228" y="435"/>
                  </a:lnTo>
                  <a:lnTo>
                    <a:pt x="222" y="444"/>
                  </a:lnTo>
                  <a:lnTo>
                    <a:pt x="220" y="445"/>
                  </a:lnTo>
                  <a:lnTo>
                    <a:pt x="213" y="452"/>
                  </a:lnTo>
                  <a:lnTo>
                    <a:pt x="211" y="456"/>
                  </a:lnTo>
                  <a:lnTo>
                    <a:pt x="208" y="457"/>
                  </a:lnTo>
                  <a:lnTo>
                    <a:pt x="201" y="459"/>
                  </a:lnTo>
                  <a:lnTo>
                    <a:pt x="198" y="466"/>
                  </a:lnTo>
                  <a:lnTo>
                    <a:pt x="193" y="466"/>
                  </a:lnTo>
                  <a:lnTo>
                    <a:pt x="191" y="471"/>
                  </a:lnTo>
                  <a:lnTo>
                    <a:pt x="194" y="469"/>
                  </a:lnTo>
                  <a:lnTo>
                    <a:pt x="186" y="473"/>
                  </a:lnTo>
                  <a:lnTo>
                    <a:pt x="182" y="478"/>
                  </a:lnTo>
                  <a:lnTo>
                    <a:pt x="181" y="481"/>
                  </a:lnTo>
                  <a:lnTo>
                    <a:pt x="182" y="486"/>
                  </a:lnTo>
                  <a:lnTo>
                    <a:pt x="179" y="488"/>
                  </a:lnTo>
                  <a:lnTo>
                    <a:pt x="177" y="488"/>
                  </a:lnTo>
                  <a:lnTo>
                    <a:pt x="177" y="491"/>
                  </a:lnTo>
                  <a:lnTo>
                    <a:pt x="175" y="490"/>
                  </a:lnTo>
                  <a:lnTo>
                    <a:pt x="170" y="498"/>
                  </a:lnTo>
                  <a:lnTo>
                    <a:pt x="174" y="498"/>
                  </a:lnTo>
                  <a:lnTo>
                    <a:pt x="174" y="503"/>
                  </a:lnTo>
                  <a:lnTo>
                    <a:pt x="170" y="502"/>
                  </a:lnTo>
                  <a:lnTo>
                    <a:pt x="169" y="505"/>
                  </a:lnTo>
                  <a:lnTo>
                    <a:pt x="165" y="507"/>
                  </a:lnTo>
                  <a:lnTo>
                    <a:pt x="167" y="515"/>
                  </a:lnTo>
                  <a:lnTo>
                    <a:pt x="165" y="517"/>
                  </a:lnTo>
                  <a:lnTo>
                    <a:pt x="165" y="514"/>
                  </a:lnTo>
                  <a:lnTo>
                    <a:pt x="164" y="517"/>
                  </a:lnTo>
                  <a:lnTo>
                    <a:pt x="160" y="517"/>
                  </a:lnTo>
                  <a:lnTo>
                    <a:pt x="160" y="519"/>
                  </a:lnTo>
                  <a:lnTo>
                    <a:pt x="155" y="519"/>
                  </a:lnTo>
                  <a:lnTo>
                    <a:pt x="150" y="519"/>
                  </a:lnTo>
                  <a:lnTo>
                    <a:pt x="150" y="520"/>
                  </a:lnTo>
                  <a:lnTo>
                    <a:pt x="148" y="519"/>
                  </a:lnTo>
                  <a:lnTo>
                    <a:pt x="146" y="520"/>
                  </a:lnTo>
                  <a:lnTo>
                    <a:pt x="145" y="519"/>
                  </a:lnTo>
                  <a:lnTo>
                    <a:pt x="143" y="524"/>
                  </a:lnTo>
                  <a:lnTo>
                    <a:pt x="143" y="520"/>
                  </a:lnTo>
                  <a:lnTo>
                    <a:pt x="138" y="520"/>
                  </a:lnTo>
                  <a:lnTo>
                    <a:pt x="140" y="524"/>
                  </a:lnTo>
                  <a:lnTo>
                    <a:pt x="133" y="526"/>
                  </a:lnTo>
                  <a:lnTo>
                    <a:pt x="133" y="527"/>
                  </a:lnTo>
                  <a:lnTo>
                    <a:pt x="131" y="526"/>
                  </a:lnTo>
                  <a:lnTo>
                    <a:pt x="123" y="526"/>
                  </a:lnTo>
                  <a:lnTo>
                    <a:pt x="117" y="526"/>
                  </a:lnTo>
                  <a:lnTo>
                    <a:pt x="116" y="526"/>
                  </a:lnTo>
                  <a:lnTo>
                    <a:pt x="112" y="529"/>
                  </a:lnTo>
                  <a:lnTo>
                    <a:pt x="111" y="527"/>
                  </a:lnTo>
                  <a:lnTo>
                    <a:pt x="106" y="527"/>
                  </a:lnTo>
                  <a:lnTo>
                    <a:pt x="104" y="529"/>
                  </a:lnTo>
                  <a:lnTo>
                    <a:pt x="100" y="529"/>
                  </a:lnTo>
                  <a:lnTo>
                    <a:pt x="97" y="531"/>
                  </a:lnTo>
                  <a:lnTo>
                    <a:pt x="92" y="531"/>
                  </a:lnTo>
                  <a:lnTo>
                    <a:pt x="88" y="532"/>
                  </a:lnTo>
                  <a:lnTo>
                    <a:pt x="83" y="532"/>
                  </a:lnTo>
                  <a:lnTo>
                    <a:pt x="80" y="536"/>
                  </a:lnTo>
                  <a:lnTo>
                    <a:pt x="71" y="534"/>
                  </a:lnTo>
                  <a:lnTo>
                    <a:pt x="68" y="538"/>
                  </a:lnTo>
                  <a:lnTo>
                    <a:pt x="65" y="536"/>
                  </a:lnTo>
                  <a:lnTo>
                    <a:pt x="61" y="538"/>
                  </a:lnTo>
                  <a:lnTo>
                    <a:pt x="54" y="534"/>
                  </a:lnTo>
                  <a:lnTo>
                    <a:pt x="46" y="536"/>
                  </a:lnTo>
                  <a:lnTo>
                    <a:pt x="44" y="534"/>
                  </a:lnTo>
                  <a:close/>
                  <a:moveTo>
                    <a:pt x="198" y="367"/>
                  </a:moveTo>
                  <a:lnTo>
                    <a:pt x="199" y="368"/>
                  </a:lnTo>
                  <a:lnTo>
                    <a:pt x="198" y="370"/>
                  </a:lnTo>
                  <a:lnTo>
                    <a:pt x="193" y="365"/>
                  </a:lnTo>
                  <a:lnTo>
                    <a:pt x="196" y="367"/>
                  </a:lnTo>
                  <a:lnTo>
                    <a:pt x="196" y="362"/>
                  </a:lnTo>
                  <a:lnTo>
                    <a:pt x="198" y="367"/>
                  </a:lnTo>
                  <a:close/>
                  <a:moveTo>
                    <a:pt x="232" y="358"/>
                  </a:moveTo>
                  <a:lnTo>
                    <a:pt x="234" y="362"/>
                  </a:lnTo>
                  <a:lnTo>
                    <a:pt x="232" y="362"/>
                  </a:lnTo>
                  <a:lnTo>
                    <a:pt x="232" y="358"/>
                  </a:lnTo>
                  <a:close/>
                  <a:moveTo>
                    <a:pt x="199" y="358"/>
                  </a:moveTo>
                  <a:lnTo>
                    <a:pt x="201" y="358"/>
                  </a:lnTo>
                  <a:lnTo>
                    <a:pt x="201" y="360"/>
                  </a:lnTo>
                  <a:lnTo>
                    <a:pt x="199" y="360"/>
                  </a:lnTo>
                  <a:lnTo>
                    <a:pt x="199" y="358"/>
                  </a:lnTo>
                  <a:close/>
                  <a:moveTo>
                    <a:pt x="244" y="353"/>
                  </a:moveTo>
                  <a:lnTo>
                    <a:pt x="245" y="357"/>
                  </a:lnTo>
                  <a:lnTo>
                    <a:pt x="249" y="357"/>
                  </a:lnTo>
                  <a:lnTo>
                    <a:pt x="247" y="360"/>
                  </a:lnTo>
                  <a:lnTo>
                    <a:pt x="244" y="362"/>
                  </a:lnTo>
                  <a:lnTo>
                    <a:pt x="245" y="363"/>
                  </a:lnTo>
                  <a:lnTo>
                    <a:pt x="244" y="363"/>
                  </a:lnTo>
                  <a:lnTo>
                    <a:pt x="244" y="365"/>
                  </a:lnTo>
                  <a:lnTo>
                    <a:pt x="239" y="355"/>
                  </a:lnTo>
                  <a:lnTo>
                    <a:pt x="242" y="355"/>
                  </a:lnTo>
                  <a:lnTo>
                    <a:pt x="242" y="351"/>
                  </a:lnTo>
                  <a:lnTo>
                    <a:pt x="244" y="353"/>
                  </a:lnTo>
                  <a:close/>
                  <a:moveTo>
                    <a:pt x="237" y="350"/>
                  </a:moveTo>
                  <a:lnTo>
                    <a:pt x="235" y="353"/>
                  </a:lnTo>
                  <a:lnTo>
                    <a:pt x="232" y="357"/>
                  </a:lnTo>
                  <a:lnTo>
                    <a:pt x="234" y="350"/>
                  </a:lnTo>
                  <a:lnTo>
                    <a:pt x="237" y="346"/>
                  </a:lnTo>
                  <a:lnTo>
                    <a:pt x="237" y="350"/>
                  </a:lnTo>
                  <a:close/>
                  <a:moveTo>
                    <a:pt x="275" y="319"/>
                  </a:moveTo>
                  <a:lnTo>
                    <a:pt x="275" y="321"/>
                  </a:lnTo>
                  <a:lnTo>
                    <a:pt x="269" y="322"/>
                  </a:lnTo>
                  <a:lnTo>
                    <a:pt x="268" y="324"/>
                  </a:lnTo>
                  <a:lnTo>
                    <a:pt x="266" y="322"/>
                  </a:lnTo>
                  <a:lnTo>
                    <a:pt x="266" y="321"/>
                  </a:lnTo>
                  <a:lnTo>
                    <a:pt x="269" y="321"/>
                  </a:lnTo>
                  <a:lnTo>
                    <a:pt x="269" y="317"/>
                  </a:lnTo>
                  <a:lnTo>
                    <a:pt x="269" y="319"/>
                  </a:lnTo>
                  <a:lnTo>
                    <a:pt x="273" y="319"/>
                  </a:lnTo>
                  <a:lnTo>
                    <a:pt x="275" y="317"/>
                  </a:lnTo>
                  <a:lnTo>
                    <a:pt x="275" y="319"/>
                  </a:lnTo>
                  <a:close/>
                  <a:moveTo>
                    <a:pt x="271" y="293"/>
                  </a:moveTo>
                  <a:lnTo>
                    <a:pt x="271" y="297"/>
                  </a:lnTo>
                  <a:lnTo>
                    <a:pt x="269" y="298"/>
                  </a:lnTo>
                  <a:lnTo>
                    <a:pt x="266" y="297"/>
                  </a:lnTo>
                  <a:lnTo>
                    <a:pt x="271" y="293"/>
                  </a:lnTo>
                  <a:close/>
                  <a:moveTo>
                    <a:pt x="275" y="288"/>
                  </a:moveTo>
                  <a:lnTo>
                    <a:pt x="278" y="286"/>
                  </a:lnTo>
                  <a:lnTo>
                    <a:pt x="281" y="292"/>
                  </a:lnTo>
                  <a:lnTo>
                    <a:pt x="278" y="295"/>
                  </a:lnTo>
                  <a:lnTo>
                    <a:pt x="275" y="295"/>
                  </a:lnTo>
                  <a:lnTo>
                    <a:pt x="269" y="290"/>
                  </a:lnTo>
                  <a:lnTo>
                    <a:pt x="273" y="286"/>
                  </a:lnTo>
                  <a:lnTo>
                    <a:pt x="275" y="288"/>
                  </a:lnTo>
                  <a:close/>
                  <a:moveTo>
                    <a:pt x="281" y="252"/>
                  </a:moveTo>
                  <a:lnTo>
                    <a:pt x="281" y="256"/>
                  </a:lnTo>
                  <a:lnTo>
                    <a:pt x="278" y="256"/>
                  </a:lnTo>
                  <a:lnTo>
                    <a:pt x="280" y="256"/>
                  </a:lnTo>
                  <a:lnTo>
                    <a:pt x="280" y="252"/>
                  </a:lnTo>
                  <a:lnTo>
                    <a:pt x="281" y="252"/>
                  </a:lnTo>
                  <a:close/>
                  <a:moveTo>
                    <a:pt x="245" y="244"/>
                  </a:moveTo>
                  <a:lnTo>
                    <a:pt x="247" y="244"/>
                  </a:lnTo>
                  <a:lnTo>
                    <a:pt x="247" y="245"/>
                  </a:lnTo>
                  <a:lnTo>
                    <a:pt x="245" y="245"/>
                  </a:lnTo>
                  <a:lnTo>
                    <a:pt x="245" y="244"/>
                  </a:lnTo>
                  <a:close/>
                  <a:moveTo>
                    <a:pt x="275" y="235"/>
                  </a:moveTo>
                  <a:lnTo>
                    <a:pt x="276" y="237"/>
                  </a:lnTo>
                  <a:lnTo>
                    <a:pt x="280" y="240"/>
                  </a:lnTo>
                  <a:lnTo>
                    <a:pt x="273" y="247"/>
                  </a:lnTo>
                  <a:lnTo>
                    <a:pt x="273" y="251"/>
                  </a:lnTo>
                  <a:lnTo>
                    <a:pt x="276" y="256"/>
                  </a:lnTo>
                  <a:lnTo>
                    <a:pt x="275" y="257"/>
                  </a:lnTo>
                  <a:lnTo>
                    <a:pt x="269" y="254"/>
                  </a:lnTo>
                  <a:lnTo>
                    <a:pt x="268" y="245"/>
                  </a:lnTo>
                  <a:lnTo>
                    <a:pt x="269" y="237"/>
                  </a:lnTo>
                  <a:lnTo>
                    <a:pt x="275" y="235"/>
                  </a:lnTo>
                  <a:close/>
                  <a:moveTo>
                    <a:pt x="285" y="203"/>
                  </a:moveTo>
                  <a:lnTo>
                    <a:pt x="285" y="206"/>
                  </a:lnTo>
                  <a:lnTo>
                    <a:pt x="285" y="203"/>
                  </a:lnTo>
                  <a:lnTo>
                    <a:pt x="285" y="201"/>
                  </a:lnTo>
                  <a:lnTo>
                    <a:pt x="285" y="203"/>
                  </a:lnTo>
                  <a:close/>
                  <a:moveTo>
                    <a:pt x="286" y="191"/>
                  </a:moveTo>
                  <a:lnTo>
                    <a:pt x="286" y="193"/>
                  </a:lnTo>
                  <a:lnTo>
                    <a:pt x="286" y="189"/>
                  </a:lnTo>
                  <a:lnTo>
                    <a:pt x="290" y="191"/>
                  </a:lnTo>
                  <a:lnTo>
                    <a:pt x="288" y="194"/>
                  </a:lnTo>
                  <a:lnTo>
                    <a:pt x="285" y="193"/>
                  </a:lnTo>
                  <a:lnTo>
                    <a:pt x="286" y="193"/>
                  </a:lnTo>
                  <a:lnTo>
                    <a:pt x="285" y="191"/>
                  </a:lnTo>
                  <a:lnTo>
                    <a:pt x="286" y="191"/>
                  </a:lnTo>
                  <a:close/>
                  <a:moveTo>
                    <a:pt x="278" y="182"/>
                  </a:moveTo>
                  <a:lnTo>
                    <a:pt x="281" y="182"/>
                  </a:lnTo>
                  <a:lnTo>
                    <a:pt x="281" y="186"/>
                  </a:lnTo>
                  <a:lnTo>
                    <a:pt x="278" y="186"/>
                  </a:lnTo>
                  <a:lnTo>
                    <a:pt x="278" y="182"/>
                  </a:lnTo>
                  <a:close/>
                  <a:moveTo>
                    <a:pt x="292" y="164"/>
                  </a:moveTo>
                  <a:lnTo>
                    <a:pt x="293" y="164"/>
                  </a:lnTo>
                  <a:lnTo>
                    <a:pt x="293" y="167"/>
                  </a:lnTo>
                  <a:lnTo>
                    <a:pt x="292" y="167"/>
                  </a:lnTo>
                  <a:lnTo>
                    <a:pt x="292" y="164"/>
                  </a:lnTo>
                  <a:close/>
                  <a:moveTo>
                    <a:pt x="307" y="157"/>
                  </a:moveTo>
                  <a:lnTo>
                    <a:pt x="310" y="157"/>
                  </a:lnTo>
                  <a:lnTo>
                    <a:pt x="310" y="158"/>
                  </a:lnTo>
                  <a:lnTo>
                    <a:pt x="307" y="158"/>
                  </a:lnTo>
                  <a:lnTo>
                    <a:pt x="307" y="157"/>
                  </a:lnTo>
                  <a:close/>
                  <a:moveTo>
                    <a:pt x="280" y="124"/>
                  </a:moveTo>
                  <a:lnTo>
                    <a:pt x="285" y="126"/>
                  </a:lnTo>
                  <a:lnTo>
                    <a:pt x="292" y="133"/>
                  </a:lnTo>
                  <a:lnTo>
                    <a:pt x="293" y="136"/>
                  </a:lnTo>
                  <a:lnTo>
                    <a:pt x="292" y="138"/>
                  </a:lnTo>
                  <a:lnTo>
                    <a:pt x="295" y="140"/>
                  </a:lnTo>
                  <a:lnTo>
                    <a:pt x="293" y="140"/>
                  </a:lnTo>
                  <a:lnTo>
                    <a:pt x="295" y="141"/>
                  </a:lnTo>
                  <a:lnTo>
                    <a:pt x="292" y="143"/>
                  </a:lnTo>
                  <a:lnTo>
                    <a:pt x="295" y="143"/>
                  </a:lnTo>
                  <a:lnTo>
                    <a:pt x="295" y="146"/>
                  </a:lnTo>
                  <a:lnTo>
                    <a:pt x="297" y="146"/>
                  </a:lnTo>
                  <a:lnTo>
                    <a:pt x="298" y="148"/>
                  </a:lnTo>
                  <a:lnTo>
                    <a:pt x="302" y="153"/>
                  </a:lnTo>
                  <a:lnTo>
                    <a:pt x="304" y="155"/>
                  </a:lnTo>
                  <a:lnTo>
                    <a:pt x="302" y="152"/>
                  </a:lnTo>
                  <a:lnTo>
                    <a:pt x="304" y="150"/>
                  </a:lnTo>
                  <a:lnTo>
                    <a:pt x="304" y="153"/>
                  </a:lnTo>
                  <a:lnTo>
                    <a:pt x="305" y="153"/>
                  </a:lnTo>
                  <a:lnTo>
                    <a:pt x="305" y="162"/>
                  </a:lnTo>
                  <a:lnTo>
                    <a:pt x="302" y="169"/>
                  </a:lnTo>
                  <a:lnTo>
                    <a:pt x="300" y="167"/>
                  </a:lnTo>
                  <a:lnTo>
                    <a:pt x="298" y="167"/>
                  </a:lnTo>
                  <a:lnTo>
                    <a:pt x="298" y="172"/>
                  </a:lnTo>
                  <a:lnTo>
                    <a:pt x="297" y="172"/>
                  </a:lnTo>
                  <a:lnTo>
                    <a:pt x="298" y="169"/>
                  </a:lnTo>
                  <a:lnTo>
                    <a:pt x="295" y="169"/>
                  </a:lnTo>
                  <a:lnTo>
                    <a:pt x="295" y="167"/>
                  </a:lnTo>
                  <a:lnTo>
                    <a:pt x="295" y="165"/>
                  </a:lnTo>
                  <a:lnTo>
                    <a:pt x="292" y="162"/>
                  </a:lnTo>
                  <a:lnTo>
                    <a:pt x="293" y="160"/>
                  </a:lnTo>
                  <a:lnTo>
                    <a:pt x="290" y="162"/>
                  </a:lnTo>
                  <a:lnTo>
                    <a:pt x="290" y="164"/>
                  </a:lnTo>
                  <a:lnTo>
                    <a:pt x="288" y="164"/>
                  </a:lnTo>
                  <a:lnTo>
                    <a:pt x="288" y="160"/>
                  </a:lnTo>
                  <a:lnTo>
                    <a:pt x="285" y="160"/>
                  </a:lnTo>
                  <a:lnTo>
                    <a:pt x="283" y="158"/>
                  </a:lnTo>
                  <a:lnTo>
                    <a:pt x="285" y="157"/>
                  </a:lnTo>
                  <a:lnTo>
                    <a:pt x="283" y="157"/>
                  </a:lnTo>
                  <a:lnTo>
                    <a:pt x="283" y="150"/>
                  </a:lnTo>
                  <a:lnTo>
                    <a:pt x="286" y="145"/>
                  </a:lnTo>
                  <a:lnTo>
                    <a:pt x="283" y="145"/>
                  </a:lnTo>
                  <a:lnTo>
                    <a:pt x="283" y="141"/>
                  </a:lnTo>
                  <a:lnTo>
                    <a:pt x="285" y="140"/>
                  </a:lnTo>
                  <a:lnTo>
                    <a:pt x="278" y="138"/>
                  </a:lnTo>
                  <a:lnTo>
                    <a:pt x="273" y="133"/>
                  </a:lnTo>
                  <a:lnTo>
                    <a:pt x="273" y="126"/>
                  </a:lnTo>
                  <a:lnTo>
                    <a:pt x="280" y="124"/>
                  </a:lnTo>
                  <a:close/>
                  <a:moveTo>
                    <a:pt x="295" y="123"/>
                  </a:moveTo>
                  <a:lnTo>
                    <a:pt x="292" y="124"/>
                  </a:lnTo>
                  <a:lnTo>
                    <a:pt x="292" y="123"/>
                  </a:lnTo>
                  <a:lnTo>
                    <a:pt x="293" y="121"/>
                  </a:lnTo>
                  <a:lnTo>
                    <a:pt x="295" y="123"/>
                  </a:lnTo>
                  <a:close/>
                  <a:moveTo>
                    <a:pt x="297" y="117"/>
                  </a:moveTo>
                  <a:lnTo>
                    <a:pt x="300" y="119"/>
                  </a:lnTo>
                  <a:lnTo>
                    <a:pt x="297" y="119"/>
                  </a:lnTo>
                  <a:lnTo>
                    <a:pt x="295" y="121"/>
                  </a:lnTo>
                  <a:lnTo>
                    <a:pt x="295" y="119"/>
                  </a:lnTo>
                  <a:lnTo>
                    <a:pt x="297" y="117"/>
                  </a:lnTo>
                  <a:close/>
                  <a:moveTo>
                    <a:pt x="438" y="112"/>
                  </a:moveTo>
                  <a:lnTo>
                    <a:pt x="440" y="112"/>
                  </a:lnTo>
                  <a:lnTo>
                    <a:pt x="444" y="117"/>
                  </a:lnTo>
                  <a:lnTo>
                    <a:pt x="447" y="123"/>
                  </a:lnTo>
                  <a:lnTo>
                    <a:pt x="444" y="126"/>
                  </a:lnTo>
                  <a:lnTo>
                    <a:pt x="438" y="124"/>
                  </a:lnTo>
                  <a:lnTo>
                    <a:pt x="435" y="119"/>
                  </a:lnTo>
                  <a:lnTo>
                    <a:pt x="433" y="112"/>
                  </a:lnTo>
                  <a:lnTo>
                    <a:pt x="435" y="111"/>
                  </a:lnTo>
                  <a:lnTo>
                    <a:pt x="438" y="112"/>
                  </a:lnTo>
                  <a:close/>
                  <a:moveTo>
                    <a:pt x="421" y="93"/>
                  </a:moveTo>
                  <a:lnTo>
                    <a:pt x="421" y="97"/>
                  </a:lnTo>
                  <a:lnTo>
                    <a:pt x="428" y="100"/>
                  </a:lnTo>
                  <a:lnTo>
                    <a:pt x="430" y="104"/>
                  </a:lnTo>
                  <a:lnTo>
                    <a:pt x="430" y="107"/>
                  </a:lnTo>
                  <a:lnTo>
                    <a:pt x="426" y="109"/>
                  </a:lnTo>
                  <a:lnTo>
                    <a:pt x="428" y="114"/>
                  </a:lnTo>
                  <a:lnTo>
                    <a:pt x="428" y="116"/>
                  </a:lnTo>
                  <a:lnTo>
                    <a:pt x="426" y="116"/>
                  </a:lnTo>
                  <a:lnTo>
                    <a:pt x="423" y="107"/>
                  </a:lnTo>
                  <a:lnTo>
                    <a:pt x="425" y="102"/>
                  </a:lnTo>
                  <a:lnTo>
                    <a:pt x="420" y="99"/>
                  </a:lnTo>
                  <a:lnTo>
                    <a:pt x="420" y="95"/>
                  </a:lnTo>
                  <a:lnTo>
                    <a:pt x="418" y="95"/>
                  </a:lnTo>
                  <a:lnTo>
                    <a:pt x="416" y="88"/>
                  </a:lnTo>
                  <a:lnTo>
                    <a:pt x="421" y="90"/>
                  </a:lnTo>
                  <a:lnTo>
                    <a:pt x="421" y="93"/>
                  </a:lnTo>
                  <a:close/>
                  <a:moveTo>
                    <a:pt x="435" y="29"/>
                  </a:moveTo>
                  <a:lnTo>
                    <a:pt x="437" y="30"/>
                  </a:lnTo>
                  <a:lnTo>
                    <a:pt x="440" y="29"/>
                  </a:lnTo>
                  <a:lnTo>
                    <a:pt x="444" y="34"/>
                  </a:lnTo>
                  <a:lnTo>
                    <a:pt x="445" y="34"/>
                  </a:lnTo>
                  <a:lnTo>
                    <a:pt x="449" y="42"/>
                  </a:lnTo>
                  <a:lnTo>
                    <a:pt x="445" y="44"/>
                  </a:lnTo>
                  <a:lnTo>
                    <a:pt x="445" y="49"/>
                  </a:lnTo>
                  <a:lnTo>
                    <a:pt x="452" y="58"/>
                  </a:lnTo>
                  <a:lnTo>
                    <a:pt x="454" y="61"/>
                  </a:lnTo>
                  <a:lnTo>
                    <a:pt x="447" y="63"/>
                  </a:lnTo>
                  <a:lnTo>
                    <a:pt x="449" y="68"/>
                  </a:lnTo>
                  <a:lnTo>
                    <a:pt x="444" y="71"/>
                  </a:lnTo>
                  <a:lnTo>
                    <a:pt x="440" y="75"/>
                  </a:lnTo>
                  <a:lnTo>
                    <a:pt x="442" y="82"/>
                  </a:lnTo>
                  <a:lnTo>
                    <a:pt x="440" y="90"/>
                  </a:lnTo>
                  <a:lnTo>
                    <a:pt x="435" y="93"/>
                  </a:lnTo>
                  <a:lnTo>
                    <a:pt x="428" y="92"/>
                  </a:lnTo>
                  <a:lnTo>
                    <a:pt x="426" y="93"/>
                  </a:lnTo>
                  <a:lnTo>
                    <a:pt x="425" y="88"/>
                  </a:lnTo>
                  <a:lnTo>
                    <a:pt x="426" y="85"/>
                  </a:lnTo>
                  <a:lnTo>
                    <a:pt x="432" y="80"/>
                  </a:lnTo>
                  <a:lnTo>
                    <a:pt x="435" y="71"/>
                  </a:lnTo>
                  <a:lnTo>
                    <a:pt x="438" y="68"/>
                  </a:lnTo>
                  <a:lnTo>
                    <a:pt x="437" y="63"/>
                  </a:lnTo>
                  <a:lnTo>
                    <a:pt x="430" y="61"/>
                  </a:lnTo>
                  <a:lnTo>
                    <a:pt x="428" y="54"/>
                  </a:lnTo>
                  <a:lnTo>
                    <a:pt x="425" y="52"/>
                  </a:lnTo>
                  <a:lnTo>
                    <a:pt x="428" y="47"/>
                  </a:lnTo>
                  <a:lnTo>
                    <a:pt x="428" y="42"/>
                  </a:lnTo>
                  <a:lnTo>
                    <a:pt x="432" y="37"/>
                  </a:lnTo>
                  <a:lnTo>
                    <a:pt x="430" y="32"/>
                  </a:lnTo>
                  <a:lnTo>
                    <a:pt x="432" y="29"/>
                  </a:lnTo>
                  <a:lnTo>
                    <a:pt x="435" y="29"/>
                  </a:lnTo>
                  <a:close/>
                  <a:moveTo>
                    <a:pt x="481" y="20"/>
                  </a:moveTo>
                  <a:lnTo>
                    <a:pt x="478" y="20"/>
                  </a:lnTo>
                  <a:lnTo>
                    <a:pt x="481" y="20"/>
                  </a:lnTo>
                  <a:close/>
                  <a:moveTo>
                    <a:pt x="479" y="8"/>
                  </a:moveTo>
                  <a:lnTo>
                    <a:pt x="479" y="12"/>
                  </a:lnTo>
                  <a:lnTo>
                    <a:pt x="479" y="8"/>
                  </a:lnTo>
                  <a:close/>
                  <a:moveTo>
                    <a:pt x="471" y="5"/>
                  </a:moveTo>
                  <a:lnTo>
                    <a:pt x="474" y="5"/>
                  </a:lnTo>
                  <a:lnTo>
                    <a:pt x="473" y="6"/>
                  </a:lnTo>
                  <a:lnTo>
                    <a:pt x="469" y="6"/>
                  </a:lnTo>
                  <a:lnTo>
                    <a:pt x="471" y="5"/>
                  </a:lnTo>
                  <a:close/>
                  <a:moveTo>
                    <a:pt x="281" y="5"/>
                  </a:moveTo>
                  <a:lnTo>
                    <a:pt x="283" y="5"/>
                  </a:lnTo>
                  <a:lnTo>
                    <a:pt x="283" y="6"/>
                  </a:lnTo>
                  <a:lnTo>
                    <a:pt x="281" y="6"/>
                  </a:lnTo>
                  <a:lnTo>
                    <a:pt x="281" y="5"/>
                  </a:lnTo>
                  <a:close/>
                  <a:moveTo>
                    <a:pt x="479" y="5"/>
                  </a:moveTo>
                  <a:lnTo>
                    <a:pt x="476" y="5"/>
                  </a:lnTo>
                  <a:lnTo>
                    <a:pt x="476" y="3"/>
                  </a:lnTo>
                  <a:lnTo>
                    <a:pt x="479" y="0"/>
                  </a:lnTo>
                  <a:lnTo>
                    <a:pt x="481" y="3"/>
                  </a:lnTo>
                  <a:lnTo>
                    <a:pt x="479" y="5"/>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18" name="Freeform 56"/>
            <p:cNvSpPr>
              <a:spLocks noEditPoints="1"/>
            </p:cNvSpPr>
            <p:nvPr/>
          </p:nvSpPr>
          <p:spPr bwMode="gray">
            <a:xfrm>
              <a:off x="7278071" y="2578266"/>
              <a:ext cx="1171126" cy="1118225"/>
            </a:xfrm>
            <a:custGeom>
              <a:avLst/>
              <a:gdLst>
                <a:gd name="T0" fmla="*/ 203 w 642"/>
                <a:gd name="T1" fmla="*/ 609 h 613"/>
                <a:gd name="T2" fmla="*/ 395 w 642"/>
                <a:gd name="T3" fmla="*/ 538 h 613"/>
                <a:gd name="T4" fmla="*/ 142 w 642"/>
                <a:gd name="T5" fmla="*/ 529 h 613"/>
                <a:gd name="T6" fmla="*/ 203 w 642"/>
                <a:gd name="T7" fmla="*/ 533 h 613"/>
                <a:gd name="T8" fmla="*/ 176 w 642"/>
                <a:gd name="T9" fmla="*/ 546 h 613"/>
                <a:gd name="T10" fmla="*/ 128 w 642"/>
                <a:gd name="T11" fmla="*/ 529 h 613"/>
                <a:gd name="T12" fmla="*/ 81 w 642"/>
                <a:gd name="T13" fmla="*/ 517 h 613"/>
                <a:gd name="T14" fmla="*/ 79 w 642"/>
                <a:gd name="T15" fmla="*/ 519 h 613"/>
                <a:gd name="T16" fmla="*/ 106 w 642"/>
                <a:gd name="T17" fmla="*/ 529 h 613"/>
                <a:gd name="T18" fmla="*/ 84 w 642"/>
                <a:gd name="T19" fmla="*/ 548 h 613"/>
                <a:gd name="T20" fmla="*/ 7 w 642"/>
                <a:gd name="T21" fmla="*/ 531 h 613"/>
                <a:gd name="T22" fmla="*/ 21 w 642"/>
                <a:gd name="T23" fmla="*/ 509 h 613"/>
                <a:gd name="T24" fmla="*/ 553 w 642"/>
                <a:gd name="T25" fmla="*/ 485 h 613"/>
                <a:gd name="T26" fmla="*/ 415 w 642"/>
                <a:gd name="T27" fmla="*/ 478 h 613"/>
                <a:gd name="T28" fmla="*/ 442 w 642"/>
                <a:gd name="T29" fmla="*/ 521 h 613"/>
                <a:gd name="T30" fmla="*/ 374 w 642"/>
                <a:gd name="T31" fmla="*/ 493 h 613"/>
                <a:gd name="T32" fmla="*/ 408 w 642"/>
                <a:gd name="T33" fmla="*/ 464 h 613"/>
                <a:gd name="T34" fmla="*/ 371 w 642"/>
                <a:gd name="T35" fmla="*/ 454 h 613"/>
                <a:gd name="T36" fmla="*/ 487 w 642"/>
                <a:gd name="T37" fmla="*/ 440 h 613"/>
                <a:gd name="T38" fmla="*/ 456 w 642"/>
                <a:gd name="T39" fmla="*/ 416 h 613"/>
                <a:gd name="T40" fmla="*/ 354 w 642"/>
                <a:gd name="T41" fmla="*/ 389 h 613"/>
                <a:gd name="T42" fmla="*/ 354 w 642"/>
                <a:gd name="T43" fmla="*/ 389 h 613"/>
                <a:gd name="T44" fmla="*/ 495 w 642"/>
                <a:gd name="T45" fmla="*/ 387 h 613"/>
                <a:gd name="T46" fmla="*/ 355 w 642"/>
                <a:gd name="T47" fmla="*/ 377 h 613"/>
                <a:gd name="T48" fmla="*/ 372 w 642"/>
                <a:gd name="T49" fmla="*/ 355 h 613"/>
                <a:gd name="T50" fmla="*/ 410 w 642"/>
                <a:gd name="T51" fmla="*/ 399 h 613"/>
                <a:gd name="T52" fmla="*/ 403 w 642"/>
                <a:gd name="T53" fmla="*/ 410 h 613"/>
                <a:gd name="T54" fmla="*/ 362 w 642"/>
                <a:gd name="T55" fmla="*/ 369 h 613"/>
                <a:gd name="T56" fmla="*/ 332 w 642"/>
                <a:gd name="T57" fmla="*/ 352 h 613"/>
                <a:gd name="T58" fmla="*/ 338 w 642"/>
                <a:gd name="T59" fmla="*/ 374 h 613"/>
                <a:gd name="T60" fmla="*/ 330 w 642"/>
                <a:gd name="T61" fmla="*/ 350 h 613"/>
                <a:gd name="T62" fmla="*/ 349 w 642"/>
                <a:gd name="T63" fmla="*/ 331 h 613"/>
                <a:gd name="T64" fmla="*/ 639 w 642"/>
                <a:gd name="T65" fmla="*/ 321 h 613"/>
                <a:gd name="T66" fmla="*/ 632 w 642"/>
                <a:gd name="T67" fmla="*/ 340 h 613"/>
                <a:gd name="T68" fmla="*/ 378 w 642"/>
                <a:gd name="T69" fmla="*/ 309 h 613"/>
                <a:gd name="T70" fmla="*/ 432 w 642"/>
                <a:gd name="T71" fmla="*/ 276 h 613"/>
                <a:gd name="T72" fmla="*/ 374 w 642"/>
                <a:gd name="T73" fmla="*/ 259 h 613"/>
                <a:gd name="T74" fmla="*/ 372 w 642"/>
                <a:gd name="T75" fmla="*/ 227 h 613"/>
                <a:gd name="T76" fmla="*/ 473 w 642"/>
                <a:gd name="T77" fmla="*/ 218 h 613"/>
                <a:gd name="T78" fmla="*/ 362 w 642"/>
                <a:gd name="T79" fmla="*/ 208 h 613"/>
                <a:gd name="T80" fmla="*/ 453 w 642"/>
                <a:gd name="T81" fmla="*/ 130 h 613"/>
                <a:gd name="T82" fmla="*/ 448 w 642"/>
                <a:gd name="T83" fmla="*/ 107 h 613"/>
                <a:gd name="T84" fmla="*/ 439 w 642"/>
                <a:gd name="T85" fmla="*/ 71 h 613"/>
                <a:gd name="T86" fmla="*/ 448 w 642"/>
                <a:gd name="T87" fmla="*/ 133 h 613"/>
                <a:gd name="T88" fmla="*/ 402 w 642"/>
                <a:gd name="T89" fmla="*/ 206 h 613"/>
                <a:gd name="T90" fmla="*/ 463 w 642"/>
                <a:gd name="T91" fmla="*/ 182 h 613"/>
                <a:gd name="T92" fmla="*/ 518 w 642"/>
                <a:gd name="T93" fmla="*/ 128 h 613"/>
                <a:gd name="T94" fmla="*/ 511 w 642"/>
                <a:gd name="T95" fmla="*/ 198 h 613"/>
                <a:gd name="T96" fmla="*/ 501 w 642"/>
                <a:gd name="T97" fmla="*/ 246 h 613"/>
                <a:gd name="T98" fmla="*/ 535 w 642"/>
                <a:gd name="T99" fmla="*/ 283 h 613"/>
                <a:gd name="T100" fmla="*/ 453 w 642"/>
                <a:gd name="T101" fmla="*/ 261 h 613"/>
                <a:gd name="T102" fmla="*/ 431 w 642"/>
                <a:gd name="T103" fmla="*/ 317 h 613"/>
                <a:gd name="T104" fmla="*/ 489 w 642"/>
                <a:gd name="T105" fmla="*/ 418 h 613"/>
                <a:gd name="T106" fmla="*/ 460 w 642"/>
                <a:gd name="T107" fmla="*/ 405 h 613"/>
                <a:gd name="T108" fmla="*/ 408 w 642"/>
                <a:gd name="T109" fmla="*/ 316 h 613"/>
                <a:gd name="T110" fmla="*/ 390 w 642"/>
                <a:gd name="T111" fmla="*/ 229 h 613"/>
                <a:gd name="T112" fmla="*/ 381 w 642"/>
                <a:gd name="T113" fmla="*/ 196 h 613"/>
                <a:gd name="T114" fmla="*/ 388 w 642"/>
                <a:gd name="T115" fmla="*/ 126 h 613"/>
                <a:gd name="T116" fmla="*/ 419 w 642"/>
                <a:gd name="T117" fmla="*/ 73 h 613"/>
                <a:gd name="T118" fmla="*/ 458 w 642"/>
                <a:gd name="T119" fmla="*/ 37 h 613"/>
                <a:gd name="T120" fmla="*/ 512 w 642"/>
                <a:gd name="T121" fmla="*/ 63 h 613"/>
                <a:gd name="T122" fmla="*/ 480 w 642"/>
                <a:gd name="T123" fmla="*/ 29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13">
                  <a:moveTo>
                    <a:pt x="12" y="560"/>
                  </a:moveTo>
                  <a:lnTo>
                    <a:pt x="14" y="562"/>
                  </a:lnTo>
                  <a:lnTo>
                    <a:pt x="11" y="565"/>
                  </a:lnTo>
                  <a:lnTo>
                    <a:pt x="9" y="562"/>
                  </a:lnTo>
                  <a:lnTo>
                    <a:pt x="9" y="557"/>
                  </a:lnTo>
                  <a:lnTo>
                    <a:pt x="12" y="560"/>
                  </a:lnTo>
                  <a:close/>
                  <a:moveTo>
                    <a:pt x="193" y="553"/>
                  </a:moveTo>
                  <a:lnTo>
                    <a:pt x="197" y="553"/>
                  </a:lnTo>
                  <a:lnTo>
                    <a:pt x="203" y="560"/>
                  </a:lnTo>
                  <a:lnTo>
                    <a:pt x="203" y="562"/>
                  </a:lnTo>
                  <a:lnTo>
                    <a:pt x="200" y="570"/>
                  </a:lnTo>
                  <a:lnTo>
                    <a:pt x="198" y="575"/>
                  </a:lnTo>
                  <a:lnTo>
                    <a:pt x="200" y="579"/>
                  </a:lnTo>
                  <a:lnTo>
                    <a:pt x="205" y="587"/>
                  </a:lnTo>
                  <a:lnTo>
                    <a:pt x="207" y="592"/>
                  </a:lnTo>
                  <a:lnTo>
                    <a:pt x="209" y="599"/>
                  </a:lnTo>
                  <a:lnTo>
                    <a:pt x="212" y="606"/>
                  </a:lnTo>
                  <a:lnTo>
                    <a:pt x="212" y="609"/>
                  </a:lnTo>
                  <a:lnTo>
                    <a:pt x="210" y="613"/>
                  </a:lnTo>
                  <a:lnTo>
                    <a:pt x="203" y="609"/>
                  </a:lnTo>
                  <a:lnTo>
                    <a:pt x="200" y="603"/>
                  </a:lnTo>
                  <a:lnTo>
                    <a:pt x="198" y="594"/>
                  </a:lnTo>
                  <a:lnTo>
                    <a:pt x="195" y="589"/>
                  </a:lnTo>
                  <a:lnTo>
                    <a:pt x="190" y="582"/>
                  </a:lnTo>
                  <a:lnTo>
                    <a:pt x="190" y="577"/>
                  </a:lnTo>
                  <a:lnTo>
                    <a:pt x="186" y="567"/>
                  </a:lnTo>
                  <a:lnTo>
                    <a:pt x="186" y="563"/>
                  </a:lnTo>
                  <a:lnTo>
                    <a:pt x="192" y="555"/>
                  </a:lnTo>
                  <a:lnTo>
                    <a:pt x="193" y="553"/>
                  </a:lnTo>
                  <a:close/>
                  <a:moveTo>
                    <a:pt x="5" y="553"/>
                  </a:moveTo>
                  <a:lnTo>
                    <a:pt x="9" y="553"/>
                  </a:lnTo>
                  <a:lnTo>
                    <a:pt x="9" y="562"/>
                  </a:lnTo>
                  <a:lnTo>
                    <a:pt x="2" y="558"/>
                  </a:lnTo>
                  <a:lnTo>
                    <a:pt x="2" y="557"/>
                  </a:lnTo>
                  <a:lnTo>
                    <a:pt x="0" y="557"/>
                  </a:lnTo>
                  <a:lnTo>
                    <a:pt x="2" y="553"/>
                  </a:lnTo>
                  <a:lnTo>
                    <a:pt x="5" y="553"/>
                  </a:lnTo>
                  <a:close/>
                  <a:moveTo>
                    <a:pt x="402" y="534"/>
                  </a:moveTo>
                  <a:lnTo>
                    <a:pt x="400" y="538"/>
                  </a:lnTo>
                  <a:lnTo>
                    <a:pt x="395" y="538"/>
                  </a:lnTo>
                  <a:lnTo>
                    <a:pt x="393" y="539"/>
                  </a:lnTo>
                  <a:lnTo>
                    <a:pt x="395" y="536"/>
                  </a:lnTo>
                  <a:lnTo>
                    <a:pt x="402" y="534"/>
                  </a:lnTo>
                  <a:close/>
                  <a:moveTo>
                    <a:pt x="260" y="533"/>
                  </a:moveTo>
                  <a:lnTo>
                    <a:pt x="258" y="533"/>
                  </a:lnTo>
                  <a:lnTo>
                    <a:pt x="262" y="533"/>
                  </a:lnTo>
                  <a:lnTo>
                    <a:pt x="263" y="534"/>
                  </a:lnTo>
                  <a:lnTo>
                    <a:pt x="260" y="538"/>
                  </a:lnTo>
                  <a:lnTo>
                    <a:pt x="255" y="536"/>
                  </a:lnTo>
                  <a:lnTo>
                    <a:pt x="251" y="536"/>
                  </a:lnTo>
                  <a:lnTo>
                    <a:pt x="246" y="536"/>
                  </a:lnTo>
                  <a:lnTo>
                    <a:pt x="255" y="534"/>
                  </a:lnTo>
                  <a:lnTo>
                    <a:pt x="256" y="533"/>
                  </a:lnTo>
                  <a:lnTo>
                    <a:pt x="260" y="533"/>
                  </a:lnTo>
                  <a:close/>
                  <a:moveTo>
                    <a:pt x="134" y="531"/>
                  </a:moveTo>
                  <a:lnTo>
                    <a:pt x="134" y="533"/>
                  </a:lnTo>
                  <a:lnTo>
                    <a:pt x="135" y="533"/>
                  </a:lnTo>
                  <a:lnTo>
                    <a:pt x="139" y="533"/>
                  </a:lnTo>
                  <a:lnTo>
                    <a:pt x="139" y="529"/>
                  </a:lnTo>
                  <a:lnTo>
                    <a:pt x="142" y="529"/>
                  </a:lnTo>
                  <a:lnTo>
                    <a:pt x="140" y="533"/>
                  </a:lnTo>
                  <a:lnTo>
                    <a:pt x="144" y="534"/>
                  </a:lnTo>
                  <a:lnTo>
                    <a:pt x="144" y="533"/>
                  </a:lnTo>
                  <a:lnTo>
                    <a:pt x="144" y="534"/>
                  </a:lnTo>
                  <a:lnTo>
                    <a:pt x="149" y="531"/>
                  </a:lnTo>
                  <a:lnTo>
                    <a:pt x="149" y="534"/>
                  </a:lnTo>
                  <a:lnTo>
                    <a:pt x="156" y="533"/>
                  </a:lnTo>
                  <a:lnTo>
                    <a:pt x="161" y="536"/>
                  </a:lnTo>
                  <a:lnTo>
                    <a:pt x="168" y="536"/>
                  </a:lnTo>
                  <a:lnTo>
                    <a:pt x="169" y="534"/>
                  </a:lnTo>
                  <a:lnTo>
                    <a:pt x="171" y="536"/>
                  </a:lnTo>
                  <a:lnTo>
                    <a:pt x="174" y="533"/>
                  </a:lnTo>
                  <a:lnTo>
                    <a:pt x="176" y="534"/>
                  </a:lnTo>
                  <a:lnTo>
                    <a:pt x="178" y="533"/>
                  </a:lnTo>
                  <a:lnTo>
                    <a:pt x="181" y="534"/>
                  </a:lnTo>
                  <a:lnTo>
                    <a:pt x="190" y="533"/>
                  </a:lnTo>
                  <a:lnTo>
                    <a:pt x="193" y="531"/>
                  </a:lnTo>
                  <a:lnTo>
                    <a:pt x="198" y="533"/>
                  </a:lnTo>
                  <a:lnTo>
                    <a:pt x="200" y="531"/>
                  </a:lnTo>
                  <a:lnTo>
                    <a:pt x="203" y="533"/>
                  </a:lnTo>
                  <a:lnTo>
                    <a:pt x="210" y="533"/>
                  </a:lnTo>
                  <a:lnTo>
                    <a:pt x="219" y="534"/>
                  </a:lnTo>
                  <a:lnTo>
                    <a:pt x="227" y="533"/>
                  </a:lnTo>
                  <a:lnTo>
                    <a:pt x="229" y="534"/>
                  </a:lnTo>
                  <a:lnTo>
                    <a:pt x="236" y="534"/>
                  </a:lnTo>
                  <a:lnTo>
                    <a:pt x="241" y="536"/>
                  </a:lnTo>
                  <a:lnTo>
                    <a:pt x="244" y="533"/>
                  </a:lnTo>
                  <a:lnTo>
                    <a:pt x="246" y="534"/>
                  </a:lnTo>
                  <a:lnTo>
                    <a:pt x="243" y="538"/>
                  </a:lnTo>
                  <a:lnTo>
                    <a:pt x="234" y="541"/>
                  </a:lnTo>
                  <a:lnTo>
                    <a:pt x="229" y="539"/>
                  </a:lnTo>
                  <a:lnTo>
                    <a:pt x="221" y="543"/>
                  </a:lnTo>
                  <a:lnTo>
                    <a:pt x="212" y="543"/>
                  </a:lnTo>
                  <a:lnTo>
                    <a:pt x="202" y="546"/>
                  </a:lnTo>
                  <a:lnTo>
                    <a:pt x="198" y="546"/>
                  </a:lnTo>
                  <a:lnTo>
                    <a:pt x="195" y="550"/>
                  </a:lnTo>
                  <a:lnTo>
                    <a:pt x="185" y="543"/>
                  </a:lnTo>
                  <a:lnTo>
                    <a:pt x="180" y="546"/>
                  </a:lnTo>
                  <a:lnTo>
                    <a:pt x="178" y="548"/>
                  </a:lnTo>
                  <a:lnTo>
                    <a:pt x="176" y="546"/>
                  </a:lnTo>
                  <a:lnTo>
                    <a:pt x="176" y="548"/>
                  </a:lnTo>
                  <a:lnTo>
                    <a:pt x="174" y="548"/>
                  </a:lnTo>
                  <a:lnTo>
                    <a:pt x="164" y="548"/>
                  </a:lnTo>
                  <a:lnTo>
                    <a:pt x="154" y="548"/>
                  </a:lnTo>
                  <a:lnTo>
                    <a:pt x="147" y="550"/>
                  </a:lnTo>
                  <a:lnTo>
                    <a:pt x="144" y="548"/>
                  </a:lnTo>
                  <a:lnTo>
                    <a:pt x="135" y="550"/>
                  </a:lnTo>
                  <a:lnTo>
                    <a:pt x="137" y="548"/>
                  </a:lnTo>
                  <a:lnTo>
                    <a:pt x="137" y="543"/>
                  </a:lnTo>
                  <a:lnTo>
                    <a:pt x="132" y="541"/>
                  </a:lnTo>
                  <a:lnTo>
                    <a:pt x="132" y="539"/>
                  </a:lnTo>
                  <a:lnTo>
                    <a:pt x="130" y="539"/>
                  </a:lnTo>
                  <a:lnTo>
                    <a:pt x="128" y="538"/>
                  </a:lnTo>
                  <a:lnTo>
                    <a:pt x="127" y="543"/>
                  </a:lnTo>
                  <a:lnTo>
                    <a:pt x="123" y="539"/>
                  </a:lnTo>
                  <a:lnTo>
                    <a:pt x="123" y="536"/>
                  </a:lnTo>
                  <a:lnTo>
                    <a:pt x="127" y="533"/>
                  </a:lnTo>
                  <a:lnTo>
                    <a:pt x="130" y="533"/>
                  </a:lnTo>
                  <a:lnTo>
                    <a:pt x="127" y="531"/>
                  </a:lnTo>
                  <a:lnTo>
                    <a:pt x="128" y="529"/>
                  </a:lnTo>
                  <a:lnTo>
                    <a:pt x="134" y="531"/>
                  </a:lnTo>
                  <a:close/>
                  <a:moveTo>
                    <a:pt x="5" y="527"/>
                  </a:moveTo>
                  <a:lnTo>
                    <a:pt x="5" y="529"/>
                  </a:lnTo>
                  <a:lnTo>
                    <a:pt x="5" y="527"/>
                  </a:lnTo>
                  <a:close/>
                  <a:moveTo>
                    <a:pt x="149" y="527"/>
                  </a:moveTo>
                  <a:lnTo>
                    <a:pt x="151" y="529"/>
                  </a:lnTo>
                  <a:lnTo>
                    <a:pt x="145" y="529"/>
                  </a:lnTo>
                  <a:lnTo>
                    <a:pt x="149" y="527"/>
                  </a:lnTo>
                  <a:close/>
                  <a:moveTo>
                    <a:pt x="0" y="526"/>
                  </a:moveTo>
                  <a:lnTo>
                    <a:pt x="2" y="531"/>
                  </a:lnTo>
                  <a:lnTo>
                    <a:pt x="0" y="529"/>
                  </a:lnTo>
                  <a:lnTo>
                    <a:pt x="0" y="526"/>
                  </a:lnTo>
                  <a:close/>
                  <a:moveTo>
                    <a:pt x="5" y="519"/>
                  </a:moveTo>
                  <a:lnTo>
                    <a:pt x="7" y="519"/>
                  </a:lnTo>
                  <a:lnTo>
                    <a:pt x="7" y="522"/>
                  </a:lnTo>
                  <a:lnTo>
                    <a:pt x="5" y="522"/>
                  </a:lnTo>
                  <a:lnTo>
                    <a:pt x="5" y="519"/>
                  </a:lnTo>
                  <a:close/>
                  <a:moveTo>
                    <a:pt x="79" y="516"/>
                  </a:moveTo>
                  <a:lnTo>
                    <a:pt x="81" y="516"/>
                  </a:lnTo>
                  <a:lnTo>
                    <a:pt x="81" y="517"/>
                  </a:lnTo>
                  <a:lnTo>
                    <a:pt x="79" y="517"/>
                  </a:lnTo>
                  <a:lnTo>
                    <a:pt x="79" y="516"/>
                  </a:lnTo>
                  <a:close/>
                  <a:moveTo>
                    <a:pt x="84" y="516"/>
                  </a:moveTo>
                  <a:lnTo>
                    <a:pt x="87" y="516"/>
                  </a:lnTo>
                  <a:lnTo>
                    <a:pt x="84" y="517"/>
                  </a:lnTo>
                  <a:lnTo>
                    <a:pt x="84" y="516"/>
                  </a:lnTo>
                  <a:close/>
                  <a:moveTo>
                    <a:pt x="28" y="512"/>
                  </a:moveTo>
                  <a:lnTo>
                    <a:pt x="28" y="516"/>
                  </a:lnTo>
                  <a:lnTo>
                    <a:pt x="31" y="512"/>
                  </a:lnTo>
                  <a:lnTo>
                    <a:pt x="41" y="512"/>
                  </a:lnTo>
                  <a:lnTo>
                    <a:pt x="50" y="514"/>
                  </a:lnTo>
                  <a:lnTo>
                    <a:pt x="55" y="517"/>
                  </a:lnTo>
                  <a:lnTo>
                    <a:pt x="58" y="516"/>
                  </a:lnTo>
                  <a:lnTo>
                    <a:pt x="62" y="519"/>
                  </a:lnTo>
                  <a:lnTo>
                    <a:pt x="62" y="517"/>
                  </a:lnTo>
                  <a:lnTo>
                    <a:pt x="69" y="517"/>
                  </a:lnTo>
                  <a:lnTo>
                    <a:pt x="72" y="521"/>
                  </a:lnTo>
                  <a:lnTo>
                    <a:pt x="74" y="519"/>
                  </a:lnTo>
                  <a:lnTo>
                    <a:pt x="75" y="521"/>
                  </a:lnTo>
                  <a:lnTo>
                    <a:pt x="79" y="519"/>
                  </a:lnTo>
                  <a:lnTo>
                    <a:pt x="81" y="521"/>
                  </a:lnTo>
                  <a:lnTo>
                    <a:pt x="84" y="522"/>
                  </a:lnTo>
                  <a:lnTo>
                    <a:pt x="84" y="524"/>
                  </a:lnTo>
                  <a:lnTo>
                    <a:pt x="87" y="522"/>
                  </a:lnTo>
                  <a:lnTo>
                    <a:pt x="86" y="526"/>
                  </a:lnTo>
                  <a:lnTo>
                    <a:pt x="87" y="527"/>
                  </a:lnTo>
                  <a:lnTo>
                    <a:pt x="89" y="526"/>
                  </a:lnTo>
                  <a:lnTo>
                    <a:pt x="91" y="529"/>
                  </a:lnTo>
                  <a:lnTo>
                    <a:pt x="93" y="526"/>
                  </a:lnTo>
                  <a:lnTo>
                    <a:pt x="93" y="529"/>
                  </a:lnTo>
                  <a:lnTo>
                    <a:pt x="98" y="526"/>
                  </a:lnTo>
                  <a:lnTo>
                    <a:pt x="94" y="526"/>
                  </a:lnTo>
                  <a:lnTo>
                    <a:pt x="98" y="524"/>
                  </a:lnTo>
                  <a:lnTo>
                    <a:pt x="96" y="524"/>
                  </a:lnTo>
                  <a:lnTo>
                    <a:pt x="98" y="519"/>
                  </a:lnTo>
                  <a:lnTo>
                    <a:pt x="99" y="519"/>
                  </a:lnTo>
                  <a:lnTo>
                    <a:pt x="103" y="522"/>
                  </a:lnTo>
                  <a:lnTo>
                    <a:pt x="104" y="519"/>
                  </a:lnTo>
                  <a:lnTo>
                    <a:pt x="110" y="522"/>
                  </a:lnTo>
                  <a:lnTo>
                    <a:pt x="106" y="529"/>
                  </a:lnTo>
                  <a:lnTo>
                    <a:pt x="110" y="531"/>
                  </a:lnTo>
                  <a:lnTo>
                    <a:pt x="111" y="527"/>
                  </a:lnTo>
                  <a:lnTo>
                    <a:pt x="111" y="524"/>
                  </a:lnTo>
                  <a:lnTo>
                    <a:pt x="115" y="522"/>
                  </a:lnTo>
                  <a:lnTo>
                    <a:pt x="120" y="524"/>
                  </a:lnTo>
                  <a:lnTo>
                    <a:pt x="120" y="529"/>
                  </a:lnTo>
                  <a:lnTo>
                    <a:pt x="116" y="531"/>
                  </a:lnTo>
                  <a:lnTo>
                    <a:pt x="123" y="531"/>
                  </a:lnTo>
                  <a:lnTo>
                    <a:pt x="122" y="538"/>
                  </a:lnTo>
                  <a:lnTo>
                    <a:pt x="123" y="543"/>
                  </a:lnTo>
                  <a:lnTo>
                    <a:pt x="116" y="543"/>
                  </a:lnTo>
                  <a:lnTo>
                    <a:pt x="113" y="541"/>
                  </a:lnTo>
                  <a:lnTo>
                    <a:pt x="108" y="543"/>
                  </a:lnTo>
                  <a:lnTo>
                    <a:pt x="101" y="541"/>
                  </a:lnTo>
                  <a:lnTo>
                    <a:pt x="96" y="545"/>
                  </a:lnTo>
                  <a:lnTo>
                    <a:pt x="89" y="543"/>
                  </a:lnTo>
                  <a:lnTo>
                    <a:pt x="86" y="545"/>
                  </a:lnTo>
                  <a:lnTo>
                    <a:pt x="87" y="548"/>
                  </a:lnTo>
                  <a:lnTo>
                    <a:pt x="86" y="550"/>
                  </a:lnTo>
                  <a:lnTo>
                    <a:pt x="84" y="548"/>
                  </a:lnTo>
                  <a:lnTo>
                    <a:pt x="82" y="548"/>
                  </a:lnTo>
                  <a:lnTo>
                    <a:pt x="72" y="548"/>
                  </a:lnTo>
                  <a:lnTo>
                    <a:pt x="69" y="543"/>
                  </a:lnTo>
                  <a:lnTo>
                    <a:pt x="62" y="545"/>
                  </a:lnTo>
                  <a:lnTo>
                    <a:pt x="57" y="546"/>
                  </a:lnTo>
                  <a:lnTo>
                    <a:pt x="48" y="550"/>
                  </a:lnTo>
                  <a:lnTo>
                    <a:pt x="46" y="553"/>
                  </a:lnTo>
                  <a:lnTo>
                    <a:pt x="45" y="553"/>
                  </a:lnTo>
                  <a:lnTo>
                    <a:pt x="40" y="555"/>
                  </a:lnTo>
                  <a:lnTo>
                    <a:pt x="31" y="557"/>
                  </a:lnTo>
                  <a:lnTo>
                    <a:pt x="28" y="558"/>
                  </a:lnTo>
                  <a:lnTo>
                    <a:pt x="26" y="558"/>
                  </a:lnTo>
                  <a:lnTo>
                    <a:pt x="23" y="560"/>
                  </a:lnTo>
                  <a:lnTo>
                    <a:pt x="14" y="558"/>
                  </a:lnTo>
                  <a:lnTo>
                    <a:pt x="12" y="560"/>
                  </a:lnTo>
                  <a:lnTo>
                    <a:pt x="12" y="553"/>
                  </a:lnTo>
                  <a:lnTo>
                    <a:pt x="11" y="550"/>
                  </a:lnTo>
                  <a:lnTo>
                    <a:pt x="5" y="543"/>
                  </a:lnTo>
                  <a:lnTo>
                    <a:pt x="5" y="538"/>
                  </a:lnTo>
                  <a:lnTo>
                    <a:pt x="7" y="531"/>
                  </a:lnTo>
                  <a:lnTo>
                    <a:pt x="9" y="526"/>
                  </a:lnTo>
                  <a:lnTo>
                    <a:pt x="9" y="522"/>
                  </a:lnTo>
                  <a:lnTo>
                    <a:pt x="11" y="521"/>
                  </a:lnTo>
                  <a:lnTo>
                    <a:pt x="9" y="522"/>
                  </a:lnTo>
                  <a:lnTo>
                    <a:pt x="9" y="521"/>
                  </a:lnTo>
                  <a:lnTo>
                    <a:pt x="12" y="516"/>
                  </a:lnTo>
                  <a:lnTo>
                    <a:pt x="17" y="516"/>
                  </a:lnTo>
                  <a:lnTo>
                    <a:pt x="24" y="516"/>
                  </a:lnTo>
                  <a:lnTo>
                    <a:pt x="28" y="512"/>
                  </a:lnTo>
                  <a:close/>
                  <a:moveTo>
                    <a:pt x="485" y="509"/>
                  </a:moveTo>
                  <a:lnTo>
                    <a:pt x="487" y="510"/>
                  </a:lnTo>
                  <a:lnTo>
                    <a:pt x="487" y="514"/>
                  </a:lnTo>
                  <a:lnTo>
                    <a:pt x="482" y="516"/>
                  </a:lnTo>
                  <a:lnTo>
                    <a:pt x="480" y="514"/>
                  </a:lnTo>
                  <a:lnTo>
                    <a:pt x="482" y="510"/>
                  </a:lnTo>
                  <a:lnTo>
                    <a:pt x="485" y="509"/>
                  </a:lnTo>
                  <a:close/>
                  <a:moveTo>
                    <a:pt x="21" y="505"/>
                  </a:moveTo>
                  <a:lnTo>
                    <a:pt x="23" y="505"/>
                  </a:lnTo>
                  <a:lnTo>
                    <a:pt x="23" y="509"/>
                  </a:lnTo>
                  <a:lnTo>
                    <a:pt x="21" y="509"/>
                  </a:lnTo>
                  <a:lnTo>
                    <a:pt x="21" y="505"/>
                  </a:lnTo>
                  <a:close/>
                  <a:moveTo>
                    <a:pt x="454" y="504"/>
                  </a:moveTo>
                  <a:lnTo>
                    <a:pt x="456" y="504"/>
                  </a:lnTo>
                  <a:lnTo>
                    <a:pt x="456" y="505"/>
                  </a:lnTo>
                  <a:lnTo>
                    <a:pt x="454" y="505"/>
                  </a:lnTo>
                  <a:lnTo>
                    <a:pt x="454" y="504"/>
                  </a:lnTo>
                  <a:close/>
                  <a:moveTo>
                    <a:pt x="442" y="495"/>
                  </a:moveTo>
                  <a:lnTo>
                    <a:pt x="444" y="495"/>
                  </a:lnTo>
                  <a:lnTo>
                    <a:pt x="444" y="497"/>
                  </a:lnTo>
                  <a:lnTo>
                    <a:pt x="442" y="497"/>
                  </a:lnTo>
                  <a:lnTo>
                    <a:pt x="442" y="495"/>
                  </a:lnTo>
                  <a:close/>
                  <a:moveTo>
                    <a:pt x="372" y="497"/>
                  </a:moveTo>
                  <a:lnTo>
                    <a:pt x="371" y="498"/>
                  </a:lnTo>
                  <a:lnTo>
                    <a:pt x="369" y="498"/>
                  </a:lnTo>
                  <a:lnTo>
                    <a:pt x="371" y="495"/>
                  </a:lnTo>
                  <a:lnTo>
                    <a:pt x="372" y="497"/>
                  </a:lnTo>
                  <a:close/>
                  <a:moveTo>
                    <a:pt x="553" y="481"/>
                  </a:moveTo>
                  <a:lnTo>
                    <a:pt x="555" y="481"/>
                  </a:lnTo>
                  <a:lnTo>
                    <a:pt x="555" y="485"/>
                  </a:lnTo>
                  <a:lnTo>
                    <a:pt x="553" y="485"/>
                  </a:lnTo>
                  <a:lnTo>
                    <a:pt x="553" y="481"/>
                  </a:lnTo>
                  <a:close/>
                  <a:moveTo>
                    <a:pt x="366" y="483"/>
                  </a:moveTo>
                  <a:lnTo>
                    <a:pt x="367" y="480"/>
                  </a:lnTo>
                  <a:lnTo>
                    <a:pt x="367" y="481"/>
                  </a:lnTo>
                  <a:lnTo>
                    <a:pt x="369" y="480"/>
                  </a:lnTo>
                  <a:lnTo>
                    <a:pt x="369" y="481"/>
                  </a:lnTo>
                  <a:lnTo>
                    <a:pt x="372" y="485"/>
                  </a:lnTo>
                  <a:lnTo>
                    <a:pt x="364" y="492"/>
                  </a:lnTo>
                  <a:lnTo>
                    <a:pt x="357" y="487"/>
                  </a:lnTo>
                  <a:lnTo>
                    <a:pt x="362" y="483"/>
                  </a:lnTo>
                  <a:lnTo>
                    <a:pt x="362" y="480"/>
                  </a:lnTo>
                  <a:lnTo>
                    <a:pt x="364" y="483"/>
                  </a:lnTo>
                  <a:lnTo>
                    <a:pt x="366" y="480"/>
                  </a:lnTo>
                  <a:lnTo>
                    <a:pt x="366" y="483"/>
                  </a:lnTo>
                  <a:close/>
                  <a:moveTo>
                    <a:pt x="402" y="476"/>
                  </a:moveTo>
                  <a:lnTo>
                    <a:pt x="403" y="478"/>
                  </a:lnTo>
                  <a:lnTo>
                    <a:pt x="405" y="476"/>
                  </a:lnTo>
                  <a:lnTo>
                    <a:pt x="408" y="478"/>
                  </a:lnTo>
                  <a:lnTo>
                    <a:pt x="408" y="476"/>
                  </a:lnTo>
                  <a:lnTo>
                    <a:pt x="415" y="478"/>
                  </a:lnTo>
                  <a:lnTo>
                    <a:pt x="417" y="481"/>
                  </a:lnTo>
                  <a:lnTo>
                    <a:pt x="419" y="481"/>
                  </a:lnTo>
                  <a:lnTo>
                    <a:pt x="420" y="485"/>
                  </a:lnTo>
                  <a:lnTo>
                    <a:pt x="425" y="487"/>
                  </a:lnTo>
                  <a:lnTo>
                    <a:pt x="424" y="488"/>
                  </a:lnTo>
                  <a:lnTo>
                    <a:pt x="429" y="488"/>
                  </a:lnTo>
                  <a:lnTo>
                    <a:pt x="431" y="487"/>
                  </a:lnTo>
                  <a:lnTo>
                    <a:pt x="436" y="490"/>
                  </a:lnTo>
                  <a:lnTo>
                    <a:pt x="442" y="498"/>
                  </a:lnTo>
                  <a:lnTo>
                    <a:pt x="444" y="497"/>
                  </a:lnTo>
                  <a:lnTo>
                    <a:pt x="451" y="504"/>
                  </a:lnTo>
                  <a:lnTo>
                    <a:pt x="453" y="504"/>
                  </a:lnTo>
                  <a:lnTo>
                    <a:pt x="453" y="505"/>
                  </a:lnTo>
                  <a:lnTo>
                    <a:pt x="456" y="505"/>
                  </a:lnTo>
                  <a:lnTo>
                    <a:pt x="458" y="504"/>
                  </a:lnTo>
                  <a:lnTo>
                    <a:pt x="465" y="510"/>
                  </a:lnTo>
                  <a:lnTo>
                    <a:pt x="463" y="519"/>
                  </a:lnTo>
                  <a:lnTo>
                    <a:pt x="454" y="522"/>
                  </a:lnTo>
                  <a:lnTo>
                    <a:pt x="446" y="524"/>
                  </a:lnTo>
                  <a:lnTo>
                    <a:pt x="442" y="521"/>
                  </a:lnTo>
                  <a:lnTo>
                    <a:pt x="432" y="519"/>
                  </a:lnTo>
                  <a:lnTo>
                    <a:pt x="431" y="519"/>
                  </a:lnTo>
                  <a:lnTo>
                    <a:pt x="422" y="521"/>
                  </a:lnTo>
                  <a:lnTo>
                    <a:pt x="415" y="519"/>
                  </a:lnTo>
                  <a:lnTo>
                    <a:pt x="412" y="519"/>
                  </a:lnTo>
                  <a:lnTo>
                    <a:pt x="410" y="519"/>
                  </a:lnTo>
                  <a:lnTo>
                    <a:pt x="405" y="521"/>
                  </a:lnTo>
                  <a:lnTo>
                    <a:pt x="403" y="524"/>
                  </a:lnTo>
                  <a:lnTo>
                    <a:pt x="398" y="522"/>
                  </a:lnTo>
                  <a:lnTo>
                    <a:pt x="395" y="524"/>
                  </a:lnTo>
                  <a:lnTo>
                    <a:pt x="386" y="522"/>
                  </a:lnTo>
                  <a:lnTo>
                    <a:pt x="384" y="522"/>
                  </a:lnTo>
                  <a:lnTo>
                    <a:pt x="376" y="517"/>
                  </a:lnTo>
                  <a:lnTo>
                    <a:pt x="374" y="516"/>
                  </a:lnTo>
                  <a:lnTo>
                    <a:pt x="372" y="516"/>
                  </a:lnTo>
                  <a:lnTo>
                    <a:pt x="371" y="510"/>
                  </a:lnTo>
                  <a:lnTo>
                    <a:pt x="374" y="504"/>
                  </a:lnTo>
                  <a:lnTo>
                    <a:pt x="372" y="500"/>
                  </a:lnTo>
                  <a:lnTo>
                    <a:pt x="376" y="497"/>
                  </a:lnTo>
                  <a:lnTo>
                    <a:pt x="374" y="493"/>
                  </a:lnTo>
                  <a:lnTo>
                    <a:pt x="378" y="488"/>
                  </a:lnTo>
                  <a:lnTo>
                    <a:pt x="374" y="487"/>
                  </a:lnTo>
                  <a:lnTo>
                    <a:pt x="378" y="485"/>
                  </a:lnTo>
                  <a:lnTo>
                    <a:pt x="376" y="487"/>
                  </a:lnTo>
                  <a:lnTo>
                    <a:pt x="383" y="490"/>
                  </a:lnTo>
                  <a:lnTo>
                    <a:pt x="383" y="488"/>
                  </a:lnTo>
                  <a:lnTo>
                    <a:pt x="384" y="490"/>
                  </a:lnTo>
                  <a:lnTo>
                    <a:pt x="386" y="487"/>
                  </a:lnTo>
                  <a:lnTo>
                    <a:pt x="393" y="480"/>
                  </a:lnTo>
                  <a:lnTo>
                    <a:pt x="402" y="476"/>
                  </a:lnTo>
                  <a:close/>
                  <a:moveTo>
                    <a:pt x="372" y="475"/>
                  </a:moveTo>
                  <a:lnTo>
                    <a:pt x="376" y="475"/>
                  </a:lnTo>
                  <a:lnTo>
                    <a:pt x="374" y="476"/>
                  </a:lnTo>
                  <a:lnTo>
                    <a:pt x="371" y="476"/>
                  </a:lnTo>
                  <a:lnTo>
                    <a:pt x="369" y="475"/>
                  </a:lnTo>
                  <a:lnTo>
                    <a:pt x="372" y="475"/>
                  </a:lnTo>
                  <a:close/>
                  <a:moveTo>
                    <a:pt x="391" y="457"/>
                  </a:moveTo>
                  <a:lnTo>
                    <a:pt x="396" y="461"/>
                  </a:lnTo>
                  <a:lnTo>
                    <a:pt x="398" y="461"/>
                  </a:lnTo>
                  <a:lnTo>
                    <a:pt x="408" y="464"/>
                  </a:lnTo>
                  <a:lnTo>
                    <a:pt x="407" y="471"/>
                  </a:lnTo>
                  <a:lnTo>
                    <a:pt x="400" y="469"/>
                  </a:lnTo>
                  <a:lnTo>
                    <a:pt x="391" y="466"/>
                  </a:lnTo>
                  <a:lnTo>
                    <a:pt x="383" y="469"/>
                  </a:lnTo>
                  <a:lnTo>
                    <a:pt x="381" y="468"/>
                  </a:lnTo>
                  <a:lnTo>
                    <a:pt x="379" y="464"/>
                  </a:lnTo>
                  <a:lnTo>
                    <a:pt x="384" y="461"/>
                  </a:lnTo>
                  <a:lnTo>
                    <a:pt x="386" y="457"/>
                  </a:lnTo>
                  <a:lnTo>
                    <a:pt x="391" y="457"/>
                  </a:lnTo>
                  <a:close/>
                  <a:moveTo>
                    <a:pt x="494" y="454"/>
                  </a:moveTo>
                  <a:lnTo>
                    <a:pt x="495" y="454"/>
                  </a:lnTo>
                  <a:lnTo>
                    <a:pt x="495" y="456"/>
                  </a:lnTo>
                  <a:lnTo>
                    <a:pt x="494" y="456"/>
                  </a:lnTo>
                  <a:lnTo>
                    <a:pt x="494" y="454"/>
                  </a:lnTo>
                  <a:close/>
                  <a:moveTo>
                    <a:pt x="372" y="452"/>
                  </a:moveTo>
                  <a:lnTo>
                    <a:pt x="378" y="459"/>
                  </a:lnTo>
                  <a:lnTo>
                    <a:pt x="376" y="463"/>
                  </a:lnTo>
                  <a:lnTo>
                    <a:pt x="372" y="461"/>
                  </a:lnTo>
                  <a:lnTo>
                    <a:pt x="372" y="456"/>
                  </a:lnTo>
                  <a:lnTo>
                    <a:pt x="371" y="454"/>
                  </a:lnTo>
                  <a:lnTo>
                    <a:pt x="372" y="452"/>
                  </a:lnTo>
                  <a:close/>
                  <a:moveTo>
                    <a:pt x="489" y="452"/>
                  </a:moveTo>
                  <a:lnTo>
                    <a:pt x="492" y="454"/>
                  </a:lnTo>
                  <a:lnTo>
                    <a:pt x="489" y="452"/>
                  </a:lnTo>
                  <a:close/>
                  <a:moveTo>
                    <a:pt x="490" y="446"/>
                  </a:moveTo>
                  <a:lnTo>
                    <a:pt x="494" y="447"/>
                  </a:lnTo>
                  <a:lnTo>
                    <a:pt x="499" y="452"/>
                  </a:lnTo>
                  <a:lnTo>
                    <a:pt x="494" y="449"/>
                  </a:lnTo>
                  <a:lnTo>
                    <a:pt x="487" y="451"/>
                  </a:lnTo>
                  <a:lnTo>
                    <a:pt x="487" y="447"/>
                  </a:lnTo>
                  <a:lnTo>
                    <a:pt x="485" y="447"/>
                  </a:lnTo>
                  <a:lnTo>
                    <a:pt x="487" y="446"/>
                  </a:lnTo>
                  <a:lnTo>
                    <a:pt x="490" y="446"/>
                  </a:lnTo>
                  <a:close/>
                  <a:moveTo>
                    <a:pt x="472" y="442"/>
                  </a:moveTo>
                  <a:lnTo>
                    <a:pt x="475" y="442"/>
                  </a:lnTo>
                  <a:lnTo>
                    <a:pt x="475" y="444"/>
                  </a:lnTo>
                  <a:lnTo>
                    <a:pt x="472" y="444"/>
                  </a:lnTo>
                  <a:lnTo>
                    <a:pt x="472" y="442"/>
                  </a:lnTo>
                  <a:close/>
                  <a:moveTo>
                    <a:pt x="485" y="440"/>
                  </a:moveTo>
                  <a:lnTo>
                    <a:pt x="487" y="440"/>
                  </a:lnTo>
                  <a:lnTo>
                    <a:pt x="487" y="442"/>
                  </a:lnTo>
                  <a:lnTo>
                    <a:pt x="485" y="442"/>
                  </a:lnTo>
                  <a:lnTo>
                    <a:pt x="485" y="440"/>
                  </a:lnTo>
                  <a:close/>
                  <a:moveTo>
                    <a:pt x="482" y="428"/>
                  </a:moveTo>
                  <a:lnTo>
                    <a:pt x="485" y="430"/>
                  </a:lnTo>
                  <a:lnTo>
                    <a:pt x="485" y="434"/>
                  </a:lnTo>
                  <a:lnTo>
                    <a:pt x="485" y="432"/>
                  </a:lnTo>
                  <a:lnTo>
                    <a:pt x="490" y="437"/>
                  </a:lnTo>
                  <a:lnTo>
                    <a:pt x="492" y="435"/>
                  </a:lnTo>
                  <a:lnTo>
                    <a:pt x="494" y="439"/>
                  </a:lnTo>
                  <a:lnTo>
                    <a:pt x="487" y="442"/>
                  </a:lnTo>
                  <a:lnTo>
                    <a:pt x="483" y="439"/>
                  </a:lnTo>
                  <a:lnTo>
                    <a:pt x="485" y="434"/>
                  </a:lnTo>
                  <a:lnTo>
                    <a:pt x="480" y="432"/>
                  </a:lnTo>
                  <a:lnTo>
                    <a:pt x="482" y="428"/>
                  </a:lnTo>
                  <a:close/>
                  <a:moveTo>
                    <a:pt x="456" y="416"/>
                  </a:moveTo>
                  <a:lnTo>
                    <a:pt x="458" y="418"/>
                  </a:lnTo>
                  <a:lnTo>
                    <a:pt x="456" y="420"/>
                  </a:lnTo>
                  <a:lnTo>
                    <a:pt x="454" y="418"/>
                  </a:lnTo>
                  <a:lnTo>
                    <a:pt x="456" y="416"/>
                  </a:lnTo>
                  <a:close/>
                  <a:moveTo>
                    <a:pt x="343" y="406"/>
                  </a:moveTo>
                  <a:lnTo>
                    <a:pt x="347" y="410"/>
                  </a:lnTo>
                  <a:lnTo>
                    <a:pt x="343" y="408"/>
                  </a:lnTo>
                  <a:lnTo>
                    <a:pt x="343" y="406"/>
                  </a:lnTo>
                  <a:close/>
                  <a:moveTo>
                    <a:pt x="362" y="396"/>
                  </a:moveTo>
                  <a:lnTo>
                    <a:pt x="361" y="394"/>
                  </a:lnTo>
                  <a:lnTo>
                    <a:pt x="361" y="393"/>
                  </a:lnTo>
                  <a:lnTo>
                    <a:pt x="362" y="396"/>
                  </a:lnTo>
                  <a:close/>
                  <a:moveTo>
                    <a:pt x="516" y="393"/>
                  </a:moveTo>
                  <a:lnTo>
                    <a:pt x="518" y="394"/>
                  </a:lnTo>
                  <a:lnTo>
                    <a:pt x="516" y="394"/>
                  </a:lnTo>
                  <a:lnTo>
                    <a:pt x="516" y="393"/>
                  </a:lnTo>
                  <a:lnTo>
                    <a:pt x="512" y="393"/>
                  </a:lnTo>
                  <a:lnTo>
                    <a:pt x="516" y="393"/>
                  </a:lnTo>
                  <a:close/>
                  <a:moveTo>
                    <a:pt x="364" y="393"/>
                  </a:moveTo>
                  <a:lnTo>
                    <a:pt x="364" y="396"/>
                  </a:lnTo>
                  <a:lnTo>
                    <a:pt x="361" y="391"/>
                  </a:lnTo>
                  <a:lnTo>
                    <a:pt x="364" y="391"/>
                  </a:lnTo>
                  <a:lnTo>
                    <a:pt x="364" y="393"/>
                  </a:lnTo>
                  <a:close/>
                  <a:moveTo>
                    <a:pt x="354" y="389"/>
                  </a:moveTo>
                  <a:lnTo>
                    <a:pt x="357" y="391"/>
                  </a:lnTo>
                  <a:lnTo>
                    <a:pt x="354" y="391"/>
                  </a:lnTo>
                  <a:lnTo>
                    <a:pt x="355" y="394"/>
                  </a:lnTo>
                  <a:lnTo>
                    <a:pt x="361" y="398"/>
                  </a:lnTo>
                  <a:lnTo>
                    <a:pt x="359" y="399"/>
                  </a:lnTo>
                  <a:lnTo>
                    <a:pt x="359" y="405"/>
                  </a:lnTo>
                  <a:lnTo>
                    <a:pt x="364" y="411"/>
                  </a:lnTo>
                  <a:lnTo>
                    <a:pt x="362" y="411"/>
                  </a:lnTo>
                  <a:lnTo>
                    <a:pt x="359" y="411"/>
                  </a:lnTo>
                  <a:lnTo>
                    <a:pt x="354" y="408"/>
                  </a:lnTo>
                  <a:lnTo>
                    <a:pt x="352" y="410"/>
                  </a:lnTo>
                  <a:lnTo>
                    <a:pt x="349" y="410"/>
                  </a:lnTo>
                  <a:lnTo>
                    <a:pt x="343" y="406"/>
                  </a:lnTo>
                  <a:lnTo>
                    <a:pt x="345" y="401"/>
                  </a:lnTo>
                  <a:lnTo>
                    <a:pt x="347" y="399"/>
                  </a:lnTo>
                  <a:lnTo>
                    <a:pt x="347" y="398"/>
                  </a:lnTo>
                  <a:lnTo>
                    <a:pt x="350" y="398"/>
                  </a:lnTo>
                  <a:lnTo>
                    <a:pt x="350" y="393"/>
                  </a:lnTo>
                  <a:lnTo>
                    <a:pt x="347" y="391"/>
                  </a:lnTo>
                  <a:lnTo>
                    <a:pt x="354" y="389"/>
                  </a:lnTo>
                  <a:close/>
                  <a:moveTo>
                    <a:pt x="366" y="389"/>
                  </a:moveTo>
                  <a:lnTo>
                    <a:pt x="371" y="389"/>
                  </a:lnTo>
                  <a:lnTo>
                    <a:pt x="374" y="393"/>
                  </a:lnTo>
                  <a:lnTo>
                    <a:pt x="374" y="396"/>
                  </a:lnTo>
                  <a:lnTo>
                    <a:pt x="369" y="396"/>
                  </a:lnTo>
                  <a:lnTo>
                    <a:pt x="369" y="394"/>
                  </a:lnTo>
                  <a:lnTo>
                    <a:pt x="369" y="396"/>
                  </a:lnTo>
                  <a:lnTo>
                    <a:pt x="366" y="396"/>
                  </a:lnTo>
                  <a:lnTo>
                    <a:pt x="364" y="389"/>
                  </a:lnTo>
                  <a:lnTo>
                    <a:pt x="364" y="387"/>
                  </a:lnTo>
                  <a:lnTo>
                    <a:pt x="366" y="389"/>
                  </a:lnTo>
                  <a:close/>
                  <a:moveTo>
                    <a:pt x="504" y="387"/>
                  </a:moveTo>
                  <a:lnTo>
                    <a:pt x="506" y="387"/>
                  </a:lnTo>
                  <a:lnTo>
                    <a:pt x="506" y="391"/>
                  </a:lnTo>
                  <a:lnTo>
                    <a:pt x="504" y="391"/>
                  </a:lnTo>
                  <a:lnTo>
                    <a:pt x="504" y="387"/>
                  </a:lnTo>
                  <a:close/>
                  <a:moveTo>
                    <a:pt x="495" y="384"/>
                  </a:moveTo>
                  <a:lnTo>
                    <a:pt x="497" y="384"/>
                  </a:lnTo>
                  <a:lnTo>
                    <a:pt x="497" y="387"/>
                  </a:lnTo>
                  <a:lnTo>
                    <a:pt x="495" y="387"/>
                  </a:lnTo>
                  <a:lnTo>
                    <a:pt x="495" y="384"/>
                  </a:lnTo>
                  <a:close/>
                  <a:moveTo>
                    <a:pt x="485" y="384"/>
                  </a:moveTo>
                  <a:lnTo>
                    <a:pt x="487" y="386"/>
                  </a:lnTo>
                  <a:lnTo>
                    <a:pt x="483" y="386"/>
                  </a:lnTo>
                  <a:lnTo>
                    <a:pt x="485" y="384"/>
                  </a:lnTo>
                  <a:close/>
                  <a:moveTo>
                    <a:pt x="352" y="381"/>
                  </a:moveTo>
                  <a:lnTo>
                    <a:pt x="354" y="381"/>
                  </a:lnTo>
                  <a:lnTo>
                    <a:pt x="354" y="382"/>
                  </a:lnTo>
                  <a:lnTo>
                    <a:pt x="352" y="382"/>
                  </a:lnTo>
                  <a:lnTo>
                    <a:pt x="352" y="381"/>
                  </a:lnTo>
                  <a:close/>
                  <a:moveTo>
                    <a:pt x="490" y="381"/>
                  </a:moveTo>
                  <a:lnTo>
                    <a:pt x="494" y="382"/>
                  </a:lnTo>
                  <a:lnTo>
                    <a:pt x="494" y="384"/>
                  </a:lnTo>
                  <a:lnTo>
                    <a:pt x="489" y="381"/>
                  </a:lnTo>
                  <a:lnTo>
                    <a:pt x="487" y="382"/>
                  </a:lnTo>
                  <a:lnTo>
                    <a:pt x="490" y="384"/>
                  </a:lnTo>
                  <a:lnTo>
                    <a:pt x="482" y="382"/>
                  </a:lnTo>
                  <a:lnTo>
                    <a:pt x="489" y="379"/>
                  </a:lnTo>
                  <a:lnTo>
                    <a:pt x="490" y="381"/>
                  </a:lnTo>
                  <a:close/>
                  <a:moveTo>
                    <a:pt x="355" y="377"/>
                  </a:moveTo>
                  <a:lnTo>
                    <a:pt x="355" y="381"/>
                  </a:lnTo>
                  <a:lnTo>
                    <a:pt x="354" y="377"/>
                  </a:lnTo>
                  <a:lnTo>
                    <a:pt x="355" y="377"/>
                  </a:lnTo>
                  <a:close/>
                  <a:moveTo>
                    <a:pt x="359" y="375"/>
                  </a:moveTo>
                  <a:lnTo>
                    <a:pt x="361" y="375"/>
                  </a:lnTo>
                  <a:lnTo>
                    <a:pt x="359" y="379"/>
                  </a:lnTo>
                  <a:lnTo>
                    <a:pt x="357" y="377"/>
                  </a:lnTo>
                  <a:lnTo>
                    <a:pt x="357" y="375"/>
                  </a:lnTo>
                  <a:lnTo>
                    <a:pt x="359" y="375"/>
                  </a:lnTo>
                  <a:close/>
                  <a:moveTo>
                    <a:pt x="357" y="357"/>
                  </a:moveTo>
                  <a:lnTo>
                    <a:pt x="361" y="357"/>
                  </a:lnTo>
                  <a:lnTo>
                    <a:pt x="361" y="358"/>
                  </a:lnTo>
                  <a:lnTo>
                    <a:pt x="357" y="358"/>
                  </a:lnTo>
                  <a:lnTo>
                    <a:pt x="357" y="357"/>
                  </a:lnTo>
                  <a:close/>
                  <a:moveTo>
                    <a:pt x="413" y="355"/>
                  </a:moveTo>
                  <a:lnTo>
                    <a:pt x="417" y="362"/>
                  </a:lnTo>
                  <a:lnTo>
                    <a:pt x="413" y="362"/>
                  </a:lnTo>
                  <a:lnTo>
                    <a:pt x="412" y="364"/>
                  </a:lnTo>
                  <a:lnTo>
                    <a:pt x="413" y="355"/>
                  </a:lnTo>
                  <a:close/>
                  <a:moveTo>
                    <a:pt x="372" y="355"/>
                  </a:moveTo>
                  <a:lnTo>
                    <a:pt x="372" y="357"/>
                  </a:lnTo>
                  <a:lnTo>
                    <a:pt x="372" y="355"/>
                  </a:lnTo>
                  <a:close/>
                  <a:moveTo>
                    <a:pt x="388" y="353"/>
                  </a:moveTo>
                  <a:lnTo>
                    <a:pt x="390" y="353"/>
                  </a:lnTo>
                  <a:lnTo>
                    <a:pt x="393" y="355"/>
                  </a:lnTo>
                  <a:lnTo>
                    <a:pt x="395" y="362"/>
                  </a:lnTo>
                  <a:lnTo>
                    <a:pt x="398" y="362"/>
                  </a:lnTo>
                  <a:lnTo>
                    <a:pt x="398" y="365"/>
                  </a:lnTo>
                  <a:lnTo>
                    <a:pt x="402" y="365"/>
                  </a:lnTo>
                  <a:lnTo>
                    <a:pt x="403" y="369"/>
                  </a:lnTo>
                  <a:lnTo>
                    <a:pt x="407" y="370"/>
                  </a:lnTo>
                  <a:lnTo>
                    <a:pt x="403" y="379"/>
                  </a:lnTo>
                  <a:lnTo>
                    <a:pt x="396" y="386"/>
                  </a:lnTo>
                  <a:lnTo>
                    <a:pt x="396" y="387"/>
                  </a:lnTo>
                  <a:lnTo>
                    <a:pt x="396" y="393"/>
                  </a:lnTo>
                  <a:lnTo>
                    <a:pt x="402" y="393"/>
                  </a:lnTo>
                  <a:lnTo>
                    <a:pt x="402" y="398"/>
                  </a:lnTo>
                  <a:lnTo>
                    <a:pt x="403" y="401"/>
                  </a:lnTo>
                  <a:lnTo>
                    <a:pt x="407" y="401"/>
                  </a:lnTo>
                  <a:lnTo>
                    <a:pt x="410" y="399"/>
                  </a:lnTo>
                  <a:lnTo>
                    <a:pt x="415" y="399"/>
                  </a:lnTo>
                  <a:lnTo>
                    <a:pt x="420" y="398"/>
                  </a:lnTo>
                  <a:lnTo>
                    <a:pt x="429" y="403"/>
                  </a:lnTo>
                  <a:lnTo>
                    <a:pt x="429" y="406"/>
                  </a:lnTo>
                  <a:lnTo>
                    <a:pt x="432" y="410"/>
                  </a:lnTo>
                  <a:lnTo>
                    <a:pt x="432" y="411"/>
                  </a:lnTo>
                  <a:lnTo>
                    <a:pt x="429" y="410"/>
                  </a:lnTo>
                  <a:lnTo>
                    <a:pt x="432" y="413"/>
                  </a:lnTo>
                  <a:lnTo>
                    <a:pt x="431" y="411"/>
                  </a:lnTo>
                  <a:lnTo>
                    <a:pt x="429" y="415"/>
                  </a:lnTo>
                  <a:lnTo>
                    <a:pt x="427" y="416"/>
                  </a:lnTo>
                  <a:lnTo>
                    <a:pt x="424" y="418"/>
                  </a:lnTo>
                  <a:lnTo>
                    <a:pt x="417" y="420"/>
                  </a:lnTo>
                  <a:lnTo>
                    <a:pt x="412" y="420"/>
                  </a:lnTo>
                  <a:lnTo>
                    <a:pt x="413" y="420"/>
                  </a:lnTo>
                  <a:lnTo>
                    <a:pt x="407" y="418"/>
                  </a:lnTo>
                  <a:lnTo>
                    <a:pt x="407" y="415"/>
                  </a:lnTo>
                  <a:lnTo>
                    <a:pt x="405" y="415"/>
                  </a:lnTo>
                  <a:lnTo>
                    <a:pt x="403" y="411"/>
                  </a:lnTo>
                  <a:lnTo>
                    <a:pt x="403" y="410"/>
                  </a:lnTo>
                  <a:lnTo>
                    <a:pt x="403" y="406"/>
                  </a:lnTo>
                  <a:lnTo>
                    <a:pt x="400" y="405"/>
                  </a:lnTo>
                  <a:lnTo>
                    <a:pt x="398" y="408"/>
                  </a:lnTo>
                  <a:lnTo>
                    <a:pt x="393" y="410"/>
                  </a:lnTo>
                  <a:lnTo>
                    <a:pt x="384" y="413"/>
                  </a:lnTo>
                  <a:lnTo>
                    <a:pt x="381" y="415"/>
                  </a:lnTo>
                  <a:lnTo>
                    <a:pt x="379" y="415"/>
                  </a:lnTo>
                  <a:lnTo>
                    <a:pt x="378" y="405"/>
                  </a:lnTo>
                  <a:lnTo>
                    <a:pt x="381" y="396"/>
                  </a:lnTo>
                  <a:lnTo>
                    <a:pt x="381" y="393"/>
                  </a:lnTo>
                  <a:lnTo>
                    <a:pt x="378" y="393"/>
                  </a:lnTo>
                  <a:lnTo>
                    <a:pt x="374" y="389"/>
                  </a:lnTo>
                  <a:lnTo>
                    <a:pt x="372" y="391"/>
                  </a:lnTo>
                  <a:lnTo>
                    <a:pt x="371" y="387"/>
                  </a:lnTo>
                  <a:lnTo>
                    <a:pt x="367" y="386"/>
                  </a:lnTo>
                  <a:lnTo>
                    <a:pt x="367" y="384"/>
                  </a:lnTo>
                  <a:lnTo>
                    <a:pt x="361" y="377"/>
                  </a:lnTo>
                  <a:lnTo>
                    <a:pt x="359" y="372"/>
                  </a:lnTo>
                  <a:lnTo>
                    <a:pt x="361" y="369"/>
                  </a:lnTo>
                  <a:lnTo>
                    <a:pt x="362" y="369"/>
                  </a:lnTo>
                  <a:lnTo>
                    <a:pt x="364" y="362"/>
                  </a:lnTo>
                  <a:lnTo>
                    <a:pt x="362" y="357"/>
                  </a:lnTo>
                  <a:lnTo>
                    <a:pt x="366" y="357"/>
                  </a:lnTo>
                  <a:lnTo>
                    <a:pt x="369" y="355"/>
                  </a:lnTo>
                  <a:lnTo>
                    <a:pt x="374" y="360"/>
                  </a:lnTo>
                  <a:lnTo>
                    <a:pt x="376" y="365"/>
                  </a:lnTo>
                  <a:lnTo>
                    <a:pt x="379" y="367"/>
                  </a:lnTo>
                  <a:lnTo>
                    <a:pt x="379" y="365"/>
                  </a:lnTo>
                  <a:lnTo>
                    <a:pt x="381" y="364"/>
                  </a:lnTo>
                  <a:lnTo>
                    <a:pt x="383" y="357"/>
                  </a:lnTo>
                  <a:lnTo>
                    <a:pt x="388" y="353"/>
                  </a:lnTo>
                  <a:close/>
                  <a:moveTo>
                    <a:pt x="390" y="352"/>
                  </a:moveTo>
                  <a:lnTo>
                    <a:pt x="393" y="353"/>
                  </a:lnTo>
                  <a:lnTo>
                    <a:pt x="390" y="353"/>
                  </a:lnTo>
                  <a:lnTo>
                    <a:pt x="388" y="352"/>
                  </a:lnTo>
                  <a:lnTo>
                    <a:pt x="390" y="352"/>
                  </a:lnTo>
                  <a:close/>
                  <a:moveTo>
                    <a:pt x="332" y="350"/>
                  </a:moveTo>
                  <a:lnTo>
                    <a:pt x="333" y="350"/>
                  </a:lnTo>
                  <a:lnTo>
                    <a:pt x="333" y="352"/>
                  </a:lnTo>
                  <a:lnTo>
                    <a:pt x="332" y="352"/>
                  </a:lnTo>
                  <a:lnTo>
                    <a:pt x="332" y="350"/>
                  </a:lnTo>
                  <a:close/>
                  <a:moveTo>
                    <a:pt x="354" y="346"/>
                  </a:moveTo>
                  <a:lnTo>
                    <a:pt x="355" y="350"/>
                  </a:lnTo>
                  <a:lnTo>
                    <a:pt x="361" y="348"/>
                  </a:lnTo>
                  <a:lnTo>
                    <a:pt x="361" y="350"/>
                  </a:lnTo>
                  <a:lnTo>
                    <a:pt x="355" y="352"/>
                  </a:lnTo>
                  <a:lnTo>
                    <a:pt x="355" y="357"/>
                  </a:lnTo>
                  <a:lnTo>
                    <a:pt x="357" y="357"/>
                  </a:lnTo>
                  <a:lnTo>
                    <a:pt x="359" y="362"/>
                  </a:lnTo>
                  <a:lnTo>
                    <a:pt x="359" y="364"/>
                  </a:lnTo>
                  <a:lnTo>
                    <a:pt x="355" y="365"/>
                  </a:lnTo>
                  <a:lnTo>
                    <a:pt x="357" y="370"/>
                  </a:lnTo>
                  <a:lnTo>
                    <a:pt x="355" y="374"/>
                  </a:lnTo>
                  <a:lnTo>
                    <a:pt x="355" y="375"/>
                  </a:lnTo>
                  <a:lnTo>
                    <a:pt x="352" y="375"/>
                  </a:lnTo>
                  <a:lnTo>
                    <a:pt x="352" y="377"/>
                  </a:lnTo>
                  <a:lnTo>
                    <a:pt x="345" y="381"/>
                  </a:lnTo>
                  <a:lnTo>
                    <a:pt x="340" y="379"/>
                  </a:lnTo>
                  <a:lnTo>
                    <a:pt x="340" y="377"/>
                  </a:lnTo>
                  <a:lnTo>
                    <a:pt x="338" y="374"/>
                  </a:lnTo>
                  <a:lnTo>
                    <a:pt x="343" y="374"/>
                  </a:lnTo>
                  <a:lnTo>
                    <a:pt x="338" y="367"/>
                  </a:lnTo>
                  <a:lnTo>
                    <a:pt x="337" y="367"/>
                  </a:lnTo>
                  <a:lnTo>
                    <a:pt x="338" y="365"/>
                  </a:lnTo>
                  <a:lnTo>
                    <a:pt x="337" y="364"/>
                  </a:lnTo>
                  <a:lnTo>
                    <a:pt x="340" y="360"/>
                  </a:lnTo>
                  <a:lnTo>
                    <a:pt x="342" y="353"/>
                  </a:lnTo>
                  <a:lnTo>
                    <a:pt x="338" y="353"/>
                  </a:lnTo>
                  <a:lnTo>
                    <a:pt x="337" y="350"/>
                  </a:lnTo>
                  <a:lnTo>
                    <a:pt x="342" y="346"/>
                  </a:lnTo>
                  <a:lnTo>
                    <a:pt x="345" y="348"/>
                  </a:lnTo>
                  <a:lnTo>
                    <a:pt x="354" y="346"/>
                  </a:lnTo>
                  <a:close/>
                  <a:moveTo>
                    <a:pt x="332" y="345"/>
                  </a:moveTo>
                  <a:lnTo>
                    <a:pt x="335" y="346"/>
                  </a:lnTo>
                  <a:lnTo>
                    <a:pt x="335" y="345"/>
                  </a:lnTo>
                  <a:lnTo>
                    <a:pt x="335" y="348"/>
                  </a:lnTo>
                  <a:lnTo>
                    <a:pt x="328" y="352"/>
                  </a:lnTo>
                  <a:lnTo>
                    <a:pt x="326" y="348"/>
                  </a:lnTo>
                  <a:lnTo>
                    <a:pt x="328" y="346"/>
                  </a:lnTo>
                  <a:lnTo>
                    <a:pt x="330" y="350"/>
                  </a:lnTo>
                  <a:lnTo>
                    <a:pt x="330" y="345"/>
                  </a:lnTo>
                  <a:lnTo>
                    <a:pt x="332" y="345"/>
                  </a:lnTo>
                  <a:close/>
                  <a:moveTo>
                    <a:pt x="342" y="338"/>
                  </a:moveTo>
                  <a:lnTo>
                    <a:pt x="340" y="341"/>
                  </a:lnTo>
                  <a:lnTo>
                    <a:pt x="340" y="345"/>
                  </a:lnTo>
                  <a:lnTo>
                    <a:pt x="335" y="346"/>
                  </a:lnTo>
                  <a:lnTo>
                    <a:pt x="335" y="341"/>
                  </a:lnTo>
                  <a:lnTo>
                    <a:pt x="337" y="341"/>
                  </a:lnTo>
                  <a:lnTo>
                    <a:pt x="340" y="338"/>
                  </a:lnTo>
                  <a:lnTo>
                    <a:pt x="342" y="338"/>
                  </a:lnTo>
                  <a:close/>
                  <a:moveTo>
                    <a:pt x="615" y="328"/>
                  </a:moveTo>
                  <a:lnTo>
                    <a:pt x="617" y="328"/>
                  </a:lnTo>
                  <a:lnTo>
                    <a:pt x="615" y="331"/>
                  </a:lnTo>
                  <a:lnTo>
                    <a:pt x="613" y="328"/>
                  </a:lnTo>
                  <a:lnTo>
                    <a:pt x="615" y="326"/>
                  </a:lnTo>
                  <a:lnTo>
                    <a:pt x="615" y="328"/>
                  </a:lnTo>
                  <a:close/>
                  <a:moveTo>
                    <a:pt x="357" y="326"/>
                  </a:moveTo>
                  <a:lnTo>
                    <a:pt x="355" y="331"/>
                  </a:lnTo>
                  <a:lnTo>
                    <a:pt x="352" y="333"/>
                  </a:lnTo>
                  <a:lnTo>
                    <a:pt x="349" y="331"/>
                  </a:lnTo>
                  <a:lnTo>
                    <a:pt x="352" y="329"/>
                  </a:lnTo>
                  <a:lnTo>
                    <a:pt x="354" y="326"/>
                  </a:lnTo>
                  <a:lnTo>
                    <a:pt x="357" y="326"/>
                  </a:lnTo>
                  <a:close/>
                  <a:moveTo>
                    <a:pt x="374" y="319"/>
                  </a:moveTo>
                  <a:lnTo>
                    <a:pt x="374" y="323"/>
                  </a:lnTo>
                  <a:lnTo>
                    <a:pt x="378" y="326"/>
                  </a:lnTo>
                  <a:lnTo>
                    <a:pt x="374" y="324"/>
                  </a:lnTo>
                  <a:lnTo>
                    <a:pt x="374" y="329"/>
                  </a:lnTo>
                  <a:lnTo>
                    <a:pt x="372" y="324"/>
                  </a:lnTo>
                  <a:lnTo>
                    <a:pt x="374" y="319"/>
                  </a:lnTo>
                  <a:close/>
                  <a:moveTo>
                    <a:pt x="345" y="317"/>
                  </a:moveTo>
                  <a:lnTo>
                    <a:pt x="349" y="319"/>
                  </a:lnTo>
                  <a:lnTo>
                    <a:pt x="345" y="319"/>
                  </a:lnTo>
                  <a:lnTo>
                    <a:pt x="343" y="319"/>
                  </a:lnTo>
                  <a:lnTo>
                    <a:pt x="345" y="317"/>
                  </a:lnTo>
                  <a:close/>
                  <a:moveTo>
                    <a:pt x="639" y="321"/>
                  </a:moveTo>
                  <a:lnTo>
                    <a:pt x="642" y="323"/>
                  </a:lnTo>
                  <a:lnTo>
                    <a:pt x="642" y="324"/>
                  </a:lnTo>
                  <a:lnTo>
                    <a:pt x="641" y="324"/>
                  </a:lnTo>
                  <a:lnTo>
                    <a:pt x="639" y="321"/>
                  </a:lnTo>
                  <a:lnTo>
                    <a:pt x="637" y="321"/>
                  </a:lnTo>
                  <a:lnTo>
                    <a:pt x="641" y="323"/>
                  </a:lnTo>
                  <a:lnTo>
                    <a:pt x="639" y="324"/>
                  </a:lnTo>
                  <a:lnTo>
                    <a:pt x="637" y="324"/>
                  </a:lnTo>
                  <a:lnTo>
                    <a:pt x="634" y="323"/>
                  </a:lnTo>
                  <a:lnTo>
                    <a:pt x="634" y="317"/>
                  </a:lnTo>
                  <a:lnTo>
                    <a:pt x="635" y="317"/>
                  </a:lnTo>
                  <a:lnTo>
                    <a:pt x="639" y="321"/>
                  </a:lnTo>
                  <a:close/>
                  <a:moveTo>
                    <a:pt x="374" y="316"/>
                  </a:moveTo>
                  <a:lnTo>
                    <a:pt x="376" y="316"/>
                  </a:lnTo>
                  <a:lnTo>
                    <a:pt x="376" y="317"/>
                  </a:lnTo>
                  <a:lnTo>
                    <a:pt x="374" y="317"/>
                  </a:lnTo>
                  <a:lnTo>
                    <a:pt x="374" y="316"/>
                  </a:lnTo>
                  <a:close/>
                  <a:moveTo>
                    <a:pt x="598" y="311"/>
                  </a:moveTo>
                  <a:lnTo>
                    <a:pt x="605" y="314"/>
                  </a:lnTo>
                  <a:lnTo>
                    <a:pt x="611" y="317"/>
                  </a:lnTo>
                  <a:lnTo>
                    <a:pt x="618" y="324"/>
                  </a:lnTo>
                  <a:lnTo>
                    <a:pt x="620" y="328"/>
                  </a:lnTo>
                  <a:lnTo>
                    <a:pt x="629" y="331"/>
                  </a:lnTo>
                  <a:lnTo>
                    <a:pt x="632" y="340"/>
                  </a:lnTo>
                  <a:lnTo>
                    <a:pt x="632" y="341"/>
                  </a:lnTo>
                  <a:lnTo>
                    <a:pt x="630" y="340"/>
                  </a:lnTo>
                  <a:lnTo>
                    <a:pt x="629" y="343"/>
                  </a:lnTo>
                  <a:lnTo>
                    <a:pt x="627" y="341"/>
                  </a:lnTo>
                  <a:lnTo>
                    <a:pt x="625" y="338"/>
                  </a:lnTo>
                  <a:lnTo>
                    <a:pt x="625" y="336"/>
                  </a:lnTo>
                  <a:lnTo>
                    <a:pt x="620" y="333"/>
                  </a:lnTo>
                  <a:lnTo>
                    <a:pt x="622" y="331"/>
                  </a:lnTo>
                  <a:lnTo>
                    <a:pt x="618" y="328"/>
                  </a:lnTo>
                  <a:lnTo>
                    <a:pt x="613" y="326"/>
                  </a:lnTo>
                  <a:lnTo>
                    <a:pt x="610" y="326"/>
                  </a:lnTo>
                  <a:lnTo>
                    <a:pt x="610" y="321"/>
                  </a:lnTo>
                  <a:lnTo>
                    <a:pt x="608" y="317"/>
                  </a:lnTo>
                  <a:lnTo>
                    <a:pt x="603" y="314"/>
                  </a:lnTo>
                  <a:lnTo>
                    <a:pt x="598" y="312"/>
                  </a:lnTo>
                  <a:lnTo>
                    <a:pt x="598" y="311"/>
                  </a:lnTo>
                  <a:close/>
                  <a:moveTo>
                    <a:pt x="376" y="300"/>
                  </a:moveTo>
                  <a:lnTo>
                    <a:pt x="379" y="300"/>
                  </a:lnTo>
                  <a:lnTo>
                    <a:pt x="378" y="304"/>
                  </a:lnTo>
                  <a:lnTo>
                    <a:pt x="378" y="309"/>
                  </a:lnTo>
                  <a:lnTo>
                    <a:pt x="381" y="307"/>
                  </a:lnTo>
                  <a:lnTo>
                    <a:pt x="379" y="316"/>
                  </a:lnTo>
                  <a:lnTo>
                    <a:pt x="379" y="317"/>
                  </a:lnTo>
                  <a:lnTo>
                    <a:pt x="381" y="324"/>
                  </a:lnTo>
                  <a:lnTo>
                    <a:pt x="381" y="321"/>
                  </a:lnTo>
                  <a:lnTo>
                    <a:pt x="378" y="317"/>
                  </a:lnTo>
                  <a:lnTo>
                    <a:pt x="378" y="316"/>
                  </a:lnTo>
                  <a:lnTo>
                    <a:pt x="376" y="314"/>
                  </a:lnTo>
                  <a:lnTo>
                    <a:pt x="372" y="314"/>
                  </a:lnTo>
                  <a:lnTo>
                    <a:pt x="374" y="305"/>
                  </a:lnTo>
                  <a:lnTo>
                    <a:pt x="376" y="304"/>
                  </a:lnTo>
                  <a:lnTo>
                    <a:pt x="376" y="300"/>
                  </a:lnTo>
                  <a:close/>
                  <a:moveTo>
                    <a:pt x="560" y="295"/>
                  </a:moveTo>
                  <a:lnTo>
                    <a:pt x="562" y="297"/>
                  </a:lnTo>
                  <a:lnTo>
                    <a:pt x="559" y="295"/>
                  </a:lnTo>
                  <a:lnTo>
                    <a:pt x="557" y="294"/>
                  </a:lnTo>
                  <a:lnTo>
                    <a:pt x="560" y="295"/>
                  </a:lnTo>
                  <a:close/>
                  <a:moveTo>
                    <a:pt x="431" y="273"/>
                  </a:moveTo>
                  <a:lnTo>
                    <a:pt x="432" y="273"/>
                  </a:lnTo>
                  <a:lnTo>
                    <a:pt x="432" y="276"/>
                  </a:lnTo>
                  <a:lnTo>
                    <a:pt x="431" y="276"/>
                  </a:lnTo>
                  <a:lnTo>
                    <a:pt x="431" y="273"/>
                  </a:lnTo>
                  <a:close/>
                  <a:moveTo>
                    <a:pt x="374" y="273"/>
                  </a:moveTo>
                  <a:lnTo>
                    <a:pt x="378" y="276"/>
                  </a:lnTo>
                  <a:lnTo>
                    <a:pt x="378" y="278"/>
                  </a:lnTo>
                  <a:lnTo>
                    <a:pt x="374" y="283"/>
                  </a:lnTo>
                  <a:lnTo>
                    <a:pt x="371" y="283"/>
                  </a:lnTo>
                  <a:lnTo>
                    <a:pt x="366" y="280"/>
                  </a:lnTo>
                  <a:lnTo>
                    <a:pt x="366" y="276"/>
                  </a:lnTo>
                  <a:lnTo>
                    <a:pt x="371" y="273"/>
                  </a:lnTo>
                  <a:lnTo>
                    <a:pt x="374" y="273"/>
                  </a:lnTo>
                  <a:close/>
                  <a:moveTo>
                    <a:pt x="548" y="259"/>
                  </a:moveTo>
                  <a:lnTo>
                    <a:pt x="548" y="261"/>
                  </a:lnTo>
                  <a:lnTo>
                    <a:pt x="548" y="259"/>
                  </a:lnTo>
                  <a:close/>
                  <a:moveTo>
                    <a:pt x="374" y="259"/>
                  </a:moveTo>
                  <a:lnTo>
                    <a:pt x="378" y="263"/>
                  </a:lnTo>
                  <a:lnTo>
                    <a:pt x="374" y="264"/>
                  </a:lnTo>
                  <a:lnTo>
                    <a:pt x="371" y="264"/>
                  </a:lnTo>
                  <a:lnTo>
                    <a:pt x="371" y="259"/>
                  </a:lnTo>
                  <a:lnTo>
                    <a:pt x="374" y="259"/>
                  </a:lnTo>
                  <a:close/>
                  <a:moveTo>
                    <a:pt x="541" y="249"/>
                  </a:moveTo>
                  <a:lnTo>
                    <a:pt x="547" y="258"/>
                  </a:lnTo>
                  <a:lnTo>
                    <a:pt x="543" y="256"/>
                  </a:lnTo>
                  <a:lnTo>
                    <a:pt x="540" y="251"/>
                  </a:lnTo>
                  <a:lnTo>
                    <a:pt x="541" y="249"/>
                  </a:lnTo>
                  <a:close/>
                  <a:moveTo>
                    <a:pt x="521" y="247"/>
                  </a:moveTo>
                  <a:lnTo>
                    <a:pt x="524" y="249"/>
                  </a:lnTo>
                  <a:lnTo>
                    <a:pt x="521" y="249"/>
                  </a:lnTo>
                  <a:lnTo>
                    <a:pt x="519" y="247"/>
                  </a:lnTo>
                  <a:lnTo>
                    <a:pt x="521" y="247"/>
                  </a:lnTo>
                  <a:close/>
                  <a:moveTo>
                    <a:pt x="372" y="246"/>
                  </a:moveTo>
                  <a:lnTo>
                    <a:pt x="374" y="247"/>
                  </a:lnTo>
                  <a:lnTo>
                    <a:pt x="371" y="249"/>
                  </a:lnTo>
                  <a:lnTo>
                    <a:pt x="372" y="246"/>
                  </a:lnTo>
                  <a:close/>
                  <a:moveTo>
                    <a:pt x="507" y="241"/>
                  </a:moveTo>
                  <a:lnTo>
                    <a:pt x="509" y="241"/>
                  </a:lnTo>
                  <a:lnTo>
                    <a:pt x="509" y="242"/>
                  </a:lnTo>
                  <a:lnTo>
                    <a:pt x="507" y="242"/>
                  </a:lnTo>
                  <a:lnTo>
                    <a:pt x="507" y="241"/>
                  </a:lnTo>
                  <a:close/>
                  <a:moveTo>
                    <a:pt x="372" y="227"/>
                  </a:moveTo>
                  <a:lnTo>
                    <a:pt x="378" y="227"/>
                  </a:lnTo>
                  <a:lnTo>
                    <a:pt x="379" y="230"/>
                  </a:lnTo>
                  <a:lnTo>
                    <a:pt x="378" y="237"/>
                  </a:lnTo>
                  <a:lnTo>
                    <a:pt x="376" y="241"/>
                  </a:lnTo>
                  <a:lnTo>
                    <a:pt x="372" y="242"/>
                  </a:lnTo>
                  <a:lnTo>
                    <a:pt x="369" y="239"/>
                  </a:lnTo>
                  <a:lnTo>
                    <a:pt x="367" y="235"/>
                  </a:lnTo>
                  <a:lnTo>
                    <a:pt x="371" y="227"/>
                  </a:lnTo>
                  <a:lnTo>
                    <a:pt x="372" y="227"/>
                  </a:lnTo>
                  <a:close/>
                  <a:moveTo>
                    <a:pt x="478" y="222"/>
                  </a:moveTo>
                  <a:lnTo>
                    <a:pt x="480" y="222"/>
                  </a:lnTo>
                  <a:lnTo>
                    <a:pt x="480" y="225"/>
                  </a:lnTo>
                  <a:lnTo>
                    <a:pt x="478" y="225"/>
                  </a:lnTo>
                  <a:lnTo>
                    <a:pt x="478" y="222"/>
                  </a:lnTo>
                  <a:close/>
                  <a:moveTo>
                    <a:pt x="482" y="220"/>
                  </a:moveTo>
                  <a:lnTo>
                    <a:pt x="485" y="220"/>
                  </a:lnTo>
                  <a:lnTo>
                    <a:pt x="485" y="223"/>
                  </a:lnTo>
                  <a:lnTo>
                    <a:pt x="483" y="223"/>
                  </a:lnTo>
                  <a:lnTo>
                    <a:pt x="482" y="220"/>
                  </a:lnTo>
                  <a:close/>
                  <a:moveTo>
                    <a:pt x="473" y="218"/>
                  </a:moveTo>
                  <a:lnTo>
                    <a:pt x="477" y="218"/>
                  </a:lnTo>
                  <a:lnTo>
                    <a:pt x="477" y="222"/>
                  </a:lnTo>
                  <a:lnTo>
                    <a:pt x="473" y="222"/>
                  </a:lnTo>
                  <a:lnTo>
                    <a:pt x="473" y="218"/>
                  </a:lnTo>
                  <a:close/>
                  <a:moveTo>
                    <a:pt x="364" y="213"/>
                  </a:moveTo>
                  <a:lnTo>
                    <a:pt x="371" y="217"/>
                  </a:lnTo>
                  <a:lnTo>
                    <a:pt x="371" y="222"/>
                  </a:lnTo>
                  <a:lnTo>
                    <a:pt x="369" y="225"/>
                  </a:lnTo>
                  <a:lnTo>
                    <a:pt x="362" y="225"/>
                  </a:lnTo>
                  <a:lnTo>
                    <a:pt x="359" y="222"/>
                  </a:lnTo>
                  <a:lnTo>
                    <a:pt x="361" y="215"/>
                  </a:lnTo>
                  <a:lnTo>
                    <a:pt x="364" y="213"/>
                  </a:lnTo>
                  <a:close/>
                  <a:moveTo>
                    <a:pt x="384" y="210"/>
                  </a:moveTo>
                  <a:lnTo>
                    <a:pt x="384" y="213"/>
                  </a:lnTo>
                  <a:lnTo>
                    <a:pt x="384" y="210"/>
                  </a:lnTo>
                  <a:close/>
                  <a:moveTo>
                    <a:pt x="362" y="208"/>
                  </a:moveTo>
                  <a:lnTo>
                    <a:pt x="364" y="210"/>
                  </a:lnTo>
                  <a:lnTo>
                    <a:pt x="362" y="212"/>
                  </a:lnTo>
                  <a:lnTo>
                    <a:pt x="361" y="208"/>
                  </a:lnTo>
                  <a:lnTo>
                    <a:pt x="362" y="208"/>
                  </a:lnTo>
                  <a:close/>
                  <a:moveTo>
                    <a:pt x="222" y="200"/>
                  </a:moveTo>
                  <a:lnTo>
                    <a:pt x="222" y="201"/>
                  </a:lnTo>
                  <a:lnTo>
                    <a:pt x="224" y="201"/>
                  </a:lnTo>
                  <a:lnTo>
                    <a:pt x="222" y="201"/>
                  </a:lnTo>
                  <a:lnTo>
                    <a:pt x="221" y="200"/>
                  </a:lnTo>
                  <a:lnTo>
                    <a:pt x="222" y="200"/>
                  </a:lnTo>
                  <a:close/>
                  <a:moveTo>
                    <a:pt x="444" y="160"/>
                  </a:moveTo>
                  <a:lnTo>
                    <a:pt x="448" y="160"/>
                  </a:lnTo>
                  <a:lnTo>
                    <a:pt x="448" y="162"/>
                  </a:lnTo>
                  <a:lnTo>
                    <a:pt x="444" y="162"/>
                  </a:lnTo>
                  <a:lnTo>
                    <a:pt x="444" y="160"/>
                  </a:lnTo>
                  <a:close/>
                  <a:moveTo>
                    <a:pt x="250" y="155"/>
                  </a:moveTo>
                  <a:lnTo>
                    <a:pt x="255" y="157"/>
                  </a:lnTo>
                  <a:lnTo>
                    <a:pt x="253" y="159"/>
                  </a:lnTo>
                  <a:lnTo>
                    <a:pt x="251" y="164"/>
                  </a:lnTo>
                  <a:lnTo>
                    <a:pt x="248" y="159"/>
                  </a:lnTo>
                  <a:lnTo>
                    <a:pt x="250" y="155"/>
                  </a:lnTo>
                  <a:close/>
                  <a:moveTo>
                    <a:pt x="449" y="126"/>
                  </a:moveTo>
                  <a:lnTo>
                    <a:pt x="453" y="126"/>
                  </a:lnTo>
                  <a:lnTo>
                    <a:pt x="453" y="130"/>
                  </a:lnTo>
                  <a:lnTo>
                    <a:pt x="449" y="130"/>
                  </a:lnTo>
                  <a:lnTo>
                    <a:pt x="449" y="126"/>
                  </a:lnTo>
                  <a:close/>
                  <a:moveTo>
                    <a:pt x="381" y="116"/>
                  </a:moveTo>
                  <a:lnTo>
                    <a:pt x="383" y="116"/>
                  </a:lnTo>
                  <a:lnTo>
                    <a:pt x="383" y="118"/>
                  </a:lnTo>
                  <a:lnTo>
                    <a:pt x="381" y="118"/>
                  </a:lnTo>
                  <a:lnTo>
                    <a:pt x="381" y="116"/>
                  </a:lnTo>
                  <a:close/>
                  <a:moveTo>
                    <a:pt x="386" y="111"/>
                  </a:moveTo>
                  <a:lnTo>
                    <a:pt x="388" y="114"/>
                  </a:lnTo>
                  <a:lnTo>
                    <a:pt x="383" y="118"/>
                  </a:lnTo>
                  <a:lnTo>
                    <a:pt x="386" y="111"/>
                  </a:lnTo>
                  <a:close/>
                  <a:moveTo>
                    <a:pt x="451" y="107"/>
                  </a:moveTo>
                  <a:lnTo>
                    <a:pt x="453" y="107"/>
                  </a:lnTo>
                  <a:lnTo>
                    <a:pt x="453" y="111"/>
                  </a:lnTo>
                  <a:lnTo>
                    <a:pt x="451" y="111"/>
                  </a:lnTo>
                  <a:lnTo>
                    <a:pt x="451" y="107"/>
                  </a:lnTo>
                  <a:close/>
                  <a:moveTo>
                    <a:pt x="448" y="106"/>
                  </a:moveTo>
                  <a:lnTo>
                    <a:pt x="451" y="106"/>
                  </a:lnTo>
                  <a:lnTo>
                    <a:pt x="451" y="107"/>
                  </a:lnTo>
                  <a:lnTo>
                    <a:pt x="448" y="107"/>
                  </a:lnTo>
                  <a:lnTo>
                    <a:pt x="448" y="106"/>
                  </a:lnTo>
                  <a:close/>
                  <a:moveTo>
                    <a:pt x="444" y="102"/>
                  </a:moveTo>
                  <a:lnTo>
                    <a:pt x="446" y="104"/>
                  </a:lnTo>
                  <a:lnTo>
                    <a:pt x="444" y="104"/>
                  </a:lnTo>
                  <a:lnTo>
                    <a:pt x="442" y="101"/>
                  </a:lnTo>
                  <a:lnTo>
                    <a:pt x="444" y="102"/>
                  </a:lnTo>
                  <a:close/>
                  <a:moveTo>
                    <a:pt x="410" y="53"/>
                  </a:moveTo>
                  <a:lnTo>
                    <a:pt x="415" y="54"/>
                  </a:lnTo>
                  <a:lnTo>
                    <a:pt x="417" y="58"/>
                  </a:lnTo>
                  <a:lnTo>
                    <a:pt x="410" y="53"/>
                  </a:lnTo>
                  <a:close/>
                  <a:moveTo>
                    <a:pt x="468" y="51"/>
                  </a:moveTo>
                  <a:lnTo>
                    <a:pt x="468" y="54"/>
                  </a:lnTo>
                  <a:lnTo>
                    <a:pt x="468" y="51"/>
                  </a:lnTo>
                  <a:close/>
                  <a:moveTo>
                    <a:pt x="441" y="54"/>
                  </a:moveTo>
                  <a:lnTo>
                    <a:pt x="442" y="54"/>
                  </a:lnTo>
                  <a:lnTo>
                    <a:pt x="451" y="53"/>
                  </a:lnTo>
                  <a:lnTo>
                    <a:pt x="451" y="56"/>
                  </a:lnTo>
                  <a:lnTo>
                    <a:pt x="446" y="65"/>
                  </a:lnTo>
                  <a:lnTo>
                    <a:pt x="441" y="70"/>
                  </a:lnTo>
                  <a:lnTo>
                    <a:pt x="439" y="71"/>
                  </a:lnTo>
                  <a:lnTo>
                    <a:pt x="437" y="78"/>
                  </a:lnTo>
                  <a:lnTo>
                    <a:pt x="434" y="82"/>
                  </a:lnTo>
                  <a:lnTo>
                    <a:pt x="425" y="85"/>
                  </a:lnTo>
                  <a:lnTo>
                    <a:pt x="425" y="95"/>
                  </a:lnTo>
                  <a:lnTo>
                    <a:pt x="427" y="101"/>
                  </a:lnTo>
                  <a:lnTo>
                    <a:pt x="429" y="101"/>
                  </a:lnTo>
                  <a:lnTo>
                    <a:pt x="431" y="101"/>
                  </a:lnTo>
                  <a:lnTo>
                    <a:pt x="436" y="99"/>
                  </a:lnTo>
                  <a:lnTo>
                    <a:pt x="439" y="102"/>
                  </a:lnTo>
                  <a:lnTo>
                    <a:pt x="439" y="104"/>
                  </a:lnTo>
                  <a:lnTo>
                    <a:pt x="442" y="106"/>
                  </a:lnTo>
                  <a:lnTo>
                    <a:pt x="446" y="109"/>
                  </a:lnTo>
                  <a:lnTo>
                    <a:pt x="446" y="114"/>
                  </a:lnTo>
                  <a:lnTo>
                    <a:pt x="442" y="116"/>
                  </a:lnTo>
                  <a:lnTo>
                    <a:pt x="444" y="123"/>
                  </a:lnTo>
                  <a:lnTo>
                    <a:pt x="442" y="123"/>
                  </a:lnTo>
                  <a:lnTo>
                    <a:pt x="444" y="124"/>
                  </a:lnTo>
                  <a:lnTo>
                    <a:pt x="448" y="126"/>
                  </a:lnTo>
                  <a:lnTo>
                    <a:pt x="448" y="131"/>
                  </a:lnTo>
                  <a:lnTo>
                    <a:pt x="448" y="133"/>
                  </a:lnTo>
                  <a:lnTo>
                    <a:pt x="448" y="135"/>
                  </a:lnTo>
                  <a:lnTo>
                    <a:pt x="446" y="145"/>
                  </a:lnTo>
                  <a:lnTo>
                    <a:pt x="448" y="148"/>
                  </a:lnTo>
                  <a:lnTo>
                    <a:pt x="444" y="150"/>
                  </a:lnTo>
                  <a:lnTo>
                    <a:pt x="442" y="153"/>
                  </a:lnTo>
                  <a:lnTo>
                    <a:pt x="446" y="159"/>
                  </a:lnTo>
                  <a:lnTo>
                    <a:pt x="441" y="160"/>
                  </a:lnTo>
                  <a:lnTo>
                    <a:pt x="441" y="164"/>
                  </a:lnTo>
                  <a:lnTo>
                    <a:pt x="434" y="169"/>
                  </a:lnTo>
                  <a:lnTo>
                    <a:pt x="432" y="179"/>
                  </a:lnTo>
                  <a:lnTo>
                    <a:pt x="424" y="179"/>
                  </a:lnTo>
                  <a:lnTo>
                    <a:pt x="420" y="184"/>
                  </a:lnTo>
                  <a:lnTo>
                    <a:pt x="415" y="189"/>
                  </a:lnTo>
                  <a:lnTo>
                    <a:pt x="412" y="189"/>
                  </a:lnTo>
                  <a:lnTo>
                    <a:pt x="410" y="191"/>
                  </a:lnTo>
                  <a:lnTo>
                    <a:pt x="403" y="193"/>
                  </a:lnTo>
                  <a:lnTo>
                    <a:pt x="400" y="200"/>
                  </a:lnTo>
                  <a:lnTo>
                    <a:pt x="402" y="205"/>
                  </a:lnTo>
                  <a:lnTo>
                    <a:pt x="400" y="206"/>
                  </a:lnTo>
                  <a:lnTo>
                    <a:pt x="402" y="206"/>
                  </a:lnTo>
                  <a:lnTo>
                    <a:pt x="403" y="212"/>
                  </a:lnTo>
                  <a:lnTo>
                    <a:pt x="405" y="213"/>
                  </a:lnTo>
                  <a:lnTo>
                    <a:pt x="405" y="210"/>
                  </a:lnTo>
                  <a:lnTo>
                    <a:pt x="408" y="212"/>
                  </a:lnTo>
                  <a:lnTo>
                    <a:pt x="408" y="213"/>
                  </a:lnTo>
                  <a:lnTo>
                    <a:pt x="412" y="217"/>
                  </a:lnTo>
                  <a:lnTo>
                    <a:pt x="412" y="218"/>
                  </a:lnTo>
                  <a:lnTo>
                    <a:pt x="420" y="222"/>
                  </a:lnTo>
                  <a:lnTo>
                    <a:pt x="420" y="220"/>
                  </a:lnTo>
                  <a:lnTo>
                    <a:pt x="431" y="217"/>
                  </a:lnTo>
                  <a:lnTo>
                    <a:pt x="431" y="215"/>
                  </a:lnTo>
                  <a:lnTo>
                    <a:pt x="436" y="212"/>
                  </a:lnTo>
                  <a:lnTo>
                    <a:pt x="436" y="201"/>
                  </a:lnTo>
                  <a:lnTo>
                    <a:pt x="437" y="198"/>
                  </a:lnTo>
                  <a:lnTo>
                    <a:pt x="436" y="196"/>
                  </a:lnTo>
                  <a:lnTo>
                    <a:pt x="439" y="193"/>
                  </a:lnTo>
                  <a:lnTo>
                    <a:pt x="442" y="186"/>
                  </a:lnTo>
                  <a:lnTo>
                    <a:pt x="448" y="182"/>
                  </a:lnTo>
                  <a:lnTo>
                    <a:pt x="454" y="181"/>
                  </a:lnTo>
                  <a:lnTo>
                    <a:pt x="463" y="182"/>
                  </a:lnTo>
                  <a:lnTo>
                    <a:pt x="468" y="177"/>
                  </a:lnTo>
                  <a:lnTo>
                    <a:pt x="468" y="172"/>
                  </a:lnTo>
                  <a:lnTo>
                    <a:pt x="465" y="167"/>
                  </a:lnTo>
                  <a:lnTo>
                    <a:pt x="461" y="167"/>
                  </a:lnTo>
                  <a:lnTo>
                    <a:pt x="456" y="167"/>
                  </a:lnTo>
                  <a:lnTo>
                    <a:pt x="454" y="165"/>
                  </a:lnTo>
                  <a:lnTo>
                    <a:pt x="454" y="162"/>
                  </a:lnTo>
                  <a:lnTo>
                    <a:pt x="458" y="162"/>
                  </a:lnTo>
                  <a:lnTo>
                    <a:pt x="463" y="155"/>
                  </a:lnTo>
                  <a:lnTo>
                    <a:pt x="466" y="150"/>
                  </a:lnTo>
                  <a:lnTo>
                    <a:pt x="470" y="150"/>
                  </a:lnTo>
                  <a:lnTo>
                    <a:pt x="473" y="147"/>
                  </a:lnTo>
                  <a:lnTo>
                    <a:pt x="480" y="145"/>
                  </a:lnTo>
                  <a:lnTo>
                    <a:pt x="485" y="142"/>
                  </a:lnTo>
                  <a:lnTo>
                    <a:pt x="489" y="136"/>
                  </a:lnTo>
                  <a:lnTo>
                    <a:pt x="494" y="133"/>
                  </a:lnTo>
                  <a:lnTo>
                    <a:pt x="501" y="131"/>
                  </a:lnTo>
                  <a:lnTo>
                    <a:pt x="506" y="133"/>
                  </a:lnTo>
                  <a:lnTo>
                    <a:pt x="511" y="128"/>
                  </a:lnTo>
                  <a:lnTo>
                    <a:pt x="518" y="128"/>
                  </a:lnTo>
                  <a:lnTo>
                    <a:pt x="524" y="126"/>
                  </a:lnTo>
                  <a:lnTo>
                    <a:pt x="530" y="128"/>
                  </a:lnTo>
                  <a:lnTo>
                    <a:pt x="531" y="133"/>
                  </a:lnTo>
                  <a:lnTo>
                    <a:pt x="528" y="133"/>
                  </a:lnTo>
                  <a:lnTo>
                    <a:pt x="528" y="136"/>
                  </a:lnTo>
                  <a:lnTo>
                    <a:pt x="526" y="136"/>
                  </a:lnTo>
                  <a:lnTo>
                    <a:pt x="526" y="142"/>
                  </a:lnTo>
                  <a:lnTo>
                    <a:pt x="530" y="148"/>
                  </a:lnTo>
                  <a:lnTo>
                    <a:pt x="535" y="150"/>
                  </a:lnTo>
                  <a:lnTo>
                    <a:pt x="533" y="152"/>
                  </a:lnTo>
                  <a:lnTo>
                    <a:pt x="533" y="160"/>
                  </a:lnTo>
                  <a:lnTo>
                    <a:pt x="530" y="162"/>
                  </a:lnTo>
                  <a:lnTo>
                    <a:pt x="530" y="165"/>
                  </a:lnTo>
                  <a:lnTo>
                    <a:pt x="526" y="172"/>
                  </a:lnTo>
                  <a:lnTo>
                    <a:pt x="528" y="179"/>
                  </a:lnTo>
                  <a:lnTo>
                    <a:pt x="526" y="186"/>
                  </a:lnTo>
                  <a:lnTo>
                    <a:pt x="528" y="189"/>
                  </a:lnTo>
                  <a:lnTo>
                    <a:pt x="526" y="189"/>
                  </a:lnTo>
                  <a:lnTo>
                    <a:pt x="518" y="191"/>
                  </a:lnTo>
                  <a:lnTo>
                    <a:pt x="511" y="198"/>
                  </a:lnTo>
                  <a:lnTo>
                    <a:pt x="507" y="200"/>
                  </a:lnTo>
                  <a:lnTo>
                    <a:pt x="504" y="200"/>
                  </a:lnTo>
                  <a:lnTo>
                    <a:pt x="497" y="205"/>
                  </a:lnTo>
                  <a:lnTo>
                    <a:pt x="494" y="205"/>
                  </a:lnTo>
                  <a:lnTo>
                    <a:pt x="490" y="208"/>
                  </a:lnTo>
                  <a:lnTo>
                    <a:pt x="483" y="206"/>
                  </a:lnTo>
                  <a:lnTo>
                    <a:pt x="478" y="213"/>
                  </a:lnTo>
                  <a:lnTo>
                    <a:pt x="482" y="218"/>
                  </a:lnTo>
                  <a:lnTo>
                    <a:pt x="473" y="215"/>
                  </a:lnTo>
                  <a:lnTo>
                    <a:pt x="473" y="218"/>
                  </a:lnTo>
                  <a:lnTo>
                    <a:pt x="468" y="220"/>
                  </a:lnTo>
                  <a:lnTo>
                    <a:pt x="468" y="222"/>
                  </a:lnTo>
                  <a:lnTo>
                    <a:pt x="473" y="229"/>
                  </a:lnTo>
                  <a:lnTo>
                    <a:pt x="475" y="227"/>
                  </a:lnTo>
                  <a:lnTo>
                    <a:pt x="480" y="232"/>
                  </a:lnTo>
                  <a:lnTo>
                    <a:pt x="483" y="239"/>
                  </a:lnTo>
                  <a:lnTo>
                    <a:pt x="487" y="237"/>
                  </a:lnTo>
                  <a:lnTo>
                    <a:pt x="487" y="239"/>
                  </a:lnTo>
                  <a:lnTo>
                    <a:pt x="495" y="241"/>
                  </a:lnTo>
                  <a:lnTo>
                    <a:pt x="501" y="246"/>
                  </a:lnTo>
                  <a:lnTo>
                    <a:pt x="507" y="246"/>
                  </a:lnTo>
                  <a:lnTo>
                    <a:pt x="512" y="249"/>
                  </a:lnTo>
                  <a:lnTo>
                    <a:pt x="523" y="251"/>
                  </a:lnTo>
                  <a:lnTo>
                    <a:pt x="526" y="251"/>
                  </a:lnTo>
                  <a:lnTo>
                    <a:pt x="526" y="253"/>
                  </a:lnTo>
                  <a:lnTo>
                    <a:pt x="524" y="258"/>
                  </a:lnTo>
                  <a:lnTo>
                    <a:pt x="526" y="261"/>
                  </a:lnTo>
                  <a:lnTo>
                    <a:pt x="526" y="268"/>
                  </a:lnTo>
                  <a:lnTo>
                    <a:pt x="524" y="275"/>
                  </a:lnTo>
                  <a:lnTo>
                    <a:pt x="526" y="276"/>
                  </a:lnTo>
                  <a:lnTo>
                    <a:pt x="530" y="276"/>
                  </a:lnTo>
                  <a:lnTo>
                    <a:pt x="538" y="278"/>
                  </a:lnTo>
                  <a:lnTo>
                    <a:pt x="545" y="282"/>
                  </a:lnTo>
                  <a:lnTo>
                    <a:pt x="547" y="283"/>
                  </a:lnTo>
                  <a:lnTo>
                    <a:pt x="548" y="288"/>
                  </a:lnTo>
                  <a:lnTo>
                    <a:pt x="552" y="292"/>
                  </a:lnTo>
                  <a:lnTo>
                    <a:pt x="548" y="290"/>
                  </a:lnTo>
                  <a:lnTo>
                    <a:pt x="545" y="285"/>
                  </a:lnTo>
                  <a:lnTo>
                    <a:pt x="543" y="285"/>
                  </a:lnTo>
                  <a:lnTo>
                    <a:pt x="535" y="283"/>
                  </a:lnTo>
                  <a:lnTo>
                    <a:pt x="531" y="283"/>
                  </a:lnTo>
                  <a:lnTo>
                    <a:pt x="528" y="282"/>
                  </a:lnTo>
                  <a:lnTo>
                    <a:pt x="524" y="282"/>
                  </a:lnTo>
                  <a:lnTo>
                    <a:pt x="518" y="278"/>
                  </a:lnTo>
                  <a:lnTo>
                    <a:pt x="511" y="278"/>
                  </a:lnTo>
                  <a:lnTo>
                    <a:pt x="504" y="275"/>
                  </a:lnTo>
                  <a:lnTo>
                    <a:pt x="502" y="270"/>
                  </a:lnTo>
                  <a:lnTo>
                    <a:pt x="499" y="268"/>
                  </a:lnTo>
                  <a:lnTo>
                    <a:pt x="495" y="270"/>
                  </a:lnTo>
                  <a:lnTo>
                    <a:pt x="490" y="268"/>
                  </a:lnTo>
                  <a:lnTo>
                    <a:pt x="487" y="268"/>
                  </a:lnTo>
                  <a:lnTo>
                    <a:pt x="478" y="270"/>
                  </a:lnTo>
                  <a:lnTo>
                    <a:pt x="473" y="266"/>
                  </a:lnTo>
                  <a:lnTo>
                    <a:pt x="472" y="268"/>
                  </a:lnTo>
                  <a:lnTo>
                    <a:pt x="468" y="264"/>
                  </a:lnTo>
                  <a:lnTo>
                    <a:pt x="466" y="264"/>
                  </a:lnTo>
                  <a:lnTo>
                    <a:pt x="465" y="261"/>
                  </a:lnTo>
                  <a:lnTo>
                    <a:pt x="458" y="263"/>
                  </a:lnTo>
                  <a:lnTo>
                    <a:pt x="453" y="259"/>
                  </a:lnTo>
                  <a:lnTo>
                    <a:pt x="453" y="261"/>
                  </a:lnTo>
                  <a:lnTo>
                    <a:pt x="441" y="259"/>
                  </a:lnTo>
                  <a:lnTo>
                    <a:pt x="434" y="263"/>
                  </a:lnTo>
                  <a:lnTo>
                    <a:pt x="432" y="264"/>
                  </a:lnTo>
                  <a:lnTo>
                    <a:pt x="434" y="268"/>
                  </a:lnTo>
                  <a:lnTo>
                    <a:pt x="432" y="271"/>
                  </a:lnTo>
                  <a:lnTo>
                    <a:pt x="432" y="273"/>
                  </a:lnTo>
                  <a:lnTo>
                    <a:pt x="431" y="273"/>
                  </a:lnTo>
                  <a:lnTo>
                    <a:pt x="431" y="275"/>
                  </a:lnTo>
                  <a:lnTo>
                    <a:pt x="429" y="280"/>
                  </a:lnTo>
                  <a:lnTo>
                    <a:pt x="427" y="282"/>
                  </a:lnTo>
                  <a:lnTo>
                    <a:pt x="429" y="282"/>
                  </a:lnTo>
                  <a:lnTo>
                    <a:pt x="429" y="280"/>
                  </a:lnTo>
                  <a:lnTo>
                    <a:pt x="434" y="283"/>
                  </a:lnTo>
                  <a:lnTo>
                    <a:pt x="434" y="287"/>
                  </a:lnTo>
                  <a:lnTo>
                    <a:pt x="436" y="290"/>
                  </a:lnTo>
                  <a:lnTo>
                    <a:pt x="434" y="294"/>
                  </a:lnTo>
                  <a:lnTo>
                    <a:pt x="436" y="304"/>
                  </a:lnTo>
                  <a:lnTo>
                    <a:pt x="432" y="304"/>
                  </a:lnTo>
                  <a:lnTo>
                    <a:pt x="431" y="307"/>
                  </a:lnTo>
                  <a:lnTo>
                    <a:pt x="431" y="317"/>
                  </a:lnTo>
                  <a:lnTo>
                    <a:pt x="434" y="324"/>
                  </a:lnTo>
                  <a:lnTo>
                    <a:pt x="437" y="329"/>
                  </a:lnTo>
                  <a:lnTo>
                    <a:pt x="441" y="338"/>
                  </a:lnTo>
                  <a:lnTo>
                    <a:pt x="441" y="341"/>
                  </a:lnTo>
                  <a:lnTo>
                    <a:pt x="442" y="348"/>
                  </a:lnTo>
                  <a:lnTo>
                    <a:pt x="446" y="357"/>
                  </a:lnTo>
                  <a:lnTo>
                    <a:pt x="449" y="364"/>
                  </a:lnTo>
                  <a:lnTo>
                    <a:pt x="449" y="367"/>
                  </a:lnTo>
                  <a:lnTo>
                    <a:pt x="451" y="367"/>
                  </a:lnTo>
                  <a:lnTo>
                    <a:pt x="453" y="369"/>
                  </a:lnTo>
                  <a:lnTo>
                    <a:pt x="456" y="377"/>
                  </a:lnTo>
                  <a:lnTo>
                    <a:pt x="460" y="381"/>
                  </a:lnTo>
                  <a:lnTo>
                    <a:pt x="463" y="387"/>
                  </a:lnTo>
                  <a:lnTo>
                    <a:pt x="466" y="393"/>
                  </a:lnTo>
                  <a:lnTo>
                    <a:pt x="470" y="401"/>
                  </a:lnTo>
                  <a:lnTo>
                    <a:pt x="473" y="405"/>
                  </a:lnTo>
                  <a:lnTo>
                    <a:pt x="480" y="408"/>
                  </a:lnTo>
                  <a:lnTo>
                    <a:pt x="482" y="411"/>
                  </a:lnTo>
                  <a:lnTo>
                    <a:pt x="485" y="415"/>
                  </a:lnTo>
                  <a:lnTo>
                    <a:pt x="489" y="418"/>
                  </a:lnTo>
                  <a:lnTo>
                    <a:pt x="497" y="423"/>
                  </a:lnTo>
                  <a:lnTo>
                    <a:pt x="499" y="427"/>
                  </a:lnTo>
                  <a:lnTo>
                    <a:pt x="489" y="422"/>
                  </a:lnTo>
                  <a:lnTo>
                    <a:pt x="487" y="423"/>
                  </a:lnTo>
                  <a:lnTo>
                    <a:pt x="482" y="420"/>
                  </a:lnTo>
                  <a:lnTo>
                    <a:pt x="480" y="422"/>
                  </a:lnTo>
                  <a:lnTo>
                    <a:pt x="477" y="420"/>
                  </a:lnTo>
                  <a:lnTo>
                    <a:pt x="472" y="416"/>
                  </a:lnTo>
                  <a:lnTo>
                    <a:pt x="473" y="415"/>
                  </a:lnTo>
                  <a:lnTo>
                    <a:pt x="478" y="416"/>
                  </a:lnTo>
                  <a:lnTo>
                    <a:pt x="472" y="410"/>
                  </a:lnTo>
                  <a:lnTo>
                    <a:pt x="473" y="408"/>
                  </a:lnTo>
                  <a:lnTo>
                    <a:pt x="472" y="408"/>
                  </a:lnTo>
                  <a:lnTo>
                    <a:pt x="472" y="406"/>
                  </a:lnTo>
                  <a:lnTo>
                    <a:pt x="470" y="410"/>
                  </a:lnTo>
                  <a:lnTo>
                    <a:pt x="468" y="408"/>
                  </a:lnTo>
                  <a:lnTo>
                    <a:pt x="466" y="408"/>
                  </a:lnTo>
                  <a:lnTo>
                    <a:pt x="465" y="406"/>
                  </a:lnTo>
                  <a:lnTo>
                    <a:pt x="463" y="406"/>
                  </a:lnTo>
                  <a:lnTo>
                    <a:pt x="460" y="405"/>
                  </a:lnTo>
                  <a:lnTo>
                    <a:pt x="453" y="403"/>
                  </a:lnTo>
                  <a:lnTo>
                    <a:pt x="446" y="399"/>
                  </a:lnTo>
                  <a:lnTo>
                    <a:pt x="444" y="396"/>
                  </a:lnTo>
                  <a:lnTo>
                    <a:pt x="444" y="393"/>
                  </a:lnTo>
                  <a:lnTo>
                    <a:pt x="439" y="384"/>
                  </a:lnTo>
                  <a:lnTo>
                    <a:pt x="437" y="377"/>
                  </a:lnTo>
                  <a:lnTo>
                    <a:pt x="432" y="374"/>
                  </a:lnTo>
                  <a:lnTo>
                    <a:pt x="432" y="370"/>
                  </a:lnTo>
                  <a:lnTo>
                    <a:pt x="431" y="364"/>
                  </a:lnTo>
                  <a:lnTo>
                    <a:pt x="427" y="360"/>
                  </a:lnTo>
                  <a:lnTo>
                    <a:pt x="422" y="357"/>
                  </a:lnTo>
                  <a:lnTo>
                    <a:pt x="413" y="355"/>
                  </a:lnTo>
                  <a:lnTo>
                    <a:pt x="407" y="348"/>
                  </a:lnTo>
                  <a:lnTo>
                    <a:pt x="407" y="346"/>
                  </a:lnTo>
                  <a:lnTo>
                    <a:pt x="403" y="341"/>
                  </a:lnTo>
                  <a:lnTo>
                    <a:pt x="407" y="333"/>
                  </a:lnTo>
                  <a:lnTo>
                    <a:pt x="407" y="329"/>
                  </a:lnTo>
                  <a:lnTo>
                    <a:pt x="408" y="328"/>
                  </a:lnTo>
                  <a:lnTo>
                    <a:pt x="408" y="321"/>
                  </a:lnTo>
                  <a:lnTo>
                    <a:pt x="408" y="316"/>
                  </a:lnTo>
                  <a:lnTo>
                    <a:pt x="410" y="307"/>
                  </a:lnTo>
                  <a:lnTo>
                    <a:pt x="410" y="304"/>
                  </a:lnTo>
                  <a:lnTo>
                    <a:pt x="407" y="305"/>
                  </a:lnTo>
                  <a:lnTo>
                    <a:pt x="408" y="302"/>
                  </a:lnTo>
                  <a:lnTo>
                    <a:pt x="408" y="294"/>
                  </a:lnTo>
                  <a:lnTo>
                    <a:pt x="410" y="285"/>
                  </a:lnTo>
                  <a:lnTo>
                    <a:pt x="412" y="280"/>
                  </a:lnTo>
                  <a:lnTo>
                    <a:pt x="410" y="275"/>
                  </a:lnTo>
                  <a:lnTo>
                    <a:pt x="403" y="275"/>
                  </a:lnTo>
                  <a:lnTo>
                    <a:pt x="402" y="273"/>
                  </a:lnTo>
                  <a:lnTo>
                    <a:pt x="398" y="273"/>
                  </a:lnTo>
                  <a:lnTo>
                    <a:pt x="398" y="270"/>
                  </a:lnTo>
                  <a:lnTo>
                    <a:pt x="393" y="266"/>
                  </a:lnTo>
                  <a:lnTo>
                    <a:pt x="395" y="266"/>
                  </a:lnTo>
                  <a:lnTo>
                    <a:pt x="393" y="264"/>
                  </a:lnTo>
                  <a:lnTo>
                    <a:pt x="391" y="254"/>
                  </a:lnTo>
                  <a:lnTo>
                    <a:pt x="388" y="251"/>
                  </a:lnTo>
                  <a:lnTo>
                    <a:pt x="388" y="242"/>
                  </a:lnTo>
                  <a:lnTo>
                    <a:pt x="390" y="235"/>
                  </a:lnTo>
                  <a:lnTo>
                    <a:pt x="390" y="229"/>
                  </a:lnTo>
                  <a:lnTo>
                    <a:pt x="393" y="227"/>
                  </a:lnTo>
                  <a:lnTo>
                    <a:pt x="396" y="225"/>
                  </a:lnTo>
                  <a:lnTo>
                    <a:pt x="396" y="227"/>
                  </a:lnTo>
                  <a:lnTo>
                    <a:pt x="396" y="223"/>
                  </a:lnTo>
                  <a:lnTo>
                    <a:pt x="400" y="220"/>
                  </a:lnTo>
                  <a:lnTo>
                    <a:pt x="402" y="215"/>
                  </a:lnTo>
                  <a:lnTo>
                    <a:pt x="400" y="215"/>
                  </a:lnTo>
                  <a:lnTo>
                    <a:pt x="400" y="213"/>
                  </a:lnTo>
                  <a:lnTo>
                    <a:pt x="398" y="215"/>
                  </a:lnTo>
                  <a:lnTo>
                    <a:pt x="391" y="212"/>
                  </a:lnTo>
                  <a:lnTo>
                    <a:pt x="391" y="213"/>
                  </a:lnTo>
                  <a:lnTo>
                    <a:pt x="391" y="212"/>
                  </a:lnTo>
                  <a:lnTo>
                    <a:pt x="390" y="212"/>
                  </a:lnTo>
                  <a:lnTo>
                    <a:pt x="390" y="213"/>
                  </a:lnTo>
                  <a:lnTo>
                    <a:pt x="388" y="213"/>
                  </a:lnTo>
                  <a:lnTo>
                    <a:pt x="390" y="212"/>
                  </a:lnTo>
                  <a:lnTo>
                    <a:pt x="383" y="210"/>
                  </a:lnTo>
                  <a:lnTo>
                    <a:pt x="383" y="205"/>
                  </a:lnTo>
                  <a:lnTo>
                    <a:pt x="386" y="200"/>
                  </a:lnTo>
                  <a:lnTo>
                    <a:pt x="381" y="196"/>
                  </a:lnTo>
                  <a:lnTo>
                    <a:pt x="383" y="194"/>
                  </a:lnTo>
                  <a:lnTo>
                    <a:pt x="383" y="189"/>
                  </a:lnTo>
                  <a:lnTo>
                    <a:pt x="381" y="189"/>
                  </a:lnTo>
                  <a:lnTo>
                    <a:pt x="376" y="191"/>
                  </a:lnTo>
                  <a:lnTo>
                    <a:pt x="374" y="193"/>
                  </a:lnTo>
                  <a:lnTo>
                    <a:pt x="372" y="191"/>
                  </a:lnTo>
                  <a:lnTo>
                    <a:pt x="374" y="191"/>
                  </a:lnTo>
                  <a:lnTo>
                    <a:pt x="372" y="189"/>
                  </a:lnTo>
                  <a:lnTo>
                    <a:pt x="372" y="186"/>
                  </a:lnTo>
                  <a:lnTo>
                    <a:pt x="376" y="179"/>
                  </a:lnTo>
                  <a:lnTo>
                    <a:pt x="372" y="174"/>
                  </a:lnTo>
                  <a:lnTo>
                    <a:pt x="372" y="169"/>
                  </a:lnTo>
                  <a:lnTo>
                    <a:pt x="378" y="160"/>
                  </a:lnTo>
                  <a:lnTo>
                    <a:pt x="381" y="155"/>
                  </a:lnTo>
                  <a:lnTo>
                    <a:pt x="383" y="150"/>
                  </a:lnTo>
                  <a:lnTo>
                    <a:pt x="386" y="143"/>
                  </a:lnTo>
                  <a:lnTo>
                    <a:pt x="388" y="136"/>
                  </a:lnTo>
                  <a:lnTo>
                    <a:pt x="388" y="131"/>
                  </a:lnTo>
                  <a:lnTo>
                    <a:pt x="384" y="130"/>
                  </a:lnTo>
                  <a:lnTo>
                    <a:pt x="388" y="126"/>
                  </a:lnTo>
                  <a:lnTo>
                    <a:pt x="390" y="128"/>
                  </a:lnTo>
                  <a:lnTo>
                    <a:pt x="390" y="126"/>
                  </a:lnTo>
                  <a:lnTo>
                    <a:pt x="390" y="118"/>
                  </a:lnTo>
                  <a:lnTo>
                    <a:pt x="391" y="118"/>
                  </a:lnTo>
                  <a:lnTo>
                    <a:pt x="391" y="119"/>
                  </a:lnTo>
                  <a:lnTo>
                    <a:pt x="391" y="118"/>
                  </a:lnTo>
                  <a:lnTo>
                    <a:pt x="395" y="118"/>
                  </a:lnTo>
                  <a:lnTo>
                    <a:pt x="395" y="114"/>
                  </a:lnTo>
                  <a:lnTo>
                    <a:pt x="390" y="111"/>
                  </a:lnTo>
                  <a:lnTo>
                    <a:pt x="393" y="109"/>
                  </a:lnTo>
                  <a:lnTo>
                    <a:pt x="393" y="106"/>
                  </a:lnTo>
                  <a:lnTo>
                    <a:pt x="398" y="102"/>
                  </a:lnTo>
                  <a:lnTo>
                    <a:pt x="402" y="97"/>
                  </a:lnTo>
                  <a:lnTo>
                    <a:pt x="402" y="92"/>
                  </a:lnTo>
                  <a:lnTo>
                    <a:pt x="403" y="92"/>
                  </a:lnTo>
                  <a:lnTo>
                    <a:pt x="405" y="90"/>
                  </a:lnTo>
                  <a:lnTo>
                    <a:pt x="407" y="85"/>
                  </a:lnTo>
                  <a:lnTo>
                    <a:pt x="413" y="80"/>
                  </a:lnTo>
                  <a:lnTo>
                    <a:pt x="419" y="75"/>
                  </a:lnTo>
                  <a:lnTo>
                    <a:pt x="419" y="73"/>
                  </a:lnTo>
                  <a:lnTo>
                    <a:pt x="424" y="66"/>
                  </a:lnTo>
                  <a:lnTo>
                    <a:pt x="432" y="61"/>
                  </a:lnTo>
                  <a:lnTo>
                    <a:pt x="439" y="53"/>
                  </a:lnTo>
                  <a:lnTo>
                    <a:pt x="437" y="51"/>
                  </a:lnTo>
                  <a:lnTo>
                    <a:pt x="441" y="54"/>
                  </a:lnTo>
                  <a:close/>
                  <a:moveTo>
                    <a:pt x="417" y="41"/>
                  </a:moveTo>
                  <a:lnTo>
                    <a:pt x="417" y="44"/>
                  </a:lnTo>
                  <a:lnTo>
                    <a:pt x="422" y="44"/>
                  </a:lnTo>
                  <a:lnTo>
                    <a:pt x="422" y="49"/>
                  </a:lnTo>
                  <a:lnTo>
                    <a:pt x="419" y="51"/>
                  </a:lnTo>
                  <a:lnTo>
                    <a:pt x="417" y="51"/>
                  </a:lnTo>
                  <a:lnTo>
                    <a:pt x="417" y="46"/>
                  </a:lnTo>
                  <a:lnTo>
                    <a:pt x="415" y="46"/>
                  </a:lnTo>
                  <a:lnTo>
                    <a:pt x="417" y="41"/>
                  </a:lnTo>
                  <a:close/>
                  <a:moveTo>
                    <a:pt x="465" y="36"/>
                  </a:moveTo>
                  <a:lnTo>
                    <a:pt x="465" y="39"/>
                  </a:lnTo>
                  <a:lnTo>
                    <a:pt x="466" y="41"/>
                  </a:lnTo>
                  <a:lnTo>
                    <a:pt x="465" y="42"/>
                  </a:lnTo>
                  <a:lnTo>
                    <a:pt x="461" y="41"/>
                  </a:lnTo>
                  <a:lnTo>
                    <a:pt x="458" y="37"/>
                  </a:lnTo>
                  <a:lnTo>
                    <a:pt x="461" y="30"/>
                  </a:lnTo>
                  <a:lnTo>
                    <a:pt x="463" y="27"/>
                  </a:lnTo>
                  <a:lnTo>
                    <a:pt x="466" y="34"/>
                  </a:lnTo>
                  <a:lnTo>
                    <a:pt x="465" y="36"/>
                  </a:lnTo>
                  <a:close/>
                  <a:moveTo>
                    <a:pt x="514" y="3"/>
                  </a:moveTo>
                  <a:lnTo>
                    <a:pt x="516" y="8"/>
                  </a:lnTo>
                  <a:lnTo>
                    <a:pt x="519" y="10"/>
                  </a:lnTo>
                  <a:lnTo>
                    <a:pt x="519" y="13"/>
                  </a:lnTo>
                  <a:lnTo>
                    <a:pt x="523" y="13"/>
                  </a:lnTo>
                  <a:lnTo>
                    <a:pt x="524" y="17"/>
                  </a:lnTo>
                  <a:lnTo>
                    <a:pt x="526" y="17"/>
                  </a:lnTo>
                  <a:lnTo>
                    <a:pt x="526" y="25"/>
                  </a:lnTo>
                  <a:lnTo>
                    <a:pt x="521" y="32"/>
                  </a:lnTo>
                  <a:lnTo>
                    <a:pt x="521" y="37"/>
                  </a:lnTo>
                  <a:lnTo>
                    <a:pt x="523" y="39"/>
                  </a:lnTo>
                  <a:lnTo>
                    <a:pt x="519" y="46"/>
                  </a:lnTo>
                  <a:lnTo>
                    <a:pt x="518" y="51"/>
                  </a:lnTo>
                  <a:lnTo>
                    <a:pt x="516" y="54"/>
                  </a:lnTo>
                  <a:lnTo>
                    <a:pt x="512" y="61"/>
                  </a:lnTo>
                  <a:lnTo>
                    <a:pt x="512" y="63"/>
                  </a:lnTo>
                  <a:lnTo>
                    <a:pt x="509" y="65"/>
                  </a:lnTo>
                  <a:lnTo>
                    <a:pt x="504" y="70"/>
                  </a:lnTo>
                  <a:lnTo>
                    <a:pt x="501" y="70"/>
                  </a:lnTo>
                  <a:lnTo>
                    <a:pt x="492" y="70"/>
                  </a:lnTo>
                  <a:lnTo>
                    <a:pt x="485" y="71"/>
                  </a:lnTo>
                  <a:lnTo>
                    <a:pt x="480" y="73"/>
                  </a:lnTo>
                  <a:lnTo>
                    <a:pt x="478" y="75"/>
                  </a:lnTo>
                  <a:lnTo>
                    <a:pt x="475" y="80"/>
                  </a:lnTo>
                  <a:lnTo>
                    <a:pt x="478" y="70"/>
                  </a:lnTo>
                  <a:lnTo>
                    <a:pt x="477" y="66"/>
                  </a:lnTo>
                  <a:lnTo>
                    <a:pt x="475" y="66"/>
                  </a:lnTo>
                  <a:lnTo>
                    <a:pt x="473" y="63"/>
                  </a:lnTo>
                  <a:lnTo>
                    <a:pt x="473" y="54"/>
                  </a:lnTo>
                  <a:lnTo>
                    <a:pt x="472" y="53"/>
                  </a:lnTo>
                  <a:lnTo>
                    <a:pt x="473" y="48"/>
                  </a:lnTo>
                  <a:lnTo>
                    <a:pt x="470" y="44"/>
                  </a:lnTo>
                  <a:lnTo>
                    <a:pt x="466" y="42"/>
                  </a:lnTo>
                  <a:lnTo>
                    <a:pt x="473" y="37"/>
                  </a:lnTo>
                  <a:lnTo>
                    <a:pt x="477" y="32"/>
                  </a:lnTo>
                  <a:lnTo>
                    <a:pt x="480" y="29"/>
                  </a:lnTo>
                  <a:lnTo>
                    <a:pt x="478" y="24"/>
                  </a:lnTo>
                  <a:lnTo>
                    <a:pt x="485" y="19"/>
                  </a:lnTo>
                  <a:lnTo>
                    <a:pt x="487" y="15"/>
                  </a:lnTo>
                  <a:lnTo>
                    <a:pt x="492" y="13"/>
                  </a:lnTo>
                  <a:lnTo>
                    <a:pt x="499" y="5"/>
                  </a:lnTo>
                  <a:lnTo>
                    <a:pt x="506" y="8"/>
                  </a:lnTo>
                  <a:lnTo>
                    <a:pt x="511" y="0"/>
                  </a:lnTo>
                  <a:lnTo>
                    <a:pt x="514" y="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19" name="Freeform 57"/>
            <p:cNvSpPr>
              <a:spLocks noEditPoints="1"/>
            </p:cNvSpPr>
            <p:nvPr/>
          </p:nvSpPr>
          <p:spPr bwMode="gray">
            <a:xfrm>
              <a:off x="9465268" y="2954048"/>
              <a:ext cx="1462995" cy="2199964"/>
            </a:xfrm>
            <a:custGeom>
              <a:avLst/>
              <a:gdLst>
                <a:gd name="T0" fmla="*/ 548 w 802"/>
                <a:gd name="T1" fmla="*/ 1109 h 1206"/>
                <a:gd name="T2" fmla="*/ 507 w 802"/>
                <a:gd name="T3" fmla="*/ 1114 h 1206"/>
                <a:gd name="T4" fmla="*/ 558 w 802"/>
                <a:gd name="T5" fmla="*/ 1017 h 1206"/>
                <a:gd name="T6" fmla="*/ 483 w 802"/>
                <a:gd name="T7" fmla="*/ 1112 h 1206"/>
                <a:gd name="T8" fmla="*/ 404 w 802"/>
                <a:gd name="T9" fmla="*/ 1082 h 1206"/>
                <a:gd name="T10" fmla="*/ 517 w 802"/>
                <a:gd name="T11" fmla="*/ 993 h 1206"/>
                <a:gd name="T12" fmla="*/ 582 w 802"/>
                <a:gd name="T13" fmla="*/ 952 h 1206"/>
                <a:gd name="T14" fmla="*/ 519 w 802"/>
                <a:gd name="T15" fmla="*/ 957 h 1206"/>
                <a:gd name="T16" fmla="*/ 517 w 802"/>
                <a:gd name="T17" fmla="*/ 930 h 1206"/>
                <a:gd name="T18" fmla="*/ 466 w 802"/>
                <a:gd name="T19" fmla="*/ 793 h 1206"/>
                <a:gd name="T20" fmla="*/ 370 w 802"/>
                <a:gd name="T21" fmla="*/ 707 h 1206"/>
                <a:gd name="T22" fmla="*/ 327 w 802"/>
                <a:gd name="T23" fmla="*/ 692 h 1206"/>
                <a:gd name="T24" fmla="*/ 281 w 802"/>
                <a:gd name="T25" fmla="*/ 687 h 1206"/>
                <a:gd name="T26" fmla="*/ 164 w 802"/>
                <a:gd name="T27" fmla="*/ 463 h 1206"/>
                <a:gd name="T28" fmla="*/ 346 w 802"/>
                <a:gd name="T29" fmla="*/ 349 h 1206"/>
                <a:gd name="T30" fmla="*/ 350 w 802"/>
                <a:gd name="T31" fmla="*/ 335 h 1206"/>
                <a:gd name="T32" fmla="*/ 339 w 802"/>
                <a:gd name="T33" fmla="*/ 332 h 1206"/>
                <a:gd name="T34" fmla="*/ 165 w 802"/>
                <a:gd name="T35" fmla="*/ 304 h 1206"/>
                <a:gd name="T36" fmla="*/ 273 w 802"/>
                <a:gd name="T37" fmla="*/ 318 h 1206"/>
                <a:gd name="T38" fmla="*/ 252 w 802"/>
                <a:gd name="T39" fmla="*/ 335 h 1206"/>
                <a:gd name="T40" fmla="*/ 182 w 802"/>
                <a:gd name="T41" fmla="*/ 318 h 1206"/>
                <a:gd name="T42" fmla="*/ 529 w 802"/>
                <a:gd name="T43" fmla="*/ 299 h 1206"/>
                <a:gd name="T44" fmla="*/ 97 w 802"/>
                <a:gd name="T45" fmla="*/ 286 h 1206"/>
                <a:gd name="T46" fmla="*/ 46 w 802"/>
                <a:gd name="T47" fmla="*/ 511 h 1206"/>
                <a:gd name="T48" fmla="*/ 65 w 802"/>
                <a:gd name="T49" fmla="*/ 456 h 1206"/>
                <a:gd name="T50" fmla="*/ 78 w 802"/>
                <a:gd name="T51" fmla="*/ 508 h 1206"/>
                <a:gd name="T52" fmla="*/ 176 w 802"/>
                <a:gd name="T53" fmla="*/ 477 h 1206"/>
                <a:gd name="T54" fmla="*/ 199 w 802"/>
                <a:gd name="T55" fmla="*/ 441 h 1206"/>
                <a:gd name="T56" fmla="*/ 273 w 802"/>
                <a:gd name="T57" fmla="*/ 380 h 1206"/>
                <a:gd name="T58" fmla="*/ 324 w 802"/>
                <a:gd name="T59" fmla="*/ 368 h 1206"/>
                <a:gd name="T60" fmla="*/ 345 w 802"/>
                <a:gd name="T61" fmla="*/ 342 h 1206"/>
                <a:gd name="T62" fmla="*/ 423 w 802"/>
                <a:gd name="T63" fmla="*/ 286 h 1206"/>
                <a:gd name="T64" fmla="*/ 520 w 802"/>
                <a:gd name="T65" fmla="*/ 325 h 1206"/>
                <a:gd name="T66" fmla="*/ 636 w 802"/>
                <a:gd name="T67" fmla="*/ 385 h 1206"/>
                <a:gd name="T68" fmla="*/ 724 w 802"/>
                <a:gd name="T69" fmla="*/ 403 h 1206"/>
                <a:gd name="T70" fmla="*/ 773 w 802"/>
                <a:gd name="T71" fmla="*/ 426 h 1206"/>
                <a:gd name="T72" fmla="*/ 799 w 802"/>
                <a:gd name="T73" fmla="*/ 743 h 1206"/>
                <a:gd name="T74" fmla="*/ 782 w 802"/>
                <a:gd name="T75" fmla="*/ 899 h 1206"/>
                <a:gd name="T76" fmla="*/ 795 w 802"/>
                <a:gd name="T77" fmla="*/ 1027 h 1206"/>
                <a:gd name="T78" fmla="*/ 693 w 802"/>
                <a:gd name="T79" fmla="*/ 1109 h 1206"/>
                <a:gd name="T80" fmla="*/ 614 w 802"/>
                <a:gd name="T81" fmla="*/ 1090 h 1206"/>
                <a:gd name="T82" fmla="*/ 536 w 802"/>
                <a:gd name="T83" fmla="*/ 1092 h 1206"/>
                <a:gd name="T84" fmla="*/ 515 w 802"/>
                <a:gd name="T85" fmla="*/ 974 h 1206"/>
                <a:gd name="T86" fmla="*/ 587 w 802"/>
                <a:gd name="T87" fmla="*/ 952 h 1206"/>
                <a:gd name="T88" fmla="*/ 496 w 802"/>
                <a:gd name="T89" fmla="*/ 880 h 1206"/>
                <a:gd name="T90" fmla="*/ 466 w 802"/>
                <a:gd name="T91" fmla="*/ 793 h 1206"/>
                <a:gd name="T92" fmla="*/ 411 w 802"/>
                <a:gd name="T93" fmla="*/ 745 h 1206"/>
                <a:gd name="T94" fmla="*/ 389 w 802"/>
                <a:gd name="T95" fmla="*/ 711 h 1206"/>
                <a:gd name="T96" fmla="*/ 372 w 802"/>
                <a:gd name="T97" fmla="*/ 701 h 1206"/>
                <a:gd name="T98" fmla="*/ 331 w 802"/>
                <a:gd name="T99" fmla="*/ 694 h 1206"/>
                <a:gd name="T100" fmla="*/ 319 w 802"/>
                <a:gd name="T101" fmla="*/ 692 h 1206"/>
                <a:gd name="T102" fmla="*/ 264 w 802"/>
                <a:gd name="T103" fmla="*/ 684 h 1206"/>
                <a:gd name="T104" fmla="*/ 210 w 802"/>
                <a:gd name="T105" fmla="*/ 660 h 1206"/>
                <a:gd name="T106" fmla="*/ 116 w 802"/>
                <a:gd name="T107" fmla="*/ 643 h 1206"/>
                <a:gd name="T108" fmla="*/ 275 w 802"/>
                <a:gd name="T109" fmla="*/ 263 h 1206"/>
                <a:gd name="T110" fmla="*/ 257 w 802"/>
                <a:gd name="T111" fmla="*/ 258 h 1206"/>
                <a:gd name="T112" fmla="*/ 78 w 802"/>
                <a:gd name="T113" fmla="*/ 236 h 1206"/>
                <a:gd name="T114" fmla="*/ 140 w 802"/>
                <a:gd name="T115" fmla="*/ 188 h 1206"/>
                <a:gd name="T116" fmla="*/ 215 w 802"/>
                <a:gd name="T117" fmla="*/ 226 h 1206"/>
                <a:gd name="T118" fmla="*/ 176 w 802"/>
                <a:gd name="T119" fmla="*/ 217 h 1206"/>
                <a:gd name="T120" fmla="*/ 131 w 802"/>
                <a:gd name="T121" fmla="*/ 19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2" h="1206">
                  <a:moveTo>
                    <a:pt x="548" y="1114"/>
                  </a:moveTo>
                  <a:lnTo>
                    <a:pt x="543" y="1112"/>
                  </a:lnTo>
                  <a:lnTo>
                    <a:pt x="544" y="1109"/>
                  </a:lnTo>
                  <a:lnTo>
                    <a:pt x="549" y="1112"/>
                  </a:lnTo>
                  <a:lnTo>
                    <a:pt x="548" y="1114"/>
                  </a:lnTo>
                  <a:close/>
                  <a:moveTo>
                    <a:pt x="493" y="1107"/>
                  </a:moveTo>
                  <a:lnTo>
                    <a:pt x="491" y="1111"/>
                  </a:lnTo>
                  <a:lnTo>
                    <a:pt x="486" y="1116"/>
                  </a:lnTo>
                  <a:lnTo>
                    <a:pt x="481" y="1117"/>
                  </a:lnTo>
                  <a:lnTo>
                    <a:pt x="474" y="1119"/>
                  </a:lnTo>
                  <a:lnTo>
                    <a:pt x="471" y="1121"/>
                  </a:lnTo>
                  <a:lnTo>
                    <a:pt x="464" y="1119"/>
                  </a:lnTo>
                  <a:lnTo>
                    <a:pt x="464" y="1116"/>
                  </a:lnTo>
                  <a:lnTo>
                    <a:pt x="469" y="1116"/>
                  </a:lnTo>
                  <a:lnTo>
                    <a:pt x="471" y="1114"/>
                  </a:lnTo>
                  <a:lnTo>
                    <a:pt x="474" y="1116"/>
                  </a:lnTo>
                  <a:lnTo>
                    <a:pt x="479" y="1114"/>
                  </a:lnTo>
                  <a:lnTo>
                    <a:pt x="485" y="1112"/>
                  </a:lnTo>
                  <a:lnTo>
                    <a:pt x="486" y="1111"/>
                  </a:lnTo>
                  <a:lnTo>
                    <a:pt x="490" y="1111"/>
                  </a:lnTo>
                  <a:lnTo>
                    <a:pt x="493" y="1107"/>
                  </a:lnTo>
                  <a:close/>
                  <a:moveTo>
                    <a:pt x="548" y="1109"/>
                  </a:moveTo>
                  <a:lnTo>
                    <a:pt x="549" y="1109"/>
                  </a:lnTo>
                  <a:lnTo>
                    <a:pt x="546" y="1111"/>
                  </a:lnTo>
                  <a:lnTo>
                    <a:pt x="544" y="1107"/>
                  </a:lnTo>
                  <a:lnTo>
                    <a:pt x="548" y="1109"/>
                  </a:lnTo>
                  <a:close/>
                  <a:moveTo>
                    <a:pt x="537" y="1102"/>
                  </a:moveTo>
                  <a:lnTo>
                    <a:pt x="539" y="1102"/>
                  </a:lnTo>
                  <a:lnTo>
                    <a:pt x="541" y="1102"/>
                  </a:lnTo>
                  <a:lnTo>
                    <a:pt x="539" y="1104"/>
                  </a:lnTo>
                  <a:lnTo>
                    <a:pt x="534" y="1100"/>
                  </a:lnTo>
                  <a:lnTo>
                    <a:pt x="537" y="1102"/>
                  </a:lnTo>
                  <a:close/>
                  <a:moveTo>
                    <a:pt x="539" y="1102"/>
                  </a:moveTo>
                  <a:lnTo>
                    <a:pt x="534" y="1100"/>
                  </a:lnTo>
                  <a:lnTo>
                    <a:pt x="536" y="1093"/>
                  </a:lnTo>
                  <a:lnTo>
                    <a:pt x="539" y="1097"/>
                  </a:lnTo>
                  <a:lnTo>
                    <a:pt x="539" y="1102"/>
                  </a:lnTo>
                  <a:close/>
                  <a:moveTo>
                    <a:pt x="517" y="1088"/>
                  </a:moveTo>
                  <a:lnTo>
                    <a:pt x="519" y="1088"/>
                  </a:lnTo>
                  <a:lnTo>
                    <a:pt x="517" y="1088"/>
                  </a:lnTo>
                  <a:close/>
                  <a:moveTo>
                    <a:pt x="532" y="1088"/>
                  </a:moveTo>
                  <a:lnTo>
                    <a:pt x="534" y="1093"/>
                  </a:lnTo>
                  <a:lnTo>
                    <a:pt x="534" y="1100"/>
                  </a:lnTo>
                  <a:lnTo>
                    <a:pt x="537" y="1104"/>
                  </a:lnTo>
                  <a:lnTo>
                    <a:pt x="543" y="1105"/>
                  </a:lnTo>
                  <a:lnTo>
                    <a:pt x="543" y="1112"/>
                  </a:lnTo>
                  <a:lnTo>
                    <a:pt x="541" y="1116"/>
                  </a:lnTo>
                  <a:lnTo>
                    <a:pt x="536" y="1116"/>
                  </a:lnTo>
                  <a:lnTo>
                    <a:pt x="529" y="1114"/>
                  </a:lnTo>
                  <a:lnTo>
                    <a:pt x="520" y="1116"/>
                  </a:lnTo>
                  <a:lnTo>
                    <a:pt x="514" y="1114"/>
                  </a:lnTo>
                  <a:lnTo>
                    <a:pt x="507" y="1114"/>
                  </a:lnTo>
                  <a:lnTo>
                    <a:pt x="502" y="1112"/>
                  </a:lnTo>
                  <a:lnTo>
                    <a:pt x="500" y="1111"/>
                  </a:lnTo>
                  <a:lnTo>
                    <a:pt x="502" y="1105"/>
                  </a:lnTo>
                  <a:lnTo>
                    <a:pt x="505" y="1104"/>
                  </a:lnTo>
                  <a:lnTo>
                    <a:pt x="512" y="1097"/>
                  </a:lnTo>
                  <a:lnTo>
                    <a:pt x="515" y="1090"/>
                  </a:lnTo>
                  <a:lnTo>
                    <a:pt x="522" y="1088"/>
                  </a:lnTo>
                  <a:lnTo>
                    <a:pt x="531" y="1085"/>
                  </a:lnTo>
                  <a:lnTo>
                    <a:pt x="532" y="1088"/>
                  </a:lnTo>
                  <a:close/>
                  <a:moveTo>
                    <a:pt x="681" y="1075"/>
                  </a:moveTo>
                  <a:lnTo>
                    <a:pt x="679" y="1071"/>
                  </a:lnTo>
                  <a:lnTo>
                    <a:pt x="679" y="1070"/>
                  </a:lnTo>
                  <a:lnTo>
                    <a:pt x="681" y="1075"/>
                  </a:lnTo>
                  <a:close/>
                  <a:moveTo>
                    <a:pt x="544" y="1056"/>
                  </a:moveTo>
                  <a:lnTo>
                    <a:pt x="546" y="1056"/>
                  </a:lnTo>
                  <a:lnTo>
                    <a:pt x="543" y="1056"/>
                  </a:lnTo>
                  <a:lnTo>
                    <a:pt x="544" y="1056"/>
                  </a:lnTo>
                  <a:close/>
                  <a:moveTo>
                    <a:pt x="517" y="993"/>
                  </a:moveTo>
                  <a:lnTo>
                    <a:pt x="525" y="994"/>
                  </a:lnTo>
                  <a:lnTo>
                    <a:pt x="534" y="998"/>
                  </a:lnTo>
                  <a:lnTo>
                    <a:pt x="539" y="1003"/>
                  </a:lnTo>
                  <a:lnTo>
                    <a:pt x="543" y="1010"/>
                  </a:lnTo>
                  <a:lnTo>
                    <a:pt x="546" y="1013"/>
                  </a:lnTo>
                  <a:lnTo>
                    <a:pt x="544" y="1013"/>
                  </a:lnTo>
                  <a:lnTo>
                    <a:pt x="549" y="1015"/>
                  </a:lnTo>
                  <a:lnTo>
                    <a:pt x="558" y="1017"/>
                  </a:lnTo>
                  <a:lnTo>
                    <a:pt x="565" y="1018"/>
                  </a:lnTo>
                  <a:lnTo>
                    <a:pt x="560" y="1025"/>
                  </a:lnTo>
                  <a:lnTo>
                    <a:pt x="558" y="1032"/>
                  </a:lnTo>
                  <a:lnTo>
                    <a:pt x="553" y="1039"/>
                  </a:lnTo>
                  <a:lnTo>
                    <a:pt x="555" y="1049"/>
                  </a:lnTo>
                  <a:lnTo>
                    <a:pt x="553" y="1051"/>
                  </a:lnTo>
                  <a:lnTo>
                    <a:pt x="544" y="1054"/>
                  </a:lnTo>
                  <a:lnTo>
                    <a:pt x="541" y="1058"/>
                  </a:lnTo>
                  <a:lnTo>
                    <a:pt x="541" y="1061"/>
                  </a:lnTo>
                  <a:lnTo>
                    <a:pt x="541" y="1068"/>
                  </a:lnTo>
                  <a:lnTo>
                    <a:pt x="541" y="1073"/>
                  </a:lnTo>
                  <a:lnTo>
                    <a:pt x="543" y="1078"/>
                  </a:lnTo>
                  <a:lnTo>
                    <a:pt x="534" y="1078"/>
                  </a:lnTo>
                  <a:lnTo>
                    <a:pt x="531" y="1080"/>
                  </a:lnTo>
                  <a:lnTo>
                    <a:pt x="529" y="1087"/>
                  </a:lnTo>
                  <a:lnTo>
                    <a:pt x="522" y="1088"/>
                  </a:lnTo>
                  <a:lnTo>
                    <a:pt x="515" y="1087"/>
                  </a:lnTo>
                  <a:lnTo>
                    <a:pt x="512" y="1093"/>
                  </a:lnTo>
                  <a:lnTo>
                    <a:pt x="507" y="1099"/>
                  </a:lnTo>
                  <a:lnTo>
                    <a:pt x="502" y="1102"/>
                  </a:lnTo>
                  <a:lnTo>
                    <a:pt x="496" y="1105"/>
                  </a:lnTo>
                  <a:lnTo>
                    <a:pt x="491" y="1107"/>
                  </a:lnTo>
                  <a:lnTo>
                    <a:pt x="490" y="1111"/>
                  </a:lnTo>
                  <a:lnTo>
                    <a:pt x="486" y="1111"/>
                  </a:lnTo>
                  <a:lnTo>
                    <a:pt x="485" y="1112"/>
                  </a:lnTo>
                  <a:lnTo>
                    <a:pt x="483" y="1112"/>
                  </a:lnTo>
                  <a:lnTo>
                    <a:pt x="474" y="1114"/>
                  </a:lnTo>
                  <a:lnTo>
                    <a:pt x="471" y="1114"/>
                  </a:lnTo>
                  <a:lnTo>
                    <a:pt x="469" y="1116"/>
                  </a:lnTo>
                  <a:lnTo>
                    <a:pt x="464" y="1116"/>
                  </a:lnTo>
                  <a:lnTo>
                    <a:pt x="459" y="1114"/>
                  </a:lnTo>
                  <a:lnTo>
                    <a:pt x="457" y="1116"/>
                  </a:lnTo>
                  <a:lnTo>
                    <a:pt x="447" y="1116"/>
                  </a:lnTo>
                  <a:lnTo>
                    <a:pt x="445" y="1116"/>
                  </a:lnTo>
                  <a:lnTo>
                    <a:pt x="442" y="1116"/>
                  </a:lnTo>
                  <a:lnTo>
                    <a:pt x="432" y="1116"/>
                  </a:lnTo>
                  <a:lnTo>
                    <a:pt x="426" y="1116"/>
                  </a:lnTo>
                  <a:lnTo>
                    <a:pt x="420" y="1116"/>
                  </a:lnTo>
                  <a:lnTo>
                    <a:pt x="418" y="1114"/>
                  </a:lnTo>
                  <a:lnTo>
                    <a:pt x="416" y="1116"/>
                  </a:lnTo>
                  <a:lnTo>
                    <a:pt x="408" y="1116"/>
                  </a:lnTo>
                  <a:lnTo>
                    <a:pt x="401" y="1117"/>
                  </a:lnTo>
                  <a:lnTo>
                    <a:pt x="397" y="1119"/>
                  </a:lnTo>
                  <a:lnTo>
                    <a:pt x="396" y="1119"/>
                  </a:lnTo>
                  <a:lnTo>
                    <a:pt x="392" y="1123"/>
                  </a:lnTo>
                  <a:lnTo>
                    <a:pt x="391" y="1121"/>
                  </a:lnTo>
                  <a:lnTo>
                    <a:pt x="391" y="1119"/>
                  </a:lnTo>
                  <a:lnTo>
                    <a:pt x="392" y="1112"/>
                  </a:lnTo>
                  <a:lnTo>
                    <a:pt x="392" y="1105"/>
                  </a:lnTo>
                  <a:lnTo>
                    <a:pt x="396" y="1097"/>
                  </a:lnTo>
                  <a:lnTo>
                    <a:pt x="399" y="1090"/>
                  </a:lnTo>
                  <a:lnTo>
                    <a:pt x="404" y="1082"/>
                  </a:lnTo>
                  <a:lnTo>
                    <a:pt x="406" y="1078"/>
                  </a:lnTo>
                  <a:lnTo>
                    <a:pt x="411" y="1075"/>
                  </a:lnTo>
                  <a:lnTo>
                    <a:pt x="409" y="1070"/>
                  </a:lnTo>
                  <a:lnTo>
                    <a:pt x="415" y="1059"/>
                  </a:lnTo>
                  <a:lnTo>
                    <a:pt x="416" y="1056"/>
                  </a:lnTo>
                  <a:lnTo>
                    <a:pt x="418" y="1054"/>
                  </a:lnTo>
                  <a:lnTo>
                    <a:pt x="420" y="1051"/>
                  </a:lnTo>
                  <a:lnTo>
                    <a:pt x="423" y="1044"/>
                  </a:lnTo>
                  <a:lnTo>
                    <a:pt x="432" y="1037"/>
                  </a:lnTo>
                  <a:lnTo>
                    <a:pt x="433" y="1032"/>
                  </a:lnTo>
                  <a:lnTo>
                    <a:pt x="438" y="1023"/>
                  </a:lnTo>
                  <a:lnTo>
                    <a:pt x="440" y="1022"/>
                  </a:lnTo>
                  <a:lnTo>
                    <a:pt x="444" y="1018"/>
                  </a:lnTo>
                  <a:lnTo>
                    <a:pt x="445" y="1020"/>
                  </a:lnTo>
                  <a:lnTo>
                    <a:pt x="445" y="1017"/>
                  </a:lnTo>
                  <a:lnTo>
                    <a:pt x="450" y="1012"/>
                  </a:lnTo>
                  <a:lnTo>
                    <a:pt x="454" y="1010"/>
                  </a:lnTo>
                  <a:lnTo>
                    <a:pt x="462" y="1005"/>
                  </a:lnTo>
                  <a:lnTo>
                    <a:pt x="467" y="1003"/>
                  </a:lnTo>
                  <a:lnTo>
                    <a:pt x="473" y="1001"/>
                  </a:lnTo>
                  <a:lnTo>
                    <a:pt x="481" y="998"/>
                  </a:lnTo>
                  <a:lnTo>
                    <a:pt x="485" y="998"/>
                  </a:lnTo>
                  <a:lnTo>
                    <a:pt x="493" y="996"/>
                  </a:lnTo>
                  <a:lnTo>
                    <a:pt x="502" y="996"/>
                  </a:lnTo>
                  <a:lnTo>
                    <a:pt x="510" y="993"/>
                  </a:lnTo>
                  <a:lnTo>
                    <a:pt x="517" y="993"/>
                  </a:lnTo>
                  <a:close/>
                  <a:moveTo>
                    <a:pt x="558" y="977"/>
                  </a:moveTo>
                  <a:lnTo>
                    <a:pt x="561" y="977"/>
                  </a:lnTo>
                  <a:lnTo>
                    <a:pt x="558" y="977"/>
                  </a:lnTo>
                  <a:close/>
                  <a:moveTo>
                    <a:pt x="555" y="974"/>
                  </a:moveTo>
                  <a:lnTo>
                    <a:pt x="558" y="976"/>
                  </a:lnTo>
                  <a:lnTo>
                    <a:pt x="551" y="974"/>
                  </a:lnTo>
                  <a:lnTo>
                    <a:pt x="551" y="972"/>
                  </a:lnTo>
                  <a:lnTo>
                    <a:pt x="555" y="974"/>
                  </a:lnTo>
                  <a:close/>
                  <a:moveTo>
                    <a:pt x="529" y="967"/>
                  </a:moveTo>
                  <a:lnTo>
                    <a:pt x="532" y="967"/>
                  </a:lnTo>
                  <a:lnTo>
                    <a:pt x="532" y="969"/>
                  </a:lnTo>
                  <a:lnTo>
                    <a:pt x="529" y="969"/>
                  </a:lnTo>
                  <a:lnTo>
                    <a:pt x="529" y="967"/>
                  </a:lnTo>
                  <a:close/>
                  <a:moveTo>
                    <a:pt x="525" y="969"/>
                  </a:moveTo>
                  <a:lnTo>
                    <a:pt x="522" y="969"/>
                  </a:lnTo>
                  <a:lnTo>
                    <a:pt x="520" y="964"/>
                  </a:lnTo>
                  <a:lnTo>
                    <a:pt x="527" y="967"/>
                  </a:lnTo>
                  <a:lnTo>
                    <a:pt x="527" y="969"/>
                  </a:lnTo>
                  <a:lnTo>
                    <a:pt x="525" y="969"/>
                  </a:lnTo>
                  <a:close/>
                  <a:moveTo>
                    <a:pt x="546" y="930"/>
                  </a:moveTo>
                  <a:lnTo>
                    <a:pt x="555" y="935"/>
                  </a:lnTo>
                  <a:lnTo>
                    <a:pt x="563" y="940"/>
                  </a:lnTo>
                  <a:lnTo>
                    <a:pt x="572" y="945"/>
                  </a:lnTo>
                  <a:lnTo>
                    <a:pt x="578" y="947"/>
                  </a:lnTo>
                  <a:lnTo>
                    <a:pt x="582" y="948"/>
                  </a:lnTo>
                  <a:lnTo>
                    <a:pt x="582" y="952"/>
                  </a:lnTo>
                  <a:lnTo>
                    <a:pt x="584" y="952"/>
                  </a:lnTo>
                  <a:lnTo>
                    <a:pt x="592" y="955"/>
                  </a:lnTo>
                  <a:lnTo>
                    <a:pt x="597" y="955"/>
                  </a:lnTo>
                  <a:lnTo>
                    <a:pt x="601" y="962"/>
                  </a:lnTo>
                  <a:lnTo>
                    <a:pt x="595" y="969"/>
                  </a:lnTo>
                  <a:lnTo>
                    <a:pt x="595" y="971"/>
                  </a:lnTo>
                  <a:lnTo>
                    <a:pt x="601" y="976"/>
                  </a:lnTo>
                  <a:lnTo>
                    <a:pt x="606" y="974"/>
                  </a:lnTo>
                  <a:lnTo>
                    <a:pt x="606" y="976"/>
                  </a:lnTo>
                  <a:lnTo>
                    <a:pt x="599" y="977"/>
                  </a:lnTo>
                  <a:lnTo>
                    <a:pt x="592" y="974"/>
                  </a:lnTo>
                  <a:lnTo>
                    <a:pt x="587" y="976"/>
                  </a:lnTo>
                  <a:lnTo>
                    <a:pt x="587" y="967"/>
                  </a:lnTo>
                  <a:lnTo>
                    <a:pt x="584" y="965"/>
                  </a:lnTo>
                  <a:lnTo>
                    <a:pt x="580" y="969"/>
                  </a:lnTo>
                  <a:lnTo>
                    <a:pt x="577" y="976"/>
                  </a:lnTo>
                  <a:lnTo>
                    <a:pt x="575" y="974"/>
                  </a:lnTo>
                  <a:lnTo>
                    <a:pt x="572" y="974"/>
                  </a:lnTo>
                  <a:lnTo>
                    <a:pt x="563" y="974"/>
                  </a:lnTo>
                  <a:lnTo>
                    <a:pt x="560" y="974"/>
                  </a:lnTo>
                  <a:lnTo>
                    <a:pt x="549" y="969"/>
                  </a:lnTo>
                  <a:lnTo>
                    <a:pt x="544" y="967"/>
                  </a:lnTo>
                  <a:lnTo>
                    <a:pt x="537" y="969"/>
                  </a:lnTo>
                  <a:lnTo>
                    <a:pt x="529" y="964"/>
                  </a:lnTo>
                  <a:lnTo>
                    <a:pt x="525" y="962"/>
                  </a:lnTo>
                  <a:lnTo>
                    <a:pt x="519" y="957"/>
                  </a:lnTo>
                  <a:lnTo>
                    <a:pt x="517" y="955"/>
                  </a:lnTo>
                  <a:lnTo>
                    <a:pt x="510" y="950"/>
                  </a:lnTo>
                  <a:lnTo>
                    <a:pt x="507" y="948"/>
                  </a:lnTo>
                  <a:lnTo>
                    <a:pt x="503" y="941"/>
                  </a:lnTo>
                  <a:lnTo>
                    <a:pt x="507" y="936"/>
                  </a:lnTo>
                  <a:lnTo>
                    <a:pt x="512" y="935"/>
                  </a:lnTo>
                  <a:lnTo>
                    <a:pt x="515" y="936"/>
                  </a:lnTo>
                  <a:lnTo>
                    <a:pt x="522" y="938"/>
                  </a:lnTo>
                  <a:lnTo>
                    <a:pt x="525" y="936"/>
                  </a:lnTo>
                  <a:lnTo>
                    <a:pt x="532" y="931"/>
                  </a:lnTo>
                  <a:lnTo>
                    <a:pt x="539" y="931"/>
                  </a:lnTo>
                  <a:lnTo>
                    <a:pt x="546" y="930"/>
                  </a:lnTo>
                  <a:close/>
                  <a:moveTo>
                    <a:pt x="531" y="926"/>
                  </a:moveTo>
                  <a:lnTo>
                    <a:pt x="534" y="926"/>
                  </a:lnTo>
                  <a:lnTo>
                    <a:pt x="534" y="930"/>
                  </a:lnTo>
                  <a:lnTo>
                    <a:pt x="531" y="930"/>
                  </a:lnTo>
                  <a:lnTo>
                    <a:pt x="531" y="926"/>
                  </a:lnTo>
                  <a:close/>
                  <a:moveTo>
                    <a:pt x="512" y="918"/>
                  </a:moveTo>
                  <a:lnTo>
                    <a:pt x="517" y="919"/>
                  </a:lnTo>
                  <a:lnTo>
                    <a:pt x="524" y="921"/>
                  </a:lnTo>
                  <a:lnTo>
                    <a:pt x="529" y="926"/>
                  </a:lnTo>
                  <a:lnTo>
                    <a:pt x="532" y="930"/>
                  </a:lnTo>
                  <a:lnTo>
                    <a:pt x="524" y="935"/>
                  </a:lnTo>
                  <a:lnTo>
                    <a:pt x="517" y="933"/>
                  </a:lnTo>
                  <a:lnTo>
                    <a:pt x="515" y="931"/>
                  </a:lnTo>
                  <a:lnTo>
                    <a:pt x="517" y="930"/>
                  </a:lnTo>
                  <a:lnTo>
                    <a:pt x="512" y="926"/>
                  </a:lnTo>
                  <a:lnTo>
                    <a:pt x="510" y="921"/>
                  </a:lnTo>
                  <a:lnTo>
                    <a:pt x="510" y="918"/>
                  </a:lnTo>
                  <a:lnTo>
                    <a:pt x="512" y="918"/>
                  </a:lnTo>
                  <a:close/>
                  <a:moveTo>
                    <a:pt x="536" y="916"/>
                  </a:moveTo>
                  <a:lnTo>
                    <a:pt x="534" y="923"/>
                  </a:lnTo>
                  <a:lnTo>
                    <a:pt x="536" y="924"/>
                  </a:lnTo>
                  <a:lnTo>
                    <a:pt x="541" y="926"/>
                  </a:lnTo>
                  <a:lnTo>
                    <a:pt x="546" y="924"/>
                  </a:lnTo>
                  <a:lnTo>
                    <a:pt x="549" y="926"/>
                  </a:lnTo>
                  <a:lnTo>
                    <a:pt x="549" y="928"/>
                  </a:lnTo>
                  <a:lnTo>
                    <a:pt x="546" y="928"/>
                  </a:lnTo>
                  <a:lnTo>
                    <a:pt x="537" y="930"/>
                  </a:lnTo>
                  <a:lnTo>
                    <a:pt x="536" y="928"/>
                  </a:lnTo>
                  <a:lnTo>
                    <a:pt x="531" y="923"/>
                  </a:lnTo>
                  <a:lnTo>
                    <a:pt x="527" y="919"/>
                  </a:lnTo>
                  <a:lnTo>
                    <a:pt x="517" y="916"/>
                  </a:lnTo>
                  <a:lnTo>
                    <a:pt x="517" y="906"/>
                  </a:lnTo>
                  <a:lnTo>
                    <a:pt x="520" y="904"/>
                  </a:lnTo>
                  <a:lnTo>
                    <a:pt x="524" y="907"/>
                  </a:lnTo>
                  <a:lnTo>
                    <a:pt x="531" y="911"/>
                  </a:lnTo>
                  <a:lnTo>
                    <a:pt x="534" y="914"/>
                  </a:lnTo>
                  <a:lnTo>
                    <a:pt x="536" y="916"/>
                  </a:lnTo>
                  <a:close/>
                  <a:moveTo>
                    <a:pt x="462" y="795"/>
                  </a:moveTo>
                  <a:lnTo>
                    <a:pt x="464" y="791"/>
                  </a:lnTo>
                  <a:lnTo>
                    <a:pt x="466" y="793"/>
                  </a:lnTo>
                  <a:lnTo>
                    <a:pt x="462" y="795"/>
                  </a:lnTo>
                  <a:close/>
                  <a:moveTo>
                    <a:pt x="379" y="731"/>
                  </a:moveTo>
                  <a:lnTo>
                    <a:pt x="380" y="731"/>
                  </a:lnTo>
                  <a:lnTo>
                    <a:pt x="380" y="733"/>
                  </a:lnTo>
                  <a:lnTo>
                    <a:pt x="379" y="733"/>
                  </a:lnTo>
                  <a:lnTo>
                    <a:pt x="379" y="731"/>
                  </a:lnTo>
                  <a:close/>
                  <a:moveTo>
                    <a:pt x="341" y="713"/>
                  </a:moveTo>
                  <a:lnTo>
                    <a:pt x="343" y="713"/>
                  </a:lnTo>
                  <a:lnTo>
                    <a:pt x="343" y="714"/>
                  </a:lnTo>
                  <a:lnTo>
                    <a:pt x="341" y="714"/>
                  </a:lnTo>
                  <a:lnTo>
                    <a:pt x="341" y="713"/>
                  </a:lnTo>
                  <a:close/>
                  <a:moveTo>
                    <a:pt x="382" y="707"/>
                  </a:moveTo>
                  <a:lnTo>
                    <a:pt x="384" y="707"/>
                  </a:lnTo>
                  <a:lnTo>
                    <a:pt x="384" y="709"/>
                  </a:lnTo>
                  <a:lnTo>
                    <a:pt x="382" y="709"/>
                  </a:lnTo>
                  <a:lnTo>
                    <a:pt x="382" y="707"/>
                  </a:lnTo>
                  <a:close/>
                  <a:moveTo>
                    <a:pt x="392" y="707"/>
                  </a:moveTo>
                  <a:lnTo>
                    <a:pt x="394" y="713"/>
                  </a:lnTo>
                  <a:lnTo>
                    <a:pt x="389" y="707"/>
                  </a:lnTo>
                  <a:lnTo>
                    <a:pt x="394" y="704"/>
                  </a:lnTo>
                  <a:lnTo>
                    <a:pt x="392" y="707"/>
                  </a:lnTo>
                  <a:close/>
                  <a:moveTo>
                    <a:pt x="374" y="701"/>
                  </a:moveTo>
                  <a:lnTo>
                    <a:pt x="377" y="702"/>
                  </a:lnTo>
                  <a:lnTo>
                    <a:pt x="374" y="702"/>
                  </a:lnTo>
                  <a:lnTo>
                    <a:pt x="374" y="709"/>
                  </a:lnTo>
                  <a:lnTo>
                    <a:pt x="370" y="707"/>
                  </a:lnTo>
                  <a:lnTo>
                    <a:pt x="368" y="711"/>
                  </a:lnTo>
                  <a:lnTo>
                    <a:pt x="370" y="718"/>
                  </a:lnTo>
                  <a:lnTo>
                    <a:pt x="368" y="723"/>
                  </a:lnTo>
                  <a:lnTo>
                    <a:pt x="367" y="723"/>
                  </a:lnTo>
                  <a:lnTo>
                    <a:pt x="360" y="716"/>
                  </a:lnTo>
                  <a:lnTo>
                    <a:pt x="363" y="713"/>
                  </a:lnTo>
                  <a:lnTo>
                    <a:pt x="362" y="711"/>
                  </a:lnTo>
                  <a:lnTo>
                    <a:pt x="365" y="709"/>
                  </a:lnTo>
                  <a:lnTo>
                    <a:pt x="367" y="706"/>
                  </a:lnTo>
                  <a:lnTo>
                    <a:pt x="372" y="704"/>
                  </a:lnTo>
                  <a:lnTo>
                    <a:pt x="372" y="701"/>
                  </a:lnTo>
                  <a:lnTo>
                    <a:pt x="374" y="701"/>
                  </a:lnTo>
                  <a:close/>
                  <a:moveTo>
                    <a:pt x="297" y="697"/>
                  </a:moveTo>
                  <a:lnTo>
                    <a:pt x="298" y="697"/>
                  </a:lnTo>
                  <a:lnTo>
                    <a:pt x="298" y="699"/>
                  </a:lnTo>
                  <a:lnTo>
                    <a:pt x="297" y="699"/>
                  </a:lnTo>
                  <a:lnTo>
                    <a:pt x="297" y="697"/>
                  </a:lnTo>
                  <a:close/>
                  <a:moveTo>
                    <a:pt x="327" y="694"/>
                  </a:moveTo>
                  <a:lnTo>
                    <a:pt x="329" y="694"/>
                  </a:lnTo>
                  <a:lnTo>
                    <a:pt x="327" y="694"/>
                  </a:lnTo>
                  <a:lnTo>
                    <a:pt x="329" y="696"/>
                  </a:lnTo>
                  <a:lnTo>
                    <a:pt x="327" y="697"/>
                  </a:lnTo>
                  <a:lnTo>
                    <a:pt x="326" y="696"/>
                  </a:lnTo>
                  <a:lnTo>
                    <a:pt x="327" y="694"/>
                  </a:lnTo>
                  <a:lnTo>
                    <a:pt x="326" y="692"/>
                  </a:lnTo>
                  <a:lnTo>
                    <a:pt x="327" y="692"/>
                  </a:lnTo>
                  <a:lnTo>
                    <a:pt x="327" y="694"/>
                  </a:lnTo>
                  <a:close/>
                  <a:moveTo>
                    <a:pt x="326" y="689"/>
                  </a:moveTo>
                  <a:lnTo>
                    <a:pt x="326" y="692"/>
                  </a:lnTo>
                  <a:lnTo>
                    <a:pt x="326" y="689"/>
                  </a:lnTo>
                  <a:close/>
                  <a:moveTo>
                    <a:pt x="304" y="690"/>
                  </a:moveTo>
                  <a:lnTo>
                    <a:pt x="305" y="690"/>
                  </a:lnTo>
                  <a:lnTo>
                    <a:pt x="305" y="694"/>
                  </a:lnTo>
                  <a:lnTo>
                    <a:pt x="307" y="694"/>
                  </a:lnTo>
                  <a:lnTo>
                    <a:pt x="309" y="696"/>
                  </a:lnTo>
                  <a:lnTo>
                    <a:pt x="304" y="696"/>
                  </a:lnTo>
                  <a:lnTo>
                    <a:pt x="304" y="697"/>
                  </a:lnTo>
                  <a:lnTo>
                    <a:pt x="300" y="699"/>
                  </a:lnTo>
                  <a:lnTo>
                    <a:pt x="295" y="696"/>
                  </a:lnTo>
                  <a:lnTo>
                    <a:pt x="300" y="694"/>
                  </a:lnTo>
                  <a:lnTo>
                    <a:pt x="295" y="696"/>
                  </a:lnTo>
                  <a:lnTo>
                    <a:pt x="297" y="690"/>
                  </a:lnTo>
                  <a:lnTo>
                    <a:pt x="304" y="690"/>
                  </a:lnTo>
                  <a:close/>
                  <a:moveTo>
                    <a:pt x="295" y="690"/>
                  </a:moveTo>
                  <a:lnTo>
                    <a:pt x="295" y="692"/>
                  </a:lnTo>
                  <a:lnTo>
                    <a:pt x="293" y="694"/>
                  </a:lnTo>
                  <a:lnTo>
                    <a:pt x="292" y="692"/>
                  </a:lnTo>
                  <a:lnTo>
                    <a:pt x="293" y="689"/>
                  </a:lnTo>
                  <a:lnTo>
                    <a:pt x="295" y="690"/>
                  </a:lnTo>
                  <a:close/>
                  <a:moveTo>
                    <a:pt x="281" y="692"/>
                  </a:moveTo>
                  <a:lnTo>
                    <a:pt x="278" y="689"/>
                  </a:lnTo>
                  <a:lnTo>
                    <a:pt x="281" y="687"/>
                  </a:lnTo>
                  <a:lnTo>
                    <a:pt x="281" y="692"/>
                  </a:lnTo>
                  <a:close/>
                  <a:moveTo>
                    <a:pt x="152" y="479"/>
                  </a:moveTo>
                  <a:lnTo>
                    <a:pt x="153" y="479"/>
                  </a:lnTo>
                  <a:lnTo>
                    <a:pt x="153" y="480"/>
                  </a:lnTo>
                  <a:lnTo>
                    <a:pt x="150" y="480"/>
                  </a:lnTo>
                  <a:lnTo>
                    <a:pt x="152" y="479"/>
                  </a:lnTo>
                  <a:close/>
                  <a:moveTo>
                    <a:pt x="155" y="479"/>
                  </a:moveTo>
                  <a:lnTo>
                    <a:pt x="157" y="479"/>
                  </a:lnTo>
                  <a:lnTo>
                    <a:pt x="157" y="482"/>
                  </a:lnTo>
                  <a:lnTo>
                    <a:pt x="155" y="482"/>
                  </a:lnTo>
                  <a:lnTo>
                    <a:pt x="155" y="479"/>
                  </a:lnTo>
                  <a:close/>
                  <a:moveTo>
                    <a:pt x="63" y="474"/>
                  </a:moveTo>
                  <a:lnTo>
                    <a:pt x="63" y="475"/>
                  </a:lnTo>
                  <a:lnTo>
                    <a:pt x="63" y="474"/>
                  </a:lnTo>
                  <a:close/>
                  <a:moveTo>
                    <a:pt x="176" y="463"/>
                  </a:moveTo>
                  <a:lnTo>
                    <a:pt x="179" y="463"/>
                  </a:lnTo>
                  <a:lnTo>
                    <a:pt x="177" y="463"/>
                  </a:lnTo>
                  <a:lnTo>
                    <a:pt x="172" y="465"/>
                  </a:lnTo>
                  <a:lnTo>
                    <a:pt x="174" y="467"/>
                  </a:lnTo>
                  <a:lnTo>
                    <a:pt x="170" y="468"/>
                  </a:lnTo>
                  <a:lnTo>
                    <a:pt x="167" y="467"/>
                  </a:lnTo>
                  <a:lnTo>
                    <a:pt x="170" y="463"/>
                  </a:lnTo>
                  <a:lnTo>
                    <a:pt x="176" y="463"/>
                  </a:lnTo>
                  <a:close/>
                  <a:moveTo>
                    <a:pt x="170" y="460"/>
                  </a:moveTo>
                  <a:lnTo>
                    <a:pt x="169" y="462"/>
                  </a:lnTo>
                  <a:lnTo>
                    <a:pt x="164" y="463"/>
                  </a:lnTo>
                  <a:lnTo>
                    <a:pt x="170" y="460"/>
                  </a:lnTo>
                  <a:close/>
                  <a:moveTo>
                    <a:pt x="61" y="433"/>
                  </a:moveTo>
                  <a:lnTo>
                    <a:pt x="66" y="434"/>
                  </a:lnTo>
                  <a:lnTo>
                    <a:pt x="63" y="438"/>
                  </a:lnTo>
                  <a:lnTo>
                    <a:pt x="59" y="436"/>
                  </a:lnTo>
                  <a:lnTo>
                    <a:pt x="59" y="433"/>
                  </a:lnTo>
                  <a:lnTo>
                    <a:pt x="61" y="433"/>
                  </a:lnTo>
                  <a:close/>
                  <a:moveTo>
                    <a:pt x="232" y="376"/>
                  </a:moveTo>
                  <a:lnTo>
                    <a:pt x="235" y="376"/>
                  </a:lnTo>
                  <a:lnTo>
                    <a:pt x="235" y="378"/>
                  </a:lnTo>
                  <a:lnTo>
                    <a:pt x="232" y="378"/>
                  </a:lnTo>
                  <a:lnTo>
                    <a:pt x="232" y="376"/>
                  </a:lnTo>
                  <a:close/>
                  <a:moveTo>
                    <a:pt x="346" y="357"/>
                  </a:moveTo>
                  <a:lnTo>
                    <a:pt x="350" y="357"/>
                  </a:lnTo>
                  <a:lnTo>
                    <a:pt x="350" y="359"/>
                  </a:lnTo>
                  <a:lnTo>
                    <a:pt x="346" y="359"/>
                  </a:lnTo>
                  <a:lnTo>
                    <a:pt x="346" y="357"/>
                  </a:lnTo>
                  <a:close/>
                  <a:moveTo>
                    <a:pt x="343" y="351"/>
                  </a:moveTo>
                  <a:lnTo>
                    <a:pt x="346" y="351"/>
                  </a:lnTo>
                  <a:lnTo>
                    <a:pt x="346" y="352"/>
                  </a:lnTo>
                  <a:lnTo>
                    <a:pt x="343" y="352"/>
                  </a:lnTo>
                  <a:lnTo>
                    <a:pt x="343" y="351"/>
                  </a:lnTo>
                  <a:close/>
                  <a:moveTo>
                    <a:pt x="346" y="347"/>
                  </a:moveTo>
                  <a:lnTo>
                    <a:pt x="348" y="347"/>
                  </a:lnTo>
                  <a:lnTo>
                    <a:pt x="348" y="349"/>
                  </a:lnTo>
                  <a:lnTo>
                    <a:pt x="346" y="349"/>
                  </a:lnTo>
                  <a:lnTo>
                    <a:pt x="346" y="347"/>
                  </a:lnTo>
                  <a:close/>
                  <a:moveTo>
                    <a:pt x="249" y="339"/>
                  </a:moveTo>
                  <a:lnTo>
                    <a:pt x="252" y="339"/>
                  </a:lnTo>
                  <a:lnTo>
                    <a:pt x="252" y="340"/>
                  </a:lnTo>
                  <a:lnTo>
                    <a:pt x="249" y="340"/>
                  </a:lnTo>
                  <a:lnTo>
                    <a:pt x="249" y="339"/>
                  </a:lnTo>
                  <a:close/>
                  <a:moveTo>
                    <a:pt x="242" y="339"/>
                  </a:moveTo>
                  <a:lnTo>
                    <a:pt x="244" y="340"/>
                  </a:lnTo>
                  <a:lnTo>
                    <a:pt x="246" y="339"/>
                  </a:lnTo>
                  <a:lnTo>
                    <a:pt x="246" y="345"/>
                  </a:lnTo>
                  <a:lnTo>
                    <a:pt x="242" y="342"/>
                  </a:lnTo>
                  <a:lnTo>
                    <a:pt x="244" y="342"/>
                  </a:lnTo>
                  <a:lnTo>
                    <a:pt x="242" y="339"/>
                  </a:lnTo>
                  <a:close/>
                  <a:moveTo>
                    <a:pt x="237" y="337"/>
                  </a:moveTo>
                  <a:lnTo>
                    <a:pt x="239" y="339"/>
                  </a:lnTo>
                  <a:lnTo>
                    <a:pt x="239" y="342"/>
                  </a:lnTo>
                  <a:lnTo>
                    <a:pt x="237" y="337"/>
                  </a:lnTo>
                  <a:close/>
                  <a:moveTo>
                    <a:pt x="351" y="337"/>
                  </a:moveTo>
                  <a:lnTo>
                    <a:pt x="353" y="339"/>
                  </a:lnTo>
                  <a:lnTo>
                    <a:pt x="348" y="342"/>
                  </a:lnTo>
                  <a:lnTo>
                    <a:pt x="345" y="340"/>
                  </a:lnTo>
                  <a:lnTo>
                    <a:pt x="345" y="344"/>
                  </a:lnTo>
                  <a:lnTo>
                    <a:pt x="343" y="342"/>
                  </a:lnTo>
                  <a:lnTo>
                    <a:pt x="343" y="335"/>
                  </a:lnTo>
                  <a:lnTo>
                    <a:pt x="348" y="337"/>
                  </a:lnTo>
                  <a:lnTo>
                    <a:pt x="350" y="335"/>
                  </a:lnTo>
                  <a:lnTo>
                    <a:pt x="351" y="337"/>
                  </a:lnTo>
                  <a:close/>
                  <a:moveTo>
                    <a:pt x="334" y="337"/>
                  </a:moveTo>
                  <a:lnTo>
                    <a:pt x="333" y="333"/>
                  </a:lnTo>
                  <a:lnTo>
                    <a:pt x="336" y="335"/>
                  </a:lnTo>
                  <a:lnTo>
                    <a:pt x="334" y="337"/>
                  </a:lnTo>
                  <a:close/>
                  <a:moveTo>
                    <a:pt x="326" y="330"/>
                  </a:moveTo>
                  <a:lnTo>
                    <a:pt x="329" y="335"/>
                  </a:lnTo>
                  <a:lnTo>
                    <a:pt x="322" y="332"/>
                  </a:lnTo>
                  <a:lnTo>
                    <a:pt x="317" y="330"/>
                  </a:lnTo>
                  <a:lnTo>
                    <a:pt x="326" y="330"/>
                  </a:lnTo>
                  <a:close/>
                  <a:moveTo>
                    <a:pt x="343" y="327"/>
                  </a:moveTo>
                  <a:lnTo>
                    <a:pt x="346" y="332"/>
                  </a:lnTo>
                  <a:lnTo>
                    <a:pt x="346" y="333"/>
                  </a:lnTo>
                  <a:lnTo>
                    <a:pt x="348" y="337"/>
                  </a:lnTo>
                  <a:lnTo>
                    <a:pt x="339" y="333"/>
                  </a:lnTo>
                  <a:lnTo>
                    <a:pt x="341" y="328"/>
                  </a:lnTo>
                  <a:lnTo>
                    <a:pt x="343" y="327"/>
                  </a:lnTo>
                  <a:close/>
                  <a:moveTo>
                    <a:pt x="181" y="325"/>
                  </a:moveTo>
                  <a:lnTo>
                    <a:pt x="182" y="327"/>
                  </a:lnTo>
                  <a:lnTo>
                    <a:pt x="179" y="328"/>
                  </a:lnTo>
                  <a:lnTo>
                    <a:pt x="179" y="327"/>
                  </a:lnTo>
                  <a:lnTo>
                    <a:pt x="181" y="325"/>
                  </a:lnTo>
                  <a:close/>
                  <a:moveTo>
                    <a:pt x="339" y="323"/>
                  </a:moveTo>
                  <a:lnTo>
                    <a:pt x="343" y="327"/>
                  </a:lnTo>
                  <a:lnTo>
                    <a:pt x="339" y="328"/>
                  </a:lnTo>
                  <a:lnTo>
                    <a:pt x="339" y="332"/>
                  </a:lnTo>
                  <a:lnTo>
                    <a:pt x="339" y="333"/>
                  </a:lnTo>
                  <a:lnTo>
                    <a:pt x="343" y="335"/>
                  </a:lnTo>
                  <a:lnTo>
                    <a:pt x="341" y="342"/>
                  </a:lnTo>
                  <a:lnTo>
                    <a:pt x="339" y="339"/>
                  </a:lnTo>
                  <a:lnTo>
                    <a:pt x="338" y="337"/>
                  </a:lnTo>
                  <a:lnTo>
                    <a:pt x="338" y="335"/>
                  </a:lnTo>
                  <a:lnTo>
                    <a:pt x="333" y="332"/>
                  </a:lnTo>
                  <a:lnTo>
                    <a:pt x="334" y="325"/>
                  </a:lnTo>
                  <a:lnTo>
                    <a:pt x="339" y="323"/>
                  </a:lnTo>
                  <a:close/>
                  <a:moveTo>
                    <a:pt x="176" y="321"/>
                  </a:moveTo>
                  <a:lnTo>
                    <a:pt x="177" y="321"/>
                  </a:lnTo>
                  <a:lnTo>
                    <a:pt x="177" y="323"/>
                  </a:lnTo>
                  <a:lnTo>
                    <a:pt x="176" y="323"/>
                  </a:lnTo>
                  <a:lnTo>
                    <a:pt x="176" y="321"/>
                  </a:lnTo>
                  <a:close/>
                  <a:moveTo>
                    <a:pt x="177" y="320"/>
                  </a:moveTo>
                  <a:lnTo>
                    <a:pt x="181" y="320"/>
                  </a:lnTo>
                  <a:lnTo>
                    <a:pt x="177" y="320"/>
                  </a:lnTo>
                  <a:close/>
                  <a:moveTo>
                    <a:pt x="537" y="315"/>
                  </a:moveTo>
                  <a:lnTo>
                    <a:pt x="537" y="311"/>
                  </a:lnTo>
                  <a:lnTo>
                    <a:pt x="537" y="310"/>
                  </a:lnTo>
                  <a:lnTo>
                    <a:pt x="537" y="315"/>
                  </a:lnTo>
                  <a:close/>
                  <a:moveTo>
                    <a:pt x="140" y="303"/>
                  </a:moveTo>
                  <a:lnTo>
                    <a:pt x="148" y="304"/>
                  </a:lnTo>
                  <a:lnTo>
                    <a:pt x="153" y="303"/>
                  </a:lnTo>
                  <a:lnTo>
                    <a:pt x="158" y="306"/>
                  </a:lnTo>
                  <a:lnTo>
                    <a:pt x="165" y="304"/>
                  </a:lnTo>
                  <a:lnTo>
                    <a:pt x="165" y="306"/>
                  </a:lnTo>
                  <a:lnTo>
                    <a:pt x="167" y="304"/>
                  </a:lnTo>
                  <a:lnTo>
                    <a:pt x="170" y="306"/>
                  </a:lnTo>
                  <a:lnTo>
                    <a:pt x="177" y="306"/>
                  </a:lnTo>
                  <a:lnTo>
                    <a:pt x="182" y="308"/>
                  </a:lnTo>
                  <a:lnTo>
                    <a:pt x="184" y="306"/>
                  </a:lnTo>
                  <a:lnTo>
                    <a:pt x="184" y="310"/>
                  </a:lnTo>
                  <a:lnTo>
                    <a:pt x="186" y="310"/>
                  </a:lnTo>
                  <a:lnTo>
                    <a:pt x="191" y="306"/>
                  </a:lnTo>
                  <a:lnTo>
                    <a:pt x="198" y="308"/>
                  </a:lnTo>
                  <a:lnTo>
                    <a:pt x="199" y="308"/>
                  </a:lnTo>
                  <a:lnTo>
                    <a:pt x="205" y="308"/>
                  </a:lnTo>
                  <a:lnTo>
                    <a:pt x="210" y="310"/>
                  </a:lnTo>
                  <a:lnTo>
                    <a:pt x="213" y="308"/>
                  </a:lnTo>
                  <a:lnTo>
                    <a:pt x="220" y="308"/>
                  </a:lnTo>
                  <a:lnTo>
                    <a:pt x="225" y="310"/>
                  </a:lnTo>
                  <a:lnTo>
                    <a:pt x="227" y="308"/>
                  </a:lnTo>
                  <a:lnTo>
                    <a:pt x="230" y="311"/>
                  </a:lnTo>
                  <a:lnTo>
                    <a:pt x="237" y="311"/>
                  </a:lnTo>
                  <a:lnTo>
                    <a:pt x="242" y="315"/>
                  </a:lnTo>
                  <a:lnTo>
                    <a:pt x="247" y="316"/>
                  </a:lnTo>
                  <a:lnTo>
                    <a:pt x="252" y="316"/>
                  </a:lnTo>
                  <a:lnTo>
                    <a:pt x="256" y="315"/>
                  </a:lnTo>
                  <a:lnTo>
                    <a:pt x="263" y="315"/>
                  </a:lnTo>
                  <a:lnTo>
                    <a:pt x="264" y="316"/>
                  </a:lnTo>
                  <a:lnTo>
                    <a:pt x="273" y="318"/>
                  </a:lnTo>
                  <a:lnTo>
                    <a:pt x="283" y="318"/>
                  </a:lnTo>
                  <a:lnTo>
                    <a:pt x="288" y="318"/>
                  </a:lnTo>
                  <a:lnTo>
                    <a:pt x="295" y="320"/>
                  </a:lnTo>
                  <a:lnTo>
                    <a:pt x="297" y="318"/>
                  </a:lnTo>
                  <a:lnTo>
                    <a:pt x="305" y="323"/>
                  </a:lnTo>
                  <a:lnTo>
                    <a:pt x="309" y="323"/>
                  </a:lnTo>
                  <a:lnTo>
                    <a:pt x="310" y="325"/>
                  </a:lnTo>
                  <a:lnTo>
                    <a:pt x="307" y="327"/>
                  </a:lnTo>
                  <a:lnTo>
                    <a:pt x="304" y="330"/>
                  </a:lnTo>
                  <a:lnTo>
                    <a:pt x="298" y="328"/>
                  </a:lnTo>
                  <a:lnTo>
                    <a:pt x="293" y="330"/>
                  </a:lnTo>
                  <a:lnTo>
                    <a:pt x="288" y="328"/>
                  </a:lnTo>
                  <a:lnTo>
                    <a:pt x="287" y="328"/>
                  </a:lnTo>
                  <a:lnTo>
                    <a:pt x="288" y="330"/>
                  </a:lnTo>
                  <a:lnTo>
                    <a:pt x="288" y="332"/>
                  </a:lnTo>
                  <a:lnTo>
                    <a:pt x="285" y="330"/>
                  </a:lnTo>
                  <a:lnTo>
                    <a:pt x="278" y="335"/>
                  </a:lnTo>
                  <a:lnTo>
                    <a:pt x="276" y="333"/>
                  </a:lnTo>
                  <a:lnTo>
                    <a:pt x="268" y="335"/>
                  </a:lnTo>
                  <a:lnTo>
                    <a:pt x="263" y="332"/>
                  </a:lnTo>
                  <a:lnTo>
                    <a:pt x="268" y="337"/>
                  </a:lnTo>
                  <a:lnTo>
                    <a:pt x="268" y="339"/>
                  </a:lnTo>
                  <a:lnTo>
                    <a:pt x="263" y="335"/>
                  </a:lnTo>
                  <a:lnTo>
                    <a:pt x="259" y="337"/>
                  </a:lnTo>
                  <a:lnTo>
                    <a:pt x="259" y="339"/>
                  </a:lnTo>
                  <a:lnTo>
                    <a:pt x="252" y="335"/>
                  </a:lnTo>
                  <a:lnTo>
                    <a:pt x="251" y="337"/>
                  </a:lnTo>
                  <a:lnTo>
                    <a:pt x="244" y="333"/>
                  </a:lnTo>
                  <a:lnTo>
                    <a:pt x="235" y="337"/>
                  </a:lnTo>
                  <a:lnTo>
                    <a:pt x="234" y="340"/>
                  </a:lnTo>
                  <a:lnTo>
                    <a:pt x="232" y="337"/>
                  </a:lnTo>
                  <a:lnTo>
                    <a:pt x="230" y="339"/>
                  </a:lnTo>
                  <a:lnTo>
                    <a:pt x="230" y="335"/>
                  </a:lnTo>
                  <a:lnTo>
                    <a:pt x="228" y="335"/>
                  </a:lnTo>
                  <a:lnTo>
                    <a:pt x="227" y="333"/>
                  </a:lnTo>
                  <a:lnTo>
                    <a:pt x="223" y="335"/>
                  </a:lnTo>
                  <a:lnTo>
                    <a:pt x="220" y="333"/>
                  </a:lnTo>
                  <a:lnTo>
                    <a:pt x="211" y="332"/>
                  </a:lnTo>
                  <a:lnTo>
                    <a:pt x="206" y="328"/>
                  </a:lnTo>
                  <a:lnTo>
                    <a:pt x="199" y="328"/>
                  </a:lnTo>
                  <a:lnTo>
                    <a:pt x="199" y="327"/>
                  </a:lnTo>
                  <a:lnTo>
                    <a:pt x="196" y="325"/>
                  </a:lnTo>
                  <a:lnTo>
                    <a:pt x="193" y="321"/>
                  </a:lnTo>
                  <a:lnTo>
                    <a:pt x="191" y="321"/>
                  </a:lnTo>
                  <a:lnTo>
                    <a:pt x="193" y="323"/>
                  </a:lnTo>
                  <a:lnTo>
                    <a:pt x="191" y="325"/>
                  </a:lnTo>
                  <a:lnTo>
                    <a:pt x="187" y="320"/>
                  </a:lnTo>
                  <a:lnTo>
                    <a:pt x="186" y="320"/>
                  </a:lnTo>
                  <a:lnTo>
                    <a:pt x="187" y="321"/>
                  </a:lnTo>
                  <a:lnTo>
                    <a:pt x="184" y="320"/>
                  </a:lnTo>
                  <a:lnTo>
                    <a:pt x="182" y="321"/>
                  </a:lnTo>
                  <a:lnTo>
                    <a:pt x="182" y="318"/>
                  </a:lnTo>
                  <a:lnTo>
                    <a:pt x="174" y="320"/>
                  </a:lnTo>
                  <a:lnTo>
                    <a:pt x="177" y="316"/>
                  </a:lnTo>
                  <a:lnTo>
                    <a:pt x="174" y="315"/>
                  </a:lnTo>
                  <a:lnTo>
                    <a:pt x="174" y="316"/>
                  </a:lnTo>
                  <a:lnTo>
                    <a:pt x="170" y="313"/>
                  </a:lnTo>
                  <a:lnTo>
                    <a:pt x="164" y="315"/>
                  </a:lnTo>
                  <a:lnTo>
                    <a:pt x="164" y="313"/>
                  </a:lnTo>
                  <a:lnTo>
                    <a:pt x="160" y="313"/>
                  </a:lnTo>
                  <a:lnTo>
                    <a:pt x="162" y="313"/>
                  </a:lnTo>
                  <a:lnTo>
                    <a:pt x="157" y="315"/>
                  </a:lnTo>
                  <a:lnTo>
                    <a:pt x="157" y="313"/>
                  </a:lnTo>
                  <a:lnTo>
                    <a:pt x="152" y="313"/>
                  </a:lnTo>
                  <a:lnTo>
                    <a:pt x="150" y="310"/>
                  </a:lnTo>
                  <a:lnTo>
                    <a:pt x="145" y="313"/>
                  </a:lnTo>
                  <a:lnTo>
                    <a:pt x="145" y="310"/>
                  </a:lnTo>
                  <a:lnTo>
                    <a:pt x="145" y="313"/>
                  </a:lnTo>
                  <a:lnTo>
                    <a:pt x="140" y="311"/>
                  </a:lnTo>
                  <a:lnTo>
                    <a:pt x="140" y="306"/>
                  </a:lnTo>
                  <a:lnTo>
                    <a:pt x="136" y="308"/>
                  </a:lnTo>
                  <a:lnTo>
                    <a:pt x="136" y="304"/>
                  </a:lnTo>
                  <a:lnTo>
                    <a:pt x="133" y="303"/>
                  </a:lnTo>
                  <a:lnTo>
                    <a:pt x="140" y="303"/>
                  </a:lnTo>
                  <a:close/>
                  <a:moveTo>
                    <a:pt x="532" y="303"/>
                  </a:moveTo>
                  <a:lnTo>
                    <a:pt x="532" y="306"/>
                  </a:lnTo>
                  <a:lnTo>
                    <a:pt x="529" y="304"/>
                  </a:lnTo>
                  <a:lnTo>
                    <a:pt x="529" y="299"/>
                  </a:lnTo>
                  <a:lnTo>
                    <a:pt x="532" y="303"/>
                  </a:lnTo>
                  <a:close/>
                  <a:moveTo>
                    <a:pt x="97" y="286"/>
                  </a:moveTo>
                  <a:lnTo>
                    <a:pt x="102" y="289"/>
                  </a:lnTo>
                  <a:lnTo>
                    <a:pt x="104" y="287"/>
                  </a:lnTo>
                  <a:lnTo>
                    <a:pt x="106" y="289"/>
                  </a:lnTo>
                  <a:lnTo>
                    <a:pt x="109" y="287"/>
                  </a:lnTo>
                  <a:lnTo>
                    <a:pt x="107" y="291"/>
                  </a:lnTo>
                  <a:lnTo>
                    <a:pt x="111" y="291"/>
                  </a:lnTo>
                  <a:lnTo>
                    <a:pt x="112" y="289"/>
                  </a:lnTo>
                  <a:lnTo>
                    <a:pt x="114" y="292"/>
                  </a:lnTo>
                  <a:lnTo>
                    <a:pt x="114" y="287"/>
                  </a:lnTo>
                  <a:lnTo>
                    <a:pt x="116" y="289"/>
                  </a:lnTo>
                  <a:lnTo>
                    <a:pt x="119" y="287"/>
                  </a:lnTo>
                  <a:lnTo>
                    <a:pt x="121" y="289"/>
                  </a:lnTo>
                  <a:lnTo>
                    <a:pt x="124" y="287"/>
                  </a:lnTo>
                  <a:lnTo>
                    <a:pt x="123" y="291"/>
                  </a:lnTo>
                  <a:lnTo>
                    <a:pt x="119" y="292"/>
                  </a:lnTo>
                  <a:lnTo>
                    <a:pt x="112" y="294"/>
                  </a:lnTo>
                  <a:lnTo>
                    <a:pt x="111" y="292"/>
                  </a:lnTo>
                  <a:lnTo>
                    <a:pt x="107" y="294"/>
                  </a:lnTo>
                  <a:lnTo>
                    <a:pt x="104" y="291"/>
                  </a:lnTo>
                  <a:lnTo>
                    <a:pt x="104" y="292"/>
                  </a:lnTo>
                  <a:lnTo>
                    <a:pt x="97" y="291"/>
                  </a:lnTo>
                  <a:lnTo>
                    <a:pt x="95" y="291"/>
                  </a:lnTo>
                  <a:lnTo>
                    <a:pt x="95" y="289"/>
                  </a:lnTo>
                  <a:lnTo>
                    <a:pt x="97" y="286"/>
                  </a:lnTo>
                  <a:close/>
                  <a:moveTo>
                    <a:pt x="51" y="614"/>
                  </a:moveTo>
                  <a:lnTo>
                    <a:pt x="59" y="612"/>
                  </a:lnTo>
                  <a:lnTo>
                    <a:pt x="63" y="603"/>
                  </a:lnTo>
                  <a:lnTo>
                    <a:pt x="68" y="602"/>
                  </a:lnTo>
                  <a:lnTo>
                    <a:pt x="73" y="600"/>
                  </a:lnTo>
                  <a:lnTo>
                    <a:pt x="75" y="600"/>
                  </a:lnTo>
                  <a:lnTo>
                    <a:pt x="75" y="596"/>
                  </a:lnTo>
                  <a:lnTo>
                    <a:pt x="71" y="595"/>
                  </a:lnTo>
                  <a:lnTo>
                    <a:pt x="80" y="595"/>
                  </a:lnTo>
                  <a:lnTo>
                    <a:pt x="80" y="593"/>
                  </a:lnTo>
                  <a:lnTo>
                    <a:pt x="85" y="591"/>
                  </a:lnTo>
                  <a:lnTo>
                    <a:pt x="87" y="588"/>
                  </a:lnTo>
                  <a:lnTo>
                    <a:pt x="87" y="595"/>
                  </a:lnTo>
                  <a:lnTo>
                    <a:pt x="90" y="590"/>
                  </a:lnTo>
                  <a:lnTo>
                    <a:pt x="94" y="586"/>
                  </a:lnTo>
                  <a:lnTo>
                    <a:pt x="102" y="573"/>
                  </a:lnTo>
                  <a:lnTo>
                    <a:pt x="106" y="567"/>
                  </a:lnTo>
                  <a:lnTo>
                    <a:pt x="112" y="561"/>
                  </a:lnTo>
                  <a:lnTo>
                    <a:pt x="99" y="555"/>
                  </a:lnTo>
                  <a:lnTo>
                    <a:pt x="90" y="552"/>
                  </a:lnTo>
                  <a:lnTo>
                    <a:pt x="80" y="549"/>
                  </a:lnTo>
                  <a:lnTo>
                    <a:pt x="61" y="544"/>
                  </a:lnTo>
                  <a:lnTo>
                    <a:pt x="39" y="535"/>
                  </a:lnTo>
                  <a:lnTo>
                    <a:pt x="49" y="520"/>
                  </a:lnTo>
                  <a:lnTo>
                    <a:pt x="49" y="514"/>
                  </a:lnTo>
                  <a:lnTo>
                    <a:pt x="46" y="511"/>
                  </a:lnTo>
                  <a:lnTo>
                    <a:pt x="41" y="451"/>
                  </a:lnTo>
                  <a:lnTo>
                    <a:pt x="34" y="409"/>
                  </a:lnTo>
                  <a:lnTo>
                    <a:pt x="37" y="409"/>
                  </a:lnTo>
                  <a:lnTo>
                    <a:pt x="39" y="407"/>
                  </a:lnTo>
                  <a:lnTo>
                    <a:pt x="41" y="414"/>
                  </a:lnTo>
                  <a:lnTo>
                    <a:pt x="42" y="424"/>
                  </a:lnTo>
                  <a:lnTo>
                    <a:pt x="41" y="431"/>
                  </a:lnTo>
                  <a:lnTo>
                    <a:pt x="42" y="441"/>
                  </a:lnTo>
                  <a:lnTo>
                    <a:pt x="41" y="443"/>
                  </a:lnTo>
                  <a:lnTo>
                    <a:pt x="42" y="446"/>
                  </a:lnTo>
                  <a:lnTo>
                    <a:pt x="42" y="450"/>
                  </a:lnTo>
                  <a:lnTo>
                    <a:pt x="42" y="453"/>
                  </a:lnTo>
                  <a:lnTo>
                    <a:pt x="46" y="458"/>
                  </a:lnTo>
                  <a:lnTo>
                    <a:pt x="44" y="460"/>
                  </a:lnTo>
                  <a:lnTo>
                    <a:pt x="46" y="462"/>
                  </a:lnTo>
                  <a:lnTo>
                    <a:pt x="46" y="467"/>
                  </a:lnTo>
                  <a:lnTo>
                    <a:pt x="54" y="468"/>
                  </a:lnTo>
                  <a:lnTo>
                    <a:pt x="56" y="463"/>
                  </a:lnTo>
                  <a:lnTo>
                    <a:pt x="58" y="465"/>
                  </a:lnTo>
                  <a:lnTo>
                    <a:pt x="61" y="463"/>
                  </a:lnTo>
                  <a:lnTo>
                    <a:pt x="59" y="462"/>
                  </a:lnTo>
                  <a:lnTo>
                    <a:pt x="59" y="460"/>
                  </a:lnTo>
                  <a:lnTo>
                    <a:pt x="63" y="460"/>
                  </a:lnTo>
                  <a:lnTo>
                    <a:pt x="61" y="455"/>
                  </a:lnTo>
                  <a:lnTo>
                    <a:pt x="63" y="456"/>
                  </a:lnTo>
                  <a:lnTo>
                    <a:pt x="65" y="456"/>
                  </a:lnTo>
                  <a:lnTo>
                    <a:pt x="65" y="465"/>
                  </a:lnTo>
                  <a:lnTo>
                    <a:pt x="63" y="465"/>
                  </a:lnTo>
                  <a:lnTo>
                    <a:pt x="65" y="470"/>
                  </a:lnTo>
                  <a:lnTo>
                    <a:pt x="61" y="472"/>
                  </a:lnTo>
                  <a:lnTo>
                    <a:pt x="59" y="475"/>
                  </a:lnTo>
                  <a:lnTo>
                    <a:pt x="59" y="477"/>
                  </a:lnTo>
                  <a:lnTo>
                    <a:pt x="63" y="482"/>
                  </a:lnTo>
                  <a:lnTo>
                    <a:pt x="59" y="480"/>
                  </a:lnTo>
                  <a:lnTo>
                    <a:pt x="59" y="484"/>
                  </a:lnTo>
                  <a:lnTo>
                    <a:pt x="58" y="485"/>
                  </a:lnTo>
                  <a:lnTo>
                    <a:pt x="63" y="485"/>
                  </a:lnTo>
                  <a:lnTo>
                    <a:pt x="66" y="489"/>
                  </a:lnTo>
                  <a:lnTo>
                    <a:pt x="65" y="494"/>
                  </a:lnTo>
                  <a:lnTo>
                    <a:pt x="66" y="497"/>
                  </a:lnTo>
                  <a:lnTo>
                    <a:pt x="66" y="494"/>
                  </a:lnTo>
                  <a:lnTo>
                    <a:pt x="68" y="497"/>
                  </a:lnTo>
                  <a:lnTo>
                    <a:pt x="66" y="499"/>
                  </a:lnTo>
                  <a:lnTo>
                    <a:pt x="75" y="503"/>
                  </a:lnTo>
                  <a:lnTo>
                    <a:pt x="71" y="499"/>
                  </a:lnTo>
                  <a:lnTo>
                    <a:pt x="77" y="499"/>
                  </a:lnTo>
                  <a:lnTo>
                    <a:pt x="77" y="497"/>
                  </a:lnTo>
                  <a:lnTo>
                    <a:pt x="78" y="497"/>
                  </a:lnTo>
                  <a:lnTo>
                    <a:pt x="78" y="499"/>
                  </a:lnTo>
                  <a:lnTo>
                    <a:pt x="77" y="499"/>
                  </a:lnTo>
                  <a:lnTo>
                    <a:pt x="75" y="504"/>
                  </a:lnTo>
                  <a:lnTo>
                    <a:pt x="78" y="508"/>
                  </a:lnTo>
                  <a:lnTo>
                    <a:pt x="83" y="511"/>
                  </a:lnTo>
                  <a:lnTo>
                    <a:pt x="90" y="509"/>
                  </a:lnTo>
                  <a:lnTo>
                    <a:pt x="95" y="516"/>
                  </a:lnTo>
                  <a:lnTo>
                    <a:pt x="100" y="514"/>
                  </a:lnTo>
                  <a:lnTo>
                    <a:pt x="111" y="514"/>
                  </a:lnTo>
                  <a:lnTo>
                    <a:pt x="119" y="516"/>
                  </a:lnTo>
                  <a:lnTo>
                    <a:pt x="123" y="518"/>
                  </a:lnTo>
                  <a:lnTo>
                    <a:pt x="133" y="514"/>
                  </a:lnTo>
                  <a:lnTo>
                    <a:pt x="138" y="514"/>
                  </a:lnTo>
                  <a:lnTo>
                    <a:pt x="141" y="513"/>
                  </a:lnTo>
                  <a:lnTo>
                    <a:pt x="148" y="506"/>
                  </a:lnTo>
                  <a:lnTo>
                    <a:pt x="148" y="501"/>
                  </a:lnTo>
                  <a:lnTo>
                    <a:pt x="152" y="499"/>
                  </a:lnTo>
                  <a:lnTo>
                    <a:pt x="153" y="494"/>
                  </a:lnTo>
                  <a:lnTo>
                    <a:pt x="155" y="492"/>
                  </a:lnTo>
                  <a:lnTo>
                    <a:pt x="165" y="489"/>
                  </a:lnTo>
                  <a:lnTo>
                    <a:pt x="174" y="482"/>
                  </a:lnTo>
                  <a:lnTo>
                    <a:pt x="174" y="484"/>
                  </a:lnTo>
                  <a:lnTo>
                    <a:pt x="177" y="484"/>
                  </a:lnTo>
                  <a:lnTo>
                    <a:pt x="170" y="479"/>
                  </a:lnTo>
                  <a:lnTo>
                    <a:pt x="170" y="477"/>
                  </a:lnTo>
                  <a:lnTo>
                    <a:pt x="174" y="475"/>
                  </a:lnTo>
                  <a:lnTo>
                    <a:pt x="176" y="477"/>
                  </a:lnTo>
                  <a:lnTo>
                    <a:pt x="176" y="475"/>
                  </a:lnTo>
                  <a:lnTo>
                    <a:pt x="177" y="474"/>
                  </a:lnTo>
                  <a:lnTo>
                    <a:pt x="176" y="477"/>
                  </a:lnTo>
                  <a:lnTo>
                    <a:pt x="177" y="477"/>
                  </a:lnTo>
                  <a:lnTo>
                    <a:pt x="182" y="474"/>
                  </a:lnTo>
                  <a:lnTo>
                    <a:pt x="181" y="472"/>
                  </a:lnTo>
                  <a:lnTo>
                    <a:pt x="187" y="468"/>
                  </a:lnTo>
                  <a:lnTo>
                    <a:pt x="189" y="467"/>
                  </a:lnTo>
                  <a:lnTo>
                    <a:pt x="191" y="467"/>
                  </a:lnTo>
                  <a:lnTo>
                    <a:pt x="194" y="463"/>
                  </a:lnTo>
                  <a:lnTo>
                    <a:pt x="196" y="465"/>
                  </a:lnTo>
                  <a:lnTo>
                    <a:pt x="198" y="465"/>
                  </a:lnTo>
                  <a:lnTo>
                    <a:pt x="196" y="465"/>
                  </a:lnTo>
                  <a:lnTo>
                    <a:pt x="194" y="462"/>
                  </a:lnTo>
                  <a:lnTo>
                    <a:pt x="194" y="460"/>
                  </a:lnTo>
                  <a:lnTo>
                    <a:pt x="198" y="460"/>
                  </a:lnTo>
                  <a:lnTo>
                    <a:pt x="196" y="460"/>
                  </a:lnTo>
                  <a:lnTo>
                    <a:pt x="194" y="460"/>
                  </a:lnTo>
                  <a:lnTo>
                    <a:pt x="194" y="456"/>
                  </a:lnTo>
                  <a:lnTo>
                    <a:pt x="193" y="458"/>
                  </a:lnTo>
                  <a:lnTo>
                    <a:pt x="193" y="455"/>
                  </a:lnTo>
                  <a:lnTo>
                    <a:pt x="191" y="455"/>
                  </a:lnTo>
                  <a:lnTo>
                    <a:pt x="194" y="453"/>
                  </a:lnTo>
                  <a:lnTo>
                    <a:pt x="196" y="448"/>
                  </a:lnTo>
                  <a:lnTo>
                    <a:pt x="198" y="446"/>
                  </a:lnTo>
                  <a:lnTo>
                    <a:pt x="196" y="443"/>
                  </a:lnTo>
                  <a:lnTo>
                    <a:pt x="198" y="441"/>
                  </a:lnTo>
                  <a:lnTo>
                    <a:pt x="201" y="443"/>
                  </a:lnTo>
                  <a:lnTo>
                    <a:pt x="199" y="441"/>
                  </a:lnTo>
                  <a:lnTo>
                    <a:pt x="205" y="438"/>
                  </a:lnTo>
                  <a:lnTo>
                    <a:pt x="203" y="434"/>
                  </a:lnTo>
                  <a:lnTo>
                    <a:pt x="205" y="433"/>
                  </a:lnTo>
                  <a:lnTo>
                    <a:pt x="206" y="434"/>
                  </a:lnTo>
                  <a:lnTo>
                    <a:pt x="210" y="431"/>
                  </a:lnTo>
                  <a:lnTo>
                    <a:pt x="217" y="431"/>
                  </a:lnTo>
                  <a:lnTo>
                    <a:pt x="218" y="427"/>
                  </a:lnTo>
                  <a:lnTo>
                    <a:pt x="225" y="427"/>
                  </a:lnTo>
                  <a:lnTo>
                    <a:pt x="230" y="424"/>
                  </a:lnTo>
                  <a:lnTo>
                    <a:pt x="234" y="417"/>
                  </a:lnTo>
                  <a:lnTo>
                    <a:pt x="237" y="407"/>
                  </a:lnTo>
                  <a:lnTo>
                    <a:pt x="239" y="409"/>
                  </a:lnTo>
                  <a:lnTo>
                    <a:pt x="235" y="407"/>
                  </a:lnTo>
                  <a:lnTo>
                    <a:pt x="239" y="400"/>
                  </a:lnTo>
                  <a:lnTo>
                    <a:pt x="244" y="395"/>
                  </a:lnTo>
                  <a:lnTo>
                    <a:pt x="242" y="393"/>
                  </a:lnTo>
                  <a:lnTo>
                    <a:pt x="244" y="392"/>
                  </a:lnTo>
                  <a:lnTo>
                    <a:pt x="242" y="383"/>
                  </a:lnTo>
                  <a:lnTo>
                    <a:pt x="249" y="376"/>
                  </a:lnTo>
                  <a:lnTo>
                    <a:pt x="254" y="374"/>
                  </a:lnTo>
                  <a:lnTo>
                    <a:pt x="257" y="376"/>
                  </a:lnTo>
                  <a:lnTo>
                    <a:pt x="264" y="373"/>
                  </a:lnTo>
                  <a:lnTo>
                    <a:pt x="266" y="376"/>
                  </a:lnTo>
                  <a:lnTo>
                    <a:pt x="273" y="374"/>
                  </a:lnTo>
                  <a:lnTo>
                    <a:pt x="271" y="376"/>
                  </a:lnTo>
                  <a:lnTo>
                    <a:pt x="273" y="380"/>
                  </a:lnTo>
                  <a:lnTo>
                    <a:pt x="275" y="378"/>
                  </a:lnTo>
                  <a:lnTo>
                    <a:pt x="275" y="383"/>
                  </a:lnTo>
                  <a:lnTo>
                    <a:pt x="276" y="380"/>
                  </a:lnTo>
                  <a:lnTo>
                    <a:pt x="280" y="380"/>
                  </a:lnTo>
                  <a:lnTo>
                    <a:pt x="281" y="381"/>
                  </a:lnTo>
                  <a:lnTo>
                    <a:pt x="281" y="383"/>
                  </a:lnTo>
                  <a:lnTo>
                    <a:pt x="281" y="381"/>
                  </a:lnTo>
                  <a:lnTo>
                    <a:pt x="283" y="381"/>
                  </a:lnTo>
                  <a:lnTo>
                    <a:pt x="287" y="378"/>
                  </a:lnTo>
                  <a:lnTo>
                    <a:pt x="292" y="380"/>
                  </a:lnTo>
                  <a:lnTo>
                    <a:pt x="292" y="383"/>
                  </a:lnTo>
                  <a:lnTo>
                    <a:pt x="293" y="378"/>
                  </a:lnTo>
                  <a:lnTo>
                    <a:pt x="298" y="376"/>
                  </a:lnTo>
                  <a:lnTo>
                    <a:pt x="300" y="378"/>
                  </a:lnTo>
                  <a:lnTo>
                    <a:pt x="300" y="373"/>
                  </a:lnTo>
                  <a:lnTo>
                    <a:pt x="298" y="371"/>
                  </a:lnTo>
                  <a:lnTo>
                    <a:pt x="302" y="373"/>
                  </a:lnTo>
                  <a:lnTo>
                    <a:pt x="300" y="371"/>
                  </a:lnTo>
                  <a:lnTo>
                    <a:pt x="304" y="371"/>
                  </a:lnTo>
                  <a:lnTo>
                    <a:pt x="304" y="373"/>
                  </a:lnTo>
                  <a:lnTo>
                    <a:pt x="307" y="371"/>
                  </a:lnTo>
                  <a:lnTo>
                    <a:pt x="312" y="373"/>
                  </a:lnTo>
                  <a:lnTo>
                    <a:pt x="316" y="364"/>
                  </a:lnTo>
                  <a:lnTo>
                    <a:pt x="317" y="368"/>
                  </a:lnTo>
                  <a:lnTo>
                    <a:pt x="317" y="366"/>
                  </a:lnTo>
                  <a:lnTo>
                    <a:pt x="324" y="368"/>
                  </a:lnTo>
                  <a:lnTo>
                    <a:pt x="324" y="364"/>
                  </a:lnTo>
                  <a:lnTo>
                    <a:pt x="329" y="362"/>
                  </a:lnTo>
                  <a:lnTo>
                    <a:pt x="331" y="364"/>
                  </a:lnTo>
                  <a:lnTo>
                    <a:pt x="333" y="362"/>
                  </a:lnTo>
                  <a:lnTo>
                    <a:pt x="334" y="364"/>
                  </a:lnTo>
                  <a:lnTo>
                    <a:pt x="339" y="362"/>
                  </a:lnTo>
                  <a:lnTo>
                    <a:pt x="343" y="364"/>
                  </a:lnTo>
                  <a:lnTo>
                    <a:pt x="341" y="362"/>
                  </a:lnTo>
                  <a:lnTo>
                    <a:pt x="343" y="359"/>
                  </a:lnTo>
                  <a:lnTo>
                    <a:pt x="345" y="359"/>
                  </a:lnTo>
                  <a:lnTo>
                    <a:pt x="346" y="357"/>
                  </a:lnTo>
                  <a:lnTo>
                    <a:pt x="346" y="359"/>
                  </a:lnTo>
                  <a:lnTo>
                    <a:pt x="348" y="359"/>
                  </a:lnTo>
                  <a:lnTo>
                    <a:pt x="350" y="356"/>
                  </a:lnTo>
                  <a:lnTo>
                    <a:pt x="355" y="356"/>
                  </a:lnTo>
                  <a:lnTo>
                    <a:pt x="348" y="356"/>
                  </a:lnTo>
                  <a:lnTo>
                    <a:pt x="350" y="352"/>
                  </a:lnTo>
                  <a:lnTo>
                    <a:pt x="348" y="352"/>
                  </a:lnTo>
                  <a:lnTo>
                    <a:pt x="345" y="351"/>
                  </a:lnTo>
                  <a:lnTo>
                    <a:pt x="345" y="349"/>
                  </a:lnTo>
                  <a:lnTo>
                    <a:pt x="348" y="349"/>
                  </a:lnTo>
                  <a:lnTo>
                    <a:pt x="348" y="351"/>
                  </a:lnTo>
                  <a:lnTo>
                    <a:pt x="350" y="351"/>
                  </a:lnTo>
                  <a:lnTo>
                    <a:pt x="348" y="347"/>
                  </a:lnTo>
                  <a:lnTo>
                    <a:pt x="346" y="345"/>
                  </a:lnTo>
                  <a:lnTo>
                    <a:pt x="345" y="342"/>
                  </a:lnTo>
                  <a:lnTo>
                    <a:pt x="348" y="344"/>
                  </a:lnTo>
                  <a:lnTo>
                    <a:pt x="353" y="339"/>
                  </a:lnTo>
                  <a:lnTo>
                    <a:pt x="351" y="335"/>
                  </a:lnTo>
                  <a:lnTo>
                    <a:pt x="350" y="335"/>
                  </a:lnTo>
                  <a:lnTo>
                    <a:pt x="348" y="337"/>
                  </a:lnTo>
                  <a:lnTo>
                    <a:pt x="346" y="333"/>
                  </a:lnTo>
                  <a:lnTo>
                    <a:pt x="348" y="332"/>
                  </a:lnTo>
                  <a:lnTo>
                    <a:pt x="341" y="321"/>
                  </a:lnTo>
                  <a:lnTo>
                    <a:pt x="348" y="320"/>
                  </a:lnTo>
                  <a:lnTo>
                    <a:pt x="353" y="320"/>
                  </a:lnTo>
                  <a:lnTo>
                    <a:pt x="351" y="318"/>
                  </a:lnTo>
                  <a:lnTo>
                    <a:pt x="360" y="315"/>
                  </a:lnTo>
                  <a:lnTo>
                    <a:pt x="362" y="315"/>
                  </a:lnTo>
                  <a:lnTo>
                    <a:pt x="363" y="313"/>
                  </a:lnTo>
                  <a:lnTo>
                    <a:pt x="370" y="310"/>
                  </a:lnTo>
                  <a:lnTo>
                    <a:pt x="372" y="308"/>
                  </a:lnTo>
                  <a:lnTo>
                    <a:pt x="380" y="303"/>
                  </a:lnTo>
                  <a:lnTo>
                    <a:pt x="384" y="301"/>
                  </a:lnTo>
                  <a:lnTo>
                    <a:pt x="392" y="298"/>
                  </a:lnTo>
                  <a:lnTo>
                    <a:pt x="394" y="298"/>
                  </a:lnTo>
                  <a:lnTo>
                    <a:pt x="399" y="294"/>
                  </a:lnTo>
                  <a:lnTo>
                    <a:pt x="404" y="291"/>
                  </a:lnTo>
                  <a:lnTo>
                    <a:pt x="411" y="289"/>
                  </a:lnTo>
                  <a:lnTo>
                    <a:pt x="411" y="287"/>
                  </a:lnTo>
                  <a:lnTo>
                    <a:pt x="416" y="287"/>
                  </a:lnTo>
                  <a:lnTo>
                    <a:pt x="423" y="286"/>
                  </a:lnTo>
                  <a:lnTo>
                    <a:pt x="430" y="286"/>
                  </a:lnTo>
                  <a:lnTo>
                    <a:pt x="430" y="287"/>
                  </a:lnTo>
                  <a:lnTo>
                    <a:pt x="435" y="286"/>
                  </a:lnTo>
                  <a:lnTo>
                    <a:pt x="437" y="291"/>
                  </a:lnTo>
                  <a:lnTo>
                    <a:pt x="435" y="291"/>
                  </a:lnTo>
                  <a:lnTo>
                    <a:pt x="438" y="292"/>
                  </a:lnTo>
                  <a:lnTo>
                    <a:pt x="438" y="294"/>
                  </a:lnTo>
                  <a:lnTo>
                    <a:pt x="437" y="292"/>
                  </a:lnTo>
                  <a:lnTo>
                    <a:pt x="437" y="294"/>
                  </a:lnTo>
                  <a:lnTo>
                    <a:pt x="438" y="296"/>
                  </a:lnTo>
                  <a:lnTo>
                    <a:pt x="440" y="294"/>
                  </a:lnTo>
                  <a:lnTo>
                    <a:pt x="445" y="299"/>
                  </a:lnTo>
                  <a:lnTo>
                    <a:pt x="452" y="303"/>
                  </a:lnTo>
                  <a:lnTo>
                    <a:pt x="457" y="304"/>
                  </a:lnTo>
                  <a:lnTo>
                    <a:pt x="464" y="306"/>
                  </a:lnTo>
                  <a:lnTo>
                    <a:pt x="474" y="311"/>
                  </a:lnTo>
                  <a:lnTo>
                    <a:pt x="483" y="315"/>
                  </a:lnTo>
                  <a:lnTo>
                    <a:pt x="483" y="316"/>
                  </a:lnTo>
                  <a:lnTo>
                    <a:pt x="485" y="316"/>
                  </a:lnTo>
                  <a:lnTo>
                    <a:pt x="490" y="318"/>
                  </a:lnTo>
                  <a:lnTo>
                    <a:pt x="496" y="320"/>
                  </a:lnTo>
                  <a:lnTo>
                    <a:pt x="498" y="320"/>
                  </a:lnTo>
                  <a:lnTo>
                    <a:pt x="507" y="321"/>
                  </a:lnTo>
                  <a:lnTo>
                    <a:pt x="508" y="321"/>
                  </a:lnTo>
                  <a:lnTo>
                    <a:pt x="517" y="323"/>
                  </a:lnTo>
                  <a:lnTo>
                    <a:pt x="520" y="325"/>
                  </a:lnTo>
                  <a:lnTo>
                    <a:pt x="524" y="327"/>
                  </a:lnTo>
                  <a:lnTo>
                    <a:pt x="531" y="332"/>
                  </a:lnTo>
                  <a:lnTo>
                    <a:pt x="532" y="332"/>
                  </a:lnTo>
                  <a:lnTo>
                    <a:pt x="532" y="333"/>
                  </a:lnTo>
                  <a:lnTo>
                    <a:pt x="537" y="340"/>
                  </a:lnTo>
                  <a:lnTo>
                    <a:pt x="546" y="345"/>
                  </a:lnTo>
                  <a:lnTo>
                    <a:pt x="549" y="345"/>
                  </a:lnTo>
                  <a:lnTo>
                    <a:pt x="551" y="345"/>
                  </a:lnTo>
                  <a:lnTo>
                    <a:pt x="558" y="347"/>
                  </a:lnTo>
                  <a:lnTo>
                    <a:pt x="561" y="347"/>
                  </a:lnTo>
                  <a:lnTo>
                    <a:pt x="568" y="351"/>
                  </a:lnTo>
                  <a:lnTo>
                    <a:pt x="577" y="354"/>
                  </a:lnTo>
                  <a:lnTo>
                    <a:pt x="580" y="356"/>
                  </a:lnTo>
                  <a:lnTo>
                    <a:pt x="585" y="359"/>
                  </a:lnTo>
                  <a:lnTo>
                    <a:pt x="592" y="364"/>
                  </a:lnTo>
                  <a:lnTo>
                    <a:pt x="597" y="366"/>
                  </a:lnTo>
                  <a:lnTo>
                    <a:pt x="606" y="368"/>
                  </a:lnTo>
                  <a:lnTo>
                    <a:pt x="604" y="369"/>
                  </a:lnTo>
                  <a:lnTo>
                    <a:pt x="606" y="368"/>
                  </a:lnTo>
                  <a:lnTo>
                    <a:pt x="609" y="369"/>
                  </a:lnTo>
                  <a:lnTo>
                    <a:pt x="616" y="373"/>
                  </a:lnTo>
                  <a:lnTo>
                    <a:pt x="619" y="376"/>
                  </a:lnTo>
                  <a:lnTo>
                    <a:pt x="625" y="380"/>
                  </a:lnTo>
                  <a:lnTo>
                    <a:pt x="631" y="383"/>
                  </a:lnTo>
                  <a:lnTo>
                    <a:pt x="635" y="385"/>
                  </a:lnTo>
                  <a:lnTo>
                    <a:pt x="636" y="385"/>
                  </a:lnTo>
                  <a:lnTo>
                    <a:pt x="638" y="385"/>
                  </a:lnTo>
                  <a:lnTo>
                    <a:pt x="640" y="386"/>
                  </a:lnTo>
                  <a:lnTo>
                    <a:pt x="640" y="385"/>
                  </a:lnTo>
                  <a:lnTo>
                    <a:pt x="647" y="390"/>
                  </a:lnTo>
                  <a:lnTo>
                    <a:pt x="652" y="393"/>
                  </a:lnTo>
                  <a:lnTo>
                    <a:pt x="659" y="395"/>
                  </a:lnTo>
                  <a:lnTo>
                    <a:pt x="667" y="395"/>
                  </a:lnTo>
                  <a:lnTo>
                    <a:pt x="674" y="395"/>
                  </a:lnTo>
                  <a:lnTo>
                    <a:pt x="679" y="393"/>
                  </a:lnTo>
                  <a:lnTo>
                    <a:pt x="689" y="393"/>
                  </a:lnTo>
                  <a:lnTo>
                    <a:pt x="691" y="390"/>
                  </a:lnTo>
                  <a:lnTo>
                    <a:pt x="694" y="388"/>
                  </a:lnTo>
                  <a:lnTo>
                    <a:pt x="696" y="390"/>
                  </a:lnTo>
                  <a:lnTo>
                    <a:pt x="698" y="392"/>
                  </a:lnTo>
                  <a:lnTo>
                    <a:pt x="698" y="390"/>
                  </a:lnTo>
                  <a:lnTo>
                    <a:pt x="700" y="388"/>
                  </a:lnTo>
                  <a:lnTo>
                    <a:pt x="700" y="395"/>
                  </a:lnTo>
                  <a:lnTo>
                    <a:pt x="705" y="395"/>
                  </a:lnTo>
                  <a:lnTo>
                    <a:pt x="706" y="400"/>
                  </a:lnTo>
                  <a:lnTo>
                    <a:pt x="712" y="398"/>
                  </a:lnTo>
                  <a:lnTo>
                    <a:pt x="713" y="400"/>
                  </a:lnTo>
                  <a:lnTo>
                    <a:pt x="717" y="402"/>
                  </a:lnTo>
                  <a:lnTo>
                    <a:pt x="717" y="403"/>
                  </a:lnTo>
                  <a:lnTo>
                    <a:pt x="722" y="403"/>
                  </a:lnTo>
                  <a:lnTo>
                    <a:pt x="722" y="405"/>
                  </a:lnTo>
                  <a:lnTo>
                    <a:pt x="724" y="403"/>
                  </a:lnTo>
                  <a:lnTo>
                    <a:pt x="725" y="405"/>
                  </a:lnTo>
                  <a:lnTo>
                    <a:pt x="725" y="402"/>
                  </a:lnTo>
                  <a:lnTo>
                    <a:pt x="724" y="398"/>
                  </a:lnTo>
                  <a:lnTo>
                    <a:pt x="734" y="400"/>
                  </a:lnTo>
                  <a:lnTo>
                    <a:pt x="737" y="402"/>
                  </a:lnTo>
                  <a:lnTo>
                    <a:pt x="741" y="402"/>
                  </a:lnTo>
                  <a:lnTo>
                    <a:pt x="741" y="403"/>
                  </a:lnTo>
                  <a:lnTo>
                    <a:pt x="744" y="402"/>
                  </a:lnTo>
                  <a:lnTo>
                    <a:pt x="746" y="403"/>
                  </a:lnTo>
                  <a:lnTo>
                    <a:pt x="749" y="403"/>
                  </a:lnTo>
                  <a:lnTo>
                    <a:pt x="753" y="405"/>
                  </a:lnTo>
                  <a:lnTo>
                    <a:pt x="754" y="403"/>
                  </a:lnTo>
                  <a:lnTo>
                    <a:pt x="758" y="407"/>
                  </a:lnTo>
                  <a:lnTo>
                    <a:pt x="766" y="409"/>
                  </a:lnTo>
                  <a:lnTo>
                    <a:pt x="771" y="414"/>
                  </a:lnTo>
                  <a:lnTo>
                    <a:pt x="770" y="412"/>
                  </a:lnTo>
                  <a:lnTo>
                    <a:pt x="766" y="415"/>
                  </a:lnTo>
                  <a:lnTo>
                    <a:pt x="768" y="417"/>
                  </a:lnTo>
                  <a:lnTo>
                    <a:pt x="766" y="419"/>
                  </a:lnTo>
                  <a:lnTo>
                    <a:pt x="768" y="421"/>
                  </a:lnTo>
                  <a:lnTo>
                    <a:pt x="764" y="421"/>
                  </a:lnTo>
                  <a:lnTo>
                    <a:pt x="764" y="424"/>
                  </a:lnTo>
                  <a:lnTo>
                    <a:pt x="766" y="426"/>
                  </a:lnTo>
                  <a:lnTo>
                    <a:pt x="770" y="426"/>
                  </a:lnTo>
                  <a:lnTo>
                    <a:pt x="766" y="422"/>
                  </a:lnTo>
                  <a:lnTo>
                    <a:pt x="773" y="426"/>
                  </a:lnTo>
                  <a:lnTo>
                    <a:pt x="775" y="424"/>
                  </a:lnTo>
                  <a:lnTo>
                    <a:pt x="776" y="422"/>
                  </a:lnTo>
                  <a:lnTo>
                    <a:pt x="778" y="422"/>
                  </a:lnTo>
                  <a:lnTo>
                    <a:pt x="787" y="424"/>
                  </a:lnTo>
                  <a:lnTo>
                    <a:pt x="790" y="424"/>
                  </a:lnTo>
                  <a:lnTo>
                    <a:pt x="792" y="426"/>
                  </a:lnTo>
                  <a:lnTo>
                    <a:pt x="792" y="424"/>
                  </a:lnTo>
                  <a:lnTo>
                    <a:pt x="802" y="422"/>
                  </a:lnTo>
                  <a:lnTo>
                    <a:pt x="802" y="450"/>
                  </a:lnTo>
                  <a:lnTo>
                    <a:pt x="802" y="455"/>
                  </a:lnTo>
                  <a:lnTo>
                    <a:pt x="802" y="474"/>
                  </a:lnTo>
                  <a:lnTo>
                    <a:pt x="802" y="480"/>
                  </a:lnTo>
                  <a:lnTo>
                    <a:pt x="802" y="497"/>
                  </a:lnTo>
                  <a:lnTo>
                    <a:pt x="802" y="520"/>
                  </a:lnTo>
                  <a:lnTo>
                    <a:pt x="802" y="532"/>
                  </a:lnTo>
                  <a:lnTo>
                    <a:pt x="800" y="581"/>
                  </a:lnTo>
                  <a:lnTo>
                    <a:pt x="800" y="590"/>
                  </a:lnTo>
                  <a:lnTo>
                    <a:pt x="800" y="607"/>
                  </a:lnTo>
                  <a:lnTo>
                    <a:pt x="800" y="610"/>
                  </a:lnTo>
                  <a:lnTo>
                    <a:pt x="800" y="656"/>
                  </a:lnTo>
                  <a:lnTo>
                    <a:pt x="800" y="667"/>
                  </a:lnTo>
                  <a:lnTo>
                    <a:pt x="800" y="672"/>
                  </a:lnTo>
                  <a:lnTo>
                    <a:pt x="799" y="699"/>
                  </a:lnTo>
                  <a:lnTo>
                    <a:pt x="799" y="707"/>
                  </a:lnTo>
                  <a:lnTo>
                    <a:pt x="799" y="726"/>
                  </a:lnTo>
                  <a:lnTo>
                    <a:pt x="799" y="743"/>
                  </a:lnTo>
                  <a:lnTo>
                    <a:pt x="797" y="807"/>
                  </a:lnTo>
                  <a:lnTo>
                    <a:pt x="797" y="865"/>
                  </a:lnTo>
                  <a:lnTo>
                    <a:pt x="797" y="866"/>
                  </a:lnTo>
                  <a:lnTo>
                    <a:pt x="797" y="868"/>
                  </a:lnTo>
                  <a:lnTo>
                    <a:pt x="800" y="868"/>
                  </a:lnTo>
                  <a:lnTo>
                    <a:pt x="799" y="870"/>
                  </a:lnTo>
                  <a:lnTo>
                    <a:pt x="795" y="868"/>
                  </a:lnTo>
                  <a:lnTo>
                    <a:pt x="792" y="868"/>
                  </a:lnTo>
                  <a:lnTo>
                    <a:pt x="792" y="871"/>
                  </a:lnTo>
                  <a:lnTo>
                    <a:pt x="794" y="873"/>
                  </a:lnTo>
                  <a:lnTo>
                    <a:pt x="788" y="875"/>
                  </a:lnTo>
                  <a:lnTo>
                    <a:pt x="794" y="877"/>
                  </a:lnTo>
                  <a:lnTo>
                    <a:pt x="788" y="878"/>
                  </a:lnTo>
                  <a:lnTo>
                    <a:pt x="790" y="880"/>
                  </a:lnTo>
                  <a:lnTo>
                    <a:pt x="790" y="882"/>
                  </a:lnTo>
                  <a:lnTo>
                    <a:pt x="787" y="880"/>
                  </a:lnTo>
                  <a:lnTo>
                    <a:pt x="788" y="883"/>
                  </a:lnTo>
                  <a:lnTo>
                    <a:pt x="787" y="885"/>
                  </a:lnTo>
                  <a:lnTo>
                    <a:pt x="790" y="883"/>
                  </a:lnTo>
                  <a:lnTo>
                    <a:pt x="790" y="887"/>
                  </a:lnTo>
                  <a:lnTo>
                    <a:pt x="792" y="889"/>
                  </a:lnTo>
                  <a:lnTo>
                    <a:pt x="787" y="890"/>
                  </a:lnTo>
                  <a:lnTo>
                    <a:pt x="787" y="895"/>
                  </a:lnTo>
                  <a:lnTo>
                    <a:pt x="788" y="897"/>
                  </a:lnTo>
                  <a:lnTo>
                    <a:pt x="783" y="897"/>
                  </a:lnTo>
                  <a:lnTo>
                    <a:pt x="782" y="899"/>
                  </a:lnTo>
                  <a:lnTo>
                    <a:pt x="785" y="899"/>
                  </a:lnTo>
                  <a:lnTo>
                    <a:pt x="783" y="900"/>
                  </a:lnTo>
                  <a:lnTo>
                    <a:pt x="776" y="902"/>
                  </a:lnTo>
                  <a:lnTo>
                    <a:pt x="782" y="904"/>
                  </a:lnTo>
                  <a:lnTo>
                    <a:pt x="778" y="907"/>
                  </a:lnTo>
                  <a:lnTo>
                    <a:pt x="780" y="907"/>
                  </a:lnTo>
                  <a:lnTo>
                    <a:pt x="778" y="909"/>
                  </a:lnTo>
                  <a:lnTo>
                    <a:pt x="780" y="911"/>
                  </a:lnTo>
                  <a:lnTo>
                    <a:pt x="776" y="911"/>
                  </a:lnTo>
                  <a:lnTo>
                    <a:pt x="776" y="916"/>
                  </a:lnTo>
                  <a:lnTo>
                    <a:pt x="783" y="919"/>
                  </a:lnTo>
                  <a:lnTo>
                    <a:pt x="780" y="924"/>
                  </a:lnTo>
                  <a:lnTo>
                    <a:pt x="782" y="926"/>
                  </a:lnTo>
                  <a:lnTo>
                    <a:pt x="785" y="928"/>
                  </a:lnTo>
                  <a:lnTo>
                    <a:pt x="783" y="930"/>
                  </a:lnTo>
                  <a:lnTo>
                    <a:pt x="785" y="935"/>
                  </a:lnTo>
                  <a:lnTo>
                    <a:pt x="788" y="935"/>
                  </a:lnTo>
                  <a:lnTo>
                    <a:pt x="790" y="933"/>
                  </a:lnTo>
                  <a:lnTo>
                    <a:pt x="788" y="936"/>
                  </a:lnTo>
                  <a:lnTo>
                    <a:pt x="790" y="938"/>
                  </a:lnTo>
                  <a:lnTo>
                    <a:pt x="792" y="936"/>
                  </a:lnTo>
                  <a:lnTo>
                    <a:pt x="794" y="938"/>
                  </a:lnTo>
                  <a:lnTo>
                    <a:pt x="795" y="936"/>
                  </a:lnTo>
                  <a:lnTo>
                    <a:pt x="799" y="936"/>
                  </a:lnTo>
                  <a:lnTo>
                    <a:pt x="799" y="948"/>
                  </a:lnTo>
                  <a:lnTo>
                    <a:pt x="795" y="1027"/>
                  </a:lnTo>
                  <a:lnTo>
                    <a:pt x="795" y="1034"/>
                  </a:lnTo>
                  <a:lnTo>
                    <a:pt x="795" y="1042"/>
                  </a:lnTo>
                  <a:lnTo>
                    <a:pt x="794" y="1164"/>
                  </a:lnTo>
                  <a:lnTo>
                    <a:pt x="794" y="1206"/>
                  </a:lnTo>
                  <a:lnTo>
                    <a:pt x="792" y="1203"/>
                  </a:lnTo>
                  <a:lnTo>
                    <a:pt x="792" y="1205"/>
                  </a:lnTo>
                  <a:lnTo>
                    <a:pt x="790" y="1203"/>
                  </a:lnTo>
                  <a:lnTo>
                    <a:pt x="782" y="1199"/>
                  </a:lnTo>
                  <a:lnTo>
                    <a:pt x="776" y="1199"/>
                  </a:lnTo>
                  <a:lnTo>
                    <a:pt x="773" y="1196"/>
                  </a:lnTo>
                  <a:lnTo>
                    <a:pt x="768" y="1191"/>
                  </a:lnTo>
                  <a:lnTo>
                    <a:pt x="764" y="1186"/>
                  </a:lnTo>
                  <a:lnTo>
                    <a:pt x="758" y="1177"/>
                  </a:lnTo>
                  <a:lnTo>
                    <a:pt x="749" y="1172"/>
                  </a:lnTo>
                  <a:lnTo>
                    <a:pt x="744" y="1167"/>
                  </a:lnTo>
                  <a:lnTo>
                    <a:pt x="741" y="1160"/>
                  </a:lnTo>
                  <a:lnTo>
                    <a:pt x="734" y="1152"/>
                  </a:lnTo>
                  <a:lnTo>
                    <a:pt x="730" y="1143"/>
                  </a:lnTo>
                  <a:lnTo>
                    <a:pt x="727" y="1140"/>
                  </a:lnTo>
                  <a:lnTo>
                    <a:pt x="722" y="1134"/>
                  </a:lnTo>
                  <a:lnTo>
                    <a:pt x="718" y="1131"/>
                  </a:lnTo>
                  <a:lnTo>
                    <a:pt x="715" y="1126"/>
                  </a:lnTo>
                  <a:lnTo>
                    <a:pt x="712" y="1124"/>
                  </a:lnTo>
                  <a:lnTo>
                    <a:pt x="703" y="1119"/>
                  </a:lnTo>
                  <a:lnTo>
                    <a:pt x="700" y="1112"/>
                  </a:lnTo>
                  <a:lnTo>
                    <a:pt x="693" y="1109"/>
                  </a:lnTo>
                  <a:lnTo>
                    <a:pt x="688" y="1105"/>
                  </a:lnTo>
                  <a:lnTo>
                    <a:pt x="679" y="1100"/>
                  </a:lnTo>
                  <a:lnTo>
                    <a:pt x="672" y="1093"/>
                  </a:lnTo>
                  <a:lnTo>
                    <a:pt x="671" y="1092"/>
                  </a:lnTo>
                  <a:lnTo>
                    <a:pt x="667" y="1083"/>
                  </a:lnTo>
                  <a:lnTo>
                    <a:pt x="674" y="1080"/>
                  </a:lnTo>
                  <a:lnTo>
                    <a:pt x="679" y="1080"/>
                  </a:lnTo>
                  <a:lnTo>
                    <a:pt x="683" y="1076"/>
                  </a:lnTo>
                  <a:lnTo>
                    <a:pt x="683" y="1073"/>
                  </a:lnTo>
                  <a:lnTo>
                    <a:pt x="679" y="1068"/>
                  </a:lnTo>
                  <a:lnTo>
                    <a:pt x="681" y="1059"/>
                  </a:lnTo>
                  <a:lnTo>
                    <a:pt x="681" y="1061"/>
                  </a:lnTo>
                  <a:lnTo>
                    <a:pt x="679" y="1071"/>
                  </a:lnTo>
                  <a:lnTo>
                    <a:pt x="681" y="1076"/>
                  </a:lnTo>
                  <a:lnTo>
                    <a:pt x="674" y="1078"/>
                  </a:lnTo>
                  <a:lnTo>
                    <a:pt x="669" y="1082"/>
                  </a:lnTo>
                  <a:lnTo>
                    <a:pt x="657" y="1082"/>
                  </a:lnTo>
                  <a:lnTo>
                    <a:pt x="654" y="1082"/>
                  </a:lnTo>
                  <a:lnTo>
                    <a:pt x="650" y="1082"/>
                  </a:lnTo>
                  <a:lnTo>
                    <a:pt x="643" y="1082"/>
                  </a:lnTo>
                  <a:lnTo>
                    <a:pt x="640" y="1082"/>
                  </a:lnTo>
                  <a:lnTo>
                    <a:pt x="638" y="1082"/>
                  </a:lnTo>
                  <a:lnTo>
                    <a:pt x="631" y="1083"/>
                  </a:lnTo>
                  <a:lnTo>
                    <a:pt x="623" y="1085"/>
                  </a:lnTo>
                  <a:lnTo>
                    <a:pt x="623" y="1087"/>
                  </a:lnTo>
                  <a:lnTo>
                    <a:pt x="614" y="1090"/>
                  </a:lnTo>
                  <a:lnTo>
                    <a:pt x="613" y="1090"/>
                  </a:lnTo>
                  <a:lnTo>
                    <a:pt x="607" y="1092"/>
                  </a:lnTo>
                  <a:lnTo>
                    <a:pt x="597" y="1093"/>
                  </a:lnTo>
                  <a:lnTo>
                    <a:pt x="594" y="1093"/>
                  </a:lnTo>
                  <a:lnTo>
                    <a:pt x="585" y="1090"/>
                  </a:lnTo>
                  <a:lnTo>
                    <a:pt x="584" y="1087"/>
                  </a:lnTo>
                  <a:lnTo>
                    <a:pt x="580" y="1080"/>
                  </a:lnTo>
                  <a:lnTo>
                    <a:pt x="575" y="1082"/>
                  </a:lnTo>
                  <a:lnTo>
                    <a:pt x="568" y="1083"/>
                  </a:lnTo>
                  <a:lnTo>
                    <a:pt x="565" y="1085"/>
                  </a:lnTo>
                  <a:lnTo>
                    <a:pt x="563" y="1085"/>
                  </a:lnTo>
                  <a:lnTo>
                    <a:pt x="561" y="1085"/>
                  </a:lnTo>
                  <a:lnTo>
                    <a:pt x="561" y="1083"/>
                  </a:lnTo>
                  <a:lnTo>
                    <a:pt x="560" y="1085"/>
                  </a:lnTo>
                  <a:lnTo>
                    <a:pt x="561" y="1083"/>
                  </a:lnTo>
                  <a:lnTo>
                    <a:pt x="561" y="1085"/>
                  </a:lnTo>
                  <a:lnTo>
                    <a:pt x="561" y="1087"/>
                  </a:lnTo>
                  <a:lnTo>
                    <a:pt x="556" y="1090"/>
                  </a:lnTo>
                  <a:lnTo>
                    <a:pt x="551" y="1093"/>
                  </a:lnTo>
                  <a:lnTo>
                    <a:pt x="549" y="1093"/>
                  </a:lnTo>
                  <a:lnTo>
                    <a:pt x="553" y="1097"/>
                  </a:lnTo>
                  <a:lnTo>
                    <a:pt x="553" y="1107"/>
                  </a:lnTo>
                  <a:lnTo>
                    <a:pt x="549" y="1109"/>
                  </a:lnTo>
                  <a:lnTo>
                    <a:pt x="544" y="1107"/>
                  </a:lnTo>
                  <a:lnTo>
                    <a:pt x="541" y="1097"/>
                  </a:lnTo>
                  <a:lnTo>
                    <a:pt x="536" y="1092"/>
                  </a:lnTo>
                  <a:lnTo>
                    <a:pt x="534" y="1083"/>
                  </a:lnTo>
                  <a:lnTo>
                    <a:pt x="536" y="1080"/>
                  </a:lnTo>
                  <a:lnTo>
                    <a:pt x="544" y="1078"/>
                  </a:lnTo>
                  <a:lnTo>
                    <a:pt x="541" y="1073"/>
                  </a:lnTo>
                  <a:lnTo>
                    <a:pt x="544" y="1066"/>
                  </a:lnTo>
                  <a:lnTo>
                    <a:pt x="543" y="1061"/>
                  </a:lnTo>
                  <a:lnTo>
                    <a:pt x="544" y="1058"/>
                  </a:lnTo>
                  <a:lnTo>
                    <a:pt x="553" y="1054"/>
                  </a:lnTo>
                  <a:lnTo>
                    <a:pt x="556" y="1053"/>
                  </a:lnTo>
                  <a:lnTo>
                    <a:pt x="556" y="1049"/>
                  </a:lnTo>
                  <a:lnTo>
                    <a:pt x="556" y="1041"/>
                  </a:lnTo>
                  <a:lnTo>
                    <a:pt x="560" y="1034"/>
                  </a:lnTo>
                  <a:lnTo>
                    <a:pt x="561" y="1025"/>
                  </a:lnTo>
                  <a:lnTo>
                    <a:pt x="566" y="1020"/>
                  </a:lnTo>
                  <a:lnTo>
                    <a:pt x="566" y="1015"/>
                  </a:lnTo>
                  <a:lnTo>
                    <a:pt x="561" y="1012"/>
                  </a:lnTo>
                  <a:lnTo>
                    <a:pt x="549" y="1012"/>
                  </a:lnTo>
                  <a:lnTo>
                    <a:pt x="548" y="1006"/>
                  </a:lnTo>
                  <a:lnTo>
                    <a:pt x="544" y="996"/>
                  </a:lnTo>
                  <a:lnTo>
                    <a:pt x="544" y="993"/>
                  </a:lnTo>
                  <a:lnTo>
                    <a:pt x="539" y="988"/>
                  </a:lnTo>
                  <a:lnTo>
                    <a:pt x="531" y="984"/>
                  </a:lnTo>
                  <a:lnTo>
                    <a:pt x="527" y="981"/>
                  </a:lnTo>
                  <a:lnTo>
                    <a:pt x="524" y="981"/>
                  </a:lnTo>
                  <a:lnTo>
                    <a:pt x="517" y="977"/>
                  </a:lnTo>
                  <a:lnTo>
                    <a:pt x="515" y="974"/>
                  </a:lnTo>
                  <a:lnTo>
                    <a:pt x="517" y="972"/>
                  </a:lnTo>
                  <a:lnTo>
                    <a:pt x="520" y="974"/>
                  </a:lnTo>
                  <a:lnTo>
                    <a:pt x="527" y="974"/>
                  </a:lnTo>
                  <a:lnTo>
                    <a:pt x="536" y="974"/>
                  </a:lnTo>
                  <a:lnTo>
                    <a:pt x="544" y="972"/>
                  </a:lnTo>
                  <a:lnTo>
                    <a:pt x="555" y="977"/>
                  </a:lnTo>
                  <a:lnTo>
                    <a:pt x="558" y="977"/>
                  </a:lnTo>
                  <a:lnTo>
                    <a:pt x="565" y="979"/>
                  </a:lnTo>
                  <a:lnTo>
                    <a:pt x="570" y="977"/>
                  </a:lnTo>
                  <a:lnTo>
                    <a:pt x="575" y="977"/>
                  </a:lnTo>
                  <a:lnTo>
                    <a:pt x="578" y="976"/>
                  </a:lnTo>
                  <a:lnTo>
                    <a:pt x="584" y="967"/>
                  </a:lnTo>
                  <a:lnTo>
                    <a:pt x="585" y="976"/>
                  </a:lnTo>
                  <a:lnTo>
                    <a:pt x="587" y="977"/>
                  </a:lnTo>
                  <a:lnTo>
                    <a:pt x="592" y="976"/>
                  </a:lnTo>
                  <a:lnTo>
                    <a:pt x="597" y="977"/>
                  </a:lnTo>
                  <a:lnTo>
                    <a:pt x="606" y="977"/>
                  </a:lnTo>
                  <a:lnTo>
                    <a:pt x="607" y="974"/>
                  </a:lnTo>
                  <a:lnTo>
                    <a:pt x="604" y="972"/>
                  </a:lnTo>
                  <a:lnTo>
                    <a:pt x="601" y="974"/>
                  </a:lnTo>
                  <a:lnTo>
                    <a:pt x="597" y="969"/>
                  </a:lnTo>
                  <a:lnTo>
                    <a:pt x="602" y="964"/>
                  </a:lnTo>
                  <a:lnTo>
                    <a:pt x="601" y="962"/>
                  </a:lnTo>
                  <a:lnTo>
                    <a:pt x="597" y="955"/>
                  </a:lnTo>
                  <a:lnTo>
                    <a:pt x="592" y="955"/>
                  </a:lnTo>
                  <a:lnTo>
                    <a:pt x="587" y="952"/>
                  </a:lnTo>
                  <a:lnTo>
                    <a:pt x="584" y="952"/>
                  </a:lnTo>
                  <a:lnTo>
                    <a:pt x="582" y="952"/>
                  </a:lnTo>
                  <a:lnTo>
                    <a:pt x="584" y="948"/>
                  </a:lnTo>
                  <a:lnTo>
                    <a:pt x="578" y="945"/>
                  </a:lnTo>
                  <a:lnTo>
                    <a:pt x="572" y="945"/>
                  </a:lnTo>
                  <a:lnTo>
                    <a:pt x="568" y="941"/>
                  </a:lnTo>
                  <a:lnTo>
                    <a:pt x="563" y="938"/>
                  </a:lnTo>
                  <a:lnTo>
                    <a:pt x="556" y="931"/>
                  </a:lnTo>
                  <a:lnTo>
                    <a:pt x="551" y="930"/>
                  </a:lnTo>
                  <a:lnTo>
                    <a:pt x="549" y="924"/>
                  </a:lnTo>
                  <a:lnTo>
                    <a:pt x="548" y="924"/>
                  </a:lnTo>
                  <a:lnTo>
                    <a:pt x="546" y="923"/>
                  </a:lnTo>
                  <a:lnTo>
                    <a:pt x="541" y="924"/>
                  </a:lnTo>
                  <a:lnTo>
                    <a:pt x="536" y="923"/>
                  </a:lnTo>
                  <a:lnTo>
                    <a:pt x="536" y="918"/>
                  </a:lnTo>
                  <a:lnTo>
                    <a:pt x="536" y="912"/>
                  </a:lnTo>
                  <a:lnTo>
                    <a:pt x="534" y="912"/>
                  </a:lnTo>
                  <a:lnTo>
                    <a:pt x="532" y="909"/>
                  </a:lnTo>
                  <a:lnTo>
                    <a:pt x="525" y="906"/>
                  </a:lnTo>
                  <a:lnTo>
                    <a:pt x="519" y="902"/>
                  </a:lnTo>
                  <a:lnTo>
                    <a:pt x="517" y="899"/>
                  </a:lnTo>
                  <a:lnTo>
                    <a:pt x="514" y="897"/>
                  </a:lnTo>
                  <a:lnTo>
                    <a:pt x="508" y="892"/>
                  </a:lnTo>
                  <a:lnTo>
                    <a:pt x="507" y="889"/>
                  </a:lnTo>
                  <a:lnTo>
                    <a:pt x="500" y="883"/>
                  </a:lnTo>
                  <a:lnTo>
                    <a:pt x="496" y="880"/>
                  </a:lnTo>
                  <a:lnTo>
                    <a:pt x="495" y="878"/>
                  </a:lnTo>
                  <a:lnTo>
                    <a:pt x="493" y="878"/>
                  </a:lnTo>
                  <a:lnTo>
                    <a:pt x="488" y="873"/>
                  </a:lnTo>
                  <a:lnTo>
                    <a:pt x="488" y="870"/>
                  </a:lnTo>
                  <a:lnTo>
                    <a:pt x="490" y="868"/>
                  </a:lnTo>
                  <a:lnTo>
                    <a:pt x="486" y="865"/>
                  </a:lnTo>
                  <a:lnTo>
                    <a:pt x="485" y="858"/>
                  </a:lnTo>
                  <a:lnTo>
                    <a:pt x="483" y="851"/>
                  </a:lnTo>
                  <a:lnTo>
                    <a:pt x="486" y="851"/>
                  </a:lnTo>
                  <a:lnTo>
                    <a:pt x="481" y="842"/>
                  </a:lnTo>
                  <a:lnTo>
                    <a:pt x="479" y="841"/>
                  </a:lnTo>
                  <a:lnTo>
                    <a:pt x="481" y="837"/>
                  </a:lnTo>
                  <a:lnTo>
                    <a:pt x="478" y="837"/>
                  </a:lnTo>
                  <a:lnTo>
                    <a:pt x="474" y="829"/>
                  </a:lnTo>
                  <a:lnTo>
                    <a:pt x="471" y="824"/>
                  </a:lnTo>
                  <a:lnTo>
                    <a:pt x="473" y="822"/>
                  </a:lnTo>
                  <a:lnTo>
                    <a:pt x="471" y="822"/>
                  </a:lnTo>
                  <a:lnTo>
                    <a:pt x="467" y="819"/>
                  </a:lnTo>
                  <a:lnTo>
                    <a:pt x="467" y="815"/>
                  </a:lnTo>
                  <a:lnTo>
                    <a:pt x="471" y="810"/>
                  </a:lnTo>
                  <a:lnTo>
                    <a:pt x="466" y="808"/>
                  </a:lnTo>
                  <a:lnTo>
                    <a:pt x="459" y="808"/>
                  </a:lnTo>
                  <a:lnTo>
                    <a:pt x="457" y="805"/>
                  </a:lnTo>
                  <a:lnTo>
                    <a:pt x="457" y="800"/>
                  </a:lnTo>
                  <a:lnTo>
                    <a:pt x="466" y="795"/>
                  </a:lnTo>
                  <a:lnTo>
                    <a:pt x="466" y="793"/>
                  </a:lnTo>
                  <a:lnTo>
                    <a:pt x="466" y="789"/>
                  </a:lnTo>
                  <a:lnTo>
                    <a:pt x="461" y="796"/>
                  </a:lnTo>
                  <a:lnTo>
                    <a:pt x="454" y="796"/>
                  </a:lnTo>
                  <a:lnTo>
                    <a:pt x="449" y="800"/>
                  </a:lnTo>
                  <a:lnTo>
                    <a:pt x="447" y="798"/>
                  </a:lnTo>
                  <a:lnTo>
                    <a:pt x="444" y="789"/>
                  </a:lnTo>
                  <a:lnTo>
                    <a:pt x="444" y="783"/>
                  </a:lnTo>
                  <a:lnTo>
                    <a:pt x="445" y="778"/>
                  </a:lnTo>
                  <a:lnTo>
                    <a:pt x="449" y="774"/>
                  </a:lnTo>
                  <a:lnTo>
                    <a:pt x="449" y="772"/>
                  </a:lnTo>
                  <a:lnTo>
                    <a:pt x="440" y="769"/>
                  </a:lnTo>
                  <a:lnTo>
                    <a:pt x="433" y="764"/>
                  </a:lnTo>
                  <a:lnTo>
                    <a:pt x="426" y="757"/>
                  </a:lnTo>
                  <a:lnTo>
                    <a:pt x="426" y="754"/>
                  </a:lnTo>
                  <a:lnTo>
                    <a:pt x="423" y="752"/>
                  </a:lnTo>
                  <a:lnTo>
                    <a:pt x="416" y="755"/>
                  </a:lnTo>
                  <a:lnTo>
                    <a:pt x="411" y="754"/>
                  </a:lnTo>
                  <a:lnTo>
                    <a:pt x="413" y="750"/>
                  </a:lnTo>
                  <a:lnTo>
                    <a:pt x="420" y="745"/>
                  </a:lnTo>
                  <a:lnTo>
                    <a:pt x="413" y="748"/>
                  </a:lnTo>
                  <a:lnTo>
                    <a:pt x="411" y="752"/>
                  </a:lnTo>
                  <a:lnTo>
                    <a:pt x="408" y="752"/>
                  </a:lnTo>
                  <a:lnTo>
                    <a:pt x="408" y="754"/>
                  </a:lnTo>
                  <a:lnTo>
                    <a:pt x="406" y="754"/>
                  </a:lnTo>
                  <a:lnTo>
                    <a:pt x="406" y="748"/>
                  </a:lnTo>
                  <a:lnTo>
                    <a:pt x="411" y="745"/>
                  </a:lnTo>
                  <a:lnTo>
                    <a:pt x="406" y="743"/>
                  </a:lnTo>
                  <a:lnTo>
                    <a:pt x="401" y="738"/>
                  </a:lnTo>
                  <a:lnTo>
                    <a:pt x="403" y="731"/>
                  </a:lnTo>
                  <a:lnTo>
                    <a:pt x="401" y="733"/>
                  </a:lnTo>
                  <a:lnTo>
                    <a:pt x="399" y="735"/>
                  </a:lnTo>
                  <a:lnTo>
                    <a:pt x="397" y="735"/>
                  </a:lnTo>
                  <a:lnTo>
                    <a:pt x="396" y="735"/>
                  </a:lnTo>
                  <a:lnTo>
                    <a:pt x="387" y="731"/>
                  </a:lnTo>
                  <a:lnTo>
                    <a:pt x="386" y="730"/>
                  </a:lnTo>
                  <a:lnTo>
                    <a:pt x="387" y="726"/>
                  </a:lnTo>
                  <a:lnTo>
                    <a:pt x="392" y="726"/>
                  </a:lnTo>
                  <a:lnTo>
                    <a:pt x="392" y="728"/>
                  </a:lnTo>
                  <a:lnTo>
                    <a:pt x="392" y="726"/>
                  </a:lnTo>
                  <a:lnTo>
                    <a:pt x="396" y="726"/>
                  </a:lnTo>
                  <a:lnTo>
                    <a:pt x="396" y="725"/>
                  </a:lnTo>
                  <a:lnTo>
                    <a:pt x="386" y="726"/>
                  </a:lnTo>
                  <a:lnTo>
                    <a:pt x="387" y="723"/>
                  </a:lnTo>
                  <a:lnTo>
                    <a:pt x="386" y="718"/>
                  </a:lnTo>
                  <a:lnTo>
                    <a:pt x="389" y="713"/>
                  </a:lnTo>
                  <a:lnTo>
                    <a:pt x="394" y="713"/>
                  </a:lnTo>
                  <a:lnTo>
                    <a:pt x="392" y="707"/>
                  </a:lnTo>
                  <a:lnTo>
                    <a:pt x="394" y="704"/>
                  </a:lnTo>
                  <a:lnTo>
                    <a:pt x="389" y="707"/>
                  </a:lnTo>
                  <a:lnTo>
                    <a:pt x="387" y="709"/>
                  </a:lnTo>
                  <a:lnTo>
                    <a:pt x="391" y="711"/>
                  </a:lnTo>
                  <a:lnTo>
                    <a:pt x="389" y="711"/>
                  </a:lnTo>
                  <a:lnTo>
                    <a:pt x="386" y="718"/>
                  </a:lnTo>
                  <a:lnTo>
                    <a:pt x="386" y="723"/>
                  </a:lnTo>
                  <a:lnTo>
                    <a:pt x="379" y="728"/>
                  </a:lnTo>
                  <a:lnTo>
                    <a:pt x="374" y="721"/>
                  </a:lnTo>
                  <a:lnTo>
                    <a:pt x="374" y="719"/>
                  </a:lnTo>
                  <a:lnTo>
                    <a:pt x="377" y="714"/>
                  </a:lnTo>
                  <a:lnTo>
                    <a:pt x="384" y="711"/>
                  </a:lnTo>
                  <a:lnTo>
                    <a:pt x="386" y="709"/>
                  </a:lnTo>
                  <a:lnTo>
                    <a:pt x="384" y="707"/>
                  </a:lnTo>
                  <a:lnTo>
                    <a:pt x="382" y="707"/>
                  </a:lnTo>
                  <a:lnTo>
                    <a:pt x="382" y="709"/>
                  </a:lnTo>
                  <a:lnTo>
                    <a:pt x="374" y="714"/>
                  </a:lnTo>
                  <a:lnTo>
                    <a:pt x="372" y="723"/>
                  </a:lnTo>
                  <a:lnTo>
                    <a:pt x="370" y="725"/>
                  </a:lnTo>
                  <a:lnTo>
                    <a:pt x="368" y="723"/>
                  </a:lnTo>
                  <a:lnTo>
                    <a:pt x="372" y="716"/>
                  </a:lnTo>
                  <a:lnTo>
                    <a:pt x="370" y="711"/>
                  </a:lnTo>
                  <a:lnTo>
                    <a:pt x="374" y="709"/>
                  </a:lnTo>
                  <a:lnTo>
                    <a:pt x="374" y="702"/>
                  </a:lnTo>
                  <a:lnTo>
                    <a:pt x="379" y="702"/>
                  </a:lnTo>
                  <a:lnTo>
                    <a:pt x="375" y="697"/>
                  </a:lnTo>
                  <a:lnTo>
                    <a:pt x="375" y="696"/>
                  </a:lnTo>
                  <a:lnTo>
                    <a:pt x="374" y="697"/>
                  </a:lnTo>
                  <a:lnTo>
                    <a:pt x="374" y="699"/>
                  </a:lnTo>
                  <a:lnTo>
                    <a:pt x="375" y="701"/>
                  </a:lnTo>
                  <a:lnTo>
                    <a:pt x="372" y="701"/>
                  </a:lnTo>
                  <a:lnTo>
                    <a:pt x="372" y="702"/>
                  </a:lnTo>
                  <a:lnTo>
                    <a:pt x="367" y="704"/>
                  </a:lnTo>
                  <a:lnTo>
                    <a:pt x="365" y="709"/>
                  </a:lnTo>
                  <a:lnTo>
                    <a:pt x="362" y="711"/>
                  </a:lnTo>
                  <a:lnTo>
                    <a:pt x="360" y="714"/>
                  </a:lnTo>
                  <a:lnTo>
                    <a:pt x="356" y="711"/>
                  </a:lnTo>
                  <a:lnTo>
                    <a:pt x="353" y="713"/>
                  </a:lnTo>
                  <a:lnTo>
                    <a:pt x="348" y="709"/>
                  </a:lnTo>
                  <a:lnTo>
                    <a:pt x="350" y="704"/>
                  </a:lnTo>
                  <a:lnTo>
                    <a:pt x="345" y="706"/>
                  </a:lnTo>
                  <a:lnTo>
                    <a:pt x="345" y="709"/>
                  </a:lnTo>
                  <a:lnTo>
                    <a:pt x="341" y="711"/>
                  </a:lnTo>
                  <a:lnTo>
                    <a:pt x="339" y="707"/>
                  </a:lnTo>
                  <a:lnTo>
                    <a:pt x="334" y="706"/>
                  </a:lnTo>
                  <a:lnTo>
                    <a:pt x="336" y="702"/>
                  </a:lnTo>
                  <a:lnTo>
                    <a:pt x="336" y="697"/>
                  </a:lnTo>
                  <a:lnTo>
                    <a:pt x="338" y="694"/>
                  </a:lnTo>
                  <a:lnTo>
                    <a:pt x="336" y="697"/>
                  </a:lnTo>
                  <a:lnTo>
                    <a:pt x="334" y="702"/>
                  </a:lnTo>
                  <a:lnTo>
                    <a:pt x="333" y="706"/>
                  </a:lnTo>
                  <a:lnTo>
                    <a:pt x="331" y="706"/>
                  </a:lnTo>
                  <a:lnTo>
                    <a:pt x="327" y="702"/>
                  </a:lnTo>
                  <a:lnTo>
                    <a:pt x="329" y="701"/>
                  </a:lnTo>
                  <a:lnTo>
                    <a:pt x="331" y="696"/>
                  </a:lnTo>
                  <a:lnTo>
                    <a:pt x="333" y="696"/>
                  </a:lnTo>
                  <a:lnTo>
                    <a:pt x="331" y="694"/>
                  </a:lnTo>
                  <a:lnTo>
                    <a:pt x="333" y="690"/>
                  </a:lnTo>
                  <a:lnTo>
                    <a:pt x="329" y="694"/>
                  </a:lnTo>
                  <a:lnTo>
                    <a:pt x="327" y="692"/>
                  </a:lnTo>
                  <a:lnTo>
                    <a:pt x="326" y="687"/>
                  </a:lnTo>
                  <a:lnTo>
                    <a:pt x="326" y="690"/>
                  </a:lnTo>
                  <a:lnTo>
                    <a:pt x="327" y="694"/>
                  </a:lnTo>
                  <a:lnTo>
                    <a:pt x="324" y="696"/>
                  </a:lnTo>
                  <a:lnTo>
                    <a:pt x="327" y="697"/>
                  </a:lnTo>
                  <a:lnTo>
                    <a:pt x="327" y="701"/>
                  </a:lnTo>
                  <a:lnTo>
                    <a:pt x="322" y="701"/>
                  </a:lnTo>
                  <a:lnTo>
                    <a:pt x="322" y="699"/>
                  </a:lnTo>
                  <a:lnTo>
                    <a:pt x="321" y="699"/>
                  </a:lnTo>
                  <a:lnTo>
                    <a:pt x="321" y="697"/>
                  </a:lnTo>
                  <a:lnTo>
                    <a:pt x="322" y="697"/>
                  </a:lnTo>
                  <a:lnTo>
                    <a:pt x="321" y="697"/>
                  </a:lnTo>
                  <a:lnTo>
                    <a:pt x="321" y="699"/>
                  </a:lnTo>
                  <a:lnTo>
                    <a:pt x="322" y="699"/>
                  </a:lnTo>
                  <a:lnTo>
                    <a:pt x="321" y="701"/>
                  </a:lnTo>
                  <a:lnTo>
                    <a:pt x="322" y="701"/>
                  </a:lnTo>
                  <a:lnTo>
                    <a:pt x="317" y="702"/>
                  </a:lnTo>
                  <a:lnTo>
                    <a:pt x="310" y="697"/>
                  </a:lnTo>
                  <a:lnTo>
                    <a:pt x="319" y="692"/>
                  </a:lnTo>
                  <a:lnTo>
                    <a:pt x="321" y="689"/>
                  </a:lnTo>
                  <a:lnTo>
                    <a:pt x="319" y="692"/>
                  </a:lnTo>
                  <a:lnTo>
                    <a:pt x="317" y="690"/>
                  </a:lnTo>
                  <a:lnTo>
                    <a:pt x="319" y="692"/>
                  </a:lnTo>
                  <a:lnTo>
                    <a:pt x="310" y="694"/>
                  </a:lnTo>
                  <a:lnTo>
                    <a:pt x="312" y="692"/>
                  </a:lnTo>
                  <a:lnTo>
                    <a:pt x="310" y="692"/>
                  </a:lnTo>
                  <a:lnTo>
                    <a:pt x="309" y="694"/>
                  </a:lnTo>
                  <a:lnTo>
                    <a:pt x="307" y="692"/>
                  </a:lnTo>
                  <a:lnTo>
                    <a:pt x="305" y="692"/>
                  </a:lnTo>
                  <a:lnTo>
                    <a:pt x="305" y="690"/>
                  </a:lnTo>
                  <a:lnTo>
                    <a:pt x="305" y="689"/>
                  </a:lnTo>
                  <a:lnTo>
                    <a:pt x="305" y="690"/>
                  </a:lnTo>
                  <a:lnTo>
                    <a:pt x="304" y="687"/>
                  </a:lnTo>
                  <a:lnTo>
                    <a:pt x="302" y="689"/>
                  </a:lnTo>
                  <a:lnTo>
                    <a:pt x="295" y="689"/>
                  </a:lnTo>
                  <a:lnTo>
                    <a:pt x="293" y="687"/>
                  </a:lnTo>
                  <a:lnTo>
                    <a:pt x="295" y="685"/>
                  </a:lnTo>
                  <a:lnTo>
                    <a:pt x="293" y="685"/>
                  </a:lnTo>
                  <a:lnTo>
                    <a:pt x="292" y="685"/>
                  </a:lnTo>
                  <a:lnTo>
                    <a:pt x="290" y="694"/>
                  </a:lnTo>
                  <a:lnTo>
                    <a:pt x="283" y="690"/>
                  </a:lnTo>
                  <a:lnTo>
                    <a:pt x="281" y="685"/>
                  </a:lnTo>
                  <a:lnTo>
                    <a:pt x="278" y="689"/>
                  </a:lnTo>
                  <a:lnTo>
                    <a:pt x="278" y="687"/>
                  </a:lnTo>
                  <a:lnTo>
                    <a:pt x="275" y="689"/>
                  </a:lnTo>
                  <a:lnTo>
                    <a:pt x="276" y="689"/>
                  </a:lnTo>
                  <a:lnTo>
                    <a:pt x="268" y="685"/>
                  </a:lnTo>
                  <a:lnTo>
                    <a:pt x="268" y="684"/>
                  </a:lnTo>
                  <a:lnTo>
                    <a:pt x="264" y="684"/>
                  </a:lnTo>
                  <a:lnTo>
                    <a:pt x="264" y="682"/>
                  </a:lnTo>
                  <a:lnTo>
                    <a:pt x="261" y="680"/>
                  </a:lnTo>
                  <a:lnTo>
                    <a:pt x="263" y="678"/>
                  </a:lnTo>
                  <a:lnTo>
                    <a:pt x="263" y="677"/>
                  </a:lnTo>
                  <a:lnTo>
                    <a:pt x="261" y="678"/>
                  </a:lnTo>
                  <a:lnTo>
                    <a:pt x="259" y="680"/>
                  </a:lnTo>
                  <a:lnTo>
                    <a:pt x="256" y="678"/>
                  </a:lnTo>
                  <a:lnTo>
                    <a:pt x="254" y="675"/>
                  </a:lnTo>
                  <a:lnTo>
                    <a:pt x="252" y="677"/>
                  </a:lnTo>
                  <a:lnTo>
                    <a:pt x="249" y="675"/>
                  </a:lnTo>
                  <a:lnTo>
                    <a:pt x="251" y="673"/>
                  </a:lnTo>
                  <a:lnTo>
                    <a:pt x="247" y="673"/>
                  </a:lnTo>
                  <a:lnTo>
                    <a:pt x="242" y="670"/>
                  </a:lnTo>
                  <a:lnTo>
                    <a:pt x="239" y="670"/>
                  </a:lnTo>
                  <a:lnTo>
                    <a:pt x="239" y="668"/>
                  </a:lnTo>
                  <a:lnTo>
                    <a:pt x="235" y="670"/>
                  </a:lnTo>
                  <a:lnTo>
                    <a:pt x="228" y="670"/>
                  </a:lnTo>
                  <a:lnTo>
                    <a:pt x="225" y="667"/>
                  </a:lnTo>
                  <a:lnTo>
                    <a:pt x="225" y="668"/>
                  </a:lnTo>
                  <a:lnTo>
                    <a:pt x="217" y="665"/>
                  </a:lnTo>
                  <a:lnTo>
                    <a:pt x="220" y="660"/>
                  </a:lnTo>
                  <a:lnTo>
                    <a:pt x="217" y="661"/>
                  </a:lnTo>
                  <a:lnTo>
                    <a:pt x="215" y="663"/>
                  </a:lnTo>
                  <a:lnTo>
                    <a:pt x="213" y="663"/>
                  </a:lnTo>
                  <a:lnTo>
                    <a:pt x="215" y="665"/>
                  </a:lnTo>
                  <a:lnTo>
                    <a:pt x="210" y="660"/>
                  </a:lnTo>
                  <a:lnTo>
                    <a:pt x="206" y="660"/>
                  </a:lnTo>
                  <a:lnTo>
                    <a:pt x="208" y="656"/>
                  </a:lnTo>
                  <a:lnTo>
                    <a:pt x="205" y="660"/>
                  </a:lnTo>
                  <a:lnTo>
                    <a:pt x="199" y="655"/>
                  </a:lnTo>
                  <a:lnTo>
                    <a:pt x="203" y="656"/>
                  </a:lnTo>
                  <a:lnTo>
                    <a:pt x="201" y="655"/>
                  </a:lnTo>
                  <a:lnTo>
                    <a:pt x="196" y="653"/>
                  </a:lnTo>
                  <a:lnTo>
                    <a:pt x="194" y="651"/>
                  </a:lnTo>
                  <a:lnTo>
                    <a:pt x="189" y="648"/>
                  </a:lnTo>
                  <a:lnTo>
                    <a:pt x="182" y="648"/>
                  </a:lnTo>
                  <a:lnTo>
                    <a:pt x="176" y="648"/>
                  </a:lnTo>
                  <a:lnTo>
                    <a:pt x="172" y="648"/>
                  </a:lnTo>
                  <a:lnTo>
                    <a:pt x="167" y="649"/>
                  </a:lnTo>
                  <a:lnTo>
                    <a:pt x="165" y="648"/>
                  </a:lnTo>
                  <a:lnTo>
                    <a:pt x="165" y="649"/>
                  </a:lnTo>
                  <a:lnTo>
                    <a:pt x="160" y="648"/>
                  </a:lnTo>
                  <a:lnTo>
                    <a:pt x="152" y="646"/>
                  </a:lnTo>
                  <a:lnTo>
                    <a:pt x="145" y="644"/>
                  </a:lnTo>
                  <a:lnTo>
                    <a:pt x="136" y="643"/>
                  </a:lnTo>
                  <a:lnTo>
                    <a:pt x="131" y="643"/>
                  </a:lnTo>
                  <a:lnTo>
                    <a:pt x="131" y="641"/>
                  </a:lnTo>
                  <a:lnTo>
                    <a:pt x="123" y="643"/>
                  </a:lnTo>
                  <a:lnTo>
                    <a:pt x="124" y="641"/>
                  </a:lnTo>
                  <a:lnTo>
                    <a:pt x="123" y="641"/>
                  </a:lnTo>
                  <a:lnTo>
                    <a:pt x="121" y="643"/>
                  </a:lnTo>
                  <a:lnTo>
                    <a:pt x="116" y="643"/>
                  </a:lnTo>
                  <a:lnTo>
                    <a:pt x="106" y="646"/>
                  </a:lnTo>
                  <a:lnTo>
                    <a:pt x="106" y="644"/>
                  </a:lnTo>
                  <a:lnTo>
                    <a:pt x="106" y="646"/>
                  </a:lnTo>
                  <a:lnTo>
                    <a:pt x="104" y="644"/>
                  </a:lnTo>
                  <a:lnTo>
                    <a:pt x="95" y="639"/>
                  </a:lnTo>
                  <a:lnTo>
                    <a:pt x="95" y="637"/>
                  </a:lnTo>
                  <a:lnTo>
                    <a:pt x="95" y="639"/>
                  </a:lnTo>
                  <a:lnTo>
                    <a:pt x="92" y="639"/>
                  </a:lnTo>
                  <a:lnTo>
                    <a:pt x="88" y="636"/>
                  </a:lnTo>
                  <a:lnTo>
                    <a:pt x="90" y="634"/>
                  </a:lnTo>
                  <a:lnTo>
                    <a:pt x="85" y="634"/>
                  </a:lnTo>
                  <a:lnTo>
                    <a:pt x="83" y="631"/>
                  </a:lnTo>
                  <a:lnTo>
                    <a:pt x="83" y="632"/>
                  </a:lnTo>
                  <a:lnTo>
                    <a:pt x="75" y="627"/>
                  </a:lnTo>
                  <a:lnTo>
                    <a:pt x="73" y="626"/>
                  </a:lnTo>
                  <a:lnTo>
                    <a:pt x="78" y="629"/>
                  </a:lnTo>
                  <a:lnTo>
                    <a:pt x="82" y="629"/>
                  </a:lnTo>
                  <a:lnTo>
                    <a:pt x="78" y="629"/>
                  </a:lnTo>
                  <a:lnTo>
                    <a:pt x="73" y="624"/>
                  </a:lnTo>
                  <a:lnTo>
                    <a:pt x="73" y="626"/>
                  </a:lnTo>
                  <a:lnTo>
                    <a:pt x="68" y="620"/>
                  </a:lnTo>
                  <a:lnTo>
                    <a:pt x="59" y="620"/>
                  </a:lnTo>
                  <a:lnTo>
                    <a:pt x="59" y="617"/>
                  </a:lnTo>
                  <a:lnTo>
                    <a:pt x="56" y="619"/>
                  </a:lnTo>
                  <a:lnTo>
                    <a:pt x="51" y="614"/>
                  </a:lnTo>
                  <a:close/>
                  <a:moveTo>
                    <a:pt x="275" y="263"/>
                  </a:moveTo>
                  <a:lnTo>
                    <a:pt x="276" y="263"/>
                  </a:lnTo>
                  <a:lnTo>
                    <a:pt x="276" y="269"/>
                  </a:lnTo>
                  <a:lnTo>
                    <a:pt x="275" y="263"/>
                  </a:lnTo>
                  <a:close/>
                  <a:moveTo>
                    <a:pt x="252" y="267"/>
                  </a:moveTo>
                  <a:lnTo>
                    <a:pt x="252" y="263"/>
                  </a:lnTo>
                  <a:lnTo>
                    <a:pt x="254" y="262"/>
                  </a:lnTo>
                  <a:lnTo>
                    <a:pt x="252" y="267"/>
                  </a:lnTo>
                  <a:close/>
                  <a:moveTo>
                    <a:pt x="275" y="258"/>
                  </a:moveTo>
                  <a:lnTo>
                    <a:pt x="276" y="258"/>
                  </a:lnTo>
                  <a:lnTo>
                    <a:pt x="276" y="260"/>
                  </a:lnTo>
                  <a:lnTo>
                    <a:pt x="275" y="260"/>
                  </a:lnTo>
                  <a:lnTo>
                    <a:pt x="275" y="258"/>
                  </a:lnTo>
                  <a:close/>
                  <a:moveTo>
                    <a:pt x="230" y="258"/>
                  </a:moveTo>
                  <a:lnTo>
                    <a:pt x="228" y="262"/>
                  </a:lnTo>
                  <a:lnTo>
                    <a:pt x="225" y="260"/>
                  </a:lnTo>
                  <a:lnTo>
                    <a:pt x="230" y="258"/>
                  </a:lnTo>
                  <a:close/>
                  <a:moveTo>
                    <a:pt x="266" y="258"/>
                  </a:moveTo>
                  <a:lnTo>
                    <a:pt x="268" y="260"/>
                  </a:lnTo>
                  <a:lnTo>
                    <a:pt x="263" y="258"/>
                  </a:lnTo>
                  <a:lnTo>
                    <a:pt x="266" y="258"/>
                  </a:lnTo>
                  <a:close/>
                  <a:moveTo>
                    <a:pt x="242" y="257"/>
                  </a:moveTo>
                  <a:lnTo>
                    <a:pt x="244" y="258"/>
                  </a:lnTo>
                  <a:lnTo>
                    <a:pt x="242" y="258"/>
                  </a:lnTo>
                  <a:lnTo>
                    <a:pt x="239" y="260"/>
                  </a:lnTo>
                  <a:lnTo>
                    <a:pt x="242" y="257"/>
                  </a:lnTo>
                  <a:close/>
                  <a:moveTo>
                    <a:pt x="257" y="258"/>
                  </a:moveTo>
                  <a:lnTo>
                    <a:pt x="254" y="257"/>
                  </a:lnTo>
                  <a:lnTo>
                    <a:pt x="256" y="255"/>
                  </a:lnTo>
                  <a:lnTo>
                    <a:pt x="257" y="258"/>
                  </a:lnTo>
                  <a:close/>
                  <a:moveTo>
                    <a:pt x="275" y="253"/>
                  </a:moveTo>
                  <a:lnTo>
                    <a:pt x="276" y="257"/>
                  </a:lnTo>
                  <a:lnTo>
                    <a:pt x="275" y="258"/>
                  </a:lnTo>
                  <a:lnTo>
                    <a:pt x="273" y="255"/>
                  </a:lnTo>
                  <a:lnTo>
                    <a:pt x="275" y="253"/>
                  </a:lnTo>
                  <a:close/>
                  <a:moveTo>
                    <a:pt x="278" y="248"/>
                  </a:moveTo>
                  <a:lnTo>
                    <a:pt x="276" y="250"/>
                  </a:lnTo>
                  <a:lnTo>
                    <a:pt x="275" y="251"/>
                  </a:lnTo>
                  <a:lnTo>
                    <a:pt x="275" y="250"/>
                  </a:lnTo>
                  <a:lnTo>
                    <a:pt x="276" y="250"/>
                  </a:lnTo>
                  <a:lnTo>
                    <a:pt x="275" y="246"/>
                  </a:lnTo>
                  <a:lnTo>
                    <a:pt x="278" y="248"/>
                  </a:lnTo>
                  <a:close/>
                  <a:moveTo>
                    <a:pt x="77" y="236"/>
                  </a:moveTo>
                  <a:lnTo>
                    <a:pt x="77" y="231"/>
                  </a:lnTo>
                  <a:lnTo>
                    <a:pt x="78" y="233"/>
                  </a:lnTo>
                  <a:lnTo>
                    <a:pt x="77" y="236"/>
                  </a:lnTo>
                  <a:close/>
                  <a:moveTo>
                    <a:pt x="66" y="222"/>
                  </a:moveTo>
                  <a:lnTo>
                    <a:pt x="71" y="222"/>
                  </a:lnTo>
                  <a:lnTo>
                    <a:pt x="77" y="228"/>
                  </a:lnTo>
                  <a:lnTo>
                    <a:pt x="77" y="231"/>
                  </a:lnTo>
                  <a:lnTo>
                    <a:pt x="75" y="233"/>
                  </a:lnTo>
                  <a:lnTo>
                    <a:pt x="75" y="240"/>
                  </a:lnTo>
                  <a:lnTo>
                    <a:pt x="78" y="236"/>
                  </a:lnTo>
                  <a:lnTo>
                    <a:pt x="78" y="233"/>
                  </a:lnTo>
                  <a:lnTo>
                    <a:pt x="82" y="233"/>
                  </a:lnTo>
                  <a:lnTo>
                    <a:pt x="82" y="240"/>
                  </a:lnTo>
                  <a:lnTo>
                    <a:pt x="78" y="246"/>
                  </a:lnTo>
                  <a:lnTo>
                    <a:pt x="70" y="246"/>
                  </a:lnTo>
                  <a:lnTo>
                    <a:pt x="66" y="246"/>
                  </a:lnTo>
                  <a:lnTo>
                    <a:pt x="63" y="243"/>
                  </a:lnTo>
                  <a:lnTo>
                    <a:pt x="65" y="241"/>
                  </a:lnTo>
                  <a:lnTo>
                    <a:pt x="63" y="241"/>
                  </a:lnTo>
                  <a:lnTo>
                    <a:pt x="59" y="234"/>
                  </a:lnTo>
                  <a:lnTo>
                    <a:pt x="58" y="231"/>
                  </a:lnTo>
                  <a:lnTo>
                    <a:pt x="61" y="228"/>
                  </a:lnTo>
                  <a:lnTo>
                    <a:pt x="58" y="228"/>
                  </a:lnTo>
                  <a:lnTo>
                    <a:pt x="59" y="226"/>
                  </a:lnTo>
                  <a:lnTo>
                    <a:pt x="65" y="222"/>
                  </a:lnTo>
                  <a:lnTo>
                    <a:pt x="66" y="222"/>
                  </a:lnTo>
                  <a:close/>
                  <a:moveTo>
                    <a:pt x="143" y="224"/>
                  </a:moveTo>
                  <a:lnTo>
                    <a:pt x="145" y="226"/>
                  </a:lnTo>
                  <a:lnTo>
                    <a:pt x="143" y="226"/>
                  </a:lnTo>
                  <a:lnTo>
                    <a:pt x="141" y="222"/>
                  </a:lnTo>
                  <a:lnTo>
                    <a:pt x="143" y="224"/>
                  </a:lnTo>
                  <a:close/>
                  <a:moveTo>
                    <a:pt x="131" y="185"/>
                  </a:moveTo>
                  <a:lnTo>
                    <a:pt x="133" y="188"/>
                  </a:lnTo>
                  <a:lnTo>
                    <a:pt x="136" y="187"/>
                  </a:lnTo>
                  <a:lnTo>
                    <a:pt x="138" y="188"/>
                  </a:lnTo>
                  <a:lnTo>
                    <a:pt x="140" y="188"/>
                  </a:lnTo>
                  <a:lnTo>
                    <a:pt x="141" y="190"/>
                  </a:lnTo>
                  <a:lnTo>
                    <a:pt x="143" y="188"/>
                  </a:lnTo>
                  <a:lnTo>
                    <a:pt x="148" y="192"/>
                  </a:lnTo>
                  <a:lnTo>
                    <a:pt x="150" y="190"/>
                  </a:lnTo>
                  <a:lnTo>
                    <a:pt x="155" y="190"/>
                  </a:lnTo>
                  <a:lnTo>
                    <a:pt x="155" y="195"/>
                  </a:lnTo>
                  <a:lnTo>
                    <a:pt x="158" y="190"/>
                  </a:lnTo>
                  <a:lnTo>
                    <a:pt x="160" y="190"/>
                  </a:lnTo>
                  <a:lnTo>
                    <a:pt x="165" y="193"/>
                  </a:lnTo>
                  <a:lnTo>
                    <a:pt x="165" y="197"/>
                  </a:lnTo>
                  <a:lnTo>
                    <a:pt x="169" y="195"/>
                  </a:lnTo>
                  <a:lnTo>
                    <a:pt x="174" y="199"/>
                  </a:lnTo>
                  <a:lnTo>
                    <a:pt x="176" y="199"/>
                  </a:lnTo>
                  <a:lnTo>
                    <a:pt x="181" y="193"/>
                  </a:lnTo>
                  <a:lnTo>
                    <a:pt x="186" y="195"/>
                  </a:lnTo>
                  <a:lnTo>
                    <a:pt x="193" y="202"/>
                  </a:lnTo>
                  <a:lnTo>
                    <a:pt x="194" y="205"/>
                  </a:lnTo>
                  <a:lnTo>
                    <a:pt x="196" y="205"/>
                  </a:lnTo>
                  <a:lnTo>
                    <a:pt x="199" y="207"/>
                  </a:lnTo>
                  <a:lnTo>
                    <a:pt x="206" y="210"/>
                  </a:lnTo>
                  <a:lnTo>
                    <a:pt x="208" y="214"/>
                  </a:lnTo>
                  <a:lnTo>
                    <a:pt x="210" y="214"/>
                  </a:lnTo>
                  <a:lnTo>
                    <a:pt x="208" y="217"/>
                  </a:lnTo>
                  <a:lnTo>
                    <a:pt x="210" y="217"/>
                  </a:lnTo>
                  <a:lnTo>
                    <a:pt x="215" y="221"/>
                  </a:lnTo>
                  <a:lnTo>
                    <a:pt x="215" y="226"/>
                  </a:lnTo>
                  <a:lnTo>
                    <a:pt x="222" y="229"/>
                  </a:lnTo>
                  <a:lnTo>
                    <a:pt x="223" y="236"/>
                  </a:lnTo>
                  <a:lnTo>
                    <a:pt x="227" y="236"/>
                  </a:lnTo>
                  <a:lnTo>
                    <a:pt x="234" y="233"/>
                  </a:lnTo>
                  <a:lnTo>
                    <a:pt x="239" y="234"/>
                  </a:lnTo>
                  <a:lnTo>
                    <a:pt x="239" y="236"/>
                  </a:lnTo>
                  <a:lnTo>
                    <a:pt x="242" y="240"/>
                  </a:lnTo>
                  <a:lnTo>
                    <a:pt x="247" y="238"/>
                  </a:lnTo>
                  <a:lnTo>
                    <a:pt x="249" y="240"/>
                  </a:lnTo>
                  <a:lnTo>
                    <a:pt x="249" y="241"/>
                  </a:lnTo>
                  <a:lnTo>
                    <a:pt x="240" y="246"/>
                  </a:lnTo>
                  <a:lnTo>
                    <a:pt x="232" y="251"/>
                  </a:lnTo>
                  <a:lnTo>
                    <a:pt x="223" y="251"/>
                  </a:lnTo>
                  <a:lnTo>
                    <a:pt x="222" y="255"/>
                  </a:lnTo>
                  <a:lnTo>
                    <a:pt x="211" y="253"/>
                  </a:lnTo>
                  <a:lnTo>
                    <a:pt x="208" y="248"/>
                  </a:lnTo>
                  <a:lnTo>
                    <a:pt x="203" y="248"/>
                  </a:lnTo>
                  <a:lnTo>
                    <a:pt x="196" y="248"/>
                  </a:lnTo>
                  <a:lnTo>
                    <a:pt x="191" y="251"/>
                  </a:lnTo>
                  <a:lnTo>
                    <a:pt x="186" y="250"/>
                  </a:lnTo>
                  <a:lnTo>
                    <a:pt x="179" y="243"/>
                  </a:lnTo>
                  <a:lnTo>
                    <a:pt x="182" y="241"/>
                  </a:lnTo>
                  <a:lnTo>
                    <a:pt x="182" y="234"/>
                  </a:lnTo>
                  <a:lnTo>
                    <a:pt x="179" y="229"/>
                  </a:lnTo>
                  <a:lnTo>
                    <a:pt x="177" y="222"/>
                  </a:lnTo>
                  <a:lnTo>
                    <a:pt x="176" y="217"/>
                  </a:lnTo>
                  <a:lnTo>
                    <a:pt x="176" y="216"/>
                  </a:lnTo>
                  <a:lnTo>
                    <a:pt x="172" y="207"/>
                  </a:lnTo>
                  <a:lnTo>
                    <a:pt x="169" y="207"/>
                  </a:lnTo>
                  <a:lnTo>
                    <a:pt x="170" y="204"/>
                  </a:lnTo>
                  <a:lnTo>
                    <a:pt x="167" y="207"/>
                  </a:lnTo>
                  <a:lnTo>
                    <a:pt x="165" y="210"/>
                  </a:lnTo>
                  <a:lnTo>
                    <a:pt x="160" y="217"/>
                  </a:lnTo>
                  <a:lnTo>
                    <a:pt x="157" y="212"/>
                  </a:lnTo>
                  <a:lnTo>
                    <a:pt x="152" y="210"/>
                  </a:lnTo>
                  <a:lnTo>
                    <a:pt x="150" y="207"/>
                  </a:lnTo>
                  <a:lnTo>
                    <a:pt x="141" y="202"/>
                  </a:lnTo>
                  <a:lnTo>
                    <a:pt x="141" y="200"/>
                  </a:lnTo>
                  <a:lnTo>
                    <a:pt x="140" y="200"/>
                  </a:lnTo>
                  <a:lnTo>
                    <a:pt x="143" y="207"/>
                  </a:lnTo>
                  <a:lnTo>
                    <a:pt x="145" y="205"/>
                  </a:lnTo>
                  <a:lnTo>
                    <a:pt x="147" y="210"/>
                  </a:lnTo>
                  <a:lnTo>
                    <a:pt x="148" y="210"/>
                  </a:lnTo>
                  <a:lnTo>
                    <a:pt x="148" y="216"/>
                  </a:lnTo>
                  <a:lnTo>
                    <a:pt x="147" y="214"/>
                  </a:lnTo>
                  <a:lnTo>
                    <a:pt x="145" y="212"/>
                  </a:lnTo>
                  <a:lnTo>
                    <a:pt x="145" y="209"/>
                  </a:lnTo>
                  <a:lnTo>
                    <a:pt x="141" y="209"/>
                  </a:lnTo>
                  <a:lnTo>
                    <a:pt x="141" y="207"/>
                  </a:lnTo>
                  <a:lnTo>
                    <a:pt x="135" y="202"/>
                  </a:lnTo>
                  <a:lnTo>
                    <a:pt x="131" y="197"/>
                  </a:lnTo>
                  <a:lnTo>
                    <a:pt x="131" y="193"/>
                  </a:lnTo>
                  <a:lnTo>
                    <a:pt x="126" y="187"/>
                  </a:lnTo>
                  <a:lnTo>
                    <a:pt x="131" y="185"/>
                  </a:lnTo>
                  <a:close/>
                  <a:moveTo>
                    <a:pt x="114" y="158"/>
                  </a:moveTo>
                  <a:lnTo>
                    <a:pt x="118" y="158"/>
                  </a:lnTo>
                  <a:lnTo>
                    <a:pt x="118" y="159"/>
                  </a:lnTo>
                  <a:lnTo>
                    <a:pt x="114" y="159"/>
                  </a:lnTo>
                  <a:lnTo>
                    <a:pt x="114" y="158"/>
                  </a:lnTo>
                  <a:close/>
                  <a:moveTo>
                    <a:pt x="0" y="14"/>
                  </a:moveTo>
                  <a:lnTo>
                    <a:pt x="0" y="12"/>
                  </a:lnTo>
                  <a:lnTo>
                    <a:pt x="0" y="9"/>
                  </a:lnTo>
                  <a:lnTo>
                    <a:pt x="0" y="14"/>
                  </a:lnTo>
                  <a:close/>
                  <a:moveTo>
                    <a:pt x="3" y="0"/>
                  </a:moveTo>
                  <a:lnTo>
                    <a:pt x="5" y="0"/>
                  </a:lnTo>
                  <a:lnTo>
                    <a:pt x="5" y="2"/>
                  </a:lnTo>
                  <a:lnTo>
                    <a:pt x="3" y="2"/>
                  </a:lnTo>
                  <a:lnTo>
                    <a:pt x="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0" name="Freeform 58"/>
            <p:cNvSpPr>
              <a:spLocks noEditPoints="1"/>
            </p:cNvSpPr>
            <p:nvPr/>
          </p:nvSpPr>
          <p:spPr bwMode="gray">
            <a:xfrm>
              <a:off x="5419229" y="4924165"/>
              <a:ext cx="766157" cy="224375"/>
            </a:xfrm>
            <a:custGeom>
              <a:avLst/>
              <a:gdLst>
                <a:gd name="T0" fmla="*/ 407 w 420"/>
                <a:gd name="T1" fmla="*/ 68 h 123"/>
                <a:gd name="T2" fmla="*/ 256 w 420"/>
                <a:gd name="T3" fmla="*/ 63 h 123"/>
                <a:gd name="T4" fmla="*/ 386 w 420"/>
                <a:gd name="T5" fmla="*/ 60 h 123"/>
                <a:gd name="T6" fmla="*/ 116 w 420"/>
                <a:gd name="T7" fmla="*/ 53 h 123"/>
                <a:gd name="T8" fmla="*/ 232 w 420"/>
                <a:gd name="T9" fmla="*/ 54 h 123"/>
                <a:gd name="T10" fmla="*/ 217 w 420"/>
                <a:gd name="T11" fmla="*/ 49 h 123"/>
                <a:gd name="T12" fmla="*/ 127 w 420"/>
                <a:gd name="T13" fmla="*/ 41 h 123"/>
                <a:gd name="T14" fmla="*/ 418 w 420"/>
                <a:gd name="T15" fmla="*/ 37 h 123"/>
                <a:gd name="T16" fmla="*/ 147 w 420"/>
                <a:gd name="T17" fmla="*/ 36 h 123"/>
                <a:gd name="T18" fmla="*/ 28 w 420"/>
                <a:gd name="T19" fmla="*/ 32 h 123"/>
                <a:gd name="T20" fmla="*/ 104 w 420"/>
                <a:gd name="T21" fmla="*/ 24 h 123"/>
                <a:gd name="T22" fmla="*/ 99 w 420"/>
                <a:gd name="T23" fmla="*/ 24 h 123"/>
                <a:gd name="T24" fmla="*/ 96 w 420"/>
                <a:gd name="T25" fmla="*/ 61 h 123"/>
                <a:gd name="T26" fmla="*/ 82 w 420"/>
                <a:gd name="T27" fmla="*/ 92 h 123"/>
                <a:gd name="T28" fmla="*/ 89 w 420"/>
                <a:gd name="T29" fmla="*/ 95 h 123"/>
                <a:gd name="T30" fmla="*/ 77 w 420"/>
                <a:gd name="T31" fmla="*/ 87 h 123"/>
                <a:gd name="T32" fmla="*/ 67 w 420"/>
                <a:gd name="T33" fmla="*/ 97 h 123"/>
                <a:gd name="T34" fmla="*/ 48 w 420"/>
                <a:gd name="T35" fmla="*/ 97 h 123"/>
                <a:gd name="T36" fmla="*/ 29 w 420"/>
                <a:gd name="T37" fmla="*/ 92 h 123"/>
                <a:gd name="T38" fmla="*/ 9 w 420"/>
                <a:gd name="T39" fmla="*/ 89 h 123"/>
                <a:gd name="T40" fmla="*/ 17 w 420"/>
                <a:gd name="T41" fmla="*/ 77 h 123"/>
                <a:gd name="T42" fmla="*/ 29 w 420"/>
                <a:gd name="T43" fmla="*/ 70 h 123"/>
                <a:gd name="T44" fmla="*/ 36 w 420"/>
                <a:gd name="T45" fmla="*/ 34 h 123"/>
                <a:gd name="T46" fmla="*/ 220 w 420"/>
                <a:gd name="T47" fmla="*/ 13 h 123"/>
                <a:gd name="T48" fmla="*/ 208 w 420"/>
                <a:gd name="T49" fmla="*/ 7 h 123"/>
                <a:gd name="T50" fmla="*/ 395 w 420"/>
                <a:gd name="T51" fmla="*/ 12 h 123"/>
                <a:gd name="T52" fmla="*/ 232 w 420"/>
                <a:gd name="T53" fmla="*/ 3 h 123"/>
                <a:gd name="T54" fmla="*/ 280 w 420"/>
                <a:gd name="T55" fmla="*/ 19 h 123"/>
                <a:gd name="T56" fmla="*/ 308 w 420"/>
                <a:gd name="T57" fmla="*/ 29 h 123"/>
                <a:gd name="T58" fmla="*/ 343 w 420"/>
                <a:gd name="T59" fmla="*/ 36 h 123"/>
                <a:gd name="T60" fmla="*/ 345 w 420"/>
                <a:gd name="T61" fmla="*/ 46 h 123"/>
                <a:gd name="T62" fmla="*/ 367 w 420"/>
                <a:gd name="T63" fmla="*/ 24 h 123"/>
                <a:gd name="T64" fmla="*/ 384 w 420"/>
                <a:gd name="T65" fmla="*/ 46 h 123"/>
                <a:gd name="T66" fmla="*/ 384 w 420"/>
                <a:gd name="T67" fmla="*/ 61 h 123"/>
                <a:gd name="T68" fmla="*/ 401 w 420"/>
                <a:gd name="T69" fmla="*/ 56 h 123"/>
                <a:gd name="T70" fmla="*/ 401 w 420"/>
                <a:gd name="T71" fmla="*/ 73 h 123"/>
                <a:gd name="T72" fmla="*/ 369 w 420"/>
                <a:gd name="T73" fmla="*/ 70 h 123"/>
                <a:gd name="T74" fmla="*/ 343 w 420"/>
                <a:gd name="T75" fmla="*/ 78 h 123"/>
                <a:gd name="T76" fmla="*/ 364 w 420"/>
                <a:gd name="T77" fmla="*/ 90 h 123"/>
                <a:gd name="T78" fmla="*/ 326 w 420"/>
                <a:gd name="T79" fmla="*/ 90 h 123"/>
                <a:gd name="T80" fmla="*/ 313 w 420"/>
                <a:gd name="T81" fmla="*/ 70 h 123"/>
                <a:gd name="T82" fmla="*/ 302 w 420"/>
                <a:gd name="T83" fmla="*/ 72 h 123"/>
                <a:gd name="T84" fmla="*/ 270 w 420"/>
                <a:gd name="T85" fmla="*/ 90 h 123"/>
                <a:gd name="T86" fmla="*/ 229 w 420"/>
                <a:gd name="T87" fmla="*/ 99 h 123"/>
                <a:gd name="T88" fmla="*/ 185 w 420"/>
                <a:gd name="T89" fmla="*/ 116 h 123"/>
                <a:gd name="T90" fmla="*/ 133 w 420"/>
                <a:gd name="T91" fmla="*/ 116 h 123"/>
                <a:gd name="T92" fmla="*/ 111 w 420"/>
                <a:gd name="T93" fmla="*/ 101 h 123"/>
                <a:gd name="T94" fmla="*/ 116 w 420"/>
                <a:gd name="T95" fmla="*/ 82 h 123"/>
                <a:gd name="T96" fmla="*/ 120 w 420"/>
                <a:gd name="T97" fmla="*/ 51 h 123"/>
                <a:gd name="T98" fmla="*/ 154 w 420"/>
                <a:gd name="T99" fmla="*/ 34 h 123"/>
                <a:gd name="T100" fmla="*/ 198 w 420"/>
                <a:gd name="T101" fmla="*/ 39 h 123"/>
                <a:gd name="T102" fmla="*/ 215 w 420"/>
                <a:gd name="T103" fmla="*/ 53 h 123"/>
                <a:gd name="T104" fmla="*/ 231 w 420"/>
                <a:gd name="T105" fmla="*/ 66 h 123"/>
                <a:gd name="T106" fmla="*/ 249 w 420"/>
                <a:gd name="T107" fmla="*/ 78 h 123"/>
                <a:gd name="T108" fmla="*/ 285 w 420"/>
                <a:gd name="T109" fmla="*/ 70 h 123"/>
                <a:gd name="T110" fmla="*/ 290 w 420"/>
                <a:gd name="T111" fmla="*/ 60 h 123"/>
                <a:gd name="T112" fmla="*/ 258 w 420"/>
                <a:gd name="T113" fmla="*/ 44 h 123"/>
                <a:gd name="T114" fmla="*/ 231 w 420"/>
                <a:gd name="T115"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0" h="123">
                  <a:moveTo>
                    <a:pt x="12" y="78"/>
                  </a:moveTo>
                  <a:lnTo>
                    <a:pt x="14" y="80"/>
                  </a:lnTo>
                  <a:lnTo>
                    <a:pt x="10" y="78"/>
                  </a:lnTo>
                  <a:lnTo>
                    <a:pt x="12" y="77"/>
                  </a:lnTo>
                  <a:lnTo>
                    <a:pt x="12" y="78"/>
                  </a:lnTo>
                  <a:close/>
                  <a:moveTo>
                    <a:pt x="407" y="68"/>
                  </a:moveTo>
                  <a:lnTo>
                    <a:pt x="408" y="68"/>
                  </a:lnTo>
                  <a:lnTo>
                    <a:pt x="407" y="72"/>
                  </a:lnTo>
                  <a:lnTo>
                    <a:pt x="405" y="70"/>
                  </a:lnTo>
                  <a:lnTo>
                    <a:pt x="407" y="68"/>
                  </a:lnTo>
                  <a:close/>
                  <a:moveTo>
                    <a:pt x="256" y="63"/>
                  </a:moveTo>
                  <a:lnTo>
                    <a:pt x="260" y="65"/>
                  </a:lnTo>
                  <a:lnTo>
                    <a:pt x="261" y="65"/>
                  </a:lnTo>
                  <a:lnTo>
                    <a:pt x="261" y="72"/>
                  </a:lnTo>
                  <a:lnTo>
                    <a:pt x="258" y="72"/>
                  </a:lnTo>
                  <a:lnTo>
                    <a:pt x="260" y="66"/>
                  </a:lnTo>
                  <a:lnTo>
                    <a:pt x="255" y="68"/>
                  </a:lnTo>
                  <a:lnTo>
                    <a:pt x="258" y="66"/>
                  </a:lnTo>
                  <a:lnTo>
                    <a:pt x="255" y="65"/>
                  </a:lnTo>
                  <a:lnTo>
                    <a:pt x="256" y="63"/>
                  </a:lnTo>
                  <a:lnTo>
                    <a:pt x="255" y="63"/>
                  </a:lnTo>
                  <a:lnTo>
                    <a:pt x="256" y="63"/>
                  </a:lnTo>
                  <a:close/>
                  <a:moveTo>
                    <a:pt x="241" y="58"/>
                  </a:moveTo>
                  <a:lnTo>
                    <a:pt x="241" y="60"/>
                  </a:lnTo>
                  <a:lnTo>
                    <a:pt x="241" y="58"/>
                  </a:lnTo>
                  <a:close/>
                  <a:moveTo>
                    <a:pt x="403" y="58"/>
                  </a:moveTo>
                  <a:lnTo>
                    <a:pt x="403" y="60"/>
                  </a:lnTo>
                  <a:lnTo>
                    <a:pt x="403" y="58"/>
                  </a:lnTo>
                  <a:close/>
                  <a:moveTo>
                    <a:pt x="386" y="56"/>
                  </a:moveTo>
                  <a:lnTo>
                    <a:pt x="386" y="60"/>
                  </a:lnTo>
                  <a:lnTo>
                    <a:pt x="386" y="56"/>
                  </a:lnTo>
                  <a:close/>
                  <a:moveTo>
                    <a:pt x="234" y="54"/>
                  </a:moveTo>
                  <a:lnTo>
                    <a:pt x="236" y="54"/>
                  </a:lnTo>
                  <a:lnTo>
                    <a:pt x="236" y="56"/>
                  </a:lnTo>
                  <a:lnTo>
                    <a:pt x="234" y="56"/>
                  </a:lnTo>
                  <a:lnTo>
                    <a:pt x="234" y="54"/>
                  </a:lnTo>
                  <a:close/>
                  <a:moveTo>
                    <a:pt x="116" y="53"/>
                  </a:moveTo>
                  <a:lnTo>
                    <a:pt x="113" y="56"/>
                  </a:lnTo>
                  <a:lnTo>
                    <a:pt x="113" y="54"/>
                  </a:lnTo>
                  <a:lnTo>
                    <a:pt x="116" y="53"/>
                  </a:lnTo>
                  <a:close/>
                  <a:moveTo>
                    <a:pt x="121" y="49"/>
                  </a:moveTo>
                  <a:lnTo>
                    <a:pt x="125" y="49"/>
                  </a:lnTo>
                  <a:lnTo>
                    <a:pt x="123" y="51"/>
                  </a:lnTo>
                  <a:lnTo>
                    <a:pt x="121" y="51"/>
                  </a:lnTo>
                  <a:lnTo>
                    <a:pt x="121" y="49"/>
                  </a:lnTo>
                  <a:close/>
                  <a:moveTo>
                    <a:pt x="227" y="46"/>
                  </a:moveTo>
                  <a:lnTo>
                    <a:pt x="229" y="49"/>
                  </a:lnTo>
                  <a:lnTo>
                    <a:pt x="231" y="49"/>
                  </a:lnTo>
                  <a:lnTo>
                    <a:pt x="229" y="53"/>
                  </a:lnTo>
                  <a:lnTo>
                    <a:pt x="232" y="54"/>
                  </a:lnTo>
                  <a:lnTo>
                    <a:pt x="232" y="58"/>
                  </a:lnTo>
                  <a:lnTo>
                    <a:pt x="226" y="53"/>
                  </a:lnTo>
                  <a:lnTo>
                    <a:pt x="226" y="48"/>
                  </a:lnTo>
                  <a:lnTo>
                    <a:pt x="227" y="46"/>
                  </a:lnTo>
                  <a:close/>
                  <a:moveTo>
                    <a:pt x="219" y="43"/>
                  </a:moveTo>
                  <a:lnTo>
                    <a:pt x="222" y="44"/>
                  </a:lnTo>
                  <a:lnTo>
                    <a:pt x="222" y="51"/>
                  </a:lnTo>
                  <a:lnTo>
                    <a:pt x="220" y="51"/>
                  </a:lnTo>
                  <a:lnTo>
                    <a:pt x="219" y="53"/>
                  </a:lnTo>
                  <a:lnTo>
                    <a:pt x="217" y="49"/>
                  </a:lnTo>
                  <a:lnTo>
                    <a:pt x="219" y="49"/>
                  </a:lnTo>
                  <a:lnTo>
                    <a:pt x="217" y="48"/>
                  </a:lnTo>
                  <a:lnTo>
                    <a:pt x="219" y="48"/>
                  </a:lnTo>
                  <a:lnTo>
                    <a:pt x="217" y="46"/>
                  </a:lnTo>
                  <a:lnTo>
                    <a:pt x="219" y="43"/>
                  </a:lnTo>
                  <a:close/>
                  <a:moveTo>
                    <a:pt x="135" y="39"/>
                  </a:moveTo>
                  <a:lnTo>
                    <a:pt x="135" y="43"/>
                  </a:lnTo>
                  <a:lnTo>
                    <a:pt x="125" y="43"/>
                  </a:lnTo>
                  <a:lnTo>
                    <a:pt x="121" y="43"/>
                  </a:lnTo>
                  <a:lnTo>
                    <a:pt x="127" y="41"/>
                  </a:lnTo>
                  <a:lnTo>
                    <a:pt x="132" y="41"/>
                  </a:lnTo>
                  <a:lnTo>
                    <a:pt x="135" y="39"/>
                  </a:lnTo>
                  <a:close/>
                  <a:moveTo>
                    <a:pt x="219" y="39"/>
                  </a:moveTo>
                  <a:lnTo>
                    <a:pt x="220" y="39"/>
                  </a:lnTo>
                  <a:lnTo>
                    <a:pt x="220" y="43"/>
                  </a:lnTo>
                  <a:lnTo>
                    <a:pt x="219" y="43"/>
                  </a:lnTo>
                  <a:lnTo>
                    <a:pt x="219" y="39"/>
                  </a:lnTo>
                  <a:close/>
                  <a:moveTo>
                    <a:pt x="413" y="37"/>
                  </a:moveTo>
                  <a:lnTo>
                    <a:pt x="415" y="39"/>
                  </a:lnTo>
                  <a:lnTo>
                    <a:pt x="418" y="37"/>
                  </a:lnTo>
                  <a:lnTo>
                    <a:pt x="420" y="41"/>
                  </a:lnTo>
                  <a:lnTo>
                    <a:pt x="418" y="41"/>
                  </a:lnTo>
                  <a:lnTo>
                    <a:pt x="418" y="44"/>
                  </a:lnTo>
                  <a:lnTo>
                    <a:pt x="417" y="41"/>
                  </a:lnTo>
                  <a:lnTo>
                    <a:pt x="413" y="46"/>
                  </a:lnTo>
                  <a:lnTo>
                    <a:pt x="413" y="43"/>
                  </a:lnTo>
                  <a:lnTo>
                    <a:pt x="412" y="41"/>
                  </a:lnTo>
                  <a:lnTo>
                    <a:pt x="412" y="37"/>
                  </a:lnTo>
                  <a:lnTo>
                    <a:pt x="413" y="37"/>
                  </a:lnTo>
                  <a:close/>
                  <a:moveTo>
                    <a:pt x="147" y="36"/>
                  </a:moveTo>
                  <a:lnTo>
                    <a:pt x="144" y="39"/>
                  </a:lnTo>
                  <a:lnTo>
                    <a:pt x="139" y="41"/>
                  </a:lnTo>
                  <a:lnTo>
                    <a:pt x="140" y="37"/>
                  </a:lnTo>
                  <a:lnTo>
                    <a:pt x="144" y="37"/>
                  </a:lnTo>
                  <a:lnTo>
                    <a:pt x="145" y="36"/>
                  </a:lnTo>
                  <a:lnTo>
                    <a:pt x="147" y="36"/>
                  </a:lnTo>
                  <a:close/>
                  <a:moveTo>
                    <a:pt x="28" y="31"/>
                  </a:moveTo>
                  <a:lnTo>
                    <a:pt x="29" y="31"/>
                  </a:lnTo>
                  <a:lnTo>
                    <a:pt x="29" y="32"/>
                  </a:lnTo>
                  <a:lnTo>
                    <a:pt x="28" y="32"/>
                  </a:lnTo>
                  <a:lnTo>
                    <a:pt x="28" y="31"/>
                  </a:lnTo>
                  <a:close/>
                  <a:moveTo>
                    <a:pt x="26" y="31"/>
                  </a:moveTo>
                  <a:lnTo>
                    <a:pt x="26" y="32"/>
                  </a:lnTo>
                  <a:lnTo>
                    <a:pt x="26" y="31"/>
                  </a:lnTo>
                  <a:close/>
                  <a:moveTo>
                    <a:pt x="109" y="29"/>
                  </a:moveTo>
                  <a:lnTo>
                    <a:pt x="109" y="31"/>
                  </a:lnTo>
                  <a:lnTo>
                    <a:pt x="106" y="27"/>
                  </a:lnTo>
                  <a:lnTo>
                    <a:pt x="108" y="25"/>
                  </a:lnTo>
                  <a:lnTo>
                    <a:pt x="109" y="29"/>
                  </a:lnTo>
                  <a:close/>
                  <a:moveTo>
                    <a:pt x="104" y="24"/>
                  </a:moveTo>
                  <a:lnTo>
                    <a:pt x="108" y="24"/>
                  </a:lnTo>
                  <a:lnTo>
                    <a:pt x="108" y="25"/>
                  </a:lnTo>
                  <a:lnTo>
                    <a:pt x="104" y="25"/>
                  </a:lnTo>
                  <a:lnTo>
                    <a:pt x="104" y="24"/>
                  </a:lnTo>
                  <a:close/>
                  <a:moveTo>
                    <a:pt x="67" y="15"/>
                  </a:moveTo>
                  <a:lnTo>
                    <a:pt x="77" y="17"/>
                  </a:lnTo>
                  <a:lnTo>
                    <a:pt x="82" y="20"/>
                  </a:lnTo>
                  <a:lnTo>
                    <a:pt x="86" y="20"/>
                  </a:lnTo>
                  <a:lnTo>
                    <a:pt x="94" y="22"/>
                  </a:lnTo>
                  <a:lnTo>
                    <a:pt x="99" y="24"/>
                  </a:lnTo>
                  <a:lnTo>
                    <a:pt x="108" y="31"/>
                  </a:lnTo>
                  <a:lnTo>
                    <a:pt x="108" y="34"/>
                  </a:lnTo>
                  <a:lnTo>
                    <a:pt x="106" y="43"/>
                  </a:lnTo>
                  <a:lnTo>
                    <a:pt x="101" y="48"/>
                  </a:lnTo>
                  <a:lnTo>
                    <a:pt x="101" y="49"/>
                  </a:lnTo>
                  <a:lnTo>
                    <a:pt x="103" y="48"/>
                  </a:lnTo>
                  <a:lnTo>
                    <a:pt x="103" y="49"/>
                  </a:lnTo>
                  <a:lnTo>
                    <a:pt x="101" y="53"/>
                  </a:lnTo>
                  <a:lnTo>
                    <a:pt x="101" y="56"/>
                  </a:lnTo>
                  <a:lnTo>
                    <a:pt x="96" y="61"/>
                  </a:lnTo>
                  <a:lnTo>
                    <a:pt x="96" y="65"/>
                  </a:lnTo>
                  <a:lnTo>
                    <a:pt x="91" y="70"/>
                  </a:lnTo>
                  <a:lnTo>
                    <a:pt x="87" y="77"/>
                  </a:lnTo>
                  <a:lnTo>
                    <a:pt x="87" y="80"/>
                  </a:lnTo>
                  <a:lnTo>
                    <a:pt x="82" y="82"/>
                  </a:lnTo>
                  <a:lnTo>
                    <a:pt x="80" y="85"/>
                  </a:lnTo>
                  <a:lnTo>
                    <a:pt x="79" y="87"/>
                  </a:lnTo>
                  <a:lnTo>
                    <a:pt x="80" y="87"/>
                  </a:lnTo>
                  <a:lnTo>
                    <a:pt x="80" y="90"/>
                  </a:lnTo>
                  <a:lnTo>
                    <a:pt x="82" y="92"/>
                  </a:lnTo>
                  <a:lnTo>
                    <a:pt x="82" y="89"/>
                  </a:lnTo>
                  <a:lnTo>
                    <a:pt x="84" y="90"/>
                  </a:lnTo>
                  <a:lnTo>
                    <a:pt x="84" y="89"/>
                  </a:lnTo>
                  <a:lnTo>
                    <a:pt x="86" y="90"/>
                  </a:lnTo>
                  <a:lnTo>
                    <a:pt x="86" y="94"/>
                  </a:lnTo>
                  <a:lnTo>
                    <a:pt x="86" y="92"/>
                  </a:lnTo>
                  <a:lnTo>
                    <a:pt x="89" y="92"/>
                  </a:lnTo>
                  <a:lnTo>
                    <a:pt x="89" y="94"/>
                  </a:lnTo>
                  <a:lnTo>
                    <a:pt x="92" y="92"/>
                  </a:lnTo>
                  <a:lnTo>
                    <a:pt x="89" y="95"/>
                  </a:lnTo>
                  <a:lnTo>
                    <a:pt x="82" y="99"/>
                  </a:lnTo>
                  <a:lnTo>
                    <a:pt x="84" y="97"/>
                  </a:lnTo>
                  <a:lnTo>
                    <a:pt x="82" y="94"/>
                  </a:lnTo>
                  <a:lnTo>
                    <a:pt x="80" y="99"/>
                  </a:lnTo>
                  <a:lnTo>
                    <a:pt x="79" y="97"/>
                  </a:lnTo>
                  <a:lnTo>
                    <a:pt x="80" y="99"/>
                  </a:lnTo>
                  <a:lnTo>
                    <a:pt x="74" y="99"/>
                  </a:lnTo>
                  <a:lnTo>
                    <a:pt x="72" y="99"/>
                  </a:lnTo>
                  <a:lnTo>
                    <a:pt x="77" y="89"/>
                  </a:lnTo>
                  <a:lnTo>
                    <a:pt x="77" y="87"/>
                  </a:lnTo>
                  <a:lnTo>
                    <a:pt x="74" y="90"/>
                  </a:lnTo>
                  <a:lnTo>
                    <a:pt x="72" y="89"/>
                  </a:lnTo>
                  <a:lnTo>
                    <a:pt x="70" y="92"/>
                  </a:lnTo>
                  <a:lnTo>
                    <a:pt x="69" y="92"/>
                  </a:lnTo>
                  <a:lnTo>
                    <a:pt x="67" y="92"/>
                  </a:lnTo>
                  <a:lnTo>
                    <a:pt x="70" y="97"/>
                  </a:lnTo>
                  <a:lnTo>
                    <a:pt x="69" y="104"/>
                  </a:lnTo>
                  <a:lnTo>
                    <a:pt x="67" y="104"/>
                  </a:lnTo>
                  <a:lnTo>
                    <a:pt x="65" y="101"/>
                  </a:lnTo>
                  <a:lnTo>
                    <a:pt x="67" y="97"/>
                  </a:lnTo>
                  <a:lnTo>
                    <a:pt x="63" y="99"/>
                  </a:lnTo>
                  <a:lnTo>
                    <a:pt x="62" y="97"/>
                  </a:lnTo>
                  <a:lnTo>
                    <a:pt x="62" y="101"/>
                  </a:lnTo>
                  <a:lnTo>
                    <a:pt x="60" y="97"/>
                  </a:lnTo>
                  <a:lnTo>
                    <a:pt x="60" y="99"/>
                  </a:lnTo>
                  <a:lnTo>
                    <a:pt x="55" y="95"/>
                  </a:lnTo>
                  <a:lnTo>
                    <a:pt x="55" y="99"/>
                  </a:lnTo>
                  <a:lnTo>
                    <a:pt x="51" y="97"/>
                  </a:lnTo>
                  <a:lnTo>
                    <a:pt x="50" y="99"/>
                  </a:lnTo>
                  <a:lnTo>
                    <a:pt x="48" y="97"/>
                  </a:lnTo>
                  <a:lnTo>
                    <a:pt x="46" y="99"/>
                  </a:lnTo>
                  <a:lnTo>
                    <a:pt x="46" y="97"/>
                  </a:lnTo>
                  <a:lnTo>
                    <a:pt x="45" y="99"/>
                  </a:lnTo>
                  <a:lnTo>
                    <a:pt x="41" y="97"/>
                  </a:lnTo>
                  <a:lnTo>
                    <a:pt x="39" y="92"/>
                  </a:lnTo>
                  <a:lnTo>
                    <a:pt x="31" y="94"/>
                  </a:lnTo>
                  <a:lnTo>
                    <a:pt x="31" y="97"/>
                  </a:lnTo>
                  <a:lnTo>
                    <a:pt x="28" y="95"/>
                  </a:lnTo>
                  <a:lnTo>
                    <a:pt x="26" y="94"/>
                  </a:lnTo>
                  <a:lnTo>
                    <a:pt x="29" y="92"/>
                  </a:lnTo>
                  <a:lnTo>
                    <a:pt x="28" y="90"/>
                  </a:lnTo>
                  <a:lnTo>
                    <a:pt x="22" y="92"/>
                  </a:lnTo>
                  <a:lnTo>
                    <a:pt x="24" y="95"/>
                  </a:lnTo>
                  <a:lnTo>
                    <a:pt x="22" y="97"/>
                  </a:lnTo>
                  <a:lnTo>
                    <a:pt x="24" y="97"/>
                  </a:lnTo>
                  <a:lnTo>
                    <a:pt x="22" y="97"/>
                  </a:lnTo>
                  <a:lnTo>
                    <a:pt x="16" y="94"/>
                  </a:lnTo>
                  <a:lnTo>
                    <a:pt x="14" y="89"/>
                  </a:lnTo>
                  <a:lnTo>
                    <a:pt x="12" y="90"/>
                  </a:lnTo>
                  <a:lnTo>
                    <a:pt x="9" y="89"/>
                  </a:lnTo>
                  <a:lnTo>
                    <a:pt x="0" y="87"/>
                  </a:lnTo>
                  <a:lnTo>
                    <a:pt x="0" y="80"/>
                  </a:lnTo>
                  <a:lnTo>
                    <a:pt x="4" y="75"/>
                  </a:lnTo>
                  <a:lnTo>
                    <a:pt x="5" y="75"/>
                  </a:lnTo>
                  <a:lnTo>
                    <a:pt x="7" y="80"/>
                  </a:lnTo>
                  <a:lnTo>
                    <a:pt x="9" y="78"/>
                  </a:lnTo>
                  <a:lnTo>
                    <a:pt x="9" y="80"/>
                  </a:lnTo>
                  <a:lnTo>
                    <a:pt x="10" y="82"/>
                  </a:lnTo>
                  <a:lnTo>
                    <a:pt x="14" y="80"/>
                  </a:lnTo>
                  <a:lnTo>
                    <a:pt x="17" y="77"/>
                  </a:lnTo>
                  <a:lnTo>
                    <a:pt x="21" y="77"/>
                  </a:lnTo>
                  <a:lnTo>
                    <a:pt x="22" y="78"/>
                  </a:lnTo>
                  <a:lnTo>
                    <a:pt x="26" y="75"/>
                  </a:lnTo>
                  <a:lnTo>
                    <a:pt x="28" y="77"/>
                  </a:lnTo>
                  <a:lnTo>
                    <a:pt x="26" y="80"/>
                  </a:lnTo>
                  <a:lnTo>
                    <a:pt x="29" y="82"/>
                  </a:lnTo>
                  <a:lnTo>
                    <a:pt x="28" y="80"/>
                  </a:lnTo>
                  <a:lnTo>
                    <a:pt x="31" y="77"/>
                  </a:lnTo>
                  <a:lnTo>
                    <a:pt x="28" y="77"/>
                  </a:lnTo>
                  <a:lnTo>
                    <a:pt x="29" y="70"/>
                  </a:lnTo>
                  <a:lnTo>
                    <a:pt x="29" y="68"/>
                  </a:lnTo>
                  <a:lnTo>
                    <a:pt x="31" y="63"/>
                  </a:lnTo>
                  <a:lnTo>
                    <a:pt x="29" y="56"/>
                  </a:lnTo>
                  <a:lnTo>
                    <a:pt x="29" y="51"/>
                  </a:lnTo>
                  <a:lnTo>
                    <a:pt x="26" y="48"/>
                  </a:lnTo>
                  <a:lnTo>
                    <a:pt x="26" y="39"/>
                  </a:lnTo>
                  <a:lnTo>
                    <a:pt x="29" y="37"/>
                  </a:lnTo>
                  <a:lnTo>
                    <a:pt x="34" y="36"/>
                  </a:lnTo>
                  <a:lnTo>
                    <a:pt x="34" y="32"/>
                  </a:lnTo>
                  <a:lnTo>
                    <a:pt x="36" y="34"/>
                  </a:lnTo>
                  <a:lnTo>
                    <a:pt x="43" y="31"/>
                  </a:lnTo>
                  <a:lnTo>
                    <a:pt x="45" y="25"/>
                  </a:lnTo>
                  <a:lnTo>
                    <a:pt x="51" y="20"/>
                  </a:lnTo>
                  <a:lnTo>
                    <a:pt x="57" y="19"/>
                  </a:lnTo>
                  <a:lnTo>
                    <a:pt x="62" y="15"/>
                  </a:lnTo>
                  <a:lnTo>
                    <a:pt x="67" y="15"/>
                  </a:lnTo>
                  <a:close/>
                  <a:moveTo>
                    <a:pt x="212" y="7"/>
                  </a:moveTo>
                  <a:lnTo>
                    <a:pt x="220" y="7"/>
                  </a:lnTo>
                  <a:lnTo>
                    <a:pt x="224" y="10"/>
                  </a:lnTo>
                  <a:lnTo>
                    <a:pt x="220" y="13"/>
                  </a:lnTo>
                  <a:lnTo>
                    <a:pt x="215" y="17"/>
                  </a:lnTo>
                  <a:lnTo>
                    <a:pt x="214" y="20"/>
                  </a:lnTo>
                  <a:lnTo>
                    <a:pt x="212" y="22"/>
                  </a:lnTo>
                  <a:lnTo>
                    <a:pt x="210" y="29"/>
                  </a:lnTo>
                  <a:lnTo>
                    <a:pt x="203" y="36"/>
                  </a:lnTo>
                  <a:lnTo>
                    <a:pt x="198" y="32"/>
                  </a:lnTo>
                  <a:lnTo>
                    <a:pt x="202" y="22"/>
                  </a:lnTo>
                  <a:lnTo>
                    <a:pt x="198" y="20"/>
                  </a:lnTo>
                  <a:lnTo>
                    <a:pt x="198" y="12"/>
                  </a:lnTo>
                  <a:lnTo>
                    <a:pt x="208" y="7"/>
                  </a:lnTo>
                  <a:lnTo>
                    <a:pt x="212" y="7"/>
                  </a:lnTo>
                  <a:close/>
                  <a:moveTo>
                    <a:pt x="190" y="5"/>
                  </a:moveTo>
                  <a:lnTo>
                    <a:pt x="191" y="5"/>
                  </a:lnTo>
                  <a:lnTo>
                    <a:pt x="186" y="7"/>
                  </a:lnTo>
                  <a:lnTo>
                    <a:pt x="186" y="8"/>
                  </a:lnTo>
                  <a:lnTo>
                    <a:pt x="183" y="8"/>
                  </a:lnTo>
                  <a:lnTo>
                    <a:pt x="190" y="5"/>
                  </a:lnTo>
                  <a:close/>
                  <a:moveTo>
                    <a:pt x="388" y="5"/>
                  </a:moveTo>
                  <a:lnTo>
                    <a:pt x="391" y="5"/>
                  </a:lnTo>
                  <a:lnTo>
                    <a:pt x="395" y="12"/>
                  </a:lnTo>
                  <a:lnTo>
                    <a:pt x="395" y="17"/>
                  </a:lnTo>
                  <a:lnTo>
                    <a:pt x="391" y="20"/>
                  </a:lnTo>
                  <a:lnTo>
                    <a:pt x="386" y="20"/>
                  </a:lnTo>
                  <a:lnTo>
                    <a:pt x="381" y="17"/>
                  </a:lnTo>
                  <a:lnTo>
                    <a:pt x="381" y="12"/>
                  </a:lnTo>
                  <a:lnTo>
                    <a:pt x="383" y="8"/>
                  </a:lnTo>
                  <a:lnTo>
                    <a:pt x="388" y="5"/>
                  </a:lnTo>
                  <a:close/>
                  <a:moveTo>
                    <a:pt x="229" y="2"/>
                  </a:moveTo>
                  <a:lnTo>
                    <a:pt x="232" y="2"/>
                  </a:lnTo>
                  <a:lnTo>
                    <a:pt x="232" y="3"/>
                  </a:lnTo>
                  <a:lnTo>
                    <a:pt x="229" y="3"/>
                  </a:lnTo>
                  <a:lnTo>
                    <a:pt x="229" y="2"/>
                  </a:lnTo>
                  <a:close/>
                  <a:moveTo>
                    <a:pt x="255" y="0"/>
                  </a:moveTo>
                  <a:lnTo>
                    <a:pt x="256" y="2"/>
                  </a:lnTo>
                  <a:lnTo>
                    <a:pt x="261" y="0"/>
                  </a:lnTo>
                  <a:lnTo>
                    <a:pt x="267" y="2"/>
                  </a:lnTo>
                  <a:lnTo>
                    <a:pt x="270" y="2"/>
                  </a:lnTo>
                  <a:lnTo>
                    <a:pt x="278" y="5"/>
                  </a:lnTo>
                  <a:lnTo>
                    <a:pt x="278" y="13"/>
                  </a:lnTo>
                  <a:lnTo>
                    <a:pt x="280" y="19"/>
                  </a:lnTo>
                  <a:lnTo>
                    <a:pt x="287" y="24"/>
                  </a:lnTo>
                  <a:lnTo>
                    <a:pt x="289" y="29"/>
                  </a:lnTo>
                  <a:lnTo>
                    <a:pt x="292" y="31"/>
                  </a:lnTo>
                  <a:lnTo>
                    <a:pt x="294" y="29"/>
                  </a:lnTo>
                  <a:lnTo>
                    <a:pt x="294" y="32"/>
                  </a:lnTo>
                  <a:lnTo>
                    <a:pt x="299" y="34"/>
                  </a:lnTo>
                  <a:lnTo>
                    <a:pt x="301" y="32"/>
                  </a:lnTo>
                  <a:lnTo>
                    <a:pt x="301" y="31"/>
                  </a:lnTo>
                  <a:lnTo>
                    <a:pt x="304" y="31"/>
                  </a:lnTo>
                  <a:lnTo>
                    <a:pt x="308" y="29"/>
                  </a:lnTo>
                  <a:lnTo>
                    <a:pt x="308" y="25"/>
                  </a:lnTo>
                  <a:lnTo>
                    <a:pt x="313" y="22"/>
                  </a:lnTo>
                  <a:lnTo>
                    <a:pt x="316" y="19"/>
                  </a:lnTo>
                  <a:lnTo>
                    <a:pt x="319" y="19"/>
                  </a:lnTo>
                  <a:lnTo>
                    <a:pt x="323" y="20"/>
                  </a:lnTo>
                  <a:lnTo>
                    <a:pt x="331" y="20"/>
                  </a:lnTo>
                  <a:lnTo>
                    <a:pt x="338" y="24"/>
                  </a:lnTo>
                  <a:lnTo>
                    <a:pt x="343" y="31"/>
                  </a:lnTo>
                  <a:lnTo>
                    <a:pt x="343" y="34"/>
                  </a:lnTo>
                  <a:lnTo>
                    <a:pt x="343" y="36"/>
                  </a:lnTo>
                  <a:lnTo>
                    <a:pt x="343" y="37"/>
                  </a:lnTo>
                  <a:lnTo>
                    <a:pt x="342" y="39"/>
                  </a:lnTo>
                  <a:lnTo>
                    <a:pt x="343" y="44"/>
                  </a:lnTo>
                  <a:lnTo>
                    <a:pt x="340" y="48"/>
                  </a:lnTo>
                  <a:lnTo>
                    <a:pt x="342" y="51"/>
                  </a:lnTo>
                  <a:lnTo>
                    <a:pt x="338" y="54"/>
                  </a:lnTo>
                  <a:lnTo>
                    <a:pt x="342" y="54"/>
                  </a:lnTo>
                  <a:lnTo>
                    <a:pt x="342" y="51"/>
                  </a:lnTo>
                  <a:lnTo>
                    <a:pt x="345" y="49"/>
                  </a:lnTo>
                  <a:lnTo>
                    <a:pt x="345" y="46"/>
                  </a:lnTo>
                  <a:lnTo>
                    <a:pt x="347" y="44"/>
                  </a:lnTo>
                  <a:lnTo>
                    <a:pt x="345" y="44"/>
                  </a:lnTo>
                  <a:lnTo>
                    <a:pt x="347" y="41"/>
                  </a:lnTo>
                  <a:lnTo>
                    <a:pt x="343" y="39"/>
                  </a:lnTo>
                  <a:lnTo>
                    <a:pt x="345" y="37"/>
                  </a:lnTo>
                  <a:lnTo>
                    <a:pt x="345" y="36"/>
                  </a:lnTo>
                  <a:lnTo>
                    <a:pt x="348" y="31"/>
                  </a:lnTo>
                  <a:lnTo>
                    <a:pt x="352" y="25"/>
                  </a:lnTo>
                  <a:lnTo>
                    <a:pt x="359" y="22"/>
                  </a:lnTo>
                  <a:lnTo>
                    <a:pt x="367" y="24"/>
                  </a:lnTo>
                  <a:lnTo>
                    <a:pt x="376" y="25"/>
                  </a:lnTo>
                  <a:lnTo>
                    <a:pt x="381" y="25"/>
                  </a:lnTo>
                  <a:lnTo>
                    <a:pt x="379" y="34"/>
                  </a:lnTo>
                  <a:lnTo>
                    <a:pt x="383" y="37"/>
                  </a:lnTo>
                  <a:lnTo>
                    <a:pt x="384" y="43"/>
                  </a:lnTo>
                  <a:lnTo>
                    <a:pt x="386" y="41"/>
                  </a:lnTo>
                  <a:lnTo>
                    <a:pt x="384" y="44"/>
                  </a:lnTo>
                  <a:lnTo>
                    <a:pt x="386" y="43"/>
                  </a:lnTo>
                  <a:lnTo>
                    <a:pt x="386" y="44"/>
                  </a:lnTo>
                  <a:lnTo>
                    <a:pt x="384" y="46"/>
                  </a:lnTo>
                  <a:lnTo>
                    <a:pt x="386" y="46"/>
                  </a:lnTo>
                  <a:lnTo>
                    <a:pt x="384" y="49"/>
                  </a:lnTo>
                  <a:lnTo>
                    <a:pt x="386" y="51"/>
                  </a:lnTo>
                  <a:lnTo>
                    <a:pt x="383" y="53"/>
                  </a:lnTo>
                  <a:lnTo>
                    <a:pt x="383" y="56"/>
                  </a:lnTo>
                  <a:lnTo>
                    <a:pt x="381" y="58"/>
                  </a:lnTo>
                  <a:lnTo>
                    <a:pt x="383" y="60"/>
                  </a:lnTo>
                  <a:lnTo>
                    <a:pt x="381" y="58"/>
                  </a:lnTo>
                  <a:lnTo>
                    <a:pt x="383" y="58"/>
                  </a:lnTo>
                  <a:lnTo>
                    <a:pt x="384" y="61"/>
                  </a:lnTo>
                  <a:lnTo>
                    <a:pt x="384" y="65"/>
                  </a:lnTo>
                  <a:lnTo>
                    <a:pt x="389" y="66"/>
                  </a:lnTo>
                  <a:lnTo>
                    <a:pt x="391" y="65"/>
                  </a:lnTo>
                  <a:lnTo>
                    <a:pt x="395" y="65"/>
                  </a:lnTo>
                  <a:lnTo>
                    <a:pt x="393" y="61"/>
                  </a:lnTo>
                  <a:lnTo>
                    <a:pt x="396" y="61"/>
                  </a:lnTo>
                  <a:lnTo>
                    <a:pt x="398" y="60"/>
                  </a:lnTo>
                  <a:lnTo>
                    <a:pt x="398" y="58"/>
                  </a:lnTo>
                  <a:lnTo>
                    <a:pt x="400" y="56"/>
                  </a:lnTo>
                  <a:lnTo>
                    <a:pt x="401" y="56"/>
                  </a:lnTo>
                  <a:lnTo>
                    <a:pt x="400" y="58"/>
                  </a:lnTo>
                  <a:lnTo>
                    <a:pt x="401" y="60"/>
                  </a:lnTo>
                  <a:lnTo>
                    <a:pt x="403" y="63"/>
                  </a:lnTo>
                  <a:lnTo>
                    <a:pt x="401" y="63"/>
                  </a:lnTo>
                  <a:lnTo>
                    <a:pt x="401" y="65"/>
                  </a:lnTo>
                  <a:lnTo>
                    <a:pt x="400" y="65"/>
                  </a:lnTo>
                  <a:lnTo>
                    <a:pt x="398" y="65"/>
                  </a:lnTo>
                  <a:lnTo>
                    <a:pt x="400" y="66"/>
                  </a:lnTo>
                  <a:lnTo>
                    <a:pt x="398" y="70"/>
                  </a:lnTo>
                  <a:lnTo>
                    <a:pt x="401" y="73"/>
                  </a:lnTo>
                  <a:lnTo>
                    <a:pt x="398" y="75"/>
                  </a:lnTo>
                  <a:lnTo>
                    <a:pt x="400" y="77"/>
                  </a:lnTo>
                  <a:lnTo>
                    <a:pt x="396" y="77"/>
                  </a:lnTo>
                  <a:lnTo>
                    <a:pt x="396" y="80"/>
                  </a:lnTo>
                  <a:lnTo>
                    <a:pt x="393" y="77"/>
                  </a:lnTo>
                  <a:lnTo>
                    <a:pt x="391" y="80"/>
                  </a:lnTo>
                  <a:lnTo>
                    <a:pt x="384" y="77"/>
                  </a:lnTo>
                  <a:lnTo>
                    <a:pt x="376" y="78"/>
                  </a:lnTo>
                  <a:lnTo>
                    <a:pt x="374" y="75"/>
                  </a:lnTo>
                  <a:lnTo>
                    <a:pt x="369" y="70"/>
                  </a:lnTo>
                  <a:lnTo>
                    <a:pt x="366" y="72"/>
                  </a:lnTo>
                  <a:lnTo>
                    <a:pt x="366" y="73"/>
                  </a:lnTo>
                  <a:lnTo>
                    <a:pt x="367" y="73"/>
                  </a:lnTo>
                  <a:lnTo>
                    <a:pt x="362" y="77"/>
                  </a:lnTo>
                  <a:lnTo>
                    <a:pt x="357" y="73"/>
                  </a:lnTo>
                  <a:lnTo>
                    <a:pt x="354" y="73"/>
                  </a:lnTo>
                  <a:lnTo>
                    <a:pt x="354" y="75"/>
                  </a:lnTo>
                  <a:lnTo>
                    <a:pt x="352" y="72"/>
                  </a:lnTo>
                  <a:lnTo>
                    <a:pt x="347" y="78"/>
                  </a:lnTo>
                  <a:lnTo>
                    <a:pt x="343" y="78"/>
                  </a:lnTo>
                  <a:lnTo>
                    <a:pt x="347" y="80"/>
                  </a:lnTo>
                  <a:lnTo>
                    <a:pt x="347" y="82"/>
                  </a:lnTo>
                  <a:lnTo>
                    <a:pt x="350" y="80"/>
                  </a:lnTo>
                  <a:lnTo>
                    <a:pt x="360" y="82"/>
                  </a:lnTo>
                  <a:lnTo>
                    <a:pt x="369" y="80"/>
                  </a:lnTo>
                  <a:lnTo>
                    <a:pt x="371" y="84"/>
                  </a:lnTo>
                  <a:lnTo>
                    <a:pt x="374" y="84"/>
                  </a:lnTo>
                  <a:lnTo>
                    <a:pt x="374" y="87"/>
                  </a:lnTo>
                  <a:lnTo>
                    <a:pt x="372" y="89"/>
                  </a:lnTo>
                  <a:lnTo>
                    <a:pt x="364" y="90"/>
                  </a:lnTo>
                  <a:lnTo>
                    <a:pt x="362" y="89"/>
                  </a:lnTo>
                  <a:lnTo>
                    <a:pt x="360" y="90"/>
                  </a:lnTo>
                  <a:lnTo>
                    <a:pt x="357" y="87"/>
                  </a:lnTo>
                  <a:lnTo>
                    <a:pt x="354" y="87"/>
                  </a:lnTo>
                  <a:lnTo>
                    <a:pt x="350" y="85"/>
                  </a:lnTo>
                  <a:lnTo>
                    <a:pt x="348" y="85"/>
                  </a:lnTo>
                  <a:lnTo>
                    <a:pt x="347" y="84"/>
                  </a:lnTo>
                  <a:lnTo>
                    <a:pt x="337" y="87"/>
                  </a:lnTo>
                  <a:lnTo>
                    <a:pt x="333" y="90"/>
                  </a:lnTo>
                  <a:lnTo>
                    <a:pt x="326" y="90"/>
                  </a:lnTo>
                  <a:lnTo>
                    <a:pt x="323" y="94"/>
                  </a:lnTo>
                  <a:lnTo>
                    <a:pt x="316" y="95"/>
                  </a:lnTo>
                  <a:lnTo>
                    <a:pt x="308" y="92"/>
                  </a:lnTo>
                  <a:lnTo>
                    <a:pt x="306" y="87"/>
                  </a:lnTo>
                  <a:lnTo>
                    <a:pt x="306" y="84"/>
                  </a:lnTo>
                  <a:lnTo>
                    <a:pt x="304" y="82"/>
                  </a:lnTo>
                  <a:lnTo>
                    <a:pt x="309" y="80"/>
                  </a:lnTo>
                  <a:lnTo>
                    <a:pt x="311" y="75"/>
                  </a:lnTo>
                  <a:lnTo>
                    <a:pt x="311" y="72"/>
                  </a:lnTo>
                  <a:lnTo>
                    <a:pt x="313" y="70"/>
                  </a:lnTo>
                  <a:lnTo>
                    <a:pt x="311" y="68"/>
                  </a:lnTo>
                  <a:lnTo>
                    <a:pt x="311" y="63"/>
                  </a:lnTo>
                  <a:lnTo>
                    <a:pt x="308" y="63"/>
                  </a:lnTo>
                  <a:lnTo>
                    <a:pt x="309" y="61"/>
                  </a:lnTo>
                  <a:lnTo>
                    <a:pt x="308" y="60"/>
                  </a:lnTo>
                  <a:lnTo>
                    <a:pt x="309" y="61"/>
                  </a:lnTo>
                  <a:lnTo>
                    <a:pt x="306" y="65"/>
                  </a:lnTo>
                  <a:lnTo>
                    <a:pt x="309" y="70"/>
                  </a:lnTo>
                  <a:lnTo>
                    <a:pt x="306" y="72"/>
                  </a:lnTo>
                  <a:lnTo>
                    <a:pt x="302" y="72"/>
                  </a:lnTo>
                  <a:lnTo>
                    <a:pt x="299" y="77"/>
                  </a:lnTo>
                  <a:lnTo>
                    <a:pt x="294" y="78"/>
                  </a:lnTo>
                  <a:lnTo>
                    <a:pt x="294" y="82"/>
                  </a:lnTo>
                  <a:lnTo>
                    <a:pt x="290" y="82"/>
                  </a:lnTo>
                  <a:lnTo>
                    <a:pt x="290" y="85"/>
                  </a:lnTo>
                  <a:lnTo>
                    <a:pt x="287" y="85"/>
                  </a:lnTo>
                  <a:lnTo>
                    <a:pt x="282" y="92"/>
                  </a:lnTo>
                  <a:lnTo>
                    <a:pt x="275" y="94"/>
                  </a:lnTo>
                  <a:lnTo>
                    <a:pt x="272" y="92"/>
                  </a:lnTo>
                  <a:lnTo>
                    <a:pt x="270" y="90"/>
                  </a:lnTo>
                  <a:lnTo>
                    <a:pt x="265" y="92"/>
                  </a:lnTo>
                  <a:lnTo>
                    <a:pt x="261" y="92"/>
                  </a:lnTo>
                  <a:lnTo>
                    <a:pt x="258" y="97"/>
                  </a:lnTo>
                  <a:lnTo>
                    <a:pt x="255" y="97"/>
                  </a:lnTo>
                  <a:lnTo>
                    <a:pt x="253" y="97"/>
                  </a:lnTo>
                  <a:lnTo>
                    <a:pt x="246" y="102"/>
                  </a:lnTo>
                  <a:lnTo>
                    <a:pt x="241" y="101"/>
                  </a:lnTo>
                  <a:lnTo>
                    <a:pt x="238" y="97"/>
                  </a:lnTo>
                  <a:lnTo>
                    <a:pt x="232" y="101"/>
                  </a:lnTo>
                  <a:lnTo>
                    <a:pt x="229" y="99"/>
                  </a:lnTo>
                  <a:lnTo>
                    <a:pt x="224" y="99"/>
                  </a:lnTo>
                  <a:lnTo>
                    <a:pt x="220" y="102"/>
                  </a:lnTo>
                  <a:lnTo>
                    <a:pt x="214" y="106"/>
                  </a:lnTo>
                  <a:lnTo>
                    <a:pt x="212" y="107"/>
                  </a:lnTo>
                  <a:lnTo>
                    <a:pt x="207" y="109"/>
                  </a:lnTo>
                  <a:lnTo>
                    <a:pt x="205" y="109"/>
                  </a:lnTo>
                  <a:lnTo>
                    <a:pt x="200" y="111"/>
                  </a:lnTo>
                  <a:lnTo>
                    <a:pt x="195" y="113"/>
                  </a:lnTo>
                  <a:lnTo>
                    <a:pt x="190" y="114"/>
                  </a:lnTo>
                  <a:lnTo>
                    <a:pt x="185" y="116"/>
                  </a:lnTo>
                  <a:lnTo>
                    <a:pt x="181" y="114"/>
                  </a:lnTo>
                  <a:lnTo>
                    <a:pt x="179" y="116"/>
                  </a:lnTo>
                  <a:lnTo>
                    <a:pt x="173" y="114"/>
                  </a:lnTo>
                  <a:lnTo>
                    <a:pt x="164" y="111"/>
                  </a:lnTo>
                  <a:lnTo>
                    <a:pt x="161" y="113"/>
                  </a:lnTo>
                  <a:lnTo>
                    <a:pt x="157" y="119"/>
                  </a:lnTo>
                  <a:lnTo>
                    <a:pt x="147" y="121"/>
                  </a:lnTo>
                  <a:lnTo>
                    <a:pt x="144" y="121"/>
                  </a:lnTo>
                  <a:lnTo>
                    <a:pt x="142" y="123"/>
                  </a:lnTo>
                  <a:lnTo>
                    <a:pt x="133" y="116"/>
                  </a:lnTo>
                  <a:lnTo>
                    <a:pt x="125" y="116"/>
                  </a:lnTo>
                  <a:lnTo>
                    <a:pt x="121" y="114"/>
                  </a:lnTo>
                  <a:lnTo>
                    <a:pt x="115" y="113"/>
                  </a:lnTo>
                  <a:lnTo>
                    <a:pt x="108" y="109"/>
                  </a:lnTo>
                  <a:lnTo>
                    <a:pt x="109" y="106"/>
                  </a:lnTo>
                  <a:lnTo>
                    <a:pt x="108" y="106"/>
                  </a:lnTo>
                  <a:lnTo>
                    <a:pt x="106" y="104"/>
                  </a:lnTo>
                  <a:lnTo>
                    <a:pt x="109" y="104"/>
                  </a:lnTo>
                  <a:lnTo>
                    <a:pt x="109" y="101"/>
                  </a:lnTo>
                  <a:lnTo>
                    <a:pt x="111" y="101"/>
                  </a:lnTo>
                  <a:lnTo>
                    <a:pt x="108" y="99"/>
                  </a:lnTo>
                  <a:lnTo>
                    <a:pt x="109" y="95"/>
                  </a:lnTo>
                  <a:lnTo>
                    <a:pt x="111" y="95"/>
                  </a:lnTo>
                  <a:lnTo>
                    <a:pt x="109" y="94"/>
                  </a:lnTo>
                  <a:lnTo>
                    <a:pt x="113" y="92"/>
                  </a:lnTo>
                  <a:lnTo>
                    <a:pt x="113" y="89"/>
                  </a:lnTo>
                  <a:lnTo>
                    <a:pt x="115" y="87"/>
                  </a:lnTo>
                  <a:lnTo>
                    <a:pt x="118" y="89"/>
                  </a:lnTo>
                  <a:lnTo>
                    <a:pt x="118" y="87"/>
                  </a:lnTo>
                  <a:lnTo>
                    <a:pt x="116" y="82"/>
                  </a:lnTo>
                  <a:lnTo>
                    <a:pt x="115" y="82"/>
                  </a:lnTo>
                  <a:lnTo>
                    <a:pt x="116" y="80"/>
                  </a:lnTo>
                  <a:lnTo>
                    <a:pt x="113" y="77"/>
                  </a:lnTo>
                  <a:lnTo>
                    <a:pt x="115" y="75"/>
                  </a:lnTo>
                  <a:lnTo>
                    <a:pt x="115" y="70"/>
                  </a:lnTo>
                  <a:lnTo>
                    <a:pt x="111" y="68"/>
                  </a:lnTo>
                  <a:lnTo>
                    <a:pt x="113" y="66"/>
                  </a:lnTo>
                  <a:lnTo>
                    <a:pt x="116" y="60"/>
                  </a:lnTo>
                  <a:lnTo>
                    <a:pt x="121" y="56"/>
                  </a:lnTo>
                  <a:lnTo>
                    <a:pt x="120" y="51"/>
                  </a:lnTo>
                  <a:lnTo>
                    <a:pt x="123" y="54"/>
                  </a:lnTo>
                  <a:lnTo>
                    <a:pt x="132" y="53"/>
                  </a:lnTo>
                  <a:lnTo>
                    <a:pt x="133" y="51"/>
                  </a:lnTo>
                  <a:lnTo>
                    <a:pt x="135" y="51"/>
                  </a:lnTo>
                  <a:lnTo>
                    <a:pt x="140" y="46"/>
                  </a:lnTo>
                  <a:lnTo>
                    <a:pt x="142" y="49"/>
                  </a:lnTo>
                  <a:lnTo>
                    <a:pt x="145" y="43"/>
                  </a:lnTo>
                  <a:lnTo>
                    <a:pt x="152" y="39"/>
                  </a:lnTo>
                  <a:lnTo>
                    <a:pt x="152" y="37"/>
                  </a:lnTo>
                  <a:lnTo>
                    <a:pt x="154" y="34"/>
                  </a:lnTo>
                  <a:lnTo>
                    <a:pt x="159" y="34"/>
                  </a:lnTo>
                  <a:lnTo>
                    <a:pt x="161" y="32"/>
                  </a:lnTo>
                  <a:lnTo>
                    <a:pt x="166" y="37"/>
                  </a:lnTo>
                  <a:lnTo>
                    <a:pt x="169" y="37"/>
                  </a:lnTo>
                  <a:lnTo>
                    <a:pt x="171" y="39"/>
                  </a:lnTo>
                  <a:lnTo>
                    <a:pt x="181" y="43"/>
                  </a:lnTo>
                  <a:lnTo>
                    <a:pt x="188" y="46"/>
                  </a:lnTo>
                  <a:lnTo>
                    <a:pt x="193" y="39"/>
                  </a:lnTo>
                  <a:lnTo>
                    <a:pt x="193" y="36"/>
                  </a:lnTo>
                  <a:lnTo>
                    <a:pt x="198" y="39"/>
                  </a:lnTo>
                  <a:lnTo>
                    <a:pt x="208" y="37"/>
                  </a:lnTo>
                  <a:lnTo>
                    <a:pt x="210" y="41"/>
                  </a:lnTo>
                  <a:lnTo>
                    <a:pt x="208" y="44"/>
                  </a:lnTo>
                  <a:lnTo>
                    <a:pt x="210" y="49"/>
                  </a:lnTo>
                  <a:lnTo>
                    <a:pt x="212" y="49"/>
                  </a:lnTo>
                  <a:lnTo>
                    <a:pt x="210" y="41"/>
                  </a:lnTo>
                  <a:lnTo>
                    <a:pt x="212" y="41"/>
                  </a:lnTo>
                  <a:lnTo>
                    <a:pt x="215" y="43"/>
                  </a:lnTo>
                  <a:lnTo>
                    <a:pt x="217" y="44"/>
                  </a:lnTo>
                  <a:lnTo>
                    <a:pt x="215" y="53"/>
                  </a:lnTo>
                  <a:lnTo>
                    <a:pt x="217" y="56"/>
                  </a:lnTo>
                  <a:lnTo>
                    <a:pt x="224" y="58"/>
                  </a:lnTo>
                  <a:lnTo>
                    <a:pt x="226" y="56"/>
                  </a:lnTo>
                  <a:lnTo>
                    <a:pt x="229" y="56"/>
                  </a:lnTo>
                  <a:lnTo>
                    <a:pt x="227" y="60"/>
                  </a:lnTo>
                  <a:lnTo>
                    <a:pt x="231" y="60"/>
                  </a:lnTo>
                  <a:lnTo>
                    <a:pt x="232" y="61"/>
                  </a:lnTo>
                  <a:lnTo>
                    <a:pt x="231" y="65"/>
                  </a:lnTo>
                  <a:lnTo>
                    <a:pt x="234" y="65"/>
                  </a:lnTo>
                  <a:lnTo>
                    <a:pt x="231" y="66"/>
                  </a:lnTo>
                  <a:lnTo>
                    <a:pt x="231" y="68"/>
                  </a:lnTo>
                  <a:lnTo>
                    <a:pt x="232" y="68"/>
                  </a:lnTo>
                  <a:lnTo>
                    <a:pt x="232" y="73"/>
                  </a:lnTo>
                  <a:lnTo>
                    <a:pt x="238" y="77"/>
                  </a:lnTo>
                  <a:lnTo>
                    <a:pt x="241" y="75"/>
                  </a:lnTo>
                  <a:lnTo>
                    <a:pt x="243" y="75"/>
                  </a:lnTo>
                  <a:lnTo>
                    <a:pt x="244" y="73"/>
                  </a:lnTo>
                  <a:lnTo>
                    <a:pt x="248" y="73"/>
                  </a:lnTo>
                  <a:lnTo>
                    <a:pt x="248" y="75"/>
                  </a:lnTo>
                  <a:lnTo>
                    <a:pt x="249" y="78"/>
                  </a:lnTo>
                  <a:lnTo>
                    <a:pt x="251" y="75"/>
                  </a:lnTo>
                  <a:lnTo>
                    <a:pt x="255" y="77"/>
                  </a:lnTo>
                  <a:lnTo>
                    <a:pt x="255" y="78"/>
                  </a:lnTo>
                  <a:lnTo>
                    <a:pt x="256" y="78"/>
                  </a:lnTo>
                  <a:lnTo>
                    <a:pt x="260" y="75"/>
                  </a:lnTo>
                  <a:lnTo>
                    <a:pt x="261" y="75"/>
                  </a:lnTo>
                  <a:lnTo>
                    <a:pt x="265" y="70"/>
                  </a:lnTo>
                  <a:lnTo>
                    <a:pt x="270" y="68"/>
                  </a:lnTo>
                  <a:lnTo>
                    <a:pt x="277" y="66"/>
                  </a:lnTo>
                  <a:lnTo>
                    <a:pt x="285" y="70"/>
                  </a:lnTo>
                  <a:lnTo>
                    <a:pt x="287" y="68"/>
                  </a:lnTo>
                  <a:lnTo>
                    <a:pt x="287" y="66"/>
                  </a:lnTo>
                  <a:lnTo>
                    <a:pt x="290" y="68"/>
                  </a:lnTo>
                  <a:lnTo>
                    <a:pt x="290" y="66"/>
                  </a:lnTo>
                  <a:lnTo>
                    <a:pt x="292" y="68"/>
                  </a:lnTo>
                  <a:lnTo>
                    <a:pt x="292" y="66"/>
                  </a:lnTo>
                  <a:lnTo>
                    <a:pt x="294" y="66"/>
                  </a:lnTo>
                  <a:lnTo>
                    <a:pt x="296" y="65"/>
                  </a:lnTo>
                  <a:lnTo>
                    <a:pt x="294" y="60"/>
                  </a:lnTo>
                  <a:lnTo>
                    <a:pt x="290" y="60"/>
                  </a:lnTo>
                  <a:lnTo>
                    <a:pt x="289" y="54"/>
                  </a:lnTo>
                  <a:lnTo>
                    <a:pt x="285" y="54"/>
                  </a:lnTo>
                  <a:lnTo>
                    <a:pt x="284" y="58"/>
                  </a:lnTo>
                  <a:lnTo>
                    <a:pt x="282" y="53"/>
                  </a:lnTo>
                  <a:lnTo>
                    <a:pt x="277" y="51"/>
                  </a:lnTo>
                  <a:lnTo>
                    <a:pt x="277" y="48"/>
                  </a:lnTo>
                  <a:lnTo>
                    <a:pt x="273" y="49"/>
                  </a:lnTo>
                  <a:lnTo>
                    <a:pt x="270" y="43"/>
                  </a:lnTo>
                  <a:lnTo>
                    <a:pt x="263" y="44"/>
                  </a:lnTo>
                  <a:lnTo>
                    <a:pt x="258" y="44"/>
                  </a:lnTo>
                  <a:lnTo>
                    <a:pt x="256" y="43"/>
                  </a:lnTo>
                  <a:lnTo>
                    <a:pt x="249" y="39"/>
                  </a:lnTo>
                  <a:lnTo>
                    <a:pt x="243" y="34"/>
                  </a:lnTo>
                  <a:lnTo>
                    <a:pt x="239" y="34"/>
                  </a:lnTo>
                  <a:lnTo>
                    <a:pt x="239" y="31"/>
                  </a:lnTo>
                  <a:lnTo>
                    <a:pt x="232" y="24"/>
                  </a:lnTo>
                  <a:lnTo>
                    <a:pt x="224" y="17"/>
                  </a:lnTo>
                  <a:lnTo>
                    <a:pt x="226" y="15"/>
                  </a:lnTo>
                  <a:lnTo>
                    <a:pt x="227" y="7"/>
                  </a:lnTo>
                  <a:lnTo>
                    <a:pt x="231" y="8"/>
                  </a:lnTo>
                  <a:lnTo>
                    <a:pt x="236" y="3"/>
                  </a:lnTo>
                  <a:lnTo>
                    <a:pt x="241" y="5"/>
                  </a:lnTo>
                  <a:lnTo>
                    <a:pt x="246" y="2"/>
                  </a:lnTo>
                  <a:lnTo>
                    <a:pt x="255"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1" name="Freeform 59"/>
            <p:cNvSpPr>
              <a:spLocks noEditPoints="1"/>
            </p:cNvSpPr>
            <p:nvPr/>
          </p:nvSpPr>
          <p:spPr bwMode="gray">
            <a:xfrm>
              <a:off x="5118238" y="4916868"/>
              <a:ext cx="277276" cy="171473"/>
            </a:xfrm>
            <a:custGeom>
              <a:avLst/>
              <a:gdLst>
                <a:gd name="T0" fmla="*/ 123 w 152"/>
                <a:gd name="T1" fmla="*/ 76 h 94"/>
                <a:gd name="T2" fmla="*/ 119 w 152"/>
                <a:gd name="T3" fmla="*/ 79 h 94"/>
                <a:gd name="T4" fmla="*/ 128 w 152"/>
                <a:gd name="T5" fmla="*/ 74 h 94"/>
                <a:gd name="T6" fmla="*/ 138 w 152"/>
                <a:gd name="T7" fmla="*/ 81 h 94"/>
                <a:gd name="T8" fmla="*/ 141 w 152"/>
                <a:gd name="T9" fmla="*/ 86 h 94"/>
                <a:gd name="T10" fmla="*/ 129 w 152"/>
                <a:gd name="T11" fmla="*/ 89 h 94"/>
                <a:gd name="T12" fmla="*/ 121 w 152"/>
                <a:gd name="T13" fmla="*/ 82 h 94"/>
                <a:gd name="T14" fmla="*/ 128 w 152"/>
                <a:gd name="T15" fmla="*/ 74 h 94"/>
                <a:gd name="T16" fmla="*/ 123 w 152"/>
                <a:gd name="T17" fmla="*/ 74 h 94"/>
                <a:gd name="T18" fmla="*/ 121 w 152"/>
                <a:gd name="T19" fmla="*/ 72 h 94"/>
                <a:gd name="T20" fmla="*/ 99 w 152"/>
                <a:gd name="T21" fmla="*/ 4 h 94"/>
                <a:gd name="T22" fmla="*/ 107 w 152"/>
                <a:gd name="T23" fmla="*/ 7 h 94"/>
                <a:gd name="T24" fmla="*/ 114 w 152"/>
                <a:gd name="T25" fmla="*/ 9 h 94"/>
                <a:gd name="T26" fmla="*/ 126 w 152"/>
                <a:gd name="T27" fmla="*/ 16 h 94"/>
                <a:gd name="T28" fmla="*/ 138 w 152"/>
                <a:gd name="T29" fmla="*/ 26 h 94"/>
                <a:gd name="T30" fmla="*/ 143 w 152"/>
                <a:gd name="T31" fmla="*/ 31 h 94"/>
                <a:gd name="T32" fmla="*/ 152 w 152"/>
                <a:gd name="T33" fmla="*/ 41 h 94"/>
                <a:gd name="T34" fmla="*/ 143 w 152"/>
                <a:gd name="T35" fmla="*/ 48 h 94"/>
                <a:gd name="T36" fmla="*/ 136 w 152"/>
                <a:gd name="T37" fmla="*/ 55 h 94"/>
                <a:gd name="T38" fmla="*/ 128 w 152"/>
                <a:gd name="T39" fmla="*/ 55 h 94"/>
                <a:gd name="T40" fmla="*/ 119 w 152"/>
                <a:gd name="T41" fmla="*/ 62 h 94"/>
                <a:gd name="T42" fmla="*/ 104 w 152"/>
                <a:gd name="T43" fmla="*/ 67 h 94"/>
                <a:gd name="T44" fmla="*/ 99 w 152"/>
                <a:gd name="T45" fmla="*/ 77 h 94"/>
                <a:gd name="T46" fmla="*/ 97 w 152"/>
                <a:gd name="T47" fmla="*/ 81 h 94"/>
                <a:gd name="T48" fmla="*/ 97 w 152"/>
                <a:gd name="T49" fmla="*/ 81 h 94"/>
                <a:gd name="T50" fmla="*/ 94 w 152"/>
                <a:gd name="T51" fmla="*/ 82 h 94"/>
                <a:gd name="T52" fmla="*/ 88 w 152"/>
                <a:gd name="T53" fmla="*/ 82 h 94"/>
                <a:gd name="T54" fmla="*/ 92 w 152"/>
                <a:gd name="T55" fmla="*/ 88 h 94"/>
                <a:gd name="T56" fmla="*/ 95 w 152"/>
                <a:gd name="T57" fmla="*/ 89 h 94"/>
                <a:gd name="T58" fmla="*/ 88 w 152"/>
                <a:gd name="T59" fmla="*/ 94 h 94"/>
                <a:gd name="T60" fmla="*/ 76 w 152"/>
                <a:gd name="T61" fmla="*/ 94 h 94"/>
                <a:gd name="T62" fmla="*/ 83 w 152"/>
                <a:gd name="T63" fmla="*/ 86 h 94"/>
                <a:gd name="T64" fmla="*/ 87 w 152"/>
                <a:gd name="T65" fmla="*/ 84 h 94"/>
                <a:gd name="T66" fmla="*/ 87 w 152"/>
                <a:gd name="T67" fmla="*/ 79 h 94"/>
                <a:gd name="T68" fmla="*/ 80 w 152"/>
                <a:gd name="T69" fmla="*/ 70 h 94"/>
                <a:gd name="T70" fmla="*/ 66 w 152"/>
                <a:gd name="T71" fmla="*/ 57 h 94"/>
                <a:gd name="T72" fmla="*/ 49 w 152"/>
                <a:gd name="T73" fmla="*/ 45 h 94"/>
                <a:gd name="T74" fmla="*/ 44 w 152"/>
                <a:gd name="T75" fmla="*/ 43 h 94"/>
                <a:gd name="T76" fmla="*/ 30 w 152"/>
                <a:gd name="T77" fmla="*/ 41 h 94"/>
                <a:gd name="T78" fmla="*/ 20 w 152"/>
                <a:gd name="T79" fmla="*/ 41 h 94"/>
                <a:gd name="T80" fmla="*/ 17 w 152"/>
                <a:gd name="T81" fmla="*/ 41 h 94"/>
                <a:gd name="T82" fmla="*/ 10 w 152"/>
                <a:gd name="T83" fmla="*/ 33 h 94"/>
                <a:gd name="T84" fmla="*/ 5 w 152"/>
                <a:gd name="T85" fmla="*/ 26 h 94"/>
                <a:gd name="T86" fmla="*/ 0 w 152"/>
                <a:gd name="T87" fmla="*/ 12 h 94"/>
                <a:gd name="T88" fmla="*/ 3 w 152"/>
                <a:gd name="T89" fmla="*/ 12 h 94"/>
                <a:gd name="T90" fmla="*/ 0 w 152"/>
                <a:gd name="T91" fmla="*/ 7 h 94"/>
                <a:gd name="T92" fmla="*/ 6 w 152"/>
                <a:gd name="T93" fmla="*/ 4 h 94"/>
                <a:gd name="T94" fmla="*/ 10 w 152"/>
                <a:gd name="T95" fmla="*/ 12 h 94"/>
                <a:gd name="T96" fmla="*/ 15 w 152"/>
                <a:gd name="T97" fmla="*/ 11 h 94"/>
                <a:gd name="T98" fmla="*/ 18 w 152"/>
                <a:gd name="T99" fmla="*/ 7 h 94"/>
                <a:gd name="T100" fmla="*/ 22 w 152"/>
                <a:gd name="T101" fmla="*/ 7 h 94"/>
                <a:gd name="T102" fmla="*/ 30 w 152"/>
                <a:gd name="T103" fmla="*/ 11 h 94"/>
                <a:gd name="T104" fmla="*/ 34 w 152"/>
                <a:gd name="T105" fmla="*/ 11 h 94"/>
                <a:gd name="T106" fmla="*/ 46 w 152"/>
                <a:gd name="T107" fmla="*/ 16 h 94"/>
                <a:gd name="T108" fmla="*/ 56 w 152"/>
                <a:gd name="T109" fmla="*/ 16 h 94"/>
                <a:gd name="T110" fmla="*/ 68 w 152"/>
                <a:gd name="T111" fmla="*/ 14 h 94"/>
                <a:gd name="T112" fmla="*/ 76 w 152"/>
                <a:gd name="T113" fmla="*/ 6 h 94"/>
                <a:gd name="T114" fmla="*/ 90 w 152"/>
                <a:gd name="T11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94">
                  <a:moveTo>
                    <a:pt x="119" y="76"/>
                  </a:moveTo>
                  <a:lnTo>
                    <a:pt x="123" y="76"/>
                  </a:lnTo>
                  <a:lnTo>
                    <a:pt x="123" y="79"/>
                  </a:lnTo>
                  <a:lnTo>
                    <a:pt x="119" y="79"/>
                  </a:lnTo>
                  <a:lnTo>
                    <a:pt x="119" y="76"/>
                  </a:lnTo>
                  <a:close/>
                  <a:moveTo>
                    <a:pt x="128" y="74"/>
                  </a:moveTo>
                  <a:lnTo>
                    <a:pt x="135" y="74"/>
                  </a:lnTo>
                  <a:lnTo>
                    <a:pt x="138" y="81"/>
                  </a:lnTo>
                  <a:lnTo>
                    <a:pt x="141" y="84"/>
                  </a:lnTo>
                  <a:lnTo>
                    <a:pt x="141" y="86"/>
                  </a:lnTo>
                  <a:lnTo>
                    <a:pt x="138" y="91"/>
                  </a:lnTo>
                  <a:lnTo>
                    <a:pt x="129" y="89"/>
                  </a:lnTo>
                  <a:lnTo>
                    <a:pt x="124" y="82"/>
                  </a:lnTo>
                  <a:lnTo>
                    <a:pt x="121" y="82"/>
                  </a:lnTo>
                  <a:lnTo>
                    <a:pt x="121" y="79"/>
                  </a:lnTo>
                  <a:lnTo>
                    <a:pt x="128" y="74"/>
                  </a:lnTo>
                  <a:close/>
                  <a:moveTo>
                    <a:pt x="121" y="72"/>
                  </a:moveTo>
                  <a:lnTo>
                    <a:pt x="123" y="74"/>
                  </a:lnTo>
                  <a:lnTo>
                    <a:pt x="117" y="76"/>
                  </a:lnTo>
                  <a:lnTo>
                    <a:pt x="121" y="72"/>
                  </a:lnTo>
                  <a:close/>
                  <a:moveTo>
                    <a:pt x="90" y="0"/>
                  </a:moveTo>
                  <a:lnTo>
                    <a:pt x="99" y="4"/>
                  </a:lnTo>
                  <a:lnTo>
                    <a:pt x="102" y="6"/>
                  </a:lnTo>
                  <a:lnTo>
                    <a:pt x="107" y="7"/>
                  </a:lnTo>
                  <a:lnTo>
                    <a:pt x="111" y="9"/>
                  </a:lnTo>
                  <a:lnTo>
                    <a:pt x="114" y="9"/>
                  </a:lnTo>
                  <a:lnTo>
                    <a:pt x="121" y="12"/>
                  </a:lnTo>
                  <a:lnTo>
                    <a:pt x="126" y="16"/>
                  </a:lnTo>
                  <a:lnTo>
                    <a:pt x="135" y="21"/>
                  </a:lnTo>
                  <a:lnTo>
                    <a:pt x="138" y="26"/>
                  </a:lnTo>
                  <a:lnTo>
                    <a:pt x="141" y="29"/>
                  </a:lnTo>
                  <a:lnTo>
                    <a:pt x="143" y="31"/>
                  </a:lnTo>
                  <a:lnTo>
                    <a:pt x="150" y="36"/>
                  </a:lnTo>
                  <a:lnTo>
                    <a:pt x="152" y="41"/>
                  </a:lnTo>
                  <a:lnTo>
                    <a:pt x="148" y="47"/>
                  </a:lnTo>
                  <a:lnTo>
                    <a:pt x="143" y="48"/>
                  </a:lnTo>
                  <a:lnTo>
                    <a:pt x="140" y="53"/>
                  </a:lnTo>
                  <a:lnTo>
                    <a:pt x="136" y="55"/>
                  </a:lnTo>
                  <a:lnTo>
                    <a:pt x="131" y="53"/>
                  </a:lnTo>
                  <a:lnTo>
                    <a:pt x="128" y="55"/>
                  </a:lnTo>
                  <a:lnTo>
                    <a:pt x="128" y="58"/>
                  </a:lnTo>
                  <a:lnTo>
                    <a:pt x="119" y="62"/>
                  </a:lnTo>
                  <a:lnTo>
                    <a:pt x="109" y="64"/>
                  </a:lnTo>
                  <a:lnTo>
                    <a:pt x="104" y="67"/>
                  </a:lnTo>
                  <a:lnTo>
                    <a:pt x="99" y="72"/>
                  </a:lnTo>
                  <a:lnTo>
                    <a:pt x="99" y="77"/>
                  </a:lnTo>
                  <a:lnTo>
                    <a:pt x="94" y="79"/>
                  </a:lnTo>
                  <a:lnTo>
                    <a:pt x="97" y="81"/>
                  </a:lnTo>
                  <a:lnTo>
                    <a:pt x="95" y="81"/>
                  </a:lnTo>
                  <a:lnTo>
                    <a:pt x="97" y="81"/>
                  </a:lnTo>
                  <a:lnTo>
                    <a:pt x="95" y="82"/>
                  </a:lnTo>
                  <a:lnTo>
                    <a:pt x="94" y="82"/>
                  </a:lnTo>
                  <a:lnTo>
                    <a:pt x="94" y="81"/>
                  </a:lnTo>
                  <a:lnTo>
                    <a:pt x="88" y="82"/>
                  </a:lnTo>
                  <a:lnTo>
                    <a:pt x="88" y="84"/>
                  </a:lnTo>
                  <a:lnTo>
                    <a:pt x="92" y="88"/>
                  </a:lnTo>
                  <a:lnTo>
                    <a:pt x="94" y="84"/>
                  </a:lnTo>
                  <a:lnTo>
                    <a:pt x="95" y="89"/>
                  </a:lnTo>
                  <a:lnTo>
                    <a:pt x="94" y="93"/>
                  </a:lnTo>
                  <a:lnTo>
                    <a:pt x="88" y="94"/>
                  </a:lnTo>
                  <a:lnTo>
                    <a:pt x="82" y="94"/>
                  </a:lnTo>
                  <a:lnTo>
                    <a:pt x="76" y="94"/>
                  </a:lnTo>
                  <a:lnTo>
                    <a:pt x="76" y="91"/>
                  </a:lnTo>
                  <a:lnTo>
                    <a:pt x="83" y="86"/>
                  </a:lnTo>
                  <a:lnTo>
                    <a:pt x="87" y="86"/>
                  </a:lnTo>
                  <a:lnTo>
                    <a:pt x="87" y="84"/>
                  </a:lnTo>
                  <a:lnTo>
                    <a:pt x="85" y="82"/>
                  </a:lnTo>
                  <a:lnTo>
                    <a:pt x="87" y="79"/>
                  </a:lnTo>
                  <a:lnTo>
                    <a:pt x="83" y="74"/>
                  </a:lnTo>
                  <a:lnTo>
                    <a:pt x="80" y="70"/>
                  </a:lnTo>
                  <a:lnTo>
                    <a:pt x="75" y="64"/>
                  </a:lnTo>
                  <a:lnTo>
                    <a:pt x="66" y="57"/>
                  </a:lnTo>
                  <a:lnTo>
                    <a:pt x="59" y="50"/>
                  </a:lnTo>
                  <a:lnTo>
                    <a:pt x="49" y="45"/>
                  </a:lnTo>
                  <a:lnTo>
                    <a:pt x="46" y="45"/>
                  </a:lnTo>
                  <a:lnTo>
                    <a:pt x="44" y="43"/>
                  </a:lnTo>
                  <a:lnTo>
                    <a:pt x="35" y="40"/>
                  </a:lnTo>
                  <a:lnTo>
                    <a:pt x="30" y="41"/>
                  </a:lnTo>
                  <a:lnTo>
                    <a:pt x="24" y="41"/>
                  </a:lnTo>
                  <a:lnTo>
                    <a:pt x="20" y="41"/>
                  </a:lnTo>
                  <a:lnTo>
                    <a:pt x="22" y="40"/>
                  </a:lnTo>
                  <a:lnTo>
                    <a:pt x="17" y="41"/>
                  </a:lnTo>
                  <a:lnTo>
                    <a:pt x="13" y="35"/>
                  </a:lnTo>
                  <a:lnTo>
                    <a:pt x="10" y="33"/>
                  </a:lnTo>
                  <a:lnTo>
                    <a:pt x="10" y="29"/>
                  </a:lnTo>
                  <a:lnTo>
                    <a:pt x="5" y="26"/>
                  </a:lnTo>
                  <a:lnTo>
                    <a:pt x="1" y="19"/>
                  </a:lnTo>
                  <a:lnTo>
                    <a:pt x="0" y="12"/>
                  </a:lnTo>
                  <a:lnTo>
                    <a:pt x="1" y="14"/>
                  </a:lnTo>
                  <a:lnTo>
                    <a:pt x="3" y="12"/>
                  </a:lnTo>
                  <a:lnTo>
                    <a:pt x="1" y="12"/>
                  </a:lnTo>
                  <a:lnTo>
                    <a:pt x="0" y="7"/>
                  </a:lnTo>
                  <a:lnTo>
                    <a:pt x="0" y="4"/>
                  </a:lnTo>
                  <a:lnTo>
                    <a:pt x="6" y="4"/>
                  </a:lnTo>
                  <a:lnTo>
                    <a:pt x="10" y="9"/>
                  </a:lnTo>
                  <a:lnTo>
                    <a:pt x="10" y="12"/>
                  </a:lnTo>
                  <a:lnTo>
                    <a:pt x="15" y="9"/>
                  </a:lnTo>
                  <a:lnTo>
                    <a:pt x="15" y="11"/>
                  </a:lnTo>
                  <a:lnTo>
                    <a:pt x="17" y="7"/>
                  </a:lnTo>
                  <a:lnTo>
                    <a:pt x="18" y="7"/>
                  </a:lnTo>
                  <a:lnTo>
                    <a:pt x="18" y="9"/>
                  </a:lnTo>
                  <a:lnTo>
                    <a:pt x="22" y="7"/>
                  </a:lnTo>
                  <a:lnTo>
                    <a:pt x="27" y="11"/>
                  </a:lnTo>
                  <a:lnTo>
                    <a:pt x="30" y="11"/>
                  </a:lnTo>
                  <a:lnTo>
                    <a:pt x="32" y="12"/>
                  </a:lnTo>
                  <a:lnTo>
                    <a:pt x="34" y="11"/>
                  </a:lnTo>
                  <a:lnTo>
                    <a:pt x="37" y="14"/>
                  </a:lnTo>
                  <a:lnTo>
                    <a:pt x="46" y="16"/>
                  </a:lnTo>
                  <a:lnTo>
                    <a:pt x="51" y="17"/>
                  </a:lnTo>
                  <a:lnTo>
                    <a:pt x="56" y="16"/>
                  </a:lnTo>
                  <a:lnTo>
                    <a:pt x="63" y="16"/>
                  </a:lnTo>
                  <a:lnTo>
                    <a:pt x="68" y="14"/>
                  </a:lnTo>
                  <a:lnTo>
                    <a:pt x="73" y="11"/>
                  </a:lnTo>
                  <a:lnTo>
                    <a:pt x="76" y="6"/>
                  </a:lnTo>
                  <a:lnTo>
                    <a:pt x="82" y="2"/>
                  </a:lnTo>
                  <a:lnTo>
                    <a:pt x="9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2" name="Freeform 60"/>
            <p:cNvSpPr>
              <a:spLocks noEditPoints="1"/>
            </p:cNvSpPr>
            <p:nvPr/>
          </p:nvSpPr>
          <p:spPr bwMode="gray">
            <a:xfrm>
              <a:off x="4348433" y="4256514"/>
              <a:ext cx="1171126" cy="820882"/>
            </a:xfrm>
            <a:custGeom>
              <a:avLst/>
              <a:gdLst>
                <a:gd name="T0" fmla="*/ 213 w 642"/>
                <a:gd name="T1" fmla="*/ 407 h 450"/>
                <a:gd name="T2" fmla="*/ 365 w 642"/>
                <a:gd name="T3" fmla="*/ 263 h 450"/>
                <a:gd name="T4" fmla="*/ 444 w 642"/>
                <a:gd name="T5" fmla="*/ 255 h 450"/>
                <a:gd name="T6" fmla="*/ 580 w 642"/>
                <a:gd name="T7" fmla="*/ 257 h 450"/>
                <a:gd name="T8" fmla="*/ 597 w 642"/>
                <a:gd name="T9" fmla="*/ 251 h 450"/>
                <a:gd name="T10" fmla="*/ 379 w 642"/>
                <a:gd name="T11" fmla="*/ 248 h 450"/>
                <a:gd name="T12" fmla="*/ 403 w 642"/>
                <a:gd name="T13" fmla="*/ 246 h 450"/>
                <a:gd name="T14" fmla="*/ 565 w 642"/>
                <a:gd name="T15" fmla="*/ 241 h 450"/>
                <a:gd name="T16" fmla="*/ 548 w 642"/>
                <a:gd name="T17" fmla="*/ 236 h 450"/>
                <a:gd name="T18" fmla="*/ 539 w 642"/>
                <a:gd name="T19" fmla="*/ 231 h 450"/>
                <a:gd name="T20" fmla="*/ 562 w 642"/>
                <a:gd name="T21" fmla="*/ 234 h 450"/>
                <a:gd name="T22" fmla="*/ 586 w 642"/>
                <a:gd name="T23" fmla="*/ 231 h 450"/>
                <a:gd name="T24" fmla="*/ 377 w 642"/>
                <a:gd name="T25" fmla="*/ 226 h 450"/>
                <a:gd name="T26" fmla="*/ 355 w 642"/>
                <a:gd name="T27" fmla="*/ 246 h 450"/>
                <a:gd name="T28" fmla="*/ 312 w 642"/>
                <a:gd name="T29" fmla="*/ 265 h 450"/>
                <a:gd name="T30" fmla="*/ 263 w 642"/>
                <a:gd name="T31" fmla="*/ 263 h 450"/>
                <a:gd name="T32" fmla="*/ 212 w 642"/>
                <a:gd name="T33" fmla="*/ 245 h 450"/>
                <a:gd name="T34" fmla="*/ 265 w 642"/>
                <a:gd name="T35" fmla="*/ 222 h 450"/>
                <a:gd name="T36" fmla="*/ 333 w 642"/>
                <a:gd name="T37" fmla="*/ 221 h 450"/>
                <a:gd name="T38" fmla="*/ 557 w 642"/>
                <a:gd name="T39" fmla="*/ 224 h 450"/>
                <a:gd name="T40" fmla="*/ 539 w 642"/>
                <a:gd name="T41" fmla="*/ 229 h 450"/>
                <a:gd name="T42" fmla="*/ 538 w 642"/>
                <a:gd name="T43" fmla="*/ 233 h 450"/>
                <a:gd name="T44" fmla="*/ 519 w 642"/>
                <a:gd name="T45" fmla="*/ 233 h 450"/>
                <a:gd name="T46" fmla="*/ 516 w 642"/>
                <a:gd name="T47" fmla="*/ 222 h 450"/>
                <a:gd name="T48" fmla="*/ 20 w 642"/>
                <a:gd name="T49" fmla="*/ 357 h 450"/>
                <a:gd name="T50" fmla="*/ 43 w 642"/>
                <a:gd name="T51" fmla="*/ 349 h 450"/>
                <a:gd name="T52" fmla="*/ 34 w 642"/>
                <a:gd name="T53" fmla="*/ 316 h 450"/>
                <a:gd name="T54" fmla="*/ 32 w 642"/>
                <a:gd name="T55" fmla="*/ 267 h 450"/>
                <a:gd name="T56" fmla="*/ 67 w 642"/>
                <a:gd name="T57" fmla="*/ 277 h 450"/>
                <a:gd name="T58" fmla="*/ 70 w 642"/>
                <a:gd name="T59" fmla="*/ 265 h 450"/>
                <a:gd name="T60" fmla="*/ 87 w 642"/>
                <a:gd name="T61" fmla="*/ 243 h 450"/>
                <a:gd name="T62" fmla="*/ 94 w 642"/>
                <a:gd name="T63" fmla="*/ 209 h 450"/>
                <a:gd name="T64" fmla="*/ 135 w 642"/>
                <a:gd name="T65" fmla="*/ 217 h 450"/>
                <a:gd name="T66" fmla="*/ 196 w 642"/>
                <a:gd name="T67" fmla="*/ 221 h 450"/>
                <a:gd name="T68" fmla="*/ 205 w 642"/>
                <a:gd name="T69" fmla="*/ 234 h 450"/>
                <a:gd name="T70" fmla="*/ 215 w 642"/>
                <a:gd name="T71" fmla="*/ 258 h 450"/>
                <a:gd name="T72" fmla="*/ 232 w 642"/>
                <a:gd name="T73" fmla="*/ 292 h 450"/>
                <a:gd name="T74" fmla="*/ 254 w 642"/>
                <a:gd name="T75" fmla="*/ 313 h 450"/>
                <a:gd name="T76" fmla="*/ 292 w 642"/>
                <a:gd name="T77" fmla="*/ 328 h 450"/>
                <a:gd name="T78" fmla="*/ 347 w 642"/>
                <a:gd name="T79" fmla="*/ 323 h 450"/>
                <a:gd name="T80" fmla="*/ 394 w 642"/>
                <a:gd name="T81" fmla="*/ 321 h 450"/>
                <a:gd name="T82" fmla="*/ 422 w 642"/>
                <a:gd name="T83" fmla="*/ 359 h 450"/>
                <a:gd name="T84" fmla="*/ 415 w 642"/>
                <a:gd name="T85" fmla="*/ 409 h 450"/>
                <a:gd name="T86" fmla="*/ 439 w 642"/>
                <a:gd name="T87" fmla="*/ 448 h 450"/>
                <a:gd name="T88" fmla="*/ 403 w 642"/>
                <a:gd name="T89" fmla="*/ 427 h 450"/>
                <a:gd name="T90" fmla="*/ 370 w 642"/>
                <a:gd name="T91" fmla="*/ 426 h 450"/>
                <a:gd name="T92" fmla="*/ 355 w 642"/>
                <a:gd name="T93" fmla="*/ 422 h 450"/>
                <a:gd name="T94" fmla="*/ 336 w 642"/>
                <a:gd name="T95" fmla="*/ 414 h 450"/>
                <a:gd name="T96" fmla="*/ 307 w 642"/>
                <a:gd name="T97" fmla="*/ 400 h 450"/>
                <a:gd name="T98" fmla="*/ 242 w 642"/>
                <a:gd name="T99" fmla="*/ 402 h 450"/>
                <a:gd name="T100" fmla="*/ 225 w 642"/>
                <a:gd name="T101" fmla="*/ 403 h 450"/>
                <a:gd name="T102" fmla="*/ 176 w 642"/>
                <a:gd name="T103" fmla="*/ 400 h 450"/>
                <a:gd name="T104" fmla="*/ 147 w 642"/>
                <a:gd name="T105" fmla="*/ 395 h 450"/>
                <a:gd name="T106" fmla="*/ 106 w 642"/>
                <a:gd name="T107" fmla="*/ 386 h 450"/>
                <a:gd name="T108" fmla="*/ 97 w 642"/>
                <a:gd name="T109" fmla="*/ 400 h 450"/>
                <a:gd name="T110" fmla="*/ 79 w 642"/>
                <a:gd name="T111" fmla="*/ 397 h 450"/>
                <a:gd name="T112" fmla="*/ 61 w 642"/>
                <a:gd name="T113" fmla="*/ 388 h 450"/>
                <a:gd name="T114" fmla="*/ 29 w 642"/>
                <a:gd name="T115" fmla="*/ 390 h 450"/>
                <a:gd name="T116" fmla="*/ 0 w 642"/>
                <a:gd name="T117" fmla="*/ 381 h 450"/>
                <a:gd name="T118" fmla="*/ 207 w 642"/>
                <a:gd name="T119" fmla="*/ 98 h 450"/>
                <a:gd name="T120" fmla="*/ 422 w 642"/>
                <a:gd name="T121" fmla="*/ 60 h 450"/>
                <a:gd name="T122" fmla="*/ 423 w 642"/>
                <a:gd name="T123" fmla="*/ 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450">
                  <a:moveTo>
                    <a:pt x="287" y="409"/>
                  </a:moveTo>
                  <a:lnTo>
                    <a:pt x="297" y="410"/>
                  </a:lnTo>
                  <a:lnTo>
                    <a:pt x="299" y="412"/>
                  </a:lnTo>
                  <a:lnTo>
                    <a:pt x="300" y="412"/>
                  </a:lnTo>
                  <a:lnTo>
                    <a:pt x="299" y="415"/>
                  </a:lnTo>
                  <a:lnTo>
                    <a:pt x="287" y="415"/>
                  </a:lnTo>
                  <a:lnTo>
                    <a:pt x="285" y="415"/>
                  </a:lnTo>
                  <a:lnTo>
                    <a:pt x="282" y="414"/>
                  </a:lnTo>
                  <a:lnTo>
                    <a:pt x="285" y="409"/>
                  </a:lnTo>
                  <a:lnTo>
                    <a:pt x="287" y="409"/>
                  </a:lnTo>
                  <a:close/>
                  <a:moveTo>
                    <a:pt x="213" y="407"/>
                  </a:moveTo>
                  <a:lnTo>
                    <a:pt x="215" y="407"/>
                  </a:lnTo>
                  <a:lnTo>
                    <a:pt x="215" y="410"/>
                  </a:lnTo>
                  <a:lnTo>
                    <a:pt x="212" y="410"/>
                  </a:lnTo>
                  <a:lnTo>
                    <a:pt x="213" y="407"/>
                  </a:lnTo>
                  <a:close/>
                  <a:moveTo>
                    <a:pt x="343" y="260"/>
                  </a:moveTo>
                  <a:lnTo>
                    <a:pt x="348" y="262"/>
                  </a:lnTo>
                  <a:lnTo>
                    <a:pt x="347" y="263"/>
                  </a:lnTo>
                  <a:lnTo>
                    <a:pt x="341" y="262"/>
                  </a:lnTo>
                  <a:lnTo>
                    <a:pt x="343" y="260"/>
                  </a:lnTo>
                  <a:close/>
                  <a:moveTo>
                    <a:pt x="362" y="257"/>
                  </a:moveTo>
                  <a:lnTo>
                    <a:pt x="365" y="263"/>
                  </a:lnTo>
                  <a:lnTo>
                    <a:pt x="362" y="260"/>
                  </a:lnTo>
                  <a:lnTo>
                    <a:pt x="357" y="260"/>
                  </a:lnTo>
                  <a:lnTo>
                    <a:pt x="357" y="258"/>
                  </a:lnTo>
                  <a:lnTo>
                    <a:pt x="362" y="257"/>
                  </a:lnTo>
                  <a:close/>
                  <a:moveTo>
                    <a:pt x="452" y="255"/>
                  </a:moveTo>
                  <a:lnTo>
                    <a:pt x="449" y="255"/>
                  </a:lnTo>
                  <a:lnTo>
                    <a:pt x="451" y="255"/>
                  </a:lnTo>
                  <a:lnTo>
                    <a:pt x="452" y="255"/>
                  </a:lnTo>
                  <a:close/>
                  <a:moveTo>
                    <a:pt x="440" y="251"/>
                  </a:moveTo>
                  <a:lnTo>
                    <a:pt x="444" y="251"/>
                  </a:lnTo>
                  <a:lnTo>
                    <a:pt x="444" y="255"/>
                  </a:lnTo>
                  <a:lnTo>
                    <a:pt x="442" y="255"/>
                  </a:lnTo>
                  <a:lnTo>
                    <a:pt x="437" y="253"/>
                  </a:lnTo>
                  <a:lnTo>
                    <a:pt x="428" y="255"/>
                  </a:lnTo>
                  <a:lnTo>
                    <a:pt x="427" y="253"/>
                  </a:lnTo>
                  <a:lnTo>
                    <a:pt x="434" y="251"/>
                  </a:lnTo>
                  <a:lnTo>
                    <a:pt x="440" y="251"/>
                  </a:lnTo>
                  <a:close/>
                  <a:moveTo>
                    <a:pt x="599" y="248"/>
                  </a:moveTo>
                  <a:lnTo>
                    <a:pt x="597" y="258"/>
                  </a:lnTo>
                  <a:lnTo>
                    <a:pt x="596" y="260"/>
                  </a:lnTo>
                  <a:lnTo>
                    <a:pt x="589" y="260"/>
                  </a:lnTo>
                  <a:lnTo>
                    <a:pt x="580" y="257"/>
                  </a:lnTo>
                  <a:lnTo>
                    <a:pt x="579" y="253"/>
                  </a:lnTo>
                  <a:lnTo>
                    <a:pt x="582" y="250"/>
                  </a:lnTo>
                  <a:lnTo>
                    <a:pt x="582" y="253"/>
                  </a:lnTo>
                  <a:lnTo>
                    <a:pt x="584" y="248"/>
                  </a:lnTo>
                  <a:lnTo>
                    <a:pt x="587" y="253"/>
                  </a:lnTo>
                  <a:lnTo>
                    <a:pt x="596" y="255"/>
                  </a:lnTo>
                  <a:lnTo>
                    <a:pt x="597" y="253"/>
                  </a:lnTo>
                  <a:lnTo>
                    <a:pt x="596" y="255"/>
                  </a:lnTo>
                  <a:lnTo>
                    <a:pt x="594" y="251"/>
                  </a:lnTo>
                  <a:lnTo>
                    <a:pt x="596" y="250"/>
                  </a:lnTo>
                  <a:lnTo>
                    <a:pt x="597" y="251"/>
                  </a:lnTo>
                  <a:lnTo>
                    <a:pt x="597" y="248"/>
                  </a:lnTo>
                  <a:lnTo>
                    <a:pt x="599" y="248"/>
                  </a:lnTo>
                  <a:close/>
                  <a:moveTo>
                    <a:pt x="572" y="243"/>
                  </a:moveTo>
                  <a:lnTo>
                    <a:pt x="575" y="243"/>
                  </a:lnTo>
                  <a:lnTo>
                    <a:pt x="575" y="245"/>
                  </a:lnTo>
                  <a:lnTo>
                    <a:pt x="572" y="245"/>
                  </a:lnTo>
                  <a:lnTo>
                    <a:pt x="572" y="243"/>
                  </a:lnTo>
                  <a:close/>
                  <a:moveTo>
                    <a:pt x="365" y="243"/>
                  </a:moveTo>
                  <a:lnTo>
                    <a:pt x="369" y="245"/>
                  </a:lnTo>
                  <a:lnTo>
                    <a:pt x="377" y="245"/>
                  </a:lnTo>
                  <a:lnTo>
                    <a:pt x="379" y="248"/>
                  </a:lnTo>
                  <a:lnTo>
                    <a:pt x="369" y="248"/>
                  </a:lnTo>
                  <a:lnTo>
                    <a:pt x="364" y="246"/>
                  </a:lnTo>
                  <a:lnTo>
                    <a:pt x="364" y="243"/>
                  </a:lnTo>
                  <a:lnTo>
                    <a:pt x="365" y="243"/>
                  </a:lnTo>
                  <a:close/>
                  <a:moveTo>
                    <a:pt x="411" y="243"/>
                  </a:moveTo>
                  <a:lnTo>
                    <a:pt x="415" y="246"/>
                  </a:lnTo>
                  <a:lnTo>
                    <a:pt x="420" y="255"/>
                  </a:lnTo>
                  <a:lnTo>
                    <a:pt x="417" y="257"/>
                  </a:lnTo>
                  <a:lnTo>
                    <a:pt x="408" y="255"/>
                  </a:lnTo>
                  <a:lnTo>
                    <a:pt x="405" y="248"/>
                  </a:lnTo>
                  <a:lnTo>
                    <a:pt x="403" y="246"/>
                  </a:lnTo>
                  <a:lnTo>
                    <a:pt x="406" y="243"/>
                  </a:lnTo>
                  <a:lnTo>
                    <a:pt x="411" y="243"/>
                  </a:lnTo>
                  <a:close/>
                  <a:moveTo>
                    <a:pt x="568" y="241"/>
                  </a:moveTo>
                  <a:lnTo>
                    <a:pt x="570" y="241"/>
                  </a:lnTo>
                  <a:lnTo>
                    <a:pt x="570" y="243"/>
                  </a:lnTo>
                  <a:lnTo>
                    <a:pt x="568" y="243"/>
                  </a:lnTo>
                  <a:lnTo>
                    <a:pt x="568" y="241"/>
                  </a:lnTo>
                  <a:close/>
                  <a:moveTo>
                    <a:pt x="567" y="241"/>
                  </a:moveTo>
                  <a:lnTo>
                    <a:pt x="565" y="243"/>
                  </a:lnTo>
                  <a:lnTo>
                    <a:pt x="563" y="243"/>
                  </a:lnTo>
                  <a:lnTo>
                    <a:pt x="565" y="241"/>
                  </a:lnTo>
                  <a:lnTo>
                    <a:pt x="562" y="241"/>
                  </a:lnTo>
                  <a:lnTo>
                    <a:pt x="562" y="239"/>
                  </a:lnTo>
                  <a:lnTo>
                    <a:pt x="567" y="241"/>
                  </a:lnTo>
                  <a:close/>
                  <a:moveTo>
                    <a:pt x="555" y="234"/>
                  </a:moveTo>
                  <a:lnTo>
                    <a:pt x="555" y="236"/>
                  </a:lnTo>
                  <a:lnTo>
                    <a:pt x="557" y="238"/>
                  </a:lnTo>
                  <a:lnTo>
                    <a:pt x="553" y="239"/>
                  </a:lnTo>
                  <a:lnTo>
                    <a:pt x="551" y="238"/>
                  </a:lnTo>
                  <a:lnTo>
                    <a:pt x="555" y="234"/>
                  </a:lnTo>
                  <a:close/>
                  <a:moveTo>
                    <a:pt x="546" y="233"/>
                  </a:moveTo>
                  <a:lnTo>
                    <a:pt x="548" y="236"/>
                  </a:lnTo>
                  <a:lnTo>
                    <a:pt x="541" y="234"/>
                  </a:lnTo>
                  <a:lnTo>
                    <a:pt x="541" y="233"/>
                  </a:lnTo>
                  <a:lnTo>
                    <a:pt x="546" y="233"/>
                  </a:lnTo>
                  <a:close/>
                  <a:moveTo>
                    <a:pt x="393" y="236"/>
                  </a:moveTo>
                  <a:lnTo>
                    <a:pt x="391" y="236"/>
                  </a:lnTo>
                  <a:lnTo>
                    <a:pt x="393" y="231"/>
                  </a:lnTo>
                  <a:lnTo>
                    <a:pt x="393" y="233"/>
                  </a:lnTo>
                  <a:lnTo>
                    <a:pt x="393" y="236"/>
                  </a:lnTo>
                  <a:close/>
                  <a:moveTo>
                    <a:pt x="539" y="231"/>
                  </a:moveTo>
                  <a:lnTo>
                    <a:pt x="539" y="233"/>
                  </a:lnTo>
                  <a:lnTo>
                    <a:pt x="539" y="231"/>
                  </a:lnTo>
                  <a:close/>
                  <a:moveTo>
                    <a:pt x="601" y="229"/>
                  </a:moveTo>
                  <a:lnTo>
                    <a:pt x="603" y="231"/>
                  </a:lnTo>
                  <a:lnTo>
                    <a:pt x="597" y="231"/>
                  </a:lnTo>
                  <a:lnTo>
                    <a:pt x="601" y="229"/>
                  </a:lnTo>
                  <a:close/>
                  <a:moveTo>
                    <a:pt x="562" y="229"/>
                  </a:moveTo>
                  <a:lnTo>
                    <a:pt x="568" y="231"/>
                  </a:lnTo>
                  <a:lnTo>
                    <a:pt x="570" y="234"/>
                  </a:lnTo>
                  <a:lnTo>
                    <a:pt x="572" y="236"/>
                  </a:lnTo>
                  <a:lnTo>
                    <a:pt x="568" y="234"/>
                  </a:lnTo>
                  <a:lnTo>
                    <a:pt x="567" y="236"/>
                  </a:lnTo>
                  <a:lnTo>
                    <a:pt x="562" y="234"/>
                  </a:lnTo>
                  <a:lnTo>
                    <a:pt x="562" y="233"/>
                  </a:lnTo>
                  <a:lnTo>
                    <a:pt x="558" y="231"/>
                  </a:lnTo>
                  <a:lnTo>
                    <a:pt x="560" y="231"/>
                  </a:lnTo>
                  <a:lnTo>
                    <a:pt x="560" y="227"/>
                  </a:lnTo>
                  <a:lnTo>
                    <a:pt x="562" y="229"/>
                  </a:lnTo>
                  <a:close/>
                  <a:moveTo>
                    <a:pt x="596" y="227"/>
                  </a:moveTo>
                  <a:lnTo>
                    <a:pt x="596" y="231"/>
                  </a:lnTo>
                  <a:lnTo>
                    <a:pt x="596" y="227"/>
                  </a:lnTo>
                  <a:close/>
                  <a:moveTo>
                    <a:pt x="584" y="229"/>
                  </a:moveTo>
                  <a:lnTo>
                    <a:pt x="586" y="229"/>
                  </a:lnTo>
                  <a:lnTo>
                    <a:pt x="586" y="231"/>
                  </a:lnTo>
                  <a:lnTo>
                    <a:pt x="584" y="231"/>
                  </a:lnTo>
                  <a:lnTo>
                    <a:pt x="584" y="229"/>
                  </a:lnTo>
                  <a:close/>
                  <a:moveTo>
                    <a:pt x="640" y="227"/>
                  </a:moveTo>
                  <a:lnTo>
                    <a:pt x="642" y="227"/>
                  </a:lnTo>
                  <a:lnTo>
                    <a:pt x="638" y="229"/>
                  </a:lnTo>
                  <a:lnTo>
                    <a:pt x="642" y="227"/>
                  </a:lnTo>
                  <a:lnTo>
                    <a:pt x="640" y="227"/>
                  </a:lnTo>
                  <a:close/>
                  <a:moveTo>
                    <a:pt x="360" y="219"/>
                  </a:moveTo>
                  <a:lnTo>
                    <a:pt x="367" y="221"/>
                  </a:lnTo>
                  <a:lnTo>
                    <a:pt x="370" y="222"/>
                  </a:lnTo>
                  <a:lnTo>
                    <a:pt x="377" y="226"/>
                  </a:lnTo>
                  <a:lnTo>
                    <a:pt x="382" y="227"/>
                  </a:lnTo>
                  <a:lnTo>
                    <a:pt x="386" y="233"/>
                  </a:lnTo>
                  <a:lnTo>
                    <a:pt x="382" y="233"/>
                  </a:lnTo>
                  <a:lnTo>
                    <a:pt x="377" y="236"/>
                  </a:lnTo>
                  <a:lnTo>
                    <a:pt x="367" y="238"/>
                  </a:lnTo>
                  <a:lnTo>
                    <a:pt x="364" y="239"/>
                  </a:lnTo>
                  <a:lnTo>
                    <a:pt x="360" y="238"/>
                  </a:lnTo>
                  <a:lnTo>
                    <a:pt x="365" y="241"/>
                  </a:lnTo>
                  <a:lnTo>
                    <a:pt x="364" y="243"/>
                  </a:lnTo>
                  <a:lnTo>
                    <a:pt x="360" y="241"/>
                  </a:lnTo>
                  <a:lnTo>
                    <a:pt x="355" y="246"/>
                  </a:lnTo>
                  <a:lnTo>
                    <a:pt x="357" y="248"/>
                  </a:lnTo>
                  <a:lnTo>
                    <a:pt x="358" y="251"/>
                  </a:lnTo>
                  <a:lnTo>
                    <a:pt x="348" y="251"/>
                  </a:lnTo>
                  <a:lnTo>
                    <a:pt x="347" y="250"/>
                  </a:lnTo>
                  <a:lnTo>
                    <a:pt x="340" y="250"/>
                  </a:lnTo>
                  <a:lnTo>
                    <a:pt x="333" y="248"/>
                  </a:lnTo>
                  <a:lnTo>
                    <a:pt x="329" y="251"/>
                  </a:lnTo>
                  <a:lnTo>
                    <a:pt x="323" y="251"/>
                  </a:lnTo>
                  <a:lnTo>
                    <a:pt x="319" y="255"/>
                  </a:lnTo>
                  <a:lnTo>
                    <a:pt x="318" y="263"/>
                  </a:lnTo>
                  <a:lnTo>
                    <a:pt x="312" y="265"/>
                  </a:lnTo>
                  <a:lnTo>
                    <a:pt x="311" y="263"/>
                  </a:lnTo>
                  <a:lnTo>
                    <a:pt x="307" y="262"/>
                  </a:lnTo>
                  <a:lnTo>
                    <a:pt x="302" y="262"/>
                  </a:lnTo>
                  <a:lnTo>
                    <a:pt x="294" y="262"/>
                  </a:lnTo>
                  <a:lnTo>
                    <a:pt x="290" y="262"/>
                  </a:lnTo>
                  <a:lnTo>
                    <a:pt x="282" y="262"/>
                  </a:lnTo>
                  <a:lnTo>
                    <a:pt x="271" y="263"/>
                  </a:lnTo>
                  <a:lnTo>
                    <a:pt x="270" y="260"/>
                  </a:lnTo>
                  <a:lnTo>
                    <a:pt x="268" y="262"/>
                  </a:lnTo>
                  <a:lnTo>
                    <a:pt x="270" y="262"/>
                  </a:lnTo>
                  <a:lnTo>
                    <a:pt x="263" y="263"/>
                  </a:lnTo>
                  <a:lnTo>
                    <a:pt x="259" y="262"/>
                  </a:lnTo>
                  <a:lnTo>
                    <a:pt x="253" y="260"/>
                  </a:lnTo>
                  <a:lnTo>
                    <a:pt x="248" y="260"/>
                  </a:lnTo>
                  <a:lnTo>
                    <a:pt x="239" y="257"/>
                  </a:lnTo>
                  <a:lnTo>
                    <a:pt x="236" y="255"/>
                  </a:lnTo>
                  <a:lnTo>
                    <a:pt x="224" y="255"/>
                  </a:lnTo>
                  <a:lnTo>
                    <a:pt x="219" y="257"/>
                  </a:lnTo>
                  <a:lnTo>
                    <a:pt x="213" y="253"/>
                  </a:lnTo>
                  <a:lnTo>
                    <a:pt x="215" y="246"/>
                  </a:lnTo>
                  <a:lnTo>
                    <a:pt x="213" y="246"/>
                  </a:lnTo>
                  <a:lnTo>
                    <a:pt x="212" y="245"/>
                  </a:lnTo>
                  <a:lnTo>
                    <a:pt x="213" y="239"/>
                  </a:lnTo>
                  <a:lnTo>
                    <a:pt x="219" y="239"/>
                  </a:lnTo>
                  <a:lnTo>
                    <a:pt x="224" y="236"/>
                  </a:lnTo>
                  <a:lnTo>
                    <a:pt x="230" y="227"/>
                  </a:lnTo>
                  <a:lnTo>
                    <a:pt x="230" y="224"/>
                  </a:lnTo>
                  <a:lnTo>
                    <a:pt x="232" y="226"/>
                  </a:lnTo>
                  <a:lnTo>
                    <a:pt x="236" y="222"/>
                  </a:lnTo>
                  <a:lnTo>
                    <a:pt x="237" y="222"/>
                  </a:lnTo>
                  <a:lnTo>
                    <a:pt x="248" y="222"/>
                  </a:lnTo>
                  <a:lnTo>
                    <a:pt x="256" y="221"/>
                  </a:lnTo>
                  <a:lnTo>
                    <a:pt x="265" y="222"/>
                  </a:lnTo>
                  <a:lnTo>
                    <a:pt x="266" y="222"/>
                  </a:lnTo>
                  <a:lnTo>
                    <a:pt x="275" y="222"/>
                  </a:lnTo>
                  <a:lnTo>
                    <a:pt x="278" y="222"/>
                  </a:lnTo>
                  <a:lnTo>
                    <a:pt x="288" y="222"/>
                  </a:lnTo>
                  <a:lnTo>
                    <a:pt x="290" y="222"/>
                  </a:lnTo>
                  <a:lnTo>
                    <a:pt x="294" y="222"/>
                  </a:lnTo>
                  <a:lnTo>
                    <a:pt x="302" y="222"/>
                  </a:lnTo>
                  <a:lnTo>
                    <a:pt x="312" y="222"/>
                  </a:lnTo>
                  <a:lnTo>
                    <a:pt x="323" y="222"/>
                  </a:lnTo>
                  <a:lnTo>
                    <a:pt x="326" y="222"/>
                  </a:lnTo>
                  <a:lnTo>
                    <a:pt x="333" y="221"/>
                  </a:lnTo>
                  <a:lnTo>
                    <a:pt x="338" y="222"/>
                  </a:lnTo>
                  <a:lnTo>
                    <a:pt x="347" y="222"/>
                  </a:lnTo>
                  <a:lnTo>
                    <a:pt x="353" y="221"/>
                  </a:lnTo>
                  <a:lnTo>
                    <a:pt x="360" y="219"/>
                  </a:lnTo>
                  <a:close/>
                  <a:moveTo>
                    <a:pt x="521" y="214"/>
                  </a:moveTo>
                  <a:lnTo>
                    <a:pt x="529" y="216"/>
                  </a:lnTo>
                  <a:lnTo>
                    <a:pt x="538" y="216"/>
                  </a:lnTo>
                  <a:lnTo>
                    <a:pt x="543" y="217"/>
                  </a:lnTo>
                  <a:lnTo>
                    <a:pt x="550" y="221"/>
                  </a:lnTo>
                  <a:lnTo>
                    <a:pt x="553" y="221"/>
                  </a:lnTo>
                  <a:lnTo>
                    <a:pt x="557" y="224"/>
                  </a:lnTo>
                  <a:lnTo>
                    <a:pt x="560" y="227"/>
                  </a:lnTo>
                  <a:lnTo>
                    <a:pt x="557" y="231"/>
                  </a:lnTo>
                  <a:lnTo>
                    <a:pt x="553" y="229"/>
                  </a:lnTo>
                  <a:lnTo>
                    <a:pt x="550" y="229"/>
                  </a:lnTo>
                  <a:lnTo>
                    <a:pt x="550" y="227"/>
                  </a:lnTo>
                  <a:lnTo>
                    <a:pt x="548" y="226"/>
                  </a:lnTo>
                  <a:lnTo>
                    <a:pt x="545" y="227"/>
                  </a:lnTo>
                  <a:lnTo>
                    <a:pt x="545" y="224"/>
                  </a:lnTo>
                  <a:lnTo>
                    <a:pt x="543" y="229"/>
                  </a:lnTo>
                  <a:lnTo>
                    <a:pt x="541" y="226"/>
                  </a:lnTo>
                  <a:lnTo>
                    <a:pt x="539" y="229"/>
                  </a:lnTo>
                  <a:lnTo>
                    <a:pt x="538" y="224"/>
                  </a:lnTo>
                  <a:lnTo>
                    <a:pt x="536" y="226"/>
                  </a:lnTo>
                  <a:lnTo>
                    <a:pt x="536" y="224"/>
                  </a:lnTo>
                  <a:lnTo>
                    <a:pt x="534" y="227"/>
                  </a:lnTo>
                  <a:lnTo>
                    <a:pt x="533" y="226"/>
                  </a:lnTo>
                  <a:lnTo>
                    <a:pt x="531" y="227"/>
                  </a:lnTo>
                  <a:lnTo>
                    <a:pt x="531" y="229"/>
                  </a:lnTo>
                  <a:lnTo>
                    <a:pt x="533" y="227"/>
                  </a:lnTo>
                  <a:lnTo>
                    <a:pt x="534" y="229"/>
                  </a:lnTo>
                  <a:lnTo>
                    <a:pt x="536" y="231"/>
                  </a:lnTo>
                  <a:lnTo>
                    <a:pt x="538" y="233"/>
                  </a:lnTo>
                  <a:lnTo>
                    <a:pt x="536" y="233"/>
                  </a:lnTo>
                  <a:lnTo>
                    <a:pt x="539" y="234"/>
                  </a:lnTo>
                  <a:lnTo>
                    <a:pt x="531" y="234"/>
                  </a:lnTo>
                  <a:lnTo>
                    <a:pt x="527" y="231"/>
                  </a:lnTo>
                  <a:lnTo>
                    <a:pt x="529" y="231"/>
                  </a:lnTo>
                  <a:lnTo>
                    <a:pt x="527" y="229"/>
                  </a:lnTo>
                  <a:lnTo>
                    <a:pt x="527" y="233"/>
                  </a:lnTo>
                  <a:lnTo>
                    <a:pt x="524" y="233"/>
                  </a:lnTo>
                  <a:lnTo>
                    <a:pt x="526" y="234"/>
                  </a:lnTo>
                  <a:lnTo>
                    <a:pt x="526" y="236"/>
                  </a:lnTo>
                  <a:lnTo>
                    <a:pt x="519" y="233"/>
                  </a:lnTo>
                  <a:lnTo>
                    <a:pt x="522" y="233"/>
                  </a:lnTo>
                  <a:lnTo>
                    <a:pt x="521" y="231"/>
                  </a:lnTo>
                  <a:lnTo>
                    <a:pt x="522" y="231"/>
                  </a:lnTo>
                  <a:lnTo>
                    <a:pt x="522" y="227"/>
                  </a:lnTo>
                  <a:lnTo>
                    <a:pt x="521" y="229"/>
                  </a:lnTo>
                  <a:lnTo>
                    <a:pt x="519" y="227"/>
                  </a:lnTo>
                  <a:lnTo>
                    <a:pt x="516" y="229"/>
                  </a:lnTo>
                  <a:lnTo>
                    <a:pt x="514" y="227"/>
                  </a:lnTo>
                  <a:lnTo>
                    <a:pt x="516" y="226"/>
                  </a:lnTo>
                  <a:lnTo>
                    <a:pt x="514" y="226"/>
                  </a:lnTo>
                  <a:lnTo>
                    <a:pt x="516" y="222"/>
                  </a:lnTo>
                  <a:lnTo>
                    <a:pt x="519" y="221"/>
                  </a:lnTo>
                  <a:lnTo>
                    <a:pt x="521" y="219"/>
                  </a:lnTo>
                  <a:lnTo>
                    <a:pt x="517" y="216"/>
                  </a:lnTo>
                  <a:lnTo>
                    <a:pt x="521" y="214"/>
                  </a:lnTo>
                  <a:close/>
                  <a:moveTo>
                    <a:pt x="0" y="381"/>
                  </a:moveTo>
                  <a:lnTo>
                    <a:pt x="0" y="371"/>
                  </a:lnTo>
                  <a:lnTo>
                    <a:pt x="5" y="362"/>
                  </a:lnTo>
                  <a:lnTo>
                    <a:pt x="15" y="366"/>
                  </a:lnTo>
                  <a:lnTo>
                    <a:pt x="20" y="362"/>
                  </a:lnTo>
                  <a:lnTo>
                    <a:pt x="19" y="359"/>
                  </a:lnTo>
                  <a:lnTo>
                    <a:pt x="20" y="357"/>
                  </a:lnTo>
                  <a:lnTo>
                    <a:pt x="22" y="359"/>
                  </a:lnTo>
                  <a:lnTo>
                    <a:pt x="22" y="362"/>
                  </a:lnTo>
                  <a:lnTo>
                    <a:pt x="27" y="362"/>
                  </a:lnTo>
                  <a:lnTo>
                    <a:pt x="27" y="357"/>
                  </a:lnTo>
                  <a:lnTo>
                    <a:pt x="26" y="352"/>
                  </a:lnTo>
                  <a:lnTo>
                    <a:pt x="29" y="350"/>
                  </a:lnTo>
                  <a:lnTo>
                    <a:pt x="29" y="347"/>
                  </a:lnTo>
                  <a:lnTo>
                    <a:pt x="32" y="345"/>
                  </a:lnTo>
                  <a:lnTo>
                    <a:pt x="34" y="347"/>
                  </a:lnTo>
                  <a:lnTo>
                    <a:pt x="38" y="347"/>
                  </a:lnTo>
                  <a:lnTo>
                    <a:pt x="43" y="349"/>
                  </a:lnTo>
                  <a:lnTo>
                    <a:pt x="46" y="344"/>
                  </a:lnTo>
                  <a:lnTo>
                    <a:pt x="48" y="339"/>
                  </a:lnTo>
                  <a:lnTo>
                    <a:pt x="49" y="339"/>
                  </a:lnTo>
                  <a:lnTo>
                    <a:pt x="48" y="332"/>
                  </a:lnTo>
                  <a:lnTo>
                    <a:pt x="46" y="330"/>
                  </a:lnTo>
                  <a:lnTo>
                    <a:pt x="46" y="325"/>
                  </a:lnTo>
                  <a:lnTo>
                    <a:pt x="44" y="323"/>
                  </a:lnTo>
                  <a:lnTo>
                    <a:pt x="41" y="325"/>
                  </a:lnTo>
                  <a:lnTo>
                    <a:pt x="38" y="321"/>
                  </a:lnTo>
                  <a:lnTo>
                    <a:pt x="34" y="321"/>
                  </a:lnTo>
                  <a:lnTo>
                    <a:pt x="34" y="316"/>
                  </a:lnTo>
                  <a:lnTo>
                    <a:pt x="36" y="309"/>
                  </a:lnTo>
                  <a:lnTo>
                    <a:pt x="31" y="303"/>
                  </a:lnTo>
                  <a:lnTo>
                    <a:pt x="31" y="296"/>
                  </a:lnTo>
                  <a:lnTo>
                    <a:pt x="27" y="294"/>
                  </a:lnTo>
                  <a:lnTo>
                    <a:pt x="26" y="286"/>
                  </a:lnTo>
                  <a:lnTo>
                    <a:pt x="29" y="279"/>
                  </a:lnTo>
                  <a:lnTo>
                    <a:pt x="29" y="275"/>
                  </a:lnTo>
                  <a:lnTo>
                    <a:pt x="31" y="274"/>
                  </a:lnTo>
                  <a:lnTo>
                    <a:pt x="27" y="270"/>
                  </a:lnTo>
                  <a:lnTo>
                    <a:pt x="29" y="267"/>
                  </a:lnTo>
                  <a:lnTo>
                    <a:pt x="32" y="267"/>
                  </a:lnTo>
                  <a:lnTo>
                    <a:pt x="38" y="265"/>
                  </a:lnTo>
                  <a:lnTo>
                    <a:pt x="41" y="270"/>
                  </a:lnTo>
                  <a:lnTo>
                    <a:pt x="46" y="270"/>
                  </a:lnTo>
                  <a:lnTo>
                    <a:pt x="53" y="274"/>
                  </a:lnTo>
                  <a:lnTo>
                    <a:pt x="53" y="275"/>
                  </a:lnTo>
                  <a:lnTo>
                    <a:pt x="61" y="277"/>
                  </a:lnTo>
                  <a:lnTo>
                    <a:pt x="67" y="280"/>
                  </a:lnTo>
                  <a:lnTo>
                    <a:pt x="67" y="277"/>
                  </a:lnTo>
                  <a:lnTo>
                    <a:pt x="65" y="279"/>
                  </a:lnTo>
                  <a:lnTo>
                    <a:pt x="65" y="277"/>
                  </a:lnTo>
                  <a:lnTo>
                    <a:pt x="67" y="277"/>
                  </a:lnTo>
                  <a:lnTo>
                    <a:pt x="65" y="275"/>
                  </a:lnTo>
                  <a:lnTo>
                    <a:pt x="67" y="274"/>
                  </a:lnTo>
                  <a:lnTo>
                    <a:pt x="63" y="272"/>
                  </a:lnTo>
                  <a:lnTo>
                    <a:pt x="65" y="270"/>
                  </a:lnTo>
                  <a:lnTo>
                    <a:pt x="65" y="267"/>
                  </a:lnTo>
                  <a:lnTo>
                    <a:pt x="67" y="268"/>
                  </a:lnTo>
                  <a:lnTo>
                    <a:pt x="67" y="265"/>
                  </a:lnTo>
                  <a:lnTo>
                    <a:pt x="67" y="267"/>
                  </a:lnTo>
                  <a:lnTo>
                    <a:pt x="68" y="265"/>
                  </a:lnTo>
                  <a:lnTo>
                    <a:pt x="70" y="267"/>
                  </a:lnTo>
                  <a:lnTo>
                    <a:pt x="70" y="265"/>
                  </a:lnTo>
                  <a:lnTo>
                    <a:pt x="72" y="265"/>
                  </a:lnTo>
                  <a:lnTo>
                    <a:pt x="77" y="262"/>
                  </a:lnTo>
                  <a:lnTo>
                    <a:pt x="80" y="260"/>
                  </a:lnTo>
                  <a:lnTo>
                    <a:pt x="80" y="258"/>
                  </a:lnTo>
                  <a:lnTo>
                    <a:pt x="82" y="258"/>
                  </a:lnTo>
                  <a:lnTo>
                    <a:pt x="82" y="255"/>
                  </a:lnTo>
                  <a:lnTo>
                    <a:pt x="85" y="251"/>
                  </a:lnTo>
                  <a:lnTo>
                    <a:pt x="84" y="251"/>
                  </a:lnTo>
                  <a:lnTo>
                    <a:pt x="87" y="248"/>
                  </a:lnTo>
                  <a:lnTo>
                    <a:pt x="85" y="245"/>
                  </a:lnTo>
                  <a:lnTo>
                    <a:pt x="87" y="243"/>
                  </a:lnTo>
                  <a:lnTo>
                    <a:pt x="85" y="239"/>
                  </a:lnTo>
                  <a:lnTo>
                    <a:pt x="87" y="234"/>
                  </a:lnTo>
                  <a:lnTo>
                    <a:pt x="80" y="229"/>
                  </a:lnTo>
                  <a:lnTo>
                    <a:pt x="82" y="226"/>
                  </a:lnTo>
                  <a:lnTo>
                    <a:pt x="85" y="224"/>
                  </a:lnTo>
                  <a:lnTo>
                    <a:pt x="84" y="222"/>
                  </a:lnTo>
                  <a:lnTo>
                    <a:pt x="85" y="221"/>
                  </a:lnTo>
                  <a:lnTo>
                    <a:pt x="85" y="214"/>
                  </a:lnTo>
                  <a:lnTo>
                    <a:pt x="90" y="214"/>
                  </a:lnTo>
                  <a:lnTo>
                    <a:pt x="92" y="207"/>
                  </a:lnTo>
                  <a:lnTo>
                    <a:pt x="94" y="209"/>
                  </a:lnTo>
                  <a:lnTo>
                    <a:pt x="96" y="205"/>
                  </a:lnTo>
                  <a:lnTo>
                    <a:pt x="97" y="207"/>
                  </a:lnTo>
                  <a:lnTo>
                    <a:pt x="104" y="209"/>
                  </a:lnTo>
                  <a:lnTo>
                    <a:pt x="113" y="212"/>
                  </a:lnTo>
                  <a:lnTo>
                    <a:pt x="118" y="210"/>
                  </a:lnTo>
                  <a:lnTo>
                    <a:pt x="119" y="209"/>
                  </a:lnTo>
                  <a:lnTo>
                    <a:pt x="119" y="210"/>
                  </a:lnTo>
                  <a:lnTo>
                    <a:pt x="128" y="207"/>
                  </a:lnTo>
                  <a:lnTo>
                    <a:pt x="130" y="209"/>
                  </a:lnTo>
                  <a:lnTo>
                    <a:pt x="130" y="210"/>
                  </a:lnTo>
                  <a:lnTo>
                    <a:pt x="135" y="217"/>
                  </a:lnTo>
                  <a:lnTo>
                    <a:pt x="137" y="221"/>
                  </a:lnTo>
                  <a:lnTo>
                    <a:pt x="147" y="224"/>
                  </a:lnTo>
                  <a:lnTo>
                    <a:pt x="152" y="222"/>
                  </a:lnTo>
                  <a:lnTo>
                    <a:pt x="159" y="221"/>
                  </a:lnTo>
                  <a:lnTo>
                    <a:pt x="164" y="221"/>
                  </a:lnTo>
                  <a:lnTo>
                    <a:pt x="171" y="219"/>
                  </a:lnTo>
                  <a:lnTo>
                    <a:pt x="178" y="221"/>
                  </a:lnTo>
                  <a:lnTo>
                    <a:pt x="183" y="219"/>
                  </a:lnTo>
                  <a:lnTo>
                    <a:pt x="188" y="222"/>
                  </a:lnTo>
                  <a:lnTo>
                    <a:pt x="193" y="224"/>
                  </a:lnTo>
                  <a:lnTo>
                    <a:pt x="196" y="221"/>
                  </a:lnTo>
                  <a:lnTo>
                    <a:pt x="195" y="219"/>
                  </a:lnTo>
                  <a:lnTo>
                    <a:pt x="196" y="219"/>
                  </a:lnTo>
                  <a:lnTo>
                    <a:pt x="196" y="216"/>
                  </a:lnTo>
                  <a:lnTo>
                    <a:pt x="200" y="217"/>
                  </a:lnTo>
                  <a:lnTo>
                    <a:pt x="201" y="222"/>
                  </a:lnTo>
                  <a:lnTo>
                    <a:pt x="203" y="222"/>
                  </a:lnTo>
                  <a:lnTo>
                    <a:pt x="205" y="224"/>
                  </a:lnTo>
                  <a:lnTo>
                    <a:pt x="205" y="226"/>
                  </a:lnTo>
                  <a:lnTo>
                    <a:pt x="203" y="224"/>
                  </a:lnTo>
                  <a:lnTo>
                    <a:pt x="203" y="229"/>
                  </a:lnTo>
                  <a:lnTo>
                    <a:pt x="205" y="234"/>
                  </a:lnTo>
                  <a:lnTo>
                    <a:pt x="210" y="238"/>
                  </a:lnTo>
                  <a:lnTo>
                    <a:pt x="210" y="243"/>
                  </a:lnTo>
                  <a:lnTo>
                    <a:pt x="208" y="243"/>
                  </a:lnTo>
                  <a:lnTo>
                    <a:pt x="207" y="250"/>
                  </a:lnTo>
                  <a:lnTo>
                    <a:pt x="207" y="251"/>
                  </a:lnTo>
                  <a:lnTo>
                    <a:pt x="210" y="251"/>
                  </a:lnTo>
                  <a:lnTo>
                    <a:pt x="212" y="255"/>
                  </a:lnTo>
                  <a:lnTo>
                    <a:pt x="210" y="260"/>
                  </a:lnTo>
                  <a:lnTo>
                    <a:pt x="212" y="262"/>
                  </a:lnTo>
                  <a:lnTo>
                    <a:pt x="217" y="263"/>
                  </a:lnTo>
                  <a:lnTo>
                    <a:pt x="215" y="258"/>
                  </a:lnTo>
                  <a:lnTo>
                    <a:pt x="217" y="260"/>
                  </a:lnTo>
                  <a:lnTo>
                    <a:pt x="219" y="260"/>
                  </a:lnTo>
                  <a:lnTo>
                    <a:pt x="219" y="258"/>
                  </a:lnTo>
                  <a:lnTo>
                    <a:pt x="224" y="258"/>
                  </a:lnTo>
                  <a:lnTo>
                    <a:pt x="227" y="267"/>
                  </a:lnTo>
                  <a:lnTo>
                    <a:pt x="232" y="268"/>
                  </a:lnTo>
                  <a:lnTo>
                    <a:pt x="232" y="272"/>
                  </a:lnTo>
                  <a:lnTo>
                    <a:pt x="230" y="277"/>
                  </a:lnTo>
                  <a:lnTo>
                    <a:pt x="232" y="275"/>
                  </a:lnTo>
                  <a:lnTo>
                    <a:pt x="230" y="284"/>
                  </a:lnTo>
                  <a:lnTo>
                    <a:pt x="232" y="292"/>
                  </a:lnTo>
                  <a:lnTo>
                    <a:pt x="229" y="292"/>
                  </a:lnTo>
                  <a:lnTo>
                    <a:pt x="236" y="299"/>
                  </a:lnTo>
                  <a:lnTo>
                    <a:pt x="236" y="304"/>
                  </a:lnTo>
                  <a:lnTo>
                    <a:pt x="234" y="303"/>
                  </a:lnTo>
                  <a:lnTo>
                    <a:pt x="234" y="304"/>
                  </a:lnTo>
                  <a:lnTo>
                    <a:pt x="232" y="304"/>
                  </a:lnTo>
                  <a:lnTo>
                    <a:pt x="236" y="306"/>
                  </a:lnTo>
                  <a:lnTo>
                    <a:pt x="239" y="311"/>
                  </a:lnTo>
                  <a:lnTo>
                    <a:pt x="246" y="311"/>
                  </a:lnTo>
                  <a:lnTo>
                    <a:pt x="249" y="315"/>
                  </a:lnTo>
                  <a:lnTo>
                    <a:pt x="254" y="313"/>
                  </a:lnTo>
                  <a:lnTo>
                    <a:pt x="261" y="320"/>
                  </a:lnTo>
                  <a:lnTo>
                    <a:pt x="263" y="320"/>
                  </a:lnTo>
                  <a:lnTo>
                    <a:pt x="263" y="321"/>
                  </a:lnTo>
                  <a:lnTo>
                    <a:pt x="268" y="323"/>
                  </a:lnTo>
                  <a:lnTo>
                    <a:pt x="271" y="323"/>
                  </a:lnTo>
                  <a:lnTo>
                    <a:pt x="273" y="325"/>
                  </a:lnTo>
                  <a:lnTo>
                    <a:pt x="277" y="323"/>
                  </a:lnTo>
                  <a:lnTo>
                    <a:pt x="282" y="325"/>
                  </a:lnTo>
                  <a:lnTo>
                    <a:pt x="285" y="330"/>
                  </a:lnTo>
                  <a:lnTo>
                    <a:pt x="287" y="327"/>
                  </a:lnTo>
                  <a:lnTo>
                    <a:pt x="292" y="328"/>
                  </a:lnTo>
                  <a:lnTo>
                    <a:pt x="297" y="323"/>
                  </a:lnTo>
                  <a:lnTo>
                    <a:pt x="304" y="323"/>
                  </a:lnTo>
                  <a:lnTo>
                    <a:pt x="309" y="320"/>
                  </a:lnTo>
                  <a:lnTo>
                    <a:pt x="316" y="321"/>
                  </a:lnTo>
                  <a:lnTo>
                    <a:pt x="319" y="320"/>
                  </a:lnTo>
                  <a:lnTo>
                    <a:pt x="324" y="321"/>
                  </a:lnTo>
                  <a:lnTo>
                    <a:pt x="328" y="321"/>
                  </a:lnTo>
                  <a:lnTo>
                    <a:pt x="331" y="323"/>
                  </a:lnTo>
                  <a:lnTo>
                    <a:pt x="336" y="320"/>
                  </a:lnTo>
                  <a:lnTo>
                    <a:pt x="341" y="323"/>
                  </a:lnTo>
                  <a:lnTo>
                    <a:pt x="347" y="323"/>
                  </a:lnTo>
                  <a:lnTo>
                    <a:pt x="352" y="318"/>
                  </a:lnTo>
                  <a:lnTo>
                    <a:pt x="355" y="316"/>
                  </a:lnTo>
                  <a:lnTo>
                    <a:pt x="362" y="320"/>
                  </a:lnTo>
                  <a:lnTo>
                    <a:pt x="364" y="316"/>
                  </a:lnTo>
                  <a:lnTo>
                    <a:pt x="365" y="316"/>
                  </a:lnTo>
                  <a:lnTo>
                    <a:pt x="367" y="313"/>
                  </a:lnTo>
                  <a:lnTo>
                    <a:pt x="374" y="308"/>
                  </a:lnTo>
                  <a:lnTo>
                    <a:pt x="377" y="311"/>
                  </a:lnTo>
                  <a:lnTo>
                    <a:pt x="382" y="320"/>
                  </a:lnTo>
                  <a:lnTo>
                    <a:pt x="394" y="320"/>
                  </a:lnTo>
                  <a:lnTo>
                    <a:pt x="394" y="321"/>
                  </a:lnTo>
                  <a:lnTo>
                    <a:pt x="399" y="320"/>
                  </a:lnTo>
                  <a:lnTo>
                    <a:pt x="406" y="325"/>
                  </a:lnTo>
                  <a:lnTo>
                    <a:pt x="410" y="327"/>
                  </a:lnTo>
                  <a:lnTo>
                    <a:pt x="415" y="325"/>
                  </a:lnTo>
                  <a:lnTo>
                    <a:pt x="423" y="330"/>
                  </a:lnTo>
                  <a:lnTo>
                    <a:pt x="427" y="335"/>
                  </a:lnTo>
                  <a:lnTo>
                    <a:pt x="425" y="342"/>
                  </a:lnTo>
                  <a:lnTo>
                    <a:pt x="420" y="345"/>
                  </a:lnTo>
                  <a:lnTo>
                    <a:pt x="422" y="356"/>
                  </a:lnTo>
                  <a:lnTo>
                    <a:pt x="422" y="357"/>
                  </a:lnTo>
                  <a:lnTo>
                    <a:pt x="422" y="359"/>
                  </a:lnTo>
                  <a:lnTo>
                    <a:pt x="422" y="362"/>
                  </a:lnTo>
                  <a:lnTo>
                    <a:pt x="418" y="369"/>
                  </a:lnTo>
                  <a:lnTo>
                    <a:pt x="415" y="379"/>
                  </a:lnTo>
                  <a:lnTo>
                    <a:pt x="417" y="383"/>
                  </a:lnTo>
                  <a:lnTo>
                    <a:pt x="413" y="388"/>
                  </a:lnTo>
                  <a:lnTo>
                    <a:pt x="413" y="395"/>
                  </a:lnTo>
                  <a:lnTo>
                    <a:pt x="410" y="405"/>
                  </a:lnTo>
                  <a:lnTo>
                    <a:pt x="413" y="414"/>
                  </a:lnTo>
                  <a:lnTo>
                    <a:pt x="411" y="419"/>
                  </a:lnTo>
                  <a:lnTo>
                    <a:pt x="415" y="419"/>
                  </a:lnTo>
                  <a:lnTo>
                    <a:pt x="415" y="409"/>
                  </a:lnTo>
                  <a:lnTo>
                    <a:pt x="417" y="409"/>
                  </a:lnTo>
                  <a:lnTo>
                    <a:pt x="418" y="417"/>
                  </a:lnTo>
                  <a:lnTo>
                    <a:pt x="418" y="424"/>
                  </a:lnTo>
                  <a:lnTo>
                    <a:pt x="422" y="431"/>
                  </a:lnTo>
                  <a:lnTo>
                    <a:pt x="423" y="432"/>
                  </a:lnTo>
                  <a:lnTo>
                    <a:pt x="427" y="429"/>
                  </a:lnTo>
                  <a:lnTo>
                    <a:pt x="430" y="432"/>
                  </a:lnTo>
                  <a:lnTo>
                    <a:pt x="437" y="434"/>
                  </a:lnTo>
                  <a:lnTo>
                    <a:pt x="442" y="441"/>
                  </a:lnTo>
                  <a:lnTo>
                    <a:pt x="440" y="444"/>
                  </a:lnTo>
                  <a:lnTo>
                    <a:pt x="439" y="448"/>
                  </a:lnTo>
                  <a:lnTo>
                    <a:pt x="434" y="450"/>
                  </a:lnTo>
                  <a:lnTo>
                    <a:pt x="430" y="448"/>
                  </a:lnTo>
                  <a:lnTo>
                    <a:pt x="423" y="446"/>
                  </a:lnTo>
                  <a:lnTo>
                    <a:pt x="413" y="444"/>
                  </a:lnTo>
                  <a:lnTo>
                    <a:pt x="411" y="444"/>
                  </a:lnTo>
                  <a:lnTo>
                    <a:pt x="415" y="439"/>
                  </a:lnTo>
                  <a:lnTo>
                    <a:pt x="413" y="436"/>
                  </a:lnTo>
                  <a:lnTo>
                    <a:pt x="408" y="429"/>
                  </a:lnTo>
                  <a:lnTo>
                    <a:pt x="398" y="427"/>
                  </a:lnTo>
                  <a:lnTo>
                    <a:pt x="398" y="426"/>
                  </a:lnTo>
                  <a:lnTo>
                    <a:pt x="403" y="427"/>
                  </a:lnTo>
                  <a:lnTo>
                    <a:pt x="399" y="426"/>
                  </a:lnTo>
                  <a:lnTo>
                    <a:pt x="396" y="427"/>
                  </a:lnTo>
                  <a:lnTo>
                    <a:pt x="396" y="432"/>
                  </a:lnTo>
                  <a:lnTo>
                    <a:pt x="386" y="429"/>
                  </a:lnTo>
                  <a:lnTo>
                    <a:pt x="381" y="429"/>
                  </a:lnTo>
                  <a:lnTo>
                    <a:pt x="379" y="431"/>
                  </a:lnTo>
                  <a:lnTo>
                    <a:pt x="377" y="431"/>
                  </a:lnTo>
                  <a:lnTo>
                    <a:pt x="376" y="432"/>
                  </a:lnTo>
                  <a:lnTo>
                    <a:pt x="374" y="431"/>
                  </a:lnTo>
                  <a:lnTo>
                    <a:pt x="372" y="427"/>
                  </a:lnTo>
                  <a:lnTo>
                    <a:pt x="370" y="426"/>
                  </a:lnTo>
                  <a:lnTo>
                    <a:pt x="369" y="426"/>
                  </a:lnTo>
                  <a:lnTo>
                    <a:pt x="369" y="429"/>
                  </a:lnTo>
                  <a:lnTo>
                    <a:pt x="369" y="427"/>
                  </a:lnTo>
                  <a:lnTo>
                    <a:pt x="365" y="429"/>
                  </a:lnTo>
                  <a:lnTo>
                    <a:pt x="364" y="427"/>
                  </a:lnTo>
                  <a:lnTo>
                    <a:pt x="365" y="426"/>
                  </a:lnTo>
                  <a:lnTo>
                    <a:pt x="365" y="422"/>
                  </a:lnTo>
                  <a:lnTo>
                    <a:pt x="360" y="422"/>
                  </a:lnTo>
                  <a:lnTo>
                    <a:pt x="360" y="424"/>
                  </a:lnTo>
                  <a:lnTo>
                    <a:pt x="358" y="424"/>
                  </a:lnTo>
                  <a:lnTo>
                    <a:pt x="355" y="422"/>
                  </a:lnTo>
                  <a:lnTo>
                    <a:pt x="350" y="422"/>
                  </a:lnTo>
                  <a:lnTo>
                    <a:pt x="350" y="419"/>
                  </a:lnTo>
                  <a:lnTo>
                    <a:pt x="347" y="422"/>
                  </a:lnTo>
                  <a:lnTo>
                    <a:pt x="347" y="415"/>
                  </a:lnTo>
                  <a:lnTo>
                    <a:pt x="345" y="414"/>
                  </a:lnTo>
                  <a:lnTo>
                    <a:pt x="341" y="415"/>
                  </a:lnTo>
                  <a:lnTo>
                    <a:pt x="340" y="417"/>
                  </a:lnTo>
                  <a:lnTo>
                    <a:pt x="338" y="419"/>
                  </a:lnTo>
                  <a:lnTo>
                    <a:pt x="338" y="417"/>
                  </a:lnTo>
                  <a:lnTo>
                    <a:pt x="335" y="419"/>
                  </a:lnTo>
                  <a:lnTo>
                    <a:pt x="336" y="414"/>
                  </a:lnTo>
                  <a:lnTo>
                    <a:pt x="335" y="414"/>
                  </a:lnTo>
                  <a:lnTo>
                    <a:pt x="333" y="415"/>
                  </a:lnTo>
                  <a:lnTo>
                    <a:pt x="331" y="414"/>
                  </a:lnTo>
                  <a:lnTo>
                    <a:pt x="328" y="414"/>
                  </a:lnTo>
                  <a:lnTo>
                    <a:pt x="326" y="410"/>
                  </a:lnTo>
                  <a:lnTo>
                    <a:pt x="323" y="407"/>
                  </a:lnTo>
                  <a:lnTo>
                    <a:pt x="319" y="409"/>
                  </a:lnTo>
                  <a:lnTo>
                    <a:pt x="318" y="407"/>
                  </a:lnTo>
                  <a:lnTo>
                    <a:pt x="316" y="407"/>
                  </a:lnTo>
                  <a:lnTo>
                    <a:pt x="309" y="405"/>
                  </a:lnTo>
                  <a:lnTo>
                    <a:pt x="307" y="400"/>
                  </a:lnTo>
                  <a:lnTo>
                    <a:pt x="300" y="402"/>
                  </a:lnTo>
                  <a:lnTo>
                    <a:pt x="297" y="403"/>
                  </a:lnTo>
                  <a:lnTo>
                    <a:pt x="292" y="397"/>
                  </a:lnTo>
                  <a:lnTo>
                    <a:pt x="287" y="391"/>
                  </a:lnTo>
                  <a:lnTo>
                    <a:pt x="278" y="390"/>
                  </a:lnTo>
                  <a:lnTo>
                    <a:pt x="270" y="390"/>
                  </a:lnTo>
                  <a:lnTo>
                    <a:pt x="265" y="390"/>
                  </a:lnTo>
                  <a:lnTo>
                    <a:pt x="259" y="390"/>
                  </a:lnTo>
                  <a:lnTo>
                    <a:pt x="258" y="391"/>
                  </a:lnTo>
                  <a:lnTo>
                    <a:pt x="248" y="395"/>
                  </a:lnTo>
                  <a:lnTo>
                    <a:pt x="242" y="402"/>
                  </a:lnTo>
                  <a:lnTo>
                    <a:pt x="239" y="403"/>
                  </a:lnTo>
                  <a:lnTo>
                    <a:pt x="237" y="400"/>
                  </a:lnTo>
                  <a:lnTo>
                    <a:pt x="237" y="403"/>
                  </a:lnTo>
                  <a:lnTo>
                    <a:pt x="236" y="403"/>
                  </a:lnTo>
                  <a:lnTo>
                    <a:pt x="234" y="402"/>
                  </a:lnTo>
                  <a:lnTo>
                    <a:pt x="232" y="403"/>
                  </a:lnTo>
                  <a:lnTo>
                    <a:pt x="232" y="400"/>
                  </a:lnTo>
                  <a:lnTo>
                    <a:pt x="230" y="402"/>
                  </a:lnTo>
                  <a:lnTo>
                    <a:pt x="230" y="400"/>
                  </a:lnTo>
                  <a:lnTo>
                    <a:pt x="227" y="403"/>
                  </a:lnTo>
                  <a:lnTo>
                    <a:pt x="225" y="403"/>
                  </a:lnTo>
                  <a:lnTo>
                    <a:pt x="224" y="402"/>
                  </a:lnTo>
                  <a:lnTo>
                    <a:pt x="220" y="407"/>
                  </a:lnTo>
                  <a:lnTo>
                    <a:pt x="215" y="405"/>
                  </a:lnTo>
                  <a:lnTo>
                    <a:pt x="208" y="409"/>
                  </a:lnTo>
                  <a:lnTo>
                    <a:pt x="207" y="407"/>
                  </a:lnTo>
                  <a:lnTo>
                    <a:pt x="205" y="407"/>
                  </a:lnTo>
                  <a:lnTo>
                    <a:pt x="196" y="403"/>
                  </a:lnTo>
                  <a:lnTo>
                    <a:pt x="193" y="403"/>
                  </a:lnTo>
                  <a:lnTo>
                    <a:pt x="184" y="403"/>
                  </a:lnTo>
                  <a:lnTo>
                    <a:pt x="181" y="402"/>
                  </a:lnTo>
                  <a:lnTo>
                    <a:pt x="176" y="400"/>
                  </a:lnTo>
                  <a:lnTo>
                    <a:pt x="174" y="397"/>
                  </a:lnTo>
                  <a:lnTo>
                    <a:pt x="172" y="397"/>
                  </a:lnTo>
                  <a:lnTo>
                    <a:pt x="171" y="395"/>
                  </a:lnTo>
                  <a:lnTo>
                    <a:pt x="169" y="397"/>
                  </a:lnTo>
                  <a:lnTo>
                    <a:pt x="166" y="395"/>
                  </a:lnTo>
                  <a:lnTo>
                    <a:pt x="162" y="397"/>
                  </a:lnTo>
                  <a:lnTo>
                    <a:pt x="157" y="397"/>
                  </a:lnTo>
                  <a:lnTo>
                    <a:pt x="157" y="395"/>
                  </a:lnTo>
                  <a:lnTo>
                    <a:pt x="149" y="395"/>
                  </a:lnTo>
                  <a:lnTo>
                    <a:pt x="149" y="393"/>
                  </a:lnTo>
                  <a:lnTo>
                    <a:pt x="147" y="395"/>
                  </a:lnTo>
                  <a:lnTo>
                    <a:pt x="143" y="393"/>
                  </a:lnTo>
                  <a:lnTo>
                    <a:pt x="135" y="393"/>
                  </a:lnTo>
                  <a:lnTo>
                    <a:pt x="128" y="388"/>
                  </a:lnTo>
                  <a:lnTo>
                    <a:pt x="125" y="388"/>
                  </a:lnTo>
                  <a:lnTo>
                    <a:pt x="123" y="390"/>
                  </a:lnTo>
                  <a:lnTo>
                    <a:pt x="123" y="391"/>
                  </a:lnTo>
                  <a:lnTo>
                    <a:pt x="119" y="391"/>
                  </a:lnTo>
                  <a:lnTo>
                    <a:pt x="111" y="386"/>
                  </a:lnTo>
                  <a:lnTo>
                    <a:pt x="113" y="390"/>
                  </a:lnTo>
                  <a:lnTo>
                    <a:pt x="108" y="388"/>
                  </a:lnTo>
                  <a:lnTo>
                    <a:pt x="106" y="386"/>
                  </a:lnTo>
                  <a:lnTo>
                    <a:pt x="104" y="386"/>
                  </a:lnTo>
                  <a:lnTo>
                    <a:pt x="102" y="393"/>
                  </a:lnTo>
                  <a:lnTo>
                    <a:pt x="104" y="395"/>
                  </a:lnTo>
                  <a:lnTo>
                    <a:pt x="101" y="397"/>
                  </a:lnTo>
                  <a:lnTo>
                    <a:pt x="99" y="395"/>
                  </a:lnTo>
                  <a:lnTo>
                    <a:pt x="101" y="391"/>
                  </a:lnTo>
                  <a:lnTo>
                    <a:pt x="99" y="390"/>
                  </a:lnTo>
                  <a:lnTo>
                    <a:pt x="96" y="390"/>
                  </a:lnTo>
                  <a:lnTo>
                    <a:pt x="97" y="393"/>
                  </a:lnTo>
                  <a:lnTo>
                    <a:pt x="94" y="395"/>
                  </a:lnTo>
                  <a:lnTo>
                    <a:pt x="97" y="400"/>
                  </a:lnTo>
                  <a:lnTo>
                    <a:pt x="96" y="400"/>
                  </a:lnTo>
                  <a:lnTo>
                    <a:pt x="94" y="400"/>
                  </a:lnTo>
                  <a:lnTo>
                    <a:pt x="90" y="398"/>
                  </a:lnTo>
                  <a:lnTo>
                    <a:pt x="89" y="398"/>
                  </a:lnTo>
                  <a:lnTo>
                    <a:pt x="87" y="397"/>
                  </a:lnTo>
                  <a:lnTo>
                    <a:pt x="85" y="398"/>
                  </a:lnTo>
                  <a:lnTo>
                    <a:pt x="87" y="397"/>
                  </a:lnTo>
                  <a:lnTo>
                    <a:pt x="85" y="393"/>
                  </a:lnTo>
                  <a:lnTo>
                    <a:pt x="84" y="397"/>
                  </a:lnTo>
                  <a:lnTo>
                    <a:pt x="82" y="393"/>
                  </a:lnTo>
                  <a:lnTo>
                    <a:pt x="79" y="397"/>
                  </a:lnTo>
                  <a:lnTo>
                    <a:pt x="80" y="393"/>
                  </a:lnTo>
                  <a:lnTo>
                    <a:pt x="77" y="391"/>
                  </a:lnTo>
                  <a:lnTo>
                    <a:pt x="75" y="393"/>
                  </a:lnTo>
                  <a:lnTo>
                    <a:pt x="75" y="395"/>
                  </a:lnTo>
                  <a:lnTo>
                    <a:pt x="68" y="393"/>
                  </a:lnTo>
                  <a:lnTo>
                    <a:pt x="68" y="391"/>
                  </a:lnTo>
                  <a:lnTo>
                    <a:pt x="65" y="393"/>
                  </a:lnTo>
                  <a:lnTo>
                    <a:pt x="65" y="390"/>
                  </a:lnTo>
                  <a:lnTo>
                    <a:pt x="65" y="388"/>
                  </a:lnTo>
                  <a:lnTo>
                    <a:pt x="61" y="386"/>
                  </a:lnTo>
                  <a:lnTo>
                    <a:pt x="61" y="388"/>
                  </a:lnTo>
                  <a:lnTo>
                    <a:pt x="56" y="388"/>
                  </a:lnTo>
                  <a:lnTo>
                    <a:pt x="56" y="386"/>
                  </a:lnTo>
                  <a:lnTo>
                    <a:pt x="49" y="388"/>
                  </a:lnTo>
                  <a:lnTo>
                    <a:pt x="48" y="386"/>
                  </a:lnTo>
                  <a:lnTo>
                    <a:pt x="46" y="386"/>
                  </a:lnTo>
                  <a:lnTo>
                    <a:pt x="46" y="388"/>
                  </a:lnTo>
                  <a:lnTo>
                    <a:pt x="43" y="385"/>
                  </a:lnTo>
                  <a:lnTo>
                    <a:pt x="38" y="388"/>
                  </a:lnTo>
                  <a:lnTo>
                    <a:pt x="38" y="386"/>
                  </a:lnTo>
                  <a:lnTo>
                    <a:pt x="34" y="388"/>
                  </a:lnTo>
                  <a:lnTo>
                    <a:pt x="29" y="390"/>
                  </a:lnTo>
                  <a:lnTo>
                    <a:pt x="27" y="388"/>
                  </a:lnTo>
                  <a:lnTo>
                    <a:pt x="27" y="386"/>
                  </a:lnTo>
                  <a:lnTo>
                    <a:pt x="22" y="385"/>
                  </a:lnTo>
                  <a:lnTo>
                    <a:pt x="24" y="383"/>
                  </a:lnTo>
                  <a:lnTo>
                    <a:pt x="22" y="381"/>
                  </a:lnTo>
                  <a:lnTo>
                    <a:pt x="20" y="381"/>
                  </a:lnTo>
                  <a:lnTo>
                    <a:pt x="20" y="385"/>
                  </a:lnTo>
                  <a:lnTo>
                    <a:pt x="15" y="386"/>
                  </a:lnTo>
                  <a:lnTo>
                    <a:pt x="10" y="386"/>
                  </a:lnTo>
                  <a:lnTo>
                    <a:pt x="7" y="383"/>
                  </a:lnTo>
                  <a:lnTo>
                    <a:pt x="0" y="381"/>
                  </a:lnTo>
                  <a:close/>
                  <a:moveTo>
                    <a:pt x="217" y="84"/>
                  </a:moveTo>
                  <a:lnTo>
                    <a:pt x="219" y="84"/>
                  </a:lnTo>
                  <a:lnTo>
                    <a:pt x="220" y="91"/>
                  </a:lnTo>
                  <a:lnTo>
                    <a:pt x="220" y="96"/>
                  </a:lnTo>
                  <a:lnTo>
                    <a:pt x="219" y="98"/>
                  </a:lnTo>
                  <a:lnTo>
                    <a:pt x="215" y="98"/>
                  </a:lnTo>
                  <a:lnTo>
                    <a:pt x="215" y="99"/>
                  </a:lnTo>
                  <a:lnTo>
                    <a:pt x="213" y="98"/>
                  </a:lnTo>
                  <a:lnTo>
                    <a:pt x="208" y="98"/>
                  </a:lnTo>
                  <a:lnTo>
                    <a:pt x="207" y="99"/>
                  </a:lnTo>
                  <a:lnTo>
                    <a:pt x="207" y="98"/>
                  </a:lnTo>
                  <a:lnTo>
                    <a:pt x="201" y="98"/>
                  </a:lnTo>
                  <a:lnTo>
                    <a:pt x="201" y="96"/>
                  </a:lnTo>
                  <a:lnTo>
                    <a:pt x="200" y="93"/>
                  </a:lnTo>
                  <a:lnTo>
                    <a:pt x="203" y="89"/>
                  </a:lnTo>
                  <a:lnTo>
                    <a:pt x="205" y="87"/>
                  </a:lnTo>
                  <a:lnTo>
                    <a:pt x="207" y="86"/>
                  </a:lnTo>
                  <a:lnTo>
                    <a:pt x="210" y="82"/>
                  </a:lnTo>
                  <a:lnTo>
                    <a:pt x="213" y="84"/>
                  </a:lnTo>
                  <a:lnTo>
                    <a:pt x="215" y="81"/>
                  </a:lnTo>
                  <a:lnTo>
                    <a:pt x="217" y="84"/>
                  </a:lnTo>
                  <a:close/>
                  <a:moveTo>
                    <a:pt x="422" y="60"/>
                  </a:moveTo>
                  <a:lnTo>
                    <a:pt x="422" y="62"/>
                  </a:lnTo>
                  <a:lnTo>
                    <a:pt x="425" y="62"/>
                  </a:lnTo>
                  <a:lnTo>
                    <a:pt x="427" y="64"/>
                  </a:lnTo>
                  <a:lnTo>
                    <a:pt x="423" y="65"/>
                  </a:lnTo>
                  <a:lnTo>
                    <a:pt x="418" y="64"/>
                  </a:lnTo>
                  <a:lnTo>
                    <a:pt x="418" y="60"/>
                  </a:lnTo>
                  <a:lnTo>
                    <a:pt x="422" y="60"/>
                  </a:lnTo>
                  <a:close/>
                  <a:moveTo>
                    <a:pt x="423" y="50"/>
                  </a:moveTo>
                  <a:lnTo>
                    <a:pt x="422" y="50"/>
                  </a:lnTo>
                  <a:lnTo>
                    <a:pt x="422" y="46"/>
                  </a:lnTo>
                  <a:lnTo>
                    <a:pt x="423" y="50"/>
                  </a:lnTo>
                  <a:close/>
                  <a:moveTo>
                    <a:pt x="444" y="7"/>
                  </a:moveTo>
                  <a:lnTo>
                    <a:pt x="442" y="7"/>
                  </a:lnTo>
                  <a:lnTo>
                    <a:pt x="442" y="4"/>
                  </a:lnTo>
                  <a:lnTo>
                    <a:pt x="446" y="0"/>
                  </a:lnTo>
                  <a:lnTo>
                    <a:pt x="444" y="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3" name="Freeform 61"/>
            <p:cNvSpPr>
              <a:spLocks noEditPoints="1"/>
            </p:cNvSpPr>
            <p:nvPr/>
          </p:nvSpPr>
          <p:spPr bwMode="gray">
            <a:xfrm>
              <a:off x="6096000" y="4854846"/>
              <a:ext cx="1362664" cy="707783"/>
            </a:xfrm>
            <a:custGeom>
              <a:avLst/>
              <a:gdLst>
                <a:gd name="T0" fmla="*/ 445 w 747"/>
                <a:gd name="T1" fmla="*/ 367 h 388"/>
                <a:gd name="T2" fmla="*/ 527 w 747"/>
                <a:gd name="T3" fmla="*/ 332 h 388"/>
                <a:gd name="T4" fmla="*/ 510 w 747"/>
                <a:gd name="T5" fmla="*/ 366 h 388"/>
                <a:gd name="T6" fmla="*/ 462 w 747"/>
                <a:gd name="T7" fmla="*/ 378 h 388"/>
                <a:gd name="T8" fmla="*/ 512 w 747"/>
                <a:gd name="T9" fmla="*/ 340 h 388"/>
                <a:gd name="T10" fmla="*/ 350 w 747"/>
                <a:gd name="T11" fmla="*/ 340 h 388"/>
                <a:gd name="T12" fmla="*/ 544 w 747"/>
                <a:gd name="T13" fmla="*/ 289 h 388"/>
                <a:gd name="T14" fmla="*/ 527 w 747"/>
                <a:gd name="T15" fmla="*/ 292 h 388"/>
                <a:gd name="T16" fmla="*/ 182 w 747"/>
                <a:gd name="T17" fmla="*/ 221 h 388"/>
                <a:gd name="T18" fmla="*/ 203 w 747"/>
                <a:gd name="T19" fmla="*/ 294 h 388"/>
                <a:gd name="T20" fmla="*/ 121 w 747"/>
                <a:gd name="T21" fmla="*/ 267 h 388"/>
                <a:gd name="T22" fmla="*/ 76 w 747"/>
                <a:gd name="T23" fmla="*/ 238 h 388"/>
                <a:gd name="T24" fmla="*/ 8 w 747"/>
                <a:gd name="T25" fmla="*/ 222 h 388"/>
                <a:gd name="T26" fmla="*/ 99 w 747"/>
                <a:gd name="T27" fmla="*/ 193 h 388"/>
                <a:gd name="T28" fmla="*/ 746 w 747"/>
                <a:gd name="T29" fmla="*/ 168 h 388"/>
                <a:gd name="T30" fmla="*/ 718 w 747"/>
                <a:gd name="T31" fmla="*/ 229 h 388"/>
                <a:gd name="T32" fmla="*/ 630 w 747"/>
                <a:gd name="T33" fmla="*/ 285 h 388"/>
                <a:gd name="T34" fmla="*/ 558 w 747"/>
                <a:gd name="T35" fmla="*/ 311 h 388"/>
                <a:gd name="T36" fmla="*/ 556 w 747"/>
                <a:gd name="T37" fmla="*/ 272 h 388"/>
                <a:gd name="T38" fmla="*/ 594 w 747"/>
                <a:gd name="T39" fmla="*/ 198 h 388"/>
                <a:gd name="T40" fmla="*/ 650 w 747"/>
                <a:gd name="T41" fmla="*/ 197 h 388"/>
                <a:gd name="T42" fmla="*/ 712 w 747"/>
                <a:gd name="T43" fmla="*/ 144 h 388"/>
                <a:gd name="T44" fmla="*/ 102 w 747"/>
                <a:gd name="T45" fmla="*/ 122 h 388"/>
                <a:gd name="T46" fmla="*/ 88 w 747"/>
                <a:gd name="T47" fmla="*/ 106 h 388"/>
                <a:gd name="T48" fmla="*/ 97 w 747"/>
                <a:gd name="T49" fmla="*/ 118 h 388"/>
                <a:gd name="T50" fmla="*/ 82 w 747"/>
                <a:gd name="T51" fmla="*/ 99 h 388"/>
                <a:gd name="T52" fmla="*/ 640 w 747"/>
                <a:gd name="T53" fmla="*/ 84 h 388"/>
                <a:gd name="T54" fmla="*/ 418 w 747"/>
                <a:gd name="T55" fmla="*/ 81 h 388"/>
                <a:gd name="T56" fmla="*/ 75 w 747"/>
                <a:gd name="T57" fmla="*/ 91 h 388"/>
                <a:gd name="T58" fmla="*/ 54 w 747"/>
                <a:gd name="T59" fmla="*/ 115 h 388"/>
                <a:gd name="T60" fmla="*/ 66 w 747"/>
                <a:gd name="T61" fmla="*/ 81 h 388"/>
                <a:gd name="T62" fmla="*/ 481 w 747"/>
                <a:gd name="T63" fmla="*/ 86 h 388"/>
                <a:gd name="T64" fmla="*/ 583 w 747"/>
                <a:gd name="T65" fmla="*/ 75 h 388"/>
                <a:gd name="T66" fmla="*/ 145 w 747"/>
                <a:gd name="T67" fmla="*/ 67 h 388"/>
                <a:gd name="T68" fmla="*/ 513 w 747"/>
                <a:gd name="T69" fmla="*/ 57 h 388"/>
                <a:gd name="T70" fmla="*/ 508 w 747"/>
                <a:gd name="T71" fmla="*/ 57 h 388"/>
                <a:gd name="T72" fmla="*/ 645 w 747"/>
                <a:gd name="T73" fmla="*/ 48 h 388"/>
                <a:gd name="T74" fmla="*/ 601 w 747"/>
                <a:gd name="T75" fmla="*/ 75 h 388"/>
                <a:gd name="T76" fmla="*/ 590 w 747"/>
                <a:gd name="T77" fmla="*/ 55 h 388"/>
                <a:gd name="T78" fmla="*/ 549 w 747"/>
                <a:gd name="T79" fmla="*/ 94 h 388"/>
                <a:gd name="T80" fmla="*/ 539 w 747"/>
                <a:gd name="T81" fmla="*/ 72 h 388"/>
                <a:gd name="T82" fmla="*/ 556 w 747"/>
                <a:gd name="T83" fmla="*/ 62 h 388"/>
                <a:gd name="T84" fmla="*/ 679 w 747"/>
                <a:gd name="T85" fmla="*/ 51 h 388"/>
                <a:gd name="T86" fmla="*/ 713 w 747"/>
                <a:gd name="T87" fmla="*/ 70 h 388"/>
                <a:gd name="T88" fmla="*/ 674 w 747"/>
                <a:gd name="T89" fmla="*/ 53 h 388"/>
                <a:gd name="T90" fmla="*/ 479 w 747"/>
                <a:gd name="T91" fmla="*/ 40 h 388"/>
                <a:gd name="T92" fmla="*/ 461 w 747"/>
                <a:gd name="T93" fmla="*/ 101 h 388"/>
                <a:gd name="T94" fmla="*/ 368 w 747"/>
                <a:gd name="T95" fmla="*/ 123 h 388"/>
                <a:gd name="T96" fmla="*/ 292 w 747"/>
                <a:gd name="T97" fmla="*/ 125 h 388"/>
                <a:gd name="T98" fmla="*/ 218 w 747"/>
                <a:gd name="T99" fmla="*/ 133 h 388"/>
                <a:gd name="T100" fmla="*/ 135 w 747"/>
                <a:gd name="T101" fmla="*/ 125 h 388"/>
                <a:gd name="T102" fmla="*/ 106 w 747"/>
                <a:gd name="T103" fmla="*/ 99 h 388"/>
                <a:gd name="T104" fmla="*/ 131 w 747"/>
                <a:gd name="T105" fmla="*/ 77 h 388"/>
                <a:gd name="T106" fmla="*/ 160 w 747"/>
                <a:gd name="T107" fmla="*/ 62 h 388"/>
                <a:gd name="T108" fmla="*/ 230 w 747"/>
                <a:gd name="T109" fmla="*/ 70 h 388"/>
                <a:gd name="T110" fmla="*/ 266 w 747"/>
                <a:gd name="T111" fmla="*/ 79 h 388"/>
                <a:gd name="T112" fmla="*/ 315 w 747"/>
                <a:gd name="T113" fmla="*/ 91 h 388"/>
                <a:gd name="T114" fmla="*/ 368 w 747"/>
                <a:gd name="T115" fmla="*/ 82 h 388"/>
                <a:gd name="T116" fmla="*/ 437 w 747"/>
                <a:gd name="T117" fmla="*/ 79 h 388"/>
                <a:gd name="T118" fmla="*/ 462 w 747"/>
                <a:gd name="T119" fmla="*/ 4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7" h="388">
                  <a:moveTo>
                    <a:pt x="467" y="383"/>
                  </a:moveTo>
                  <a:lnTo>
                    <a:pt x="469" y="385"/>
                  </a:lnTo>
                  <a:lnTo>
                    <a:pt x="469" y="388"/>
                  </a:lnTo>
                  <a:lnTo>
                    <a:pt x="464" y="383"/>
                  </a:lnTo>
                  <a:lnTo>
                    <a:pt x="467" y="383"/>
                  </a:lnTo>
                  <a:close/>
                  <a:moveTo>
                    <a:pt x="478" y="376"/>
                  </a:moveTo>
                  <a:lnTo>
                    <a:pt x="479" y="378"/>
                  </a:lnTo>
                  <a:lnTo>
                    <a:pt x="478" y="379"/>
                  </a:lnTo>
                  <a:lnTo>
                    <a:pt x="476" y="379"/>
                  </a:lnTo>
                  <a:lnTo>
                    <a:pt x="476" y="376"/>
                  </a:lnTo>
                  <a:lnTo>
                    <a:pt x="478" y="376"/>
                  </a:lnTo>
                  <a:close/>
                  <a:moveTo>
                    <a:pt x="481" y="376"/>
                  </a:moveTo>
                  <a:lnTo>
                    <a:pt x="483" y="376"/>
                  </a:lnTo>
                  <a:lnTo>
                    <a:pt x="483" y="378"/>
                  </a:lnTo>
                  <a:lnTo>
                    <a:pt x="481" y="378"/>
                  </a:lnTo>
                  <a:lnTo>
                    <a:pt x="481" y="376"/>
                  </a:lnTo>
                  <a:close/>
                  <a:moveTo>
                    <a:pt x="444" y="362"/>
                  </a:moveTo>
                  <a:lnTo>
                    <a:pt x="445" y="367"/>
                  </a:lnTo>
                  <a:lnTo>
                    <a:pt x="440" y="364"/>
                  </a:lnTo>
                  <a:lnTo>
                    <a:pt x="444" y="362"/>
                  </a:lnTo>
                  <a:close/>
                  <a:moveTo>
                    <a:pt x="457" y="359"/>
                  </a:moveTo>
                  <a:lnTo>
                    <a:pt x="457" y="361"/>
                  </a:lnTo>
                  <a:lnTo>
                    <a:pt x="454" y="361"/>
                  </a:lnTo>
                  <a:lnTo>
                    <a:pt x="457" y="359"/>
                  </a:lnTo>
                  <a:close/>
                  <a:moveTo>
                    <a:pt x="314" y="338"/>
                  </a:moveTo>
                  <a:lnTo>
                    <a:pt x="321" y="338"/>
                  </a:lnTo>
                  <a:lnTo>
                    <a:pt x="321" y="340"/>
                  </a:lnTo>
                  <a:lnTo>
                    <a:pt x="314" y="344"/>
                  </a:lnTo>
                  <a:lnTo>
                    <a:pt x="307" y="344"/>
                  </a:lnTo>
                  <a:lnTo>
                    <a:pt x="314" y="338"/>
                  </a:lnTo>
                  <a:close/>
                  <a:moveTo>
                    <a:pt x="531" y="320"/>
                  </a:moveTo>
                  <a:lnTo>
                    <a:pt x="534" y="323"/>
                  </a:lnTo>
                  <a:lnTo>
                    <a:pt x="532" y="323"/>
                  </a:lnTo>
                  <a:lnTo>
                    <a:pt x="529" y="325"/>
                  </a:lnTo>
                  <a:lnTo>
                    <a:pt x="532" y="328"/>
                  </a:lnTo>
                  <a:lnTo>
                    <a:pt x="527" y="332"/>
                  </a:lnTo>
                  <a:lnTo>
                    <a:pt x="532" y="328"/>
                  </a:lnTo>
                  <a:lnTo>
                    <a:pt x="532" y="326"/>
                  </a:lnTo>
                  <a:lnTo>
                    <a:pt x="536" y="326"/>
                  </a:lnTo>
                  <a:lnTo>
                    <a:pt x="536" y="328"/>
                  </a:lnTo>
                  <a:lnTo>
                    <a:pt x="529" y="333"/>
                  </a:lnTo>
                  <a:lnTo>
                    <a:pt x="527" y="332"/>
                  </a:lnTo>
                  <a:lnTo>
                    <a:pt x="529" y="335"/>
                  </a:lnTo>
                  <a:lnTo>
                    <a:pt x="525" y="337"/>
                  </a:lnTo>
                  <a:lnTo>
                    <a:pt x="534" y="340"/>
                  </a:lnTo>
                  <a:lnTo>
                    <a:pt x="534" y="345"/>
                  </a:lnTo>
                  <a:lnTo>
                    <a:pt x="532" y="347"/>
                  </a:lnTo>
                  <a:lnTo>
                    <a:pt x="532" y="349"/>
                  </a:lnTo>
                  <a:lnTo>
                    <a:pt x="524" y="349"/>
                  </a:lnTo>
                  <a:lnTo>
                    <a:pt x="519" y="354"/>
                  </a:lnTo>
                  <a:lnTo>
                    <a:pt x="513" y="356"/>
                  </a:lnTo>
                  <a:lnTo>
                    <a:pt x="512" y="357"/>
                  </a:lnTo>
                  <a:lnTo>
                    <a:pt x="512" y="361"/>
                  </a:lnTo>
                  <a:lnTo>
                    <a:pt x="510" y="366"/>
                  </a:lnTo>
                  <a:lnTo>
                    <a:pt x="508" y="366"/>
                  </a:lnTo>
                  <a:lnTo>
                    <a:pt x="507" y="367"/>
                  </a:lnTo>
                  <a:lnTo>
                    <a:pt x="500" y="364"/>
                  </a:lnTo>
                  <a:lnTo>
                    <a:pt x="493" y="369"/>
                  </a:lnTo>
                  <a:lnTo>
                    <a:pt x="491" y="369"/>
                  </a:lnTo>
                  <a:lnTo>
                    <a:pt x="490" y="371"/>
                  </a:lnTo>
                  <a:lnTo>
                    <a:pt x="490" y="369"/>
                  </a:lnTo>
                  <a:lnTo>
                    <a:pt x="479" y="371"/>
                  </a:lnTo>
                  <a:lnTo>
                    <a:pt x="478" y="373"/>
                  </a:lnTo>
                  <a:lnTo>
                    <a:pt x="479" y="376"/>
                  </a:lnTo>
                  <a:lnTo>
                    <a:pt x="478" y="376"/>
                  </a:lnTo>
                  <a:lnTo>
                    <a:pt x="473" y="378"/>
                  </a:lnTo>
                  <a:lnTo>
                    <a:pt x="473" y="376"/>
                  </a:lnTo>
                  <a:lnTo>
                    <a:pt x="471" y="378"/>
                  </a:lnTo>
                  <a:lnTo>
                    <a:pt x="471" y="376"/>
                  </a:lnTo>
                  <a:lnTo>
                    <a:pt x="467" y="376"/>
                  </a:lnTo>
                  <a:lnTo>
                    <a:pt x="464" y="379"/>
                  </a:lnTo>
                  <a:lnTo>
                    <a:pt x="462" y="378"/>
                  </a:lnTo>
                  <a:lnTo>
                    <a:pt x="462" y="369"/>
                  </a:lnTo>
                  <a:lnTo>
                    <a:pt x="459" y="362"/>
                  </a:lnTo>
                  <a:lnTo>
                    <a:pt x="461" y="361"/>
                  </a:lnTo>
                  <a:lnTo>
                    <a:pt x="462" y="359"/>
                  </a:lnTo>
                  <a:lnTo>
                    <a:pt x="464" y="361"/>
                  </a:lnTo>
                  <a:lnTo>
                    <a:pt x="462" y="359"/>
                  </a:lnTo>
                  <a:lnTo>
                    <a:pt x="471" y="357"/>
                  </a:lnTo>
                  <a:lnTo>
                    <a:pt x="476" y="356"/>
                  </a:lnTo>
                  <a:lnTo>
                    <a:pt x="478" y="356"/>
                  </a:lnTo>
                  <a:lnTo>
                    <a:pt x="486" y="354"/>
                  </a:lnTo>
                  <a:lnTo>
                    <a:pt x="488" y="354"/>
                  </a:lnTo>
                  <a:lnTo>
                    <a:pt x="491" y="350"/>
                  </a:lnTo>
                  <a:lnTo>
                    <a:pt x="496" y="347"/>
                  </a:lnTo>
                  <a:lnTo>
                    <a:pt x="498" y="344"/>
                  </a:lnTo>
                  <a:lnTo>
                    <a:pt x="502" y="345"/>
                  </a:lnTo>
                  <a:lnTo>
                    <a:pt x="505" y="344"/>
                  </a:lnTo>
                  <a:lnTo>
                    <a:pt x="507" y="338"/>
                  </a:lnTo>
                  <a:lnTo>
                    <a:pt x="512" y="340"/>
                  </a:lnTo>
                  <a:lnTo>
                    <a:pt x="517" y="338"/>
                  </a:lnTo>
                  <a:lnTo>
                    <a:pt x="520" y="338"/>
                  </a:lnTo>
                  <a:lnTo>
                    <a:pt x="520" y="337"/>
                  </a:lnTo>
                  <a:lnTo>
                    <a:pt x="517" y="337"/>
                  </a:lnTo>
                  <a:lnTo>
                    <a:pt x="513" y="338"/>
                  </a:lnTo>
                  <a:lnTo>
                    <a:pt x="508" y="337"/>
                  </a:lnTo>
                  <a:lnTo>
                    <a:pt x="515" y="330"/>
                  </a:lnTo>
                  <a:lnTo>
                    <a:pt x="519" y="328"/>
                  </a:lnTo>
                  <a:lnTo>
                    <a:pt x="527" y="325"/>
                  </a:lnTo>
                  <a:lnTo>
                    <a:pt x="529" y="318"/>
                  </a:lnTo>
                  <a:lnTo>
                    <a:pt x="531" y="320"/>
                  </a:lnTo>
                  <a:close/>
                  <a:moveTo>
                    <a:pt x="355" y="318"/>
                  </a:moveTo>
                  <a:lnTo>
                    <a:pt x="365" y="320"/>
                  </a:lnTo>
                  <a:lnTo>
                    <a:pt x="365" y="323"/>
                  </a:lnTo>
                  <a:lnTo>
                    <a:pt x="363" y="333"/>
                  </a:lnTo>
                  <a:lnTo>
                    <a:pt x="360" y="333"/>
                  </a:lnTo>
                  <a:lnTo>
                    <a:pt x="351" y="338"/>
                  </a:lnTo>
                  <a:lnTo>
                    <a:pt x="350" y="340"/>
                  </a:lnTo>
                  <a:lnTo>
                    <a:pt x="344" y="342"/>
                  </a:lnTo>
                  <a:lnTo>
                    <a:pt x="339" y="340"/>
                  </a:lnTo>
                  <a:lnTo>
                    <a:pt x="334" y="340"/>
                  </a:lnTo>
                  <a:lnTo>
                    <a:pt x="327" y="337"/>
                  </a:lnTo>
                  <a:lnTo>
                    <a:pt x="336" y="332"/>
                  </a:lnTo>
                  <a:lnTo>
                    <a:pt x="341" y="328"/>
                  </a:lnTo>
                  <a:lnTo>
                    <a:pt x="344" y="326"/>
                  </a:lnTo>
                  <a:lnTo>
                    <a:pt x="346" y="321"/>
                  </a:lnTo>
                  <a:lnTo>
                    <a:pt x="348" y="320"/>
                  </a:lnTo>
                  <a:lnTo>
                    <a:pt x="355" y="318"/>
                  </a:lnTo>
                  <a:close/>
                  <a:moveTo>
                    <a:pt x="152" y="303"/>
                  </a:moveTo>
                  <a:lnTo>
                    <a:pt x="150" y="306"/>
                  </a:lnTo>
                  <a:lnTo>
                    <a:pt x="146" y="304"/>
                  </a:lnTo>
                  <a:lnTo>
                    <a:pt x="152" y="303"/>
                  </a:lnTo>
                  <a:close/>
                  <a:moveTo>
                    <a:pt x="539" y="280"/>
                  </a:moveTo>
                  <a:lnTo>
                    <a:pt x="541" y="285"/>
                  </a:lnTo>
                  <a:lnTo>
                    <a:pt x="544" y="285"/>
                  </a:lnTo>
                  <a:lnTo>
                    <a:pt x="544" y="289"/>
                  </a:lnTo>
                  <a:lnTo>
                    <a:pt x="539" y="291"/>
                  </a:lnTo>
                  <a:lnTo>
                    <a:pt x="536" y="294"/>
                  </a:lnTo>
                  <a:lnTo>
                    <a:pt x="534" y="294"/>
                  </a:lnTo>
                  <a:lnTo>
                    <a:pt x="534" y="292"/>
                  </a:lnTo>
                  <a:lnTo>
                    <a:pt x="531" y="292"/>
                  </a:lnTo>
                  <a:lnTo>
                    <a:pt x="534" y="297"/>
                  </a:lnTo>
                  <a:lnTo>
                    <a:pt x="534" y="303"/>
                  </a:lnTo>
                  <a:lnTo>
                    <a:pt x="532" y="303"/>
                  </a:lnTo>
                  <a:lnTo>
                    <a:pt x="534" y="304"/>
                  </a:lnTo>
                  <a:lnTo>
                    <a:pt x="532" y="308"/>
                  </a:lnTo>
                  <a:lnTo>
                    <a:pt x="531" y="308"/>
                  </a:lnTo>
                  <a:lnTo>
                    <a:pt x="529" y="304"/>
                  </a:lnTo>
                  <a:lnTo>
                    <a:pt x="527" y="303"/>
                  </a:lnTo>
                  <a:lnTo>
                    <a:pt x="525" y="304"/>
                  </a:lnTo>
                  <a:lnTo>
                    <a:pt x="522" y="308"/>
                  </a:lnTo>
                  <a:lnTo>
                    <a:pt x="520" y="299"/>
                  </a:lnTo>
                  <a:lnTo>
                    <a:pt x="524" y="296"/>
                  </a:lnTo>
                  <a:lnTo>
                    <a:pt x="527" y="292"/>
                  </a:lnTo>
                  <a:lnTo>
                    <a:pt x="532" y="282"/>
                  </a:lnTo>
                  <a:lnTo>
                    <a:pt x="539" y="280"/>
                  </a:lnTo>
                  <a:close/>
                  <a:moveTo>
                    <a:pt x="121" y="181"/>
                  </a:moveTo>
                  <a:lnTo>
                    <a:pt x="123" y="185"/>
                  </a:lnTo>
                  <a:lnTo>
                    <a:pt x="128" y="193"/>
                  </a:lnTo>
                  <a:lnTo>
                    <a:pt x="131" y="195"/>
                  </a:lnTo>
                  <a:lnTo>
                    <a:pt x="138" y="204"/>
                  </a:lnTo>
                  <a:lnTo>
                    <a:pt x="143" y="205"/>
                  </a:lnTo>
                  <a:lnTo>
                    <a:pt x="150" y="204"/>
                  </a:lnTo>
                  <a:lnTo>
                    <a:pt x="153" y="205"/>
                  </a:lnTo>
                  <a:lnTo>
                    <a:pt x="155" y="210"/>
                  </a:lnTo>
                  <a:lnTo>
                    <a:pt x="155" y="219"/>
                  </a:lnTo>
                  <a:lnTo>
                    <a:pt x="157" y="224"/>
                  </a:lnTo>
                  <a:lnTo>
                    <a:pt x="164" y="224"/>
                  </a:lnTo>
                  <a:lnTo>
                    <a:pt x="165" y="227"/>
                  </a:lnTo>
                  <a:lnTo>
                    <a:pt x="170" y="224"/>
                  </a:lnTo>
                  <a:lnTo>
                    <a:pt x="174" y="224"/>
                  </a:lnTo>
                  <a:lnTo>
                    <a:pt x="182" y="221"/>
                  </a:lnTo>
                  <a:lnTo>
                    <a:pt x="187" y="229"/>
                  </a:lnTo>
                  <a:lnTo>
                    <a:pt x="193" y="229"/>
                  </a:lnTo>
                  <a:lnTo>
                    <a:pt x="198" y="234"/>
                  </a:lnTo>
                  <a:lnTo>
                    <a:pt x="199" y="239"/>
                  </a:lnTo>
                  <a:lnTo>
                    <a:pt x="201" y="241"/>
                  </a:lnTo>
                  <a:lnTo>
                    <a:pt x="203" y="246"/>
                  </a:lnTo>
                  <a:lnTo>
                    <a:pt x="208" y="255"/>
                  </a:lnTo>
                  <a:lnTo>
                    <a:pt x="216" y="258"/>
                  </a:lnTo>
                  <a:lnTo>
                    <a:pt x="220" y="260"/>
                  </a:lnTo>
                  <a:lnTo>
                    <a:pt x="227" y="268"/>
                  </a:lnTo>
                  <a:lnTo>
                    <a:pt x="228" y="274"/>
                  </a:lnTo>
                  <a:lnTo>
                    <a:pt x="225" y="279"/>
                  </a:lnTo>
                  <a:lnTo>
                    <a:pt x="227" y="277"/>
                  </a:lnTo>
                  <a:lnTo>
                    <a:pt x="223" y="282"/>
                  </a:lnTo>
                  <a:lnTo>
                    <a:pt x="218" y="284"/>
                  </a:lnTo>
                  <a:lnTo>
                    <a:pt x="215" y="289"/>
                  </a:lnTo>
                  <a:lnTo>
                    <a:pt x="208" y="294"/>
                  </a:lnTo>
                  <a:lnTo>
                    <a:pt x="203" y="294"/>
                  </a:lnTo>
                  <a:lnTo>
                    <a:pt x="199" y="297"/>
                  </a:lnTo>
                  <a:lnTo>
                    <a:pt x="191" y="296"/>
                  </a:lnTo>
                  <a:lnTo>
                    <a:pt x="184" y="299"/>
                  </a:lnTo>
                  <a:lnTo>
                    <a:pt x="181" y="304"/>
                  </a:lnTo>
                  <a:lnTo>
                    <a:pt x="174" y="299"/>
                  </a:lnTo>
                  <a:lnTo>
                    <a:pt x="169" y="297"/>
                  </a:lnTo>
                  <a:lnTo>
                    <a:pt x="162" y="297"/>
                  </a:lnTo>
                  <a:lnTo>
                    <a:pt x="155" y="296"/>
                  </a:lnTo>
                  <a:lnTo>
                    <a:pt x="152" y="297"/>
                  </a:lnTo>
                  <a:lnTo>
                    <a:pt x="148" y="294"/>
                  </a:lnTo>
                  <a:lnTo>
                    <a:pt x="146" y="296"/>
                  </a:lnTo>
                  <a:lnTo>
                    <a:pt x="140" y="287"/>
                  </a:lnTo>
                  <a:lnTo>
                    <a:pt x="136" y="289"/>
                  </a:lnTo>
                  <a:lnTo>
                    <a:pt x="131" y="282"/>
                  </a:lnTo>
                  <a:lnTo>
                    <a:pt x="128" y="282"/>
                  </a:lnTo>
                  <a:lnTo>
                    <a:pt x="129" y="277"/>
                  </a:lnTo>
                  <a:lnTo>
                    <a:pt x="126" y="272"/>
                  </a:lnTo>
                  <a:lnTo>
                    <a:pt x="121" y="267"/>
                  </a:lnTo>
                  <a:lnTo>
                    <a:pt x="121" y="263"/>
                  </a:lnTo>
                  <a:lnTo>
                    <a:pt x="116" y="263"/>
                  </a:lnTo>
                  <a:lnTo>
                    <a:pt x="116" y="262"/>
                  </a:lnTo>
                  <a:lnTo>
                    <a:pt x="112" y="262"/>
                  </a:lnTo>
                  <a:lnTo>
                    <a:pt x="109" y="256"/>
                  </a:lnTo>
                  <a:lnTo>
                    <a:pt x="100" y="258"/>
                  </a:lnTo>
                  <a:lnTo>
                    <a:pt x="99" y="255"/>
                  </a:lnTo>
                  <a:lnTo>
                    <a:pt x="90" y="248"/>
                  </a:lnTo>
                  <a:lnTo>
                    <a:pt x="88" y="248"/>
                  </a:lnTo>
                  <a:lnTo>
                    <a:pt x="88" y="246"/>
                  </a:lnTo>
                  <a:lnTo>
                    <a:pt x="90" y="244"/>
                  </a:lnTo>
                  <a:lnTo>
                    <a:pt x="88" y="241"/>
                  </a:lnTo>
                  <a:lnTo>
                    <a:pt x="85" y="239"/>
                  </a:lnTo>
                  <a:lnTo>
                    <a:pt x="85" y="243"/>
                  </a:lnTo>
                  <a:lnTo>
                    <a:pt x="82" y="243"/>
                  </a:lnTo>
                  <a:lnTo>
                    <a:pt x="82" y="238"/>
                  </a:lnTo>
                  <a:lnTo>
                    <a:pt x="78" y="241"/>
                  </a:lnTo>
                  <a:lnTo>
                    <a:pt x="76" y="238"/>
                  </a:lnTo>
                  <a:lnTo>
                    <a:pt x="73" y="239"/>
                  </a:lnTo>
                  <a:lnTo>
                    <a:pt x="73" y="238"/>
                  </a:lnTo>
                  <a:lnTo>
                    <a:pt x="70" y="239"/>
                  </a:lnTo>
                  <a:lnTo>
                    <a:pt x="63" y="236"/>
                  </a:lnTo>
                  <a:lnTo>
                    <a:pt x="58" y="238"/>
                  </a:lnTo>
                  <a:lnTo>
                    <a:pt x="56" y="241"/>
                  </a:lnTo>
                  <a:lnTo>
                    <a:pt x="54" y="243"/>
                  </a:lnTo>
                  <a:lnTo>
                    <a:pt x="49" y="238"/>
                  </a:lnTo>
                  <a:lnTo>
                    <a:pt x="46" y="239"/>
                  </a:lnTo>
                  <a:lnTo>
                    <a:pt x="44" y="236"/>
                  </a:lnTo>
                  <a:lnTo>
                    <a:pt x="34" y="236"/>
                  </a:lnTo>
                  <a:lnTo>
                    <a:pt x="30" y="238"/>
                  </a:lnTo>
                  <a:lnTo>
                    <a:pt x="29" y="236"/>
                  </a:lnTo>
                  <a:lnTo>
                    <a:pt x="22" y="234"/>
                  </a:lnTo>
                  <a:lnTo>
                    <a:pt x="20" y="233"/>
                  </a:lnTo>
                  <a:lnTo>
                    <a:pt x="18" y="233"/>
                  </a:lnTo>
                  <a:lnTo>
                    <a:pt x="10" y="227"/>
                  </a:lnTo>
                  <a:lnTo>
                    <a:pt x="8" y="222"/>
                  </a:lnTo>
                  <a:lnTo>
                    <a:pt x="6" y="222"/>
                  </a:lnTo>
                  <a:lnTo>
                    <a:pt x="5" y="219"/>
                  </a:lnTo>
                  <a:lnTo>
                    <a:pt x="0" y="214"/>
                  </a:lnTo>
                  <a:lnTo>
                    <a:pt x="3" y="205"/>
                  </a:lnTo>
                  <a:lnTo>
                    <a:pt x="12" y="198"/>
                  </a:lnTo>
                  <a:lnTo>
                    <a:pt x="20" y="197"/>
                  </a:lnTo>
                  <a:lnTo>
                    <a:pt x="29" y="192"/>
                  </a:lnTo>
                  <a:lnTo>
                    <a:pt x="30" y="192"/>
                  </a:lnTo>
                  <a:lnTo>
                    <a:pt x="34" y="193"/>
                  </a:lnTo>
                  <a:lnTo>
                    <a:pt x="44" y="190"/>
                  </a:lnTo>
                  <a:lnTo>
                    <a:pt x="47" y="192"/>
                  </a:lnTo>
                  <a:lnTo>
                    <a:pt x="54" y="193"/>
                  </a:lnTo>
                  <a:lnTo>
                    <a:pt x="65" y="190"/>
                  </a:lnTo>
                  <a:lnTo>
                    <a:pt x="73" y="192"/>
                  </a:lnTo>
                  <a:lnTo>
                    <a:pt x="78" y="188"/>
                  </a:lnTo>
                  <a:lnTo>
                    <a:pt x="83" y="188"/>
                  </a:lnTo>
                  <a:lnTo>
                    <a:pt x="90" y="193"/>
                  </a:lnTo>
                  <a:lnTo>
                    <a:pt x="99" y="193"/>
                  </a:lnTo>
                  <a:lnTo>
                    <a:pt x="102" y="195"/>
                  </a:lnTo>
                  <a:lnTo>
                    <a:pt x="109" y="190"/>
                  </a:lnTo>
                  <a:lnTo>
                    <a:pt x="114" y="186"/>
                  </a:lnTo>
                  <a:lnTo>
                    <a:pt x="119" y="180"/>
                  </a:lnTo>
                  <a:lnTo>
                    <a:pt x="121" y="181"/>
                  </a:lnTo>
                  <a:close/>
                  <a:moveTo>
                    <a:pt x="718" y="142"/>
                  </a:moveTo>
                  <a:lnTo>
                    <a:pt x="717" y="151"/>
                  </a:lnTo>
                  <a:lnTo>
                    <a:pt x="720" y="154"/>
                  </a:lnTo>
                  <a:lnTo>
                    <a:pt x="725" y="154"/>
                  </a:lnTo>
                  <a:lnTo>
                    <a:pt x="730" y="151"/>
                  </a:lnTo>
                  <a:lnTo>
                    <a:pt x="734" y="151"/>
                  </a:lnTo>
                  <a:lnTo>
                    <a:pt x="739" y="144"/>
                  </a:lnTo>
                  <a:lnTo>
                    <a:pt x="742" y="147"/>
                  </a:lnTo>
                  <a:lnTo>
                    <a:pt x="747" y="151"/>
                  </a:lnTo>
                  <a:lnTo>
                    <a:pt x="747" y="156"/>
                  </a:lnTo>
                  <a:lnTo>
                    <a:pt x="746" y="161"/>
                  </a:lnTo>
                  <a:lnTo>
                    <a:pt x="747" y="166"/>
                  </a:lnTo>
                  <a:lnTo>
                    <a:pt x="746" y="168"/>
                  </a:lnTo>
                  <a:lnTo>
                    <a:pt x="741" y="168"/>
                  </a:lnTo>
                  <a:lnTo>
                    <a:pt x="737" y="171"/>
                  </a:lnTo>
                  <a:lnTo>
                    <a:pt x="732" y="168"/>
                  </a:lnTo>
                  <a:lnTo>
                    <a:pt x="723" y="168"/>
                  </a:lnTo>
                  <a:lnTo>
                    <a:pt x="722" y="171"/>
                  </a:lnTo>
                  <a:lnTo>
                    <a:pt x="723" y="178"/>
                  </a:lnTo>
                  <a:lnTo>
                    <a:pt x="722" y="181"/>
                  </a:lnTo>
                  <a:lnTo>
                    <a:pt x="725" y="183"/>
                  </a:lnTo>
                  <a:lnTo>
                    <a:pt x="730" y="186"/>
                  </a:lnTo>
                  <a:lnTo>
                    <a:pt x="730" y="190"/>
                  </a:lnTo>
                  <a:lnTo>
                    <a:pt x="734" y="193"/>
                  </a:lnTo>
                  <a:lnTo>
                    <a:pt x="735" y="202"/>
                  </a:lnTo>
                  <a:lnTo>
                    <a:pt x="727" y="209"/>
                  </a:lnTo>
                  <a:lnTo>
                    <a:pt x="723" y="214"/>
                  </a:lnTo>
                  <a:lnTo>
                    <a:pt x="722" y="212"/>
                  </a:lnTo>
                  <a:lnTo>
                    <a:pt x="723" y="215"/>
                  </a:lnTo>
                  <a:lnTo>
                    <a:pt x="722" y="224"/>
                  </a:lnTo>
                  <a:lnTo>
                    <a:pt x="718" y="229"/>
                  </a:lnTo>
                  <a:lnTo>
                    <a:pt x="717" y="227"/>
                  </a:lnTo>
                  <a:lnTo>
                    <a:pt x="708" y="233"/>
                  </a:lnTo>
                  <a:lnTo>
                    <a:pt x="703" y="241"/>
                  </a:lnTo>
                  <a:lnTo>
                    <a:pt x="698" y="244"/>
                  </a:lnTo>
                  <a:lnTo>
                    <a:pt x="696" y="248"/>
                  </a:lnTo>
                  <a:lnTo>
                    <a:pt x="694" y="253"/>
                  </a:lnTo>
                  <a:lnTo>
                    <a:pt x="684" y="256"/>
                  </a:lnTo>
                  <a:lnTo>
                    <a:pt x="682" y="260"/>
                  </a:lnTo>
                  <a:lnTo>
                    <a:pt x="674" y="267"/>
                  </a:lnTo>
                  <a:lnTo>
                    <a:pt x="669" y="268"/>
                  </a:lnTo>
                  <a:lnTo>
                    <a:pt x="667" y="270"/>
                  </a:lnTo>
                  <a:lnTo>
                    <a:pt x="664" y="279"/>
                  </a:lnTo>
                  <a:lnTo>
                    <a:pt x="660" y="282"/>
                  </a:lnTo>
                  <a:lnTo>
                    <a:pt x="652" y="287"/>
                  </a:lnTo>
                  <a:lnTo>
                    <a:pt x="645" y="287"/>
                  </a:lnTo>
                  <a:lnTo>
                    <a:pt x="643" y="287"/>
                  </a:lnTo>
                  <a:lnTo>
                    <a:pt x="635" y="287"/>
                  </a:lnTo>
                  <a:lnTo>
                    <a:pt x="630" y="285"/>
                  </a:lnTo>
                  <a:lnTo>
                    <a:pt x="631" y="285"/>
                  </a:lnTo>
                  <a:lnTo>
                    <a:pt x="630" y="287"/>
                  </a:lnTo>
                  <a:lnTo>
                    <a:pt x="624" y="285"/>
                  </a:lnTo>
                  <a:lnTo>
                    <a:pt x="618" y="287"/>
                  </a:lnTo>
                  <a:lnTo>
                    <a:pt x="619" y="285"/>
                  </a:lnTo>
                  <a:lnTo>
                    <a:pt x="614" y="291"/>
                  </a:lnTo>
                  <a:lnTo>
                    <a:pt x="613" y="294"/>
                  </a:lnTo>
                  <a:lnTo>
                    <a:pt x="607" y="297"/>
                  </a:lnTo>
                  <a:lnTo>
                    <a:pt x="606" y="299"/>
                  </a:lnTo>
                  <a:lnTo>
                    <a:pt x="599" y="299"/>
                  </a:lnTo>
                  <a:lnTo>
                    <a:pt x="597" y="303"/>
                  </a:lnTo>
                  <a:lnTo>
                    <a:pt x="594" y="303"/>
                  </a:lnTo>
                  <a:lnTo>
                    <a:pt x="587" y="308"/>
                  </a:lnTo>
                  <a:lnTo>
                    <a:pt x="580" y="309"/>
                  </a:lnTo>
                  <a:lnTo>
                    <a:pt x="575" y="309"/>
                  </a:lnTo>
                  <a:lnTo>
                    <a:pt x="568" y="311"/>
                  </a:lnTo>
                  <a:lnTo>
                    <a:pt x="563" y="309"/>
                  </a:lnTo>
                  <a:lnTo>
                    <a:pt x="558" y="311"/>
                  </a:lnTo>
                  <a:lnTo>
                    <a:pt x="553" y="306"/>
                  </a:lnTo>
                  <a:lnTo>
                    <a:pt x="549" y="306"/>
                  </a:lnTo>
                  <a:lnTo>
                    <a:pt x="539" y="309"/>
                  </a:lnTo>
                  <a:lnTo>
                    <a:pt x="539" y="306"/>
                  </a:lnTo>
                  <a:lnTo>
                    <a:pt x="544" y="299"/>
                  </a:lnTo>
                  <a:lnTo>
                    <a:pt x="543" y="294"/>
                  </a:lnTo>
                  <a:lnTo>
                    <a:pt x="548" y="292"/>
                  </a:lnTo>
                  <a:lnTo>
                    <a:pt x="548" y="287"/>
                  </a:lnTo>
                  <a:lnTo>
                    <a:pt x="551" y="287"/>
                  </a:lnTo>
                  <a:lnTo>
                    <a:pt x="560" y="284"/>
                  </a:lnTo>
                  <a:lnTo>
                    <a:pt x="561" y="284"/>
                  </a:lnTo>
                  <a:lnTo>
                    <a:pt x="565" y="280"/>
                  </a:lnTo>
                  <a:lnTo>
                    <a:pt x="573" y="279"/>
                  </a:lnTo>
                  <a:lnTo>
                    <a:pt x="577" y="272"/>
                  </a:lnTo>
                  <a:lnTo>
                    <a:pt x="568" y="268"/>
                  </a:lnTo>
                  <a:lnTo>
                    <a:pt x="566" y="270"/>
                  </a:lnTo>
                  <a:lnTo>
                    <a:pt x="563" y="268"/>
                  </a:lnTo>
                  <a:lnTo>
                    <a:pt x="556" y="272"/>
                  </a:lnTo>
                  <a:lnTo>
                    <a:pt x="554" y="268"/>
                  </a:lnTo>
                  <a:lnTo>
                    <a:pt x="554" y="267"/>
                  </a:lnTo>
                  <a:lnTo>
                    <a:pt x="554" y="260"/>
                  </a:lnTo>
                  <a:lnTo>
                    <a:pt x="556" y="255"/>
                  </a:lnTo>
                  <a:lnTo>
                    <a:pt x="561" y="255"/>
                  </a:lnTo>
                  <a:lnTo>
                    <a:pt x="565" y="250"/>
                  </a:lnTo>
                  <a:lnTo>
                    <a:pt x="565" y="243"/>
                  </a:lnTo>
                  <a:lnTo>
                    <a:pt x="561" y="239"/>
                  </a:lnTo>
                  <a:lnTo>
                    <a:pt x="566" y="236"/>
                  </a:lnTo>
                  <a:lnTo>
                    <a:pt x="566" y="233"/>
                  </a:lnTo>
                  <a:lnTo>
                    <a:pt x="566" y="222"/>
                  </a:lnTo>
                  <a:lnTo>
                    <a:pt x="573" y="215"/>
                  </a:lnTo>
                  <a:lnTo>
                    <a:pt x="580" y="212"/>
                  </a:lnTo>
                  <a:lnTo>
                    <a:pt x="580" y="205"/>
                  </a:lnTo>
                  <a:lnTo>
                    <a:pt x="585" y="207"/>
                  </a:lnTo>
                  <a:lnTo>
                    <a:pt x="587" y="204"/>
                  </a:lnTo>
                  <a:lnTo>
                    <a:pt x="590" y="204"/>
                  </a:lnTo>
                  <a:lnTo>
                    <a:pt x="594" y="198"/>
                  </a:lnTo>
                  <a:lnTo>
                    <a:pt x="597" y="197"/>
                  </a:lnTo>
                  <a:lnTo>
                    <a:pt x="602" y="190"/>
                  </a:lnTo>
                  <a:lnTo>
                    <a:pt x="611" y="186"/>
                  </a:lnTo>
                  <a:lnTo>
                    <a:pt x="614" y="193"/>
                  </a:lnTo>
                  <a:lnTo>
                    <a:pt x="618" y="197"/>
                  </a:lnTo>
                  <a:lnTo>
                    <a:pt x="619" y="195"/>
                  </a:lnTo>
                  <a:lnTo>
                    <a:pt x="621" y="198"/>
                  </a:lnTo>
                  <a:lnTo>
                    <a:pt x="624" y="197"/>
                  </a:lnTo>
                  <a:lnTo>
                    <a:pt x="624" y="195"/>
                  </a:lnTo>
                  <a:lnTo>
                    <a:pt x="630" y="192"/>
                  </a:lnTo>
                  <a:lnTo>
                    <a:pt x="633" y="192"/>
                  </a:lnTo>
                  <a:lnTo>
                    <a:pt x="638" y="197"/>
                  </a:lnTo>
                  <a:lnTo>
                    <a:pt x="640" y="202"/>
                  </a:lnTo>
                  <a:lnTo>
                    <a:pt x="638" y="207"/>
                  </a:lnTo>
                  <a:lnTo>
                    <a:pt x="647" y="205"/>
                  </a:lnTo>
                  <a:lnTo>
                    <a:pt x="648" y="202"/>
                  </a:lnTo>
                  <a:lnTo>
                    <a:pt x="648" y="198"/>
                  </a:lnTo>
                  <a:lnTo>
                    <a:pt x="650" y="197"/>
                  </a:lnTo>
                  <a:lnTo>
                    <a:pt x="652" y="195"/>
                  </a:lnTo>
                  <a:lnTo>
                    <a:pt x="650" y="192"/>
                  </a:lnTo>
                  <a:lnTo>
                    <a:pt x="653" y="188"/>
                  </a:lnTo>
                  <a:lnTo>
                    <a:pt x="659" y="186"/>
                  </a:lnTo>
                  <a:lnTo>
                    <a:pt x="659" y="181"/>
                  </a:lnTo>
                  <a:lnTo>
                    <a:pt x="662" y="180"/>
                  </a:lnTo>
                  <a:lnTo>
                    <a:pt x="662" y="173"/>
                  </a:lnTo>
                  <a:lnTo>
                    <a:pt x="664" y="171"/>
                  </a:lnTo>
                  <a:lnTo>
                    <a:pt x="662" y="168"/>
                  </a:lnTo>
                  <a:lnTo>
                    <a:pt x="669" y="169"/>
                  </a:lnTo>
                  <a:lnTo>
                    <a:pt x="669" y="168"/>
                  </a:lnTo>
                  <a:lnTo>
                    <a:pt x="679" y="166"/>
                  </a:lnTo>
                  <a:lnTo>
                    <a:pt x="686" y="161"/>
                  </a:lnTo>
                  <a:lnTo>
                    <a:pt x="689" y="154"/>
                  </a:lnTo>
                  <a:lnTo>
                    <a:pt x="693" y="154"/>
                  </a:lnTo>
                  <a:lnTo>
                    <a:pt x="701" y="149"/>
                  </a:lnTo>
                  <a:lnTo>
                    <a:pt x="708" y="147"/>
                  </a:lnTo>
                  <a:lnTo>
                    <a:pt x="712" y="144"/>
                  </a:lnTo>
                  <a:lnTo>
                    <a:pt x="718" y="142"/>
                  </a:lnTo>
                  <a:close/>
                  <a:moveTo>
                    <a:pt x="164" y="135"/>
                  </a:moveTo>
                  <a:lnTo>
                    <a:pt x="160" y="137"/>
                  </a:lnTo>
                  <a:lnTo>
                    <a:pt x="158" y="135"/>
                  </a:lnTo>
                  <a:lnTo>
                    <a:pt x="162" y="132"/>
                  </a:lnTo>
                  <a:lnTo>
                    <a:pt x="165" y="133"/>
                  </a:lnTo>
                  <a:lnTo>
                    <a:pt x="164" y="135"/>
                  </a:lnTo>
                  <a:close/>
                  <a:moveTo>
                    <a:pt x="310" y="130"/>
                  </a:moveTo>
                  <a:lnTo>
                    <a:pt x="312" y="133"/>
                  </a:lnTo>
                  <a:lnTo>
                    <a:pt x="309" y="135"/>
                  </a:lnTo>
                  <a:lnTo>
                    <a:pt x="309" y="133"/>
                  </a:lnTo>
                  <a:lnTo>
                    <a:pt x="310" y="132"/>
                  </a:lnTo>
                  <a:lnTo>
                    <a:pt x="310" y="130"/>
                  </a:lnTo>
                  <a:close/>
                  <a:moveTo>
                    <a:pt x="102" y="122"/>
                  </a:moveTo>
                  <a:lnTo>
                    <a:pt x="106" y="123"/>
                  </a:lnTo>
                  <a:lnTo>
                    <a:pt x="104" y="127"/>
                  </a:lnTo>
                  <a:lnTo>
                    <a:pt x="100" y="125"/>
                  </a:lnTo>
                  <a:lnTo>
                    <a:pt x="102" y="122"/>
                  </a:lnTo>
                  <a:close/>
                  <a:moveTo>
                    <a:pt x="87" y="122"/>
                  </a:moveTo>
                  <a:lnTo>
                    <a:pt x="88" y="125"/>
                  </a:lnTo>
                  <a:lnTo>
                    <a:pt x="83" y="123"/>
                  </a:lnTo>
                  <a:lnTo>
                    <a:pt x="87" y="122"/>
                  </a:lnTo>
                  <a:close/>
                  <a:moveTo>
                    <a:pt x="59" y="116"/>
                  </a:moveTo>
                  <a:lnTo>
                    <a:pt x="59" y="118"/>
                  </a:lnTo>
                  <a:lnTo>
                    <a:pt x="59" y="116"/>
                  </a:lnTo>
                  <a:close/>
                  <a:moveTo>
                    <a:pt x="80" y="103"/>
                  </a:moveTo>
                  <a:lnTo>
                    <a:pt x="82" y="106"/>
                  </a:lnTo>
                  <a:lnTo>
                    <a:pt x="78" y="106"/>
                  </a:lnTo>
                  <a:lnTo>
                    <a:pt x="75" y="108"/>
                  </a:lnTo>
                  <a:lnTo>
                    <a:pt x="76" y="110"/>
                  </a:lnTo>
                  <a:lnTo>
                    <a:pt x="73" y="108"/>
                  </a:lnTo>
                  <a:lnTo>
                    <a:pt x="73" y="106"/>
                  </a:lnTo>
                  <a:lnTo>
                    <a:pt x="80" y="103"/>
                  </a:lnTo>
                  <a:close/>
                  <a:moveTo>
                    <a:pt x="87" y="101"/>
                  </a:moveTo>
                  <a:lnTo>
                    <a:pt x="88" y="101"/>
                  </a:lnTo>
                  <a:lnTo>
                    <a:pt x="88" y="106"/>
                  </a:lnTo>
                  <a:lnTo>
                    <a:pt x="90" y="110"/>
                  </a:lnTo>
                  <a:lnTo>
                    <a:pt x="90" y="108"/>
                  </a:lnTo>
                  <a:lnTo>
                    <a:pt x="90" y="110"/>
                  </a:lnTo>
                  <a:lnTo>
                    <a:pt x="94" y="108"/>
                  </a:lnTo>
                  <a:lnTo>
                    <a:pt x="92" y="104"/>
                  </a:lnTo>
                  <a:lnTo>
                    <a:pt x="94" y="106"/>
                  </a:lnTo>
                  <a:lnTo>
                    <a:pt x="95" y="101"/>
                  </a:lnTo>
                  <a:lnTo>
                    <a:pt x="99" y="103"/>
                  </a:lnTo>
                  <a:lnTo>
                    <a:pt x="104" y="101"/>
                  </a:lnTo>
                  <a:lnTo>
                    <a:pt x="106" y="103"/>
                  </a:lnTo>
                  <a:lnTo>
                    <a:pt x="104" y="106"/>
                  </a:lnTo>
                  <a:lnTo>
                    <a:pt x="100" y="106"/>
                  </a:lnTo>
                  <a:lnTo>
                    <a:pt x="99" y="111"/>
                  </a:lnTo>
                  <a:lnTo>
                    <a:pt x="95" y="111"/>
                  </a:lnTo>
                  <a:lnTo>
                    <a:pt x="94" y="108"/>
                  </a:lnTo>
                  <a:lnTo>
                    <a:pt x="92" y="113"/>
                  </a:lnTo>
                  <a:lnTo>
                    <a:pt x="95" y="116"/>
                  </a:lnTo>
                  <a:lnTo>
                    <a:pt x="97" y="118"/>
                  </a:lnTo>
                  <a:lnTo>
                    <a:pt x="95" y="118"/>
                  </a:lnTo>
                  <a:lnTo>
                    <a:pt x="97" y="120"/>
                  </a:lnTo>
                  <a:lnTo>
                    <a:pt x="92" y="125"/>
                  </a:lnTo>
                  <a:lnTo>
                    <a:pt x="90" y="125"/>
                  </a:lnTo>
                  <a:lnTo>
                    <a:pt x="87" y="120"/>
                  </a:lnTo>
                  <a:lnTo>
                    <a:pt x="83" y="122"/>
                  </a:lnTo>
                  <a:lnTo>
                    <a:pt x="82" y="118"/>
                  </a:lnTo>
                  <a:lnTo>
                    <a:pt x="82" y="115"/>
                  </a:lnTo>
                  <a:lnTo>
                    <a:pt x="85" y="116"/>
                  </a:lnTo>
                  <a:lnTo>
                    <a:pt x="82" y="115"/>
                  </a:lnTo>
                  <a:lnTo>
                    <a:pt x="85" y="115"/>
                  </a:lnTo>
                  <a:lnTo>
                    <a:pt x="83" y="111"/>
                  </a:lnTo>
                  <a:lnTo>
                    <a:pt x="88" y="111"/>
                  </a:lnTo>
                  <a:lnTo>
                    <a:pt x="87" y="108"/>
                  </a:lnTo>
                  <a:lnTo>
                    <a:pt x="87" y="110"/>
                  </a:lnTo>
                  <a:lnTo>
                    <a:pt x="83" y="110"/>
                  </a:lnTo>
                  <a:lnTo>
                    <a:pt x="85" y="106"/>
                  </a:lnTo>
                  <a:lnTo>
                    <a:pt x="82" y="99"/>
                  </a:lnTo>
                  <a:lnTo>
                    <a:pt x="87" y="101"/>
                  </a:lnTo>
                  <a:close/>
                  <a:moveTo>
                    <a:pt x="94" y="96"/>
                  </a:moveTo>
                  <a:lnTo>
                    <a:pt x="95" y="96"/>
                  </a:lnTo>
                  <a:lnTo>
                    <a:pt x="94" y="96"/>
                  </a:lnTo>
                  <a:close/>
                  <a:moveTo>
                    <a:pt x="88" y="92"/>
                  </a:moveTo>
                  <a:lnTo>
                    <a:pt x="87" y="96"/>
                  </a:lnTo>
                  <a:lnTo>
                    <a:pt x="87" y="91"/>
                  </a:lnTo>
                  <a:lnTo>
                    <a:pt x="88" y="92"/>
                  </a:lnTo>
                  <a:close/>
                  <a:moveTo>
                    <a:pt x="95" y="86"/>
                  </a:moveTo>
                  <a:lnTo>
                    <a:pt x="97" y="86"/>
                  </a:lnTo>
                  <a:lnTo>
                    <a:pt x="97" y="89"/>
                  </a:lnTo>
                  <a:lnTo>
                    <a:pt x="95" y="89"/>
                  </a:lnTo>
                  <a:lnTo>
                    <a:pt x="95" y="86"/>
                  </a:lnTo>
                  <a:close/>
                  <a:moveTo>
                    <a:pt x="640" y="84"/>
                  </a:moveTo>
                  <a:lnTo>
                    <a:pt x="642" y="84"/>
                  </a:lnTo>
                  <a:lnTo>
                    <a:pt x="642" y="86"/>
                  </a:lnTo>
                  <a:lnTo>
                    <a:pt x="640" y="86"/>
                  </a:lnTo>
                  <a:lnTo>
                    <a:pt x="640" y="84"/>
                  </a:lnTo>
                  <a:close/>
                  <a:moveTo>
                    <a:pt x="75" y="82"/>
                  </a:moveTo>
                  <a:lnTo>
                    <a:pt x="76" y="82"/>
                  </a:lnTo>
                  <a:lnTo>
                    <a:pt x="76" y="84"/>
                  </a:lnTo>
                  <a:lnTo>
                    <a:pt x="75" y="84"/>
                  </a:lnTo>
                  <a:lnTo>
                    <a:pt x="75" y="82"/>
                  </a:lnTo>
                  <a:close/>
                  <a:moveTo>
                    <a:pt x="421" y="82"/>
                  </a:moveTo>
                  <a:lnTo>
                    <a:pt x="421" y="84"/>
                  </a:lnTo>
                  <a:lnTo>
                    <a:pt x="418" y="84"/>
                  </a:lnTo>
                  <a:lnTo>
                    <a:pt x="421" y="82"/>
                  </a:lnTo>
                  <a:close/>
                  <a:moveTo>
                    <a:pt x="76" y="81"/>
                  </a:moveTo>
                  <a:lnTo>
                    <a:pt x="78" y="81"/>
                  </a:lnTo>
                  <a:lnTo>
                    <a:pt x="78" y="82"/>
                  </a:lnTo>
                  <a:lnTo>
                    <a:pt x="76" y="82"/>
                  </a:lnTo>
                  <a:lnTo>
                    <a:pt x="76" y="81"/>
                  </a:lnTo>
                  <a:close/>
                  <a:moveTo>
                    <a:pt x="413" y="79"/>
                  </a:moveTo>
                  <a:lnTo>
                    <a:pt x="416" y="81"/>
                  </a:lnTo>
                  <a:lnTo>
                    <a:pt x="418" y="79"/>
                  </a:lnTo>
                  <a:lnTo>
                    <a:pt x="418" y="81"/>
                  </a:lnTo>
                  <a:lnTo>
                    <a:pt x="414" y="87"/>
                  </a:lnTo>
                  <a:lnTo>
                    <a:pt x="409" y="86"/>
                  </a:lnTo>
                  <a:lnTo>
                    <a:pt x="408" y="82"/>
                  </a:lnTo>
                  <a:lnTo>
                    <a:pt x="408" y="79"/>
                  </a:lnTo>
                  <a:lnTo>
                    <a:pt x="413" y="79"/>
                  </a:lnTo>
                  <a:close/>
                  <a:moveTo>
                    <a:pt x="66" y="81"/>
                  </a:moveTo>
                  <a:lnTo>
                    <a:pt x="65" y="84"/>
                  </a:lnTo>
                  <a:lnTo>
                    <a:pt x="66" y="86"/>
                  </a:lnTo>
                  <a:lnTo>
                    <a:pt x="68" y="84"/>
                  </a:lnTo>
                  <a:lnTo>
                    <a:pt x="70" y="86"/>
                  </a:lnTo>
                  <a:lnTo>
                    <a:pt x="71" y="86"/>
                  </a:lnTo>
                  <a:lnTo>
                    <a:pt x="73" y="87"/>
                  </a:lnTo>
                  <a:lnTo>
                    <a:pt x="75" y="84"/>
                  </a:lnTo>
                  <a:lnTo>
                    <a:pt x="75" y="87"/>
                  </a:lnTo>
                  <a:lnTo>
                    <a:pt x="78" y="86"/>
                  </a:lnTo>
                  <a:lnTo>
                    <a:pt x="78" y="92"/>
                  </a:lnTo>
                  <a:lnTo>
                    <a:pt x="76" y="89"/>
                  </a:lnTo>
                  <a:lnTo>
                    <a:pt x="75" y="91"/>
                  </a:lnTo>
                  <a:lnTo>
                    <a:pt x="76" y="98"/>
                  </a:lnTo>
                  <a:lnTo>
                    <a:pt x="78" y="99"/>
                  </a:lnTo>
                  <a:lnTo>
                    <a:pt x="71" y="99"/>
                  </a:lnTo>
                  <a:lnTo>
                    <a:pt x="71" y="98"/>
                  </a:lnTo>
                  <a:lnTo>
                    <a:pt x="70" y="96"/>
                  </a:lnTo>
                  <a:lnTo>
                    <a:pt x="66" y="99"/>
                  </a:lnTo>
                  <a:lnTo>
                    <a:pt x="63" y="99"/>
                  </a:lnTo>
                  <a:lnTo>
                    <a:pt x="65" y="103"/>
                  </a:lnTo>
                  <a:lnTo>
                    <a:pt x="68" y="101"/>
                  </a:lnTo>
                  <a:lnTo>
                    <a:pt x="66" y="106"/>
                  </a:lnTo>
                  <a:lnTo>
                    <a:pt x="63" y="104"/>
                  </a:lnTo>
                  <a:lnTo>
                    <a:pt x="61" y="108"/>
                  </a:lnTo>
                  <a:lnTo>
                    <a:pt x="63" y="111"/>
                  </a:lnTo>
                  <a:lnTo>
                    <a:pt x="63" y="116"/>
                  </a:lnTo>
                  <a:lnTo>
                    <a:pt x="65" y="115"/>
                  </a:lnTo>
                  <a:lnTo>
                    <a:pt x="61" y="118"/>
                  </a:lnTo>
                  <a:lnTo>
                    <a:pt x="58" y="113"/>
                  </a:lnTo>
                  <a:lnTo>
                    <a:pt x="54" y="115"/>
                  </a:lnTo>
                  <a:lnTo>
                    <a:pt x="53" y="113"/>
                  </a:lnTo>
                  <a:lnTo>
                    <a:pt x="58" y="110"/>
                  </a:lnTo>
                  <a:lnTo>
                    <a:pt x="58" y="104"/>
                  </a:lnTo>
                  <a:lnTo>
                    <a:pt x="56" y="101"/>
                  </a:lnTo>
                  <a:lnTo>
                    <a:pt x="54" y="103"/>
                  </a:lnTo>
                  <a:lnTo>
                    <a:pt x="56" y="99"/>
                  </a:lnTo>
                  <a:lnTo>
                    <a:pt x="54" y="98"/>
                  </a:lnTo>
                  <a:lnTo>
                    <a:pt x="56" y="94"/>
                  </a:lnTo>
                  <a:lnTo>
                    <a:pt x="59" y="94"/>
                  </a:lnTo>
                  <a:lnTo>
                    <a:pt x="59" y="91"/>
                  </a:lnTo>
                  <a:lnTo>
                    <a:pt x="61" y="91"/>
                  </a:lnTo>
                  <a:lnTo>
                    <a:pt x="58" y="87"/>
                  </a:lnTo>
                  <a:lnTo>
                    <a:pt x="63" y="86"/>
                  </a:lnTo>
                  <a:lnTo>
                    <a:pt x="59" y="84"/>
                  </a:lnTo>
                  <a:lnTo>
                    <a:pt x="59" y="81"/>
                  </a:lnTo>
                  <a:lnTo>
                    <a:pt x="63" y="81"/>
                  </a:lnTo>
                  <a:lnTo>
                    <a:pt x="63" y="79"/>
                  </a:lnTo>
                  <a:lnTo>
                    <a:pt x="66" y="81"/>
                  </a:lnTo>
                  <a:close/>
                  <a:moveTo>
                    <a:pt x="592" y="79"/>
                  </a:moveTo>
                  <a:lnTo>
                    <a:pt x="594" y="79"/>
                  </a:lnTo>
                  <a:lnTo>
                    <a:pt x="594" y="81"/>
                  </a:lnTo>
                  <a:lnTo>
                    <a:pt x="592" y="81"/>
                  </a:lnTo>
                  <a:lnTo>
                    <a:pt x="592" y="79"/>
                  </a:lnTo>
                  <a:close/>
                  <a:moveTo>
                    <a:pt x="507" y="79"/>
                  </a:moveTo>
                  <a:lnTo>
                    <a:pt x="507" y="81"/>
                  </a:lnTo>
                  <a:lnTo>
                    <a:pt x="505" y="82"/>
                  </a:lnTo>
                  <a:lnTo>
                    <a:pt x="496" y="86"/>
                  </a:lnTo>
                  <a:lnTo>
                    <a:pt x="490" y="84"/>
                  </a:lnTo>
                  <a:lnTo>
                    <a:pt x="484" y="89"/>
                  </a:lnTo>
                  <a:lnTo>
                    <a:pt x="481" y="94"/>
                  </a:lnTo>
                  <a:lnTo>
                    <a:pt x="479" y="99"/>
                  </a:lnTo>
                  <a:lnTo>
                    <a:pt x="476" y="101"/>
                  </a:lnTo>
                  <a:lnTo>
                    <a:pt x="473" y="99"/>
                  </a:lnTo>
                  <a:lnTo>
                    <a:pt x="471" y="98"/>
                  </a:lnTo>
                  <a:lnTo>
                    <a:pt x="473" y="91"/>
                  </a:lnTo>
                  <a:lnTo>
                    <a:pt x="481" y="86"/>
                  </a:lnTo>
                  <a:lnTo>
                    <a:pt x="481" y="82"/>
                  </a:lnTo>
                  <a:lnTo>
                    <a:pt x="484" y="79"/>
                  </a:lnTo>
                  <a:lnTo>
                    <a:pt x="490" y="81"/>
                  </a:lnTo>
                  <a:lnTo>
                    <a:pt x="493" y="79"/>
                  </a:lnTo>
                  <a:lnTo>
                    <a:pt x="502" y="79"/>
                  </a:lnTo>
                  <a:lnTo>
                    <a:pt x="507" y="79"/>
                  </a:lnTo>
                  <a:close/>
                  <a:moveTo>
                    <a:pt x="428" y="77"/>
                  </a:moveTo>
                  <a:lnTo>
                    <a:pt x="430" y="77"/>
                  </a:lnTo>
                  <a:lnTo>
                    <a:pt x="430" y="79"/>
                  </a:lnTo>
                  <a:lnTo>
                    <a:pt x="426" y="79"/>
                  </a:lnTo>
                  <a:lnTo>
                    <a:pt x="428" y="77"/>
                  </a:lnTo>
                  <a:close/>
                  <a:moveTo>
                    <a:pt x="112" y="72"/>
                  </a:moveTo>
                  <a:lnTo>
                    <a:pt x="114" y="72"/>
                  </a:lnTo>
                  <a:lnTo>
                    <a:pt x="112" y="75"/>
                  </a:lnTo>
                  <a:lnTo>
                    <a:pt x="109" y="74"/>
                  </a:lnTo>
                  <a:lnTo>
                    <a:pt x="112" y="72"/>
                  </a:lnTo>
                  <a:close/>
                  <a:moveTo>
                    <a:pt x="587" y="75"/>
                  </a:moveTo>
                  <a:lnTo>
                    <a:pt x="583" y="75"/>
                  </a:lnTo>
                  <a:lnTo>
                    <a:pt x="585" y="70"/>
                  </a:lnTo>
                  <a:lnTo>
                    <a:pt x="587" y="72"/>
                  </a:lnTo>
                  <a:lnTo>
                    <a:pt x="587" y="75"/>
                  </a:lnTo>
                  <a:close/>
                  <a:moveTo>
                    <a:pt x="131" y="69"/>
                  </a:moveTo>
                  <a:lnTo>
                    <a:pt x="133" y="69"/>
                  </a:lnTo>
                  <a:lnTo>
                    <a:pt x="133" y="72"/>
                  </a:lnTo>
                  <a:lnTo>
                    <a:pt x="131" y="72"/>
                  </a:lnTo>
                  <a:lnTo>
                    <a:pt x="131" y="69"/>
                  </a:lnTo>
                  <a:close/>
                  <a:moveTo>
                    <a:pt x="601" y="70"/>
                  </a:moveTo>
                  <a:lnTo>
                    <a:pt x="599" y="74"/>
                  </a:lnTo>
                  <a:lnTo>
                    <a:pt x="595" y="72"/>
                  </a:lnTo>
                  <a:lnTo>
                    <a:pt x="597" y="70"/>
                  </a:lnTo>
                  <a:lnTo>
                    <a:pt x="601" y="70"/>
                  </a:lnTo>
                  <a:close/>
                  <a:moveTo>
                    <a:pt x="406" y="69"/>
                  </a:moveTo>
                  <a:lnTo>
                    <a:pt x="404" y="72"/>
                  </a:lnTo>
                  <a:lnTo>
                    <a:pt x="401" y="72"/>
                  </a:lnTo>
                  <a:lnTo>
                    <a:pt x="406" y="69"/>
                  </a:lnTo>
                  <a:close/>
                  <a:moveTo>
                    <a:pt x="145" y="67"/>
                  </a:moveTo>
                  <a:lnTo>
                    <a:pt x="146" y="69"/>
                  </a:lnTo>
                  <a:lnTo>
                    <a:pt x="143" y="69"/>
                  </a:lnTo>
                  <a:lnTo>
                    <a:pt x="145" y="67"/>
                  </a:lnTo>
                  <a:close/>
                  <a:moveTo>
                    <a:pt x="333" y="62"/>
                  </a:moveTo>
                  <a:lnTo>
                    <a:pt x="336" y="63"/>
                  </a:lnTo>
                  <a:lnTo>
                    <a:pt x="338" y="67"/>
                  </a:lnTo>
                  <a:lnTo>
                    <a:pt x="334" y="70"/>
                  </a:lnTo>
                  <a:lnTo>
                    <a:pt x="329" y="67"/>
                  </a:lnTo>
                  <a:lnTo>
                    <a:pt x="331" y="63"/>
                  </a:lnTo>
                  <a:lnTo>
                    <a:pt x="333" y="62"/>
                  </a:lnTo>
                  <a:close/>
                  <a:moveTo>
                    <a:pt x="650" y="60"/>
                  </a:moveTo>
                  <a:lnTo>
                    <a:pt x="652" y="62"/>
                  </a:lnTo>
                  <a:lnTo>
                    <a:pt x="650" y="65"/>
                  </a:lnTo>
                  <a:lnTo>
                    <a:pt x="647" y="65"/>
                  </a:lnTo>
                  <a:lnTo>
                    <a:pt x="645" y="63"/>
                  </a:lnTo>
                  <a:lnTo>
                    <a:pt x="650" y="60"/>
                  </a:lnTo>
                  <a:close/>
                  <a:moveTo>
                    <a:pt x="513" y="55"/>
                  </a:moveTo>
                  <a:lnTo>
                    <a:pt x="513" y="57"/>
                  </a:lnTo>
                  <a:lnTo>
                    <a:pt x="517" y="55"/>
                  </a:lnTo>
                  <a:lnTo>
                    <a:pt x="519" y="57"/>
                  </a:lnTo>
                  <a:lnTo>
                    <a:pt x="527" y="58"/>
                  </a:lnTo>
                  <a:lnTo>
                    <a:pt x="524" y="63"/>
                  </a:lnTo>
                  <a:lnTo>
                    <a:pt x="524" y="70"/>
                  </a:lnTo>
                  <a:lnTo>
                    <a:pt x="522" y="74"/>
                  </a:lnTo>
                  <a:lnTo>
                    <a:pt x="515" y="75"/>
                  </a:lnTo>
                  <a:lnTo>
                    <a:pt x="508" y="74"/>
                  </a:lnTo>
                  <a:lnTo>
                    <a:pt x="500" y="75"/>
                  </a:lnTo>
                  <a:lnTo>
                    <a:pt x="496" y="75"/>
                  </a:lnTo>
                  <a:lnTo>
                    <a:pt x="495" y="77"/>
                  </a:lnTo>
                  <a:lnTo>
                    <a:pt x="493" y="75"/>
                  </a:lnTo>
                  <a:lnTo>
                    <a:pt x="488" y="77"/>
                  </a:lnTo>
                  <a:lnTo>
                    <a:pt x="488" y="72"/>
                  </a:lnTo>
                  <a:lnTo>
                    <a:pt x="491" y="63"/>
                  </a:lnTo>
                  <a:lnTo>
                    <a:pt x="500" y="58"/>
                  </a:lnTo>
                  <a:lnTo>
                    <a:pt x="505" y="55"/>
                  </a:lnTo>
                  <a:lnTo>
                    <a:pt x="508" y="57"/>
                  </a:lnTo>
                  <a:lnTo>
                    <a:pt x="513" y="55"/>
                  </a:lnTo>
                  <a:close/>
                  <a:moveTo>
                    <a:pt x="616" y="53"/>
                  </a:moveTo>
                  <a:lnTo>
                    <a:pt x="618" y="53"/>
                  </a:lnTo>
                  <a:lnTo>
                    <a:pt x="618" y="55"/>
                  </a:lnTo>
                  <a:lnTo>
                    <a:pt x="616" y="55"/>
                  </a:lnTo>
                  <a:lnTo>
                    <a:pt x="616" y="53"/>
                  </a:lnTo>
                  <a:close/>
                  <a:moveTo>
                    <a:pt x="611" y="53"/>
                  </a:moveTo>
                  <a:lnTo>
                    <a:pt x="613" y="53"/>
                  </a:lnTo>
                  <a:lnTo>
                    <a:pt x="613" y="55"/>
                  </a:lnTo>
                  <a:lnTo>
                    <a:pt x="611" y="55"/>
                  </a:lnTo>
                  <a:lnTo>
                    <a:pt x="611" y="53"/>
                  </a:lnTo>
                  <a:close/>
                  <a:moveTo>
                    <a:pt x="650" y="51"/>
                  </a:moveTo>
                  <a:lnTo>
                    <a:pt x="652" y="51"/>
                  </a:lnTo>
                  <a:lnTo>
                    <a:pt x="652" y="55"/>
                  </a:lnTo>
                  <a:lnTo>
                    <a:pt x="650" y="55"/>
                  </a:lnTo>
                  <a:lnTo>
                    <a:pt x="650" y="51"/>
                  </a:lnTo>
                  <a:close/>
                  <a:moveTo>
                    <a:pt x="642" y="48"/>
                  </a:moveTo>
                  <a:lnTo>
                    <a:pt x="645" y="48"/>
                  </a:lnTo>
                  <a:lnTo>
                    <a:pt x="647" y="51"/>
                  </a:lnTo>
                  <a:lnTo>
                    <a:pt x="643" y="60"/>
                  </a:lnTo>
                  <a:lnTo>
                    <a:pt x="643" y="65"/>
                  </a:lnTo>
                  <a:lnTo>
                    <a:pt x="642" y="69"/>
                  </a:lnTo>
                  <a:lnTo>
                    <a:pt x="636" y="70"/>
                  </a:lnTo>
                  <a:lnTo>
                    <a:pt x="631" y="77"/>
                  </a:lnTo>
                  <a:lnTo>
                    <a:pt x="631" y="82"/>
                  </a:lnTo>
                  <a:lnTo>
                    <a:pt x="630" y="86"/>
                  </a:lnTo>
                  <a:lnTo>
                    <a:pt x="628" y="86"/>
                  </a:lnTo>
                  <a:lnTo>
                    <a:pt x="626" y="89"/>
                  </a:lnTo>
                  <a:lnTo>
                    <a:pt x="623" y="92"/>
                  </a:lnTo>
                  <a:lnTo>
                    <a:pt x="613" y="92"/>
                  </a:lnTo>
                  <a:lnTo>
                    <a:pt x="614" y="86"/>
                  </a:lnTo>
                  <a:lnTo>
                    <a:pt x="611" y="77"/>
                  </a:lnTo>
                  <a:lnTo>
                    <a:pt x="606" y="77"/>
                  </a:lnTo>
                  <a:lnTo>
                    <a:pt x="601" y="82"/>
                  </a:lnTo>
                  <a:lnTo>
                    <a:pt x="597" y="81"/>
                  </a:lnTo>
                  <a:lnTo>
                    <a:pt x="601" y="75"/>
                  </a:lnTo>
                  <a:lnTo>
                    <a:pt x="602" y="69"/>
                  </a:lnTo>
                  <a:lnTo>
                    <a:pt x="607" y="67"/>
                  </a:lnTo>
                  <a:lnTo>
                    <a:pt x="614" y="62"/>
                  </a:lnTo>
                  <a:lnTo>
                    <a:pt x="618" y="65"/>
                  </a:lnTo>
                  <a:lnTo>
                    <a:pt x="618" y="72"/>
                  </a:lnTo>
                  <a:lnTo>
                    <a:pt x="618" y="70"/>
                  </a:lnTo>
                  <a:lnTo>
                    <a:pt x="619" y="74"/>
                  </a:lnTo>
                  <a:lnTo>
                    <a:pt x="621" y="74"/>
                  </a:lnTo>
                  <a:lnTo>
                    <a:pt x="619" y="70"/>
                  </a:lnTo>
                  <a:lnTo>
                    <a:pt x="626" y="65"/>
                  </a:lnTo>
                  <a:lnTo>
                    <a:pt x="630" y="60"/>
                  </a:lnTo>
                  <a:lnTo>
                    <a:pt x="631" y="60"/>
                  </a:lnTo>
                  <a:lnTo>
                    <a:pt x="635" y="53"/>
                  </a:lnTo>
                  <a:lnTo>
                    <a:pt x="636" y="50"/>
                  </a:lnTo>
                  <a:lnTo>
                    <a:pt x="642" y="48"/>
                  </a:lnTo>
                  <a:close/>
                  <a:moveTo>
                    <a:pt x="582" y="48"/>
                  </a:moveTo>
                  <a:lnTo>
                    <a:pt x="589" y="51"/>
                  </a:lnTo>
                  <a:lnTo>
                    <a:pt x="590" y="55"/>
                  </a:lnTo>
                  <a:lnTo>
                    <a:pt x="590" y="53"/>
                  </a:lnTo>
                  <a:lnTo>
                    <a:pt x="595" y="53"/>
                  </a:lnTo>
                  <a:lnTo>
                    <a:pt x="597" y="57"/>
                  </a:lnTo>
                  <a:lnTo>
                    <a:pt x="589" y="60"/>
                  </a:lnTo>
                  <a:lnTo>
                    <a:pt x="587" y="62"/>
                  </a:lnTo>
                  <a:lnTo>
                    <a:pt x="583" y="60"/>
                  </a:lnTo>
                  <a:lnTo>
                    <a:pt x="578" y="62"/>
                  </a:lnTo>
                  <a:lnTo>
                    <a:pt x="575" y="69"/>
                  </a:lnTo>
                  <a:lnTo>
                    <a:pt x="572" y="74"/>
                  </a:lnTo>
                  <a:lnTo>
                    <a:pt x="568" y="79"/>
                  </a:lnTo>
                  <a:lnTo>
                    <a:pt x="565" y="79"/>
                  </a:lnTo>
                  <a:lnTo>
                    <a:pt x="565" y="75"/>
                  </a:lnTo>
                  <a:lnTo>
                    <a:pt x="561" y="75"/>
                  </a:lnTo>
                  <a:lnTo>
                    <a:pt x="560" y="77"/>
                  </a:lnTo>
                  <a:lnTo>
                    <a:pt x="553" y="84"/>
                  </a:lnTo>
                  <a:lnTo>
                    <a:pt x="558" y="91"/>
                  </a:lnTo>
                  <a:lnTo>
                    <a:pt x="553" y="96"/>
                  </a:lnTo>
                  <a:lnTo>
                    <a:pt x="549" y="94"/>
                  </a:lnTo>
                  <a:lnTo>
                    <a:pt x="546" y="89"/>
                  </a:lnTo>
                  <a:lnTo>
                    <a:pt x="541" y="91"/>
                  </a:lnTo>
                  <a:lnTo>
                    <a:pt x="537" y="96"/>
                  </a:lnTo>
                  <a:lnTo>
                    <a:pt x="534" y="98"/>
                  </a:lnTo>
                  <a:lnTo>
                    <a:pt x="529" y="94"/>
                  </a:lnTo>
                  <a:lnTo>
                    <a:pt x="529" y="92"/>
                  </a:lnTo>
                  <a:lnTo>
                    <a:pt x="525" y="91"/>
                  </a:lnTo>
                  <a:lnTo>
                    <a:pt x="522" y="92"/>
                  </a:lnTo>
                  <a:lnTo>
                    <a:pt x="515" y="92"/>
                  </a:lnTo>
                  <a:lnTo>
                    <a:pt x="513" y="94"/>
                  </a:lnTo>
                  <a:lnTo>
                    <a:pt x="513" y="91"/>
                  </a:lnTo>
                  <a:lnTo>
                    <a:pt x="512" y="91"/>
                  </a:lnTo>
                  <a:lnTo>
                    <a:pt x="512" y="89"/>
                  </a:lnTo>
                  <a:lnTo>
                    <a:pt x="515" y="89"/>
                  </a:lnTo>
                  <a:lnTo>
                    <a:pt x="524" y="82"/>
                  </a:lnTo>
                  <a:lnTo>
                    <a:pt x="527" y="75"/>
                  </a:lnTo>
                  <a:lnTo>
                    <a:pt x="534" y="72"/>
                  </a:lnTo>
                  <a:lnTo>
                    <a:pt x="539" y="72"/>
                  </a:lnTo>
                  <a:lnTo>
                    <a:pt x="544" y="67"/>
                  </a:lnTo>
                  <a:lnTo>
                    <a:pt x="537" y="62"/>
                  </a:lnTo>
                  <a:lnTo>
                    <a:pt x="529" y="63"/>
                  </a:lnTo>
                  <a:lnTo>
                    <a:pt x="532" y="58"/>
                  </a:lnTo>
                  <a:lnTo>
                    <a:pt x="536" y="57"/>
                  </a:lnTo>
                  <a:lnTo>
                    <a:pt x="537" y="60"/>
                  </a:lnTo>
                  <a:lnTo>
                    <a:pt x="543" y="60"/>
                  </a:lnTo>
                  <a:lnTo>
                    <a:pt x="546" y="57"/>
                  </a:lnTo>
                  <a:lnTo>
                    <a:pt x="554" y="57"/>
                  </a:lnTo>
                  <a:lnTo>
                    <a:pt x="551" y="63"/>
                  </a:lnTo>
                  <a:lnTo>
                    <a:pt x="548" y="69"/>
                  </a:lnTo>
                  <a:lnTo>
                    <a:pt x="546" y="70"/>
                  </a:lnTo>
                  <a:lnTo>
                    <a:pt x="549" y="69"/>
                  </a:lnTo>
                  <a:lnTo>
                    <a:pt x="554" y="72"/>
                  </a:lnTo>
                  <a:lnTo>
                    <a:pt x="558" y="67"/>
                  </a:lnTo>
                  <a:lnTo>
                    <a:pt x="558" y="65"/>
                  </a:lnTo>
                  <a:lnTo>
                    <a:pt x="556" y="65"/>
                  </a:lnTo>
                  <a:lnTo>
                    <a:pt x="556" y="62"/>
                  </a:lnTo>
                  <a:lnTo>
                    <a:pt x="560" y="62"/>
                  </a:lnTo>
                  <a:lnTo>
                    <a:pt x="560" y="65"/>
                  </a:lnTo>
                  <a:lnTo>
                    <a:pt x="563" y="62"/>
                  </a:lnTo>
                  <a:lnTo>
                    <a:pt x="563" y="57"/>
                  </a:lnTo>
                  <a:lnTo>
                    <a:pt x="560" y="57"/>
                  </a:lnTo>
                  <a:lnTo>
                    <a:pt x="560" y="53"/>
                  </a:lnTo>
                  <a:lnTo>
                    <a:pt x="565" y="53"/>
                  </a:lnTo>
                  <a:lnTo>
                    <a:pt x="566" y="55"/>
                  </a:lnTo>
                  <a:lnTo>
                    <a:pt x="565" y="58"/>
                  </a:lnTo>
                  <a:lnTo>
                    <a:pt x="570" y="58"/>
                  </a:lnTo>
                  <a:lnTo>
                    <a:pt x="573" y="57"/>
                  </a:lnTo>
                  <a:lnTo>
                    <a:pt x="572" y="53"/>
                  </a:lnTo>
                  <a:lnTo>
                    <a:pt x="573" y="53"/>
                  </a:lnTo>
                  <a:lnTo>
                    <a:pt x="582" y="48"/>
                  </a:lnTo>
                  <a:close/>
                  <a:moveTo>
                    <a:pt x="676" y="43"/>
                  </a:moveTo>
                  <a:lnTo>
                    <a:pt x="679" y="43"/>
                  </a:lnTo>
                  <a:lnTo>
                    <a:pt x="677" y="50"/>
                  </a:lnTo>
                  <a:lnTo>
                    <a:pt x="679" y="51"/>
                  </a:lnTo>
                  <a:lnTo>
                    <a:pt x="688" y="46"/>
                  </a:lnTo>
                  <a:lnTo>
                    <a:pt x="696" y="45"/>
                  </a:lnTo>
                  <a:lnTo>
                    <a:pt x="705" y="46"/>
                  </a:lnTo>
                  <a:lnTo>
                    <a:pt x="712" y="46"/>
                  </a:lnTo>
                  <a:lnTo>
                    <a:pt x="717" y="46"/>
                  </a:lnTo>
                  <a:lnTo>
                    <a:pt x="722" y="45"/>
                  </a:lnTo>
                  <a:lnTo>
                    <a:pt x="727" y="46"/>
                  </a:lnTo>
                  <a:lnTo>
                    <a:pt x="732" y="45"/>
                  </a:lnTo>
                  <a:lnTo>
                    <a:pt x="737" y="45"/>
                  </a:lnTo>
                  <a:lnTo>
                    <a:pt x="741" y="48"/>
                  </a:lnTo>
                  <a:lnTo>
                    <a:pt x="744" y="55"/>
                  </a:lnTo>
                  <a:lnTo>
                    <a:pt x="742" y="62"/>
                  </a:lnTo>
                  <a:lnTo>
                    <a:pt x="744" y="65"/>
                  </a:lnTo>
                  <a:lnTo>
                    <a:pt x="741" y="69"/>
                  </a:lnTo>
                  <a:lnTo>
                    <a:pt x="734" y="70"/>
                  </a:lnTo>
                  <a:lnTo>
                    <a:pt x="727" y="70"/>
                  </a:lnTo>
                  <a:lnTo>
                    <a:pt x="723" y="70"/>
                  </a:lnTo>
                  <a:lnTo>
                    <a:pt x="713" y="70"/>
                  </a:lnTo>
                  <a:lnTo>
                    <a:pt x="706" y="74"/>
                  </a:lnTo>
                  <a:lnTo>
                    <a:pt x="701" y="75"/>
                  </a:lnTo>
                  <a:lnTo>
                    <a:pt x="693" y="75"/>
                  </a:lnTo>
                  <a:lnTo>
                    <a:pt x="686" y="74"/>
                  </a:lnTo>
                  <a:lnTo>
                    <a:pt x="677" y="79"/>
                  </a:lnTo>
                  <a:lnTo>
                    <a:pt x="672" y="81"/>
                  </a:lnTo>
                  <a:lnTo>
                    <a:pt x="667" y="77"/>
                  </a:lnTo>
                  <a:lnTo>
                    <a:pt x="659" y="82"/>
                  </a:lnTo>
                  <a:lnTo>
                    <a:pt x="657" y="82"/>
                  </a:lnTo>
                  <a:lnTo>
                    <a:pt x="657" y="79"/>
                  </a:lnTo>
                  <a:lnTo>
                    <a:pt x="650" y="81"/>
                  </a:lnTo>
                  <a:lnTo>
                    <a:pt x="647" y="77"/>
                  </a:lnTo>
                  <a:lnTo>
                    <a:pt x="648" y="74"/>
                  </a:lnTo>
                  <a:lnTo>
                    <a:pt x="655" y="67"/>
                  </a:lnTo>
                  <a:lnTo>
                    <a:pt x="655" y="62"/>
                  </a:lnTo>
                  <a:lnTo>
                    <a:pt x="664" y="58"/>
                  </a:lnTo>
                  <a:lnTo>
                    <a:pt x="667" y="58"/>
                  </a:lnTo>
                  <a:lnTo>
                    <a:pt x="674" y="53"/>
                  </a:lnTo>
                  <a:lnTo>
                    <a:pt x="667" y="53"/>
                  </a:lnTo>
                  <a:lnTo>
                    <a:pt x="667" y="55"/>
                  </a:lnTo>
                  <a:lnTo>
                    <a:pt x="665" y="55"/>
                  </a:lnTo>
                  <a:lnTo>
                    <a:pt x="657" y="60"/>
                  </a:lnTo>
                  <a:lnTo>
                    <a:pt x="655" y="60"/>
                  </a:lnTo>
                  <a:lnTo>
                    <a:pt x="655" y="53"/>
                  </a:lnTo>
                  <a:lnTo>
                    <a:pt x="660" y="45"/>
                  </a:lnTo>
                  <a:lnTo>
                    <a:pt x="664" y="43"/>
                  </a:lnTo>
                  <a:lnTo>
                    <a:pt x="671" y="41"/>
                  </a:lnTo>
                  <a:lnTo>
                    <a:pt x="676" y="43"/>
                  </a:lnTo>
                  <a:close/>
                  <a:moveTo>
                    <a:pt x="380" y="40"/>
                  </a:moveTo>
                  <a:lnTo>
                    <a:pt x="384" y="40"/>
                  </a:lnTo>
                  <a:lnTo>
                    <a:pt x="384" y="41"/>
                  </a:lnTo>
                  <a:lnTo>
                    <a:pt x="380" y="41"/>
                  </a:lnTo>
                  <a:lnTo>
                    <a:pt x="380" y="40"/>
                  </a:lnTo>
                  <a:close/>
                  <a:moveTo>
                    <a:pt x="474" y="36"/>
                  </a:moveTo>
                  <a:lnTo>
                    <a:pt x="474" y="38"/>
                  </a:lnTo>
                  <a:lnTo>
                    <a:pt x="479" y="40"/>
                  </a:lnTo>
                  <a:lnTo>
                    <a:pt x="484" y="43"/>
                  </a:lnTo>
                  <a:lnTo>
                    <a:pt x="484" y="50"/>
                  </a:lnTo>
                  <a:lnTo>
                    <a:pt x="483" y="51"/>
                  </a:lnTo>
                  <a:lnTo>
                    <a:pt x="484" y="53"/>
                  </a:lnTo>
                  <a:lnTo>
                    <a:pt x="486" y="57"/>
                  </a:lnTo>
                  <a:lnTo>
                    <a:pt x="490" y="60"/>
                  </a:lnTo>
                  <a:lnTo>
                    <a:pt x="490" y="65"/>
                  </a:lnTo>
                  <a:lnTo>
                    <a:pt x="483" y="69"/>
                  </a:lnTo>
                  <a:lnTo>
                    <a:pt x="478" y="67"/>
                  </a:lnTo>
                  <a:lnTo>
                    <a:pt x="473" y="74"/>
                  </a:lnTo>
                  <a:lnTo>
                    <a:pt x="474" y="77"/>
                  </a:lnTo>
                  <a:lnTo>
                    <a:pt x="474" y="81"/>
                  </a:lnTo>
                  <a:lnTo>
                    <a:pt x="471" y="82"/>
                  </a:lnTo>
                  <a:lnTo>
                    <a:pt x="461" y="77"/>
                  </a:lnTo>
                  <a:lnTo>
                    <a:pt x="462" y="84"/>
                  </a:lnTo>
                  <a:lnTo>
                    <a:pt x="469" y="92"/>
                  </a:lnTo>
                  <a:lnTo>
                    <a:pt x="467" y="98"/>
                  </a:lnTo>
                  <a:lnTo>
                    <a:pt x="461" y="101"/>
                  </a:lnTo>
                  <a:lnTo>
                    <a:pt x="455" y="99"/>
                  </a:lnTo>
                  <a:lnTo>
                    <a:pt x="454" y="103"/>
                  </a:lnTo>
                  <a:lnTo>
                    <a:pt x="449" y="101"/>
                  </a:lnTo>
                  <a:lnTo>
                    <a:pt x="442" y="106"/>
                  </a:lnTo>
                  <a:lnTo>
                    <a:pt x="433" y="106"/>
                  </a:lnTo>
                  <a:lnTo>
                    <a:pt x="432" y="111"/>
                  </a:lnTo>
                  <a:lnTo>
                    <a:pt x="428" y="113"/>
                  </a:lnTo>
                  <a:lnTo>
                    <a:pt x="421" y="115"/>
                  </a:lnTo>
                  <a:lnTo>
                    <a:pt x="413" y="118"/>
                  </a:lnTo>
                  <a:lnTo>
                    <a:pt x="404" y="116"/>
                  </a:lnTo>
                  <a:lnTo>
                    <a:pt x="401" y="118"/>
                  </a:lnTo>
                  <a:lnTo>
                    <a:pt x="396" y="116"/>
                  </a:lnTo>
                  <a:lnTo>
                    <a:pt x="391" y="116"/>
                  </a:lnTo>
                  <a:lnTo>
                    <a:pt x="389" y="115"/>
                  </a:lnTo>
                  <a:lnTo>
                    <a:pt x="380" y="115"/>
                  </a:lnTo>
                  <a:lnTo>
                    <a:pt x="377" y="116"/>
                  </a:lnTo>
                  <a:lnTo>
                    <a:pt x="370" y="123"/>
                  </a:lnTo>
                  <a:lnTo>
                    <a:pt x="368" y="123"/>
                  </a:lnTo>
                  <a:lnTo>
                    <a:pt x="367" y="123"/>
                  </a:lnTo>
                  <a:lnTo>
                    <a:pt x="358" y="127"/>
                  </a:lnTo>
                  <a:lnTo>
                    <a:pt x="351" y="127"/>
                  </a:lnTo>
                  <a:lnTo>
                    <a:pt x="350" y="128"/>
                  </a:lnTo>
                  <a:lnTo>
                    <a:pt x="341" y="133"/>
                  </a:lnTo>
                  <a:lnTo>
                    <a:pt x="336" y="132"/>
                  </a:lnTo>
                  <a:lnTo>
                    <a:pt x="327" y="128"/>
                  </a:lnTo>
                  <a:lnTo>
                    <a:pt x="327" y="130"/>
                  </a:lnTo>
                  <a:lnTo>
                    <a:pt x="327" y="133"/>
                  </a:lnTo>
                  <a:lnTo>
                    <a:pt x="324" y="135"/>
                  </a:lnTo>
                  <a:lnTo>
                    <a:pt x="322" y="133"/>
                  </a:lnTo>
                  <a:lnTo>
                    <a:pt x="324" y="128"/>
                  </a:lnTo>
                  <a:lnTo>
                    <a:pt x="319" y="123"/>
                  </a:lnTo>
                  <a:lnTo>
                    <a:pt x="312" y="125"/>
                  </a:lnTo>
                  <a:lnTo>
                    <a:pt x="305" y="123"/>
                  </a:lnTo>
                  <a:lnTo>
                    <a:pt x="304" y="123"/>
                  </a:lnTo>
                  <a:lnTo>
                    <a:pt x="295" y="122"/>
                  </a:lnTo>
                  <a:lnTo>
                    <a:pt x="292" y="125"/>
                  </a:lnTo>
                  <a:lnTo>
                    <a:pt x="292" y="133"/>
                  </a:lnTo>
                  <a:lnTo>
                    <a:pt x="288" y="135"/>
                  </a:lnTo>
                  <a:lnTo>
                    <a:pt x="283" y="137"/>
                  </a:lnTo>
                  <a:lnTo>
                    <a:pt x="280" y="133"/>
                  </a:lnTo>
                  <a:lnTo>
                    <a:pt x="278" y="135"/>
                  </a:lnTo>
                  <a:lnTo>
                    <a:pt x="268" y="133"/>
                  </a:lnTo>
                  <a:lnTo>
                    <a:pt x="268" y="135"/>
                  </a:lnTo>
                  <a:lnTo>
                    <a:pt x="264" y="135"/>
                  </a:lnTo>
                  <a:lnTo>
                    <a:pt x="256" y="139"/>
                  </a:lnTo>
                  <a:lnTo>
                    <a:pt x="254" y="140"/>
                  </a:lnTo>
                  <a:lnTo>
                    <a:pt x="251" y="142"/>
                  </a:lnTo>
                  <a:lnTo>
                    <a:pt x="247" y="142"/>
                  </a:lnTo>
                  <a:lnTo>
                    <a:pt x="239" y="139"/>
                  </a:lnTo>
                  <a:lnTo>
                    <a:pt x="232" y="133"/>
                  </a:lnTo>
                  <a:lnTo>
                    <a:pt x="228" y="127"/>
                  </a:lnTo>
                  <a:lnTo>
                    <a:pt x="223" y="128"/>
                  </a:lnTo>
                  <a:lnTo>
                    <a:pt x="222" y="132"/>
                  </a:lnTo>
                  <a:lnTo>
                    <a:pt x="218" y="133"/>
                  </a:lnTo>
                  <a:lnTo>
                    <a:pt x="210" y="132"/>
                  </a:lnTo>
                  <a:lnTo>
                    <a:pt x="205" y="132"/>
                  </a:lnTo>
                  <a:lnTo>
                    <a:pt x="199" y="125"/>
                  </a:lnTo>
                  <a:lnTo>
                    <a:pt x="193" y="125"/>
                  </a:lnTo>
                  <a:lnTo>
                    <a:pt x="187" y="125"/>
                  </a:lnTo>
                  <a:lnTo>
                    <a:pt x="181" y="125"/>
                  </a:lnTo>
                  <a:lnTo>
                    <a:pt x="175" y="127"/>
                  </a:lnTo>
                  <a:lnTo>
                    <a:pt x="172" y="125"/>
                  </a:lnTo>
                  <a:lnTo>
                    <a:pt x="165" y="130"/>
                  </a:lnTo>
                  <a:lnTo>
                    <a:pt x="164" y="128"/>
                  </a:lnTo>
                  <a:lnTo>
                    <a:pt x="162" y="130"/>
                  </a:lnTo>
                  <a:lnTo>
                    <a:pt x="153" y="127"/>
                  </a:lnTo>
                  <a:lnTo>
                    <a:pt x="148" y="122"/>
                  </a:lnTo>
                  <a:lnTo>
                    <a:pt x="143" y="122"/>
                  </a:lnTo>
                  <a:lnTo>
                    <a:pt x="143" y="120"/>
                  </a:lnTo>
                  <a:lnTo>
                    <a:pt x="143" y="122"/>
                  </a:lnTo>
                  <a:lnTo>
                    <a:pt x="145" y="122"/>
                  </a:lnTo>
                  <a:lnTo>
                    <a:pt x="135" y="125"/>
                  </a:lnTo>
                  <a:lnTo>
                    <a:pt x="124" y="127"/>
                  </a:lnTo>
                  <a:lnTo>
                    <a:pt x="121" y="125"/>
                  </a:lnTo>
                  <a:lnTo>
                    <a:pt x="119" y="128"/>
                  </a:lnTo>
                  <a:lnTo>
                    <a:pt x="117" y="128"/>
                  </a:lnTo>
                  <a:lnTo>
                    <a:pt x="119" y="130"/>
                  </a:lnTo>
                  <a:lnTo>
                    <a:pt x="117" y="132"/>
                  </a:lnTo>
                  <a:lnTo>
                    <a:pt x="114" y="130"/>
                  </a:lnTo>
                  <a:lnTo>
                    <a:pt x="116" y="125"/>
                  </a:lnTo>
                  <a:lnTo>
                    <a:pt x="112" y="125"/>
                  </a:lnTo>
                  <a:lnTo>
                    <a:pt x="109" y="123"/>
                  </a:lnTo>
                  <a:lnTo>
                    <a:pt x="107" y="122"/>
                  </a:lnTo>
                  <a:lnTo>
                    <a:pt x="104" y="118"/>
                  </a:lnTo>
                  <a:lnTo>
                    <a:pt x="106" y="118"/>
                  </a:lnTo>
                  <a:lnTo>
                    <a:pt x="104" y="116"/>
                  </a:lnTo>
                  <a:lnTo>
                    <a:pt x="106" y="115"/>
                  </a:lnTo>
                  <a:lnTo>
                    <a:pt x="104" y="110"/>
                  </a:lnTo>
                  <a:lnTo>
                    <a:pt x="106" y="108"/>
                  </a:lnTo>
                  <a:lnTo>
                    <a:pt x="106" y="99"/>
                  </a:lnTo>
                  <a:lnTo>
                    <a:pt x="104" y="98"/>
                  </a:lnTo>
                  <a:lnTo>
                    <a:pt x="107" y="94"/>
                  </a:lnTo>
                  <a:lnTo>
                    <a:pt x="107" y="92"/>
                  </a:lnTo>
                  <a:lnTo>
                    <a:pt x="111" y="91"/>
                  </a:lnTo>
                  <a:lnTo>
                    <a:pt x="114" y="87"/>
                  </a:lnTo>
                  <a:lnTo>
                    <a:pt x="114" y="84"/>
                  </a:lnTo>
                  <a:lnTo>
                    <a:pt x="111" y="79"/>
                  </a:lnTo>
                  <a:lnTo>
                    <a:pt x="114" y="79"/>
                  </a:lnTo>
                  <a:lnTo>
                    <a:pt x="114" y="81"/>
                  </a:lnTo>
                  <a:lnTo>
                    <a:pt x="116" y="81"/>
                  </a:lnTo>
                  <a:lnTo>
                    <a:pt x="114" y="82"/>
                  </a:lnTo>
                  <a:lnTo>
                    <a:pt x="117" y="84"/>
                  </a:lnTo>
                  <a:lnTo>
                    <a:pt x="124" y="81"/>
                  </a:lnTo>
                  <a:lnTo>
                    <a:pt x="124" y="79"/>
                  </a:lnTo>
                  <a:lnTo>
                    <a:pt x="128" y="82"/>
                  </a:lnTo>
                  <a:lnTo>
                    <a:pt x="131" y="81"/>
                  </a:lnTo>
                  <a:lnTo>
                    <a:pt x="128" y="77"/>
                  </a:lnTo>
                  <a:lnTo>
                    <a:pt x="131" y="77"/>
                  </a:lnTo>
                  <a:lnTo>
                    <a:pt x="131" y="74"/>
                  </a:lnTo>
                  <a:lnTo>
                    <a:pt x="135" y="74"/>
                  </a:lnTo>
                  <a:lnTo>
                    <a:pt x="135" y="75"/>
                  </a:lnTo>
                  <a:lnTo>
                    <a:pt x="138" y="72"/>
                  </a:lnTo>
                  <a:lnTo>
                    <a:pt x="135" y="75"/>
                  </a:lnTo>
                  <a:lnTo>
                    <a:pt x="140" y="74"/>
                  </a:lnTo>
                  <a:lnTo>
                    <a:pt x="138" y="77"/>
                  </a:lnTo>
                  <a:lnTo>
                    <a:pt x="140" y="77"/>
                  </a:lnTo>
                  <a:lnTo>
                    <a:pt x="140" y="79"/>
                  </a:lnTo>
                  <a:lnTo>
                    <a:pt x="141" y="81"/>
                  </a:lnTo>
                  <a:lnTo>
                    <a:pt x="143" y="77"/>
                  </a:lnTo>
                  <a:lnTo>
                    <a:pt x="143" y="70"/>
                  </a:lnTo>
                  <a:lnTo>
                    <a:pt x="146" y="70"/>
                  </a:lnTo>
                  <a:lnTo>
                    <a:pt x="146" y="72"/>
                  </a:lnTo>
                  <a:lnTo>
                    <a:pt x="148" y="72"/>
                  </a:lnTo>
                  <a:lnTo>
                    <a:pt x="153" y="63"/>
                  </a:lnTo>
                  <a:lnTo>
                    <a:pt x="157" y="63"/>
                  </a:lnTo>
                  <a:lnTo>
                    <a:pt x="160" y="62"/>
                  </a:lnTo>
                  <a:lnTo>
                    <a:pt x="169" y="60"/>
                  </a:lnTo>
                  <a:lnTo>
                    <a:pt x="172" y="62"/>
                  </a:lnTo>
                  <a:lnTo>
                    <a:pt x="177" y="60"/>
                  </a:lnTo>
                  <a:lnTo>
                    <a:pt x="181" y="57"/>
                  </a:lnTo>
                  <a:lnTo>
                    <a:pt x="184" y="62"/>
                  </a:lnTo>
                  <a:lnTo>
                    <a:pt x="187" y="62"/>
                  </a:lnTo>
                  <a:lnTo>
                    <a:pt x="193" y="60"/>
                  </a:lnTo>
                  <a:lnTo>
                    <a:pt x="196" y="63"/>
                  </a:lnTo>
                  <a:lnTo>
                    <a:pt x="199" y="63"/>
                  </a:lnTo>
                  <a:lnTo>
                    <a:pt x="201" y="60"/>
                  </a:lnTo>
                  <a:lnTo>
                    <a:pt x="199" y="58"/>
                  </a:lnTo>
                  <a:lnTo>
                    <a:pt x="201" y="58"/>
                  </a:lnTo>
                  <a:lnTo>
                    <a:pt x="208" y="62"/>
                  </a:lnTo>
                  <a:lnTo>
                    <a:pt x="210" y="65"/>
                  </a:lnTo>
                  <a:lnTo>
                    <a:pt x="215" y="67"/>
                  </a:lnTo>
                  <a:lnTo>
                    <a:pt x="216" y="69"/>
                  </a:lnTo>
                  <a:lnTo>
                    <a:pt x="225" y="67"/>
                  </a:lnTo>
                  <a:lnTo>
                    <a:pt x="230" y="70"/>
                  </a:lnTo>
                  <a:lnTo>
                    <a:pt x="234" y="69"/>
                  </a:lnTo>
                  <a:lnTo>
                    <a:pt x="235" y="72"/>
                  </a:lnTo>
                  <a:lnTo>
                    <a:pt x="235" y="70"/>
                  </a:lnTo>
                  <a:lnTo>
                    <a:pt x="240" y="69"/>
                  </a:lnTo>
                  <a:lnTo>
                    <a:pt x="242" y="72"/>
                  </a:lnTo>
                  <a:lnTo>
                    <a:pt x="242" y="69"/>
                  </a:lnTo>
                  <a:lnTo>
                    <a:pt x="245" y="69"/>
                  </a:lnTo>
                  <a:lnTo>
                    <a:pt x="245" y="72"/>
                  </a:lnTo>
                  <a:lnTo>
                    <a:pt x="244" y="72"/>
                  </a:lnTo>
                  <a:lnTo>
                    <a:pt x="247" y="74"/>
                  </a:lnTo>
                  <a:lnTo>
                    <a:pt x="247" y="72"/>
                  </a:lnTo>
                  <a:lnTo>
                    <a:pt x="251" y="72"/>
                  </a:lnTo>
                  <a:lnTo>
                    <a:pt x="249" y="74"/>
                  </a:lnTo>
                  <a:lnTo>
                    <a:pt x="252" y="75"/>
                  </a:lnTo>
                  <a:lnTo>
                    <a:pt x="251" y="75"/>
                  </a:lnTo>
                  <a:lnTo>
                    <a:pt x="251" y="77"/>
                  </a:lnTo>
                  <a:lnTo>
                    <a:pt x="256" y="77"/>
                  </a:lnTo>
                  <a:lnTo>
                    <a:pt x="266" y="79"/>
                  </a:lnTo>
                  <a:lnTo>
                    <a:pt x="268" y="81"/>
                  </a:lnTo>
                  <a:lnTo>
                    <a:pt x="271" y="79"/>
                  </a:lnTo>
                  <a:lnTo>
                    <a:pt x="276" y="84"/>
                  </a:lnTo>
                  <a:lnTo>
                    <a:pt x="280" y="82"/>
                  </a:lnTo>
                  <a:lnTo>
                    <a:pt x="285" y="86"/>
                  </a:lnTo>
                  <a:lnTo>
                    <a:pt x="288" y="91"/>
                  </a:lnTo>
                  <a:lnTo>
                    <a:pt x="292" y="94"/>
                  </a:lnTo>
                  <a:lnTo>
                    <a:pt x="297" y="96"/>
                  </a:lnTo>
                  <a:lnTo>
                    <a:pt x="298" y="98"/>
                  </a:lnTo>
                  <a:lnTo>
                    <a:pt x="304" y="94"/>
                  </a:lnTo>
                  <a:lnTo>
                    <a:pt x="305" y="94"/>
                  </a:lnTo>
                  <a:lnTo>
                    <a:pt x="305" y="96"/>
                  </a:lnTo>
                  <a:lnTo>
                    <a:pt x="309" y="96"/>
                  </a:lnTo>
                  <a:lnTo>
                    <a:pt x="309" y="101"/>
                  </a:lnTo>
                  <a:lnTo>
                    <a:pt x="314" y="96"/>
                  </a:lnTo>
                  <a:lnTo>
                    <a:pt x="317" y="96"/>
                  </a:lnTo>
                  <a:lnTo>
                    <a:pt x="315" y="92"/>
                  </a:lnTo>
                  <a:lnTo>
                    <a:pt x="315" y="91"/>
                  </a:lnTo>
                  <a:lnTo>
                    <a:pt x="321" y="94"/>
                  </a:lnTo>
                  <a:lnTo>
                    <a:pt x="321" y="91"/>
                  </a:lnTo>
                  <a:lnTo>
                    <a:pt x="322" y="84"/>
                  </a:lnTo>
                  <a:lnTo>
                    <a:pt x="324" y="84"/>
                  </a:lnTo>
                  <a:lnTo>
                    <a:pt x="324" y="87"/>
                  </a:lnTo>
                  <a:lnTo>
                    <a:pt x="327" y="86"/>
                  </a:lnTo>
                  <a:lnTo>
                    <a:pt x="329" y="89"/>
                  </a:lnTo>
                  <a:lnTo>
                    <a:pt x="336" y="86"/>
                  </a:lnTo>
                  <a:lnTo>
                    <a:pt x="344" y="89"/>
                  </a:lnTo>
                  <a:lnTo>
                    <a:pt x="348" y="87"/>
                  </a:lnTo>
                  <a:lnTo>
                    <a:pt x="350" y="84"/>
                  </a:lnTo>
                  <a:lnTo>
                    <a:pt x="353" y="87"/>
                  </a:lnTo>
                  <a:lnTo>
                    <a:pt x="356" y="87"/>
                  </a:lnTo>
                  <a:lnTo>
                    <a:pt x="363" y="81"/>
                  </a:lnTo>
                  <a:lnTo>
                    <a:pt x="363" y="84"/>
                  </a:lnTo>
                  <a:lnTo>
                    <a:pt x="365" y="81"/>
                  </a:lnTo>
                  <a:lnTo>
                    <a:pt x="370" y="81"/>
                  </a:lnTo>
                  <a:lnTo>
                    <a:pt x="368" y="82"/>
                  </a:lnTo>
                  <a:lnTo>
                    <a:pt x="368" y="91"/>
                  </a:lnTo>
                  <a:lnTo>
                    <a:pt x="375" y="89"/>
                  </a:lnTo>
                  <a:lnTo>
                    <a:pt x="377" y="92"/>
                  </a:lnTo>
                  <a:lnTo>
                    <a:pt x="380" y="91"/>
                  </a:lnTo>
                  <a:lnTo>
                    <a:pt x="387" y="94"/>
                  </a:lnTo>
                  <a:lnTo>
                    <a:pt x="391" y="99"/>
                  </a:lnTo>
                  <a:lnTo>
                    <a:pt x="396" y="103"/>
                  </a:lnTo>
                  <a:lnTo>
                    <a:pt x="403" y="104"/>
                  </a:lnTo>
                  <a:lnTo>
                    <a:pt x="411" y="101"/>
                  </a:lnTo>
                  <a:lnTo>
                    <a:pt x="416" y="101"/>
                  </a:lnTo>
                  <a:lnTo>
                    <a:pt x="421" y="99"/>
                  </a:lnTo>
                  <a:lnTo>
                    <a:pt x="425" y="99"/>
                  </a:lnTo>
                  <a:lnTo>
                    <a:pt x="430" y="92"/>
                  </a:lnTo>
                  <a:lnTo>
                    <a:pt x="430" y="91"/>
                  </a:lnTo>
                  <a:lnTo>
                    <a:pt x="425" y="86"/>
                  </a:lnTo>
                  <a:lnTo>
                    <a:pt x="426" y="84"/>
                  </a:lnTo>
                  <a:lnTo>
                    <a:pt x="433" y="82"/>
                  </a:lnTo>
                  <a:lnTo>
                    <a:pt x="437" y="79"/>
                  </a:lnTo>
                  <a:lnTo>
                    <a:pt x="438" y="77"/>
                  </a:lnTo>
                  <a:lnTo>
                    <a:pt x="438" y="74"/>
                  </a:lnTo>
                  <a:lnTo>
                    <a:pt x="440" y="75"/>
                  </a:lnTo>
                  <a:lnTo>
                    <a:pt x="444" y="74"/>
                  </a:lnTo>
                  <a:lnTo>
                    <a:pt x="447" y="74"/>
                  </a:lnTo>
                  <a:lnTo>
                    <a:pt x="455" y="70"/>
                  </a:lnTo>
                  <a:lnTo>
                    <a:pt x="459" y="70"/>
                  </a:lnTo>
                  <a:lnTo>
                    <a:pt x="464" y="63"/>
                  </a:lnTo>
                  <a:lnTo>
                    <a:pt x="473" y="62"/>
                  </a:lnTo>
                  <a:lnTo>
                    <a:pt x="474" y="60"/>
                  </a:lnTo>
                  <a:lnTo>
                    <a:pt x="478" y="53"/>
                  </a:lnTo>
                  <a:lnTo>
                    <a:pt x="481" y="51"/>
                  </a:lnTo>
                  <a:lnTo>
                    <a:pt x="476" y="48"/>
                  </a:lnTo>
                  <a:lnTo>
                    <a:pt x="466" y="50"/>
                  </a:lnTo>
                  <a:lnTo>
                    <a:pt x="462" y="55"/>
                  </a:lnTo>
                  <a:lnTo>
                    <a:pt x="455" y="53"/>
                  </a:lnTo>
                  <a:lnTo>
                    <a:pt x="462" y="45"/>
                  </a:lnTo>
                  <a:lnTo>
                    <a:pt x="462" y="40"/>
                  </a:lnTo>
                  <a:lnTo>
                    <a:pt x="467" y="40"/>
                  </a:lnTo>
                  <a:lnTo>
                    <a:pt x="469" y="36"/>
                  </a:lnTo>
                  <a:lnTo>
                    <a:pt x="473" y="34"/>
                  </a:lnTo>
                  <a:lnTo>
                    <a:pt x="474" y="36"/>
                  </a:lnTo>
                  <a:close/>
                  <a:moveTo>
                    <a:pt x="558" y="0"/>
                  </a:moveTo>
                  <a:lnTo>
                    <a:pt x="560" y="0"/>
                  </a:lnTo>
                  <a:lnTo>
                    <a:pt x="560" y="4"/>
                  </a:lnTo>
                  <a:lnTo>
                    <a:pt x="556" y="2"/>
                  </a:lnTo>
                  <a:lnTo>
                    <a:pt x="558"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4" name="Freeform 62"/>
            <p:cNvSpPr>
              <a:spLocks noEditPoints="1"/>
            </p:cNvSpPr>
            <p:nvPr/>
          </p:nvSpPr>
          <p:spPr bwMode="gray">
            <a:xfrm>
              <a:off x="7580886" y="3753040"/>
              <a:ext cx="2008425" cy="1227676"/>
            </a:xfrm>
            <a:custGeom>
              <a:avLst/>
              <a:gdLst>
                <a:gd name="T0" fmla="*/ 365 w 1101"/>
                <a:gd name="T1" fmla="*/ 655 h 673"/>
                <a:gd name="T2" fmla="*/ 490 w 1101"/>
                <a:gd name="T3" fmla="*/ 657 h 673"/>
                <a:gd name="T4" fmla="*/ 633 w 1101"/>
                <a:gd name="T5" fmla="*/ 640 h 673"/>
                <a:gd name="T6" fmla="*/ 452 w 1101"/>
                <a:gd name="T7" fmla="*/ 613 h 673"/>
                <a:gd name="T8" fmla="*/ 632 w 1101"/>
                <a:gd name="T9" fmla="*/ 599 h 673"/>
                <a:gd name="T10" fmla="*/ 107 w 1101"/>
                <a:gd name="T11" fmla="*/ 579 h 673"/>
                <a:gd name="T12" fmla="*/ 7 w 1101"/>
                <a:gd name="T13" fmla="*/ 632 h 673"/>
                <a:gd name="T14" fmla="*/ 475 w 1101"/>
                <a:gd name="T15" fmla="*/ 577 h 673"/>
                <a:gd name="T16" fmla="*/ 625 w 1101"/>
                <a:gd name="T17" fmla="*/ 577 h 673"/>
                <a:gd name="T18" fmla="*/ 642 w 1101"/>
                <a:gd name="T19" fmla="*/ 568 h 673"/>
                <a:gd name="T20" fmla="*/ 340 w 1101"/>
                <a:gd name="T21" fmla="*/ 544 h 673"/>
                <a:gd name="T22" fmla="*/ 708 w 1101"/>
                <a:gd name="T23" fmla="*/ 553 h 673"/>
                <a:gd name="T24" fmla="*/ 667 w 1101"/>
                <a:gd name="T25" fmla="*/ 626 h 673"/>
                <a:gd name="T26" fmla="*/ 661 w 1101"/>
                <a:gd name="T27" fmla="*/ 597 h 673"/>
                <a:gd name="T28" fmla="*/ 693 w 1101"/>
                <a:gd name="T29" fmla="*/ 533 h 673"/>
                <a:gd name="T30" fmla="*/ 684 w 1101"/>
                <a:gd name="T31" fmla="*/ 522 h 673"/>
                <a:gd name="T32" fmla="*/ 741 w 1101"/>
                <a:gd name="T33" fmla="*/ 517 h 673"/>
                <a:gd name="T34" fmla="*/ 1070 w 1101"/>
                <a:gd name="T35" fmla="*/ 493 h 673"/>
                <a:gd name="T36" fmla="*/ 1048 w 1101"/>
                <a:gd name="T37" fmla="*/ 473 h 673"/>
                <a:gd name="T38" fmla="*/ 1084 w 1101"/>
                <a:gd name="T39" fmla="*/ 464 h 673"/>
                <a:gd name="T40" fmla="*/ 1062 w 1101"/>
                <a:gd name="T41" fmla="*/ 454 h 673"/>
                <a:gd name="T42" fmla="*/ 1070 w 1101"/>
                <a:gd name="T43" fmla="*/ 457 h 673"/>
                <a:gd name="T44" fmla="*/ 517 w 1101"/>
                <a:gd name="T45" fmla="*/ 430 h 673"/>
                <a:gd name="T46" fmla="*/ 1092 w 1101"/>
                <a:gd name="T47" fmla="*/ 428 h 673"/>
                <a:gd name="T48" fmla="*/ 1041 w 1101"/>
                <a:gd name="T49" fmla="*/ 423 h 673"/>
                <a:gd name="T50" fmla="*/ 1005 w 1101"/>
                <a:gd name="T51" fmla="*/ 411 h 673"/>
                <a:gd name="T52" fmla="*/ 1048 w 1101"/>
                <a:gd name="T53" fmla="*/ 471 h 673"/>
                <a:gd name="T54" fmla="*/ 1004 w 1101"/>
                <a:gd name="T55" fmla="*/ 451 h 673"/>
                <a:gd name="T56" fmla="*/ 1098 w 1101"/>
                <a:gd name="T57" fmla="*/ 410 h 673"/>
                <a:gd name="T58" fmla="*/ 1034 w 1101"/>
                <a:gd name="T59" fmla="*/ 432 h 673"/>
                <a:gd name="T60" fmla="*/ 1070 w 1101"/>
                <a:gd name="T61" fmla="*/ 387 h 673"/>
                <a:gd name="T62" fmla="*/ 1077 w 1101"/>
                <a:gd name="T63" fmla="*/ 428 h 673"/>
                <a:gd name="T64" fmla="*/ 1028 w 1101"/>
                <a:gd name="T65" fmla="*/ 399 h 673"/>
                <a:gd name="T66" fmla="*/ 826 w 1101"/>
                <a:gd name="T67" fmla="*/ 375 h 673"/>
                <a:gd name="T68" fmla="*/ 1021 w 1101"/>
                <a:gd name="T69" fmla="*/ 370 h 673"/>
                <a:gd name="T70" fmla="*/ 773 w 1101"/>
                <a:gd name="T71" fmla="*/ 360 h 673"/>
                <a:gd name="T72" fmla="*/ 845 w 1101"/>
                <a:gd name="T73" fmla="*/ 369 h 673"/>
                <a:gd name="T74" fmla="*/ 785 w 1101"/>
                <a:gd name="T75" fmla="*/ 341 h 673"/>
                <a:gd name="T76" fmla="*/ 1081 w 1101"/>
                <a:gd name="T77" fmla="*/ 353 h 673"/>
                <a:gd name="T78" fmla="*/ 1053 w 1101"/>
                <a:gd name="T79" fmla="*/ 338 h 673"/>
                <a:gd name="T80" fmla="*/ 1065 w 1101"/>
                <a:gd name="T81" fmla="*/ 384 h 673"/>
                <a:gd name="T82" fmla="*/ 1019 w 1101"/>
                <a:gd name="T83" fmla="*/ 358 h 673"/>
                <a:gd name="T84" fmla="*/ 847 w 1101"/>
                <a:gd name="T85" fmla="*/ 336 h 673"/>
                <a:gd name="T86" fmla="*/ 1074 w 1101"/>
                <a:gd name="T87" fmla="*/ 326 h 673"/>
                <a:gd name="T88" fmla="*/ 1057 w 1101"/>
                <a:gd name="T89" fmla="*/ 329 h 673"/>
                <a:gd name="T90" fmla="*/ 1063 w 1101"/>
                <a:gd name="T91" fmla="*/ 310 h 673"/>
                <a:gd name="T92" fmla="*/ 859 w 1101"/>
                <a:gd name="T93" fmla="*/ 374 h 673"/>
                <a:gd name="T94" fmla="*/ 478 w 1101"/>
                <a:gd name="T95" fmla="*/ 217 h 673"/>
                <a:gd name="T96" fmla="*/ 708 w 1101"/>
                <a:gd name="T97" fmla="*/ 201 h 673"/>
                <a:gd name="T98" fmla="*/ 181 w 1101"/>
                <a:gd name="T99" fmla="*/ 138 h 673"/>
                <a:gd name="T100" fmla="*/ 358 w 1101"/>
                <a:gd name="T101" fmla="*/ 97 h 673"/>
                <a:gd name="T102" fmla="*/ 287 w 1101"/>
                <a:gd name="T103" fmla="*/ 128 h 673"/>
                <a:gd name="T104" fmla="*/ 225 w 1101"/>
                <a:gd name="T105" fmla="*/ 73 h 673"/>
                <a:gd name="T106" fmla="*/ 145 w 1101"/>
                <a:gd name="T107" fmla="*/ 47 h 673"/>
                <a:gd name="T108" fmla="*/ 143 w 1101"/>
                <a:gd name="T109" fmla="*/ 126 h 673"/>
                <a:gd name="T110" fmla="*/ 46 w 1101"/>
                <a:gd name="T111" fmla="*/ 49 h 673"/>
                <a:gd name="T112" fmla="*/ 266 w 1101"/>
                <a:gd name="T113" fmla="*/ 25 h 673"/>
                <a:gd name="T114" fmla="*/ 585 w 1101"/>
                <a:gd name="T115" fmla="*/ 47 h 673"/>
                <a:gd name="T116" fmla="*/ 574 w 1101"/>
                <a:gd name="T117" fmla="*/ 117 h 673"/>
                <a:gd name="T118" fmla="*/ 416 w 1101"/>
                <a:gd name="T119" fmla="*/ 76 h 673"/>
                <a:gd name="T120" fmla="*/ 297 w 1101"/>
                <a:gd name="T121" fmla="*/ 56 h 673"/>
                <a:gd name="T122" fmla="*/ 276 w 1101"/>
                <a:gd name="T123" fmla="*/ 41 h 673"/>
                <a:gd name="T124" fmla="*/ 405 w 1101"/>
                <a:gd name="T125" fmla="*/ 2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1" h="673">
                  <a:moveTo>
                    <a:pt x="329" y="669"/>
                  </a:moveTo>
                  <a:lnTo>
                    <a:pt x="331" y="669"/>
                  </a:lnTo>
                  <a:lnTo>
                    <a:pt x="331" y="673"/>
                  </a:lnTo>
                  <a:lnTo>
                    <a:pt x="329" y="673"/>
                  </a:lnTo>
                  <a:lnTo>
                    <a:pt x="329" y="669"/>
                  </a:lnTo>
                  <a:close/>
                  <a:moveTo>
                    <a:pt x="294" y="655"/>
                  </a:moveTo>
                  <a:lnTo>
                    <a:pt x="299" y="657"/>
                  </a:lnTo>
                  <a:lnTo>
                    <a:pt x="299" y="664"/>
                  </a:lnTo>
                  <a:lnTo>
                    <a:pt x="288" y="664"/>
                  </a:lnTo>
                  <a:lnTo>
                    <a:pt x="280" y="662"/>
                  </a:lnTo>
                  <a:lnTo>
                    <a:pt x="282" y="655"/>
                  </a:lnTo>
                  <a:lnTo>
                    <a:pt x="290" y="657"/>
                  </a:lnTo>
                  <a:lnTo>
                    <a:pt x="294" y="655"/>
                  </a:lnTo>
                  <a:close/>
                  <a:moveTo>
                    <a:pt x="375" y="654"/>
                  </a:moveTo>
                  <a:lnTo>
                    <a:pt x="382" y="654"/>
                  </a:lnTo>
                  <a:lnTo>
                    <a:pt x="386" y="654"/>
                  </a:lnTo>
                  <a:lnTo>
                    <a:pt x="394" y="657"/>
                  </a:lnTo>
                  <a:lnTo>
                    <a:pt x="394" y="661"/>
                  </a:lnTo>
                  <a:lnTo>
                    <a:pt x="393" y="662"/>
                  </a:lnTo>
                  <a:lnTo>
                    <a:pt x="386" y="657"/>
                  </a:lnTo>
                  <a:lnTo>
                    <a:pt x="382" y="659"/>
                  </a:lnTo>
                  <a:lnTo>
                    <a:pt x="382" y="661"/>
                  </a:lnTo>
                  <a:lnTo>
                    <a:pt x="375" y="659"/>
                  </a:lnTo>
                  <a:lnTo>
                    <a:pt x="370" y="655"/>
                  </a:lnTo>
                  <a:lnTo>
                    <a:pt x="375" y="654"/>
                  </a:lnTo>
                  <a:close/>
                  <a:moveTo>
                    <a:pt x="353" y="650"/>
                  </a:moveTo>
                  <a:lnTo>
                    <a:pt x="357" y="654"/>
                  </a:lnTo>
                  <a:lnTo>
                    <a:pt x="353" y="654"/>
                  </a:lnTo>
                  <a:lnTo>
                    <a:pt x="353" y="650"/>
                  </a:lnTo>
                  <a:close/>
                  <a:moveTo>
                    <a:pt x="364" y="650"/>
                  </a:moveTo>
                  <a:lnTo>
                    <a:pt x="365" y="650"/>
                  </a:lnTo>
                  <a:lnTo>
                    <a:pt x="367" y="655"/>
                  </a:lnTo>
                  <a:lnTo>
                    <a:pt x="365" y="655"/>
                  </a:lnTo>
                  <a:lnTo>
                    <a:pt x="364" y="652"/>
                  </a:lnTo>
                  <a:lnTo>
                    <a:pt x="362" y="650"/>
                  </a:lnTo>
                  <a:lnTo>
                    <a:pt x="364" y="650"/>
                  </a:lnTo>
                  <a:close/>
                  <a:moveTo>
                    <a:pt x="236" y="650"/>
                  </a:moveTo>
                  <a:lnTo>
                    <a:pt x="241" y="654"/>
                  </a:lnTo>
                  <a:lnTo>
                    <a:pt x="241" y="657"/>
                  </a:lnTo>
                  <a:lnTo>
                    <a:pt x="237" y="657"/>
                  </a:lnTo>
                  <a:lnTo>
                    <a:pt x="229" y="661"/>
                  </a:lnTo>
                  <a:lnTo>
                    <a:pt x="224" y="657"/>
                  </a:lnTo>
                  <a:lnTo>
                    <a:pt x="232" y="650"/>
                  </a:lnTo>
                  <a:lnTo>
                    <a:pt x="236" y="650"/>
                  </a:lnTo>
                  <a:close/>
                  <a:moveTo>
                    <a:pt x="246" y="644"/>
                  </a:moveTo>
                  <a:lnTo>
                    <a:pt x="256" y="645"/>
                  </a:lnTo>
                  <a:lnTo>
                    <a:pt x="259" y="647"/>
                  </a:lnTo>
                  <a:lnTo>
                    <a:pt x="263" y="647"/>
                  </a:lnTo>
                  <a:lnTo>
                    <a:pt x="266" y="649"/>
                  </a:lnTo>
                  <a:lnTo>
                    <a:pt x="275" y="649"/>
                  </a:lnTo>
                  <a:lnTo>
                    <a:pt x="282" y="647"/>
                  </a:lnTo>
                  <a:lnTo>
                    <a:pt x="287" y="650"/>
                  </a:lnTo>
                  <a:lnTo>
                    <a:pt x="280" y="654"/>
                  </a:lnTo>
                  <a:lnTo>
                    <a:pt x="276" y="662"/>
                  </a:lnTo>
                  <a:lnTo>
                    <a:pt x="271" y="662"/>
                  </a:lnTo>
                  <a:lnTo>
                    <a:pt x="266" y="661"/>
                  </a:lnTo>
                  <a:lnTo>
                    <a:pt x="265" y="657"/>
                  </a:lnTo>
                  <a:lnTo>
                    <a:pt x="256" y="657"/>
                  </a:lnTo>
                  <a:lnTo>
                    <a:pt x="247" y="654"/>
                  </a:lnTo>
                  <a:lnTo>
                    <a:pt x="246" y="647"/>
                  </a:lnTo>
                  <a:lnTo>
                    <a:pt x="242" y="645"/>
                  </a:lnTo>
                  <a:lnTo>
                    <a:pt x="246" y="644"/>
                  </a:lnTo>
                  <a:close/>
                  <a:moveTo>
                    <a:pt x="502" y="642"/>
                  </a:moveTo>
                  <a:lnTo>
                    <a:pt x="500" y="647"/>
                  </a:lnTo>
                  <a:lnTo>
                    <a:pt x="497" y="649"/>
                  </a:lnTo>
                  <a:lnTo>
                    <a:pt x="490" y="657"/>
                  </a:lnTo>
                  <a:lnTo>
                    <a:pt x="488" y="657"/>
                  </a:lnTo>
                  <a:lnTo>
                    <a:pt x="492" y="649"/>
                  </a:lnTo>
                  <a:lnTo>
                    <a:pt x="498" y="645"/>
                  </a:lnTo>
                  <a:lnTo>
                    <a:pt x="502" y="642"/>
                  </a:lnTo>
                  <a:close/>
                  <a:moveTo>
                    <a:pt x="633" y="640"/>
                  </a:moveTo>
                  <a:lnTo>
                    <a:pt x="640" y="645"/>
                  </a:lnTo>
                  <a:lnTo>
                    <a:pt x="640" y="647"/>
                  </a:lnTo>
                  <a:lnTo>
                    <a:pt x="638" y="650"/>
                  </a:lnTo>
                  <a:lnTo>
                    <a:pt x="645" y="645"/>
                  </a:lnTo>
                  <a:lnTo>
                    <a:pt x="650" y="645"/>
                  </a:lnTo>
                  <a:lnTo>
                    <a:pt x="647" y="650"/>
                  </a:lnTo>
                  <a:lnTo>
                    <a:pt x="640" y="654"/>
                  </a:lnTo>
                  <a:lnTo>
                    <a:pt x="637" y="655"/>
                  </a:lnTo>
                  <a:lnTo>
                    <a:pt x="635" y="655"/>
                  </a:lnTo>
                  <a:lnTo>
                    <a:pt x="628" y="659"/>
                  </a:lnTo>
                  <a:lnTo>
                    <a:pt x="621" y="659"/>
                  </a:lnTo>
                  <a:lnTo>
                    <a:pt x="616" y="661"/>
                  </a:lnTo>
                  <a:lnTo>
                    <a:pt x="616" y="666"/>
                  </a:lnTo>
                  <a:lnTo>
                    <a:pt x="609" y="669"/>
                  </a:lnTo>
                  <a:lnTo>
                    <a:pt x="608" y="673"/>
                  </a:lnTo>
                  <a:lnTo>
                    <a:pt x="601" y="673"/>
                  </a:lnTo>
                  <a:lnTo>
                    <a:pt x="606" y="667"/>
                  </a:lnTo>
                  <a:lnTo>
                    <a:pt x="608" y="661"/>
                  </a:lnTo>
                  <a:lnTo>
                    <a:pt x="614" y="657"/>
                  </a:lnTo>
                  <a:lnTo>
                    <a:pt x="620" y="657"/>
                  </a:lnTo>
                  <a:lnTo>
                    <a:pt x="621" y="647"/>
                  </a:lnTo>
                  <a:lnTo>
                    <a:pt x="623" y="647"/>
                  </a:lnTo>
                  <a:lnTo>
                    <a:pt x="623" y="649"/>
                  </a:lnTo>
                  <a:lnTo>
                    <a:pt x="630" y="649"/>
                  </a:lnTo>
                  <a:lnTo>
                    <a:pt x="630" y="647"/>
                  </a:lnTo>
                  <a:lnTo>
                    <a:pt x="628" y="647"/>
                  </a:lnTo>
                  <a:lnTo>
                    <a:pt x="628" y="645"/>
                  </a:lnTo>
                  <a:lnTo>
                    <a:pt x="633" y="640"/>
                  </a:lnTo>
                  <a:close/>
                  <a:moveTo>
                    <a:pt x="654" y="640"/>
                  </a:moveTo>
                  <a:lnTo>
                    <a:pt x="654" y="637"/>
                  </a:lnTo>
                  <a:lnTo>
                    <a:pt x="655" y="637"/>
                  </a:lnTo>
                  <a:lnTo>
                    <a:pt x="654" y="640"/>
                  </a:lnTo>
                  <a:close/>
                  <a:moveTo>
                    <a:pt x="664" y="637"/>
                  </a:moveTo>
                  <a:lnTo>
                    <a:pt x="664" y="638"/>
                  </a:lnTo>
                  <a:lnTo>
                    <a:pt x="662" y="638"/>
                  </a:lnTo>
                  <a:lnTo>
                    <a:pt x="664" y="635"/>
                  </a:lnTo>
                  <a:lnTo>
                    <a:pt x="664" y="637"/>
                  </a:lnTo>
                  <a:close/>
                  <a:moveTo>
                    <a:pt x="174" y="633"/>
                  </a:moveTo>
                  <a:lnTo>
                    <a:pt x="176" y="633"/>
                  </a:lnTo>
                  <a:lnTo>
                    <a:pt x="177" y="635"/>
                  </a:lnTo>
                  <a:lnTo>
                    <a:pt x="179" y="644"/>
                  </a:lnTo>
                  <a:lnTo>
                    <a:pt x="169" y="644"/>
                  </a:lnTo>
                  <a:lnTo>
                    <a:pt x="169" y="635"/>
                  </a:lnTo>
                  <a:lnTo>
                    <a:pt x="174" y="633"/>
                  </a:lnTo>
                  <a:close/>
                  <a:moveTo>
                    <a:pt x="640" y="633"/>
                  </a:moveTo>
                  <a:lnTo>
                    <a:pt x="644" y="635"/>
                  </a:lnTo>
                  <a:lnTo>
                    <a:pt x="642" y="637"/>
                  </a:lnTo>
                  <a:lnTo>
                    <a:pt x="640" y="635"/>
                  </a:lnTo>
                  <a:lnTo>
                    <a:pt x="640" y="633"/>
                  </a:lnTo>
                  <a:close/>
                  <a:moveTo>
                    <a:pt x="3" y="630"/>
                  </a:moveTo>
                  <a:lnTo>
                    <a:pt x="3" y="633"/>
                  </a:lnTo>
                  <a:lnTo>
                    <a:pt x="0" y="638"/>
                  </a:lnTo>
                  <a:lnTo>
                    <a:pt x="0" y="628"/>
                  </a:lnTo>
                  <a:lnTo>
                    <a:pt x="0" y="626"/>
                  </a:lnTo>
                  <a:lnTo>
                    <a:pt x="3" y="630"/>
                  </a:lnTo>
                  <a:close/>
                  <a:moveTo>
                    <a:pt x="456" y="615"/>
                  </a:moveTo>
                  <a:lnTo>
                    <a:pt x="459" y="620"/>
                  </a:lnTo>
                  <a:lnTo>
                    <a:pt x="456" y="625"/>
                  </a:lnTo>
                  <a:lnTo>
                    <a:pt x="452" y="623"/>
                  </a:lnTo>
                  <a:lnTo>
                    <a:pt x="454" y="616"/>
                  </a:lnTo>
                  <a:lnTo>
                    <a:pt x="452" y="613"/>
                  </a:lnTo>
                  <a:lnTo>
                    <a:pt x="456" y="615"/>
                  </a:lnTo>
                  <a:close/>
                  <a:moveTo>
                    <a:pt x="473" y="606"/>
                  </a:moveTo>
                  <a:lnTo>
                    <a:pt x="478" y="606"/>
                  </a:lnTo>
                  <a:lnTo>
                    <a:pt x="485" y="609"/>
                  </a:lnTo>
                  <a:lnTo>
                    <a:pt x="490" y="609"/>
                  </a:lnTo>
                  <a:lnTo>
                    <a:pt x="493" y="613"/>
                  </a:lnTo>
                  <a:lnTo>
                    <a:pt x="492" y="616"/>
                  </a:lnTo>
                  <a:lnTo>
                    <a:pt x="495" y="620"/>
                  </a:lnTo>
                  <a:lnTo>
                    <a:pt x="490" y="626"/>
                  </a:lnTo>
                  <a:lnTo>
                    <a:pt x="486" y="637"/>
                  </a:lnTo>
                  <a:lnTo>
                    <a:pt x="481" y="638"/>
                  </a:lnTo>
                  <a:lnTo>
                    <a:pt x="475" y="637"/>
                  </a:lnTo>
                  <a:lnTo>
                    <a:pt x="469" y="628"/>
                  </a:lnTo>
                  <a:lnTo>
                    <a:pt x="464" y="623"/>
                  </a:lnTo>
                  <a:lnTo>
                    <a:pt x="463" y="621"/>
                  </a:lnTo>
                  <a:lnTo>
                    <a:pt x="461" y="620"/>
                  </a:lnTo>
                  <a:lnTo>
                    <a:pt x="463" y="609"/>
                  </a:lnTo>
                  <a:lnTo>
                    <a:pt x="466" y="608"/>
                  </a:lnTo>
                  <a:lnTo>
                    <a:pt x="473" y="606"/>
                  </a:lnTo>
                  <a:close/>
                  <a:moveTo>
                    <a:pt x="519" y="601"/>
                  </a:moveTo>
                  <a:lnTo>
                    <a:pt x="522" y="603"/>
                  </a:lnTo>
                  <a:lnTo>
                    <a:pt x="521" y="606"/>
                  </a:lnTo>
                  <a:lnTo>
                    <a:pt x="517" y="603"/>
                  </a:lnTo>
                  <a:lnTo>
                    <a:pt x="514" y="603"/>
                  </a:lnTo>
                  <a:lnTo>
                    <a:pt x="515" y="601"/>
                  </a:lnTo>
                  <a:lnTo>
                    <a:pt x="519" y="601"/>
                  </a:lnTo>
                  <a:close/>
                  <a:moveTo>
                    <a:pt x="625" y="601"/>
                  </a:moveTo>
                  <a:lnTo>
                    <a:pt x="623" y="604"/>
                  </a:lnTo>
                  <a:lnTo>
                    <a:pt x="623" y="601"/>
                  </a:lnTo>
                  <a:lnTo>
                    <a:pt x="625" y="601"/>
                  </a:lnTo>
                  <a:close/>
                  <a:moveTo>
                    <a:pt x="632" y="599"/>
                  </a:moveTo>
                  <a:lnTo>
                    <a:pt x="632" y="603"/>
                  </a:lnTo>
                  <a:lnTo>
                    <a:pt x="632" y="599"/>
                  </a:lnTo>
                  <a:close/>
                  <a:moveTo>
                    <a:pt x="642" y="599"/>
                  </a:moveTo>
                  <a:lnTo>
                    <a:pt x="642" y="601"/>
                  </a:lnTo>
                  <a:lnTo>
                    <a:pt x="640" y="601"/>
                  </a:lnTo>
                  <a:lnTo>
                    <a:pt x="640" y="603"/>
                  </a:lnTo>
                  <a:lnTo>
                    <a:pt x="638" y="603"/>
                  </a:lnTo>
                  <a:lnTo>
                    <a:pt x="638" y="601"/>
                  </a:lnTo>
                  <a:lnTo>
                    <a:pt x="642" y="599"/>
                  </a:lnTo>
                  <a:close/>
                  <a:moveTo>
                    <a:pt x="514" y="599"/>
                  </a:moveTo>
                  <a:lnTo>
                    <a:pt x="514" y="601"/>
                  </a:lnTo>
                  <a:lnTo>
                    <a:pt x="510" y="601"/>
                  </a:lnTo>
                  <a:lnTo>
                    <a:pt x="510" y="597"/>
                  </a:lnTo>
                  <a:lnTo>
                    <a:pt x="510" y="596"/>
                  </a:lnTo>
                  <a:lnTo>
                    <a:pt x="514" y="599"/>
                  </a:lnTo>
                  <a:close/>
                  <a:moveTo>
                    <a:pt x="22" y="591"/>
                  </a:moveTo>
                  <a:lnTo>
                    <a:pt x="26" y="591"/>
                  </a:lnTo>
                  <a:lnTo>
                    <a:pt x="26" y="592"/>
                  </a:lnTo>
                  <a:lnTo>
                    <a:pt x="22" y="592"/>
                  </a:lnTo>
                  <a:lnTo>
                    <a:pt x="22" y="591"/>
                  </a:lnTo>
                  <a:close/>
                  <a:moveTo>
                    <a:pt x="642" y="587"/>
                  </a:moveTo>
                  <a:lnTo>
                    <a:pt x="645" y="587"/>
                  </a:lnTo>
                  <a:lnTo>
                    <a:pt x="644" y="594"/>
                  </a:lnTo>
                  <a:lnTo>
                    <a:pt x="638" y="596"/>
                  </a:lnTo>
                  <a:lnTo>
                    <a:pt x="638" y="592"/>
                  </a:lnTo>
                  <a:lnTo>
                    <a:pt x="635" y="594"/>
                  </a:lnTo>
                  <a:lnTo>
                    <a:pt x="633" y="596"/>
                  </a:lnTo>
                  <a:lnTo>
                    <a:pt x="635" y="597"/>
                  </a:lnTo>
                  <a:lnTo>
                    <a:pt x="626" y="601"/>
                  </a:lnTo>
                  <a:lnTo>
                    <a:pt x="626" y="592"/>
                  </a:lnTo>
                  <a:lnTo>
                    <a:pt x="637" y="591"/>
                  </a:lnTo>
                  <a:lnTo>
                    <a:pt x="637" y="592"/>
                  </a:lnTo>
                  <a:lnTo>
                    <a:pt x="638" y="589"/>
                  </a:lnTo>
                  <a:lnTo>
                    <a:pt x="642" y="587"/>
                  </a:lnTo>
                  <a:close/>
                  <a:moveTo>
                    <a:pt x="107" y="579"/>
                  </a:moveTo>
                  <a:lnTo>
                    <a:pt x="109" y="584"/>
                  </a:lnTo>
                  <a:lnTo>
                    <a:pt x="114" y="585"/>
                  </a:lnTo>
                  <a:lnTo>
                    <a:pt x="119" y="591"/>
                  </a:lnTo>
                  <a:lnTo>
                    <a:pt x="130" y="591"/>
                  </a:lnTo>
                  <a:lnTo>
                    <a:pt x="130" y="592"/>
                  </a:lnTo>
                  <a:lnTo>
                    <a:pt x="133" y="599"/>
                  </a:lnTo>
                  <a:lnTo>
                    <a:pt x="131" y="603"/>
                  </a:lnTo>
                  <a:lnTo>
                    <a:pt x="130" y="601"/>
                  </a:lnTo>
                  <a:lnTo>
                    <a:pt x="119" y="601"/>
                  </a:lnTo>
                  <a:lnTo>
                    <a:pt x="116" y="601"/>
                  </a:lnTo>
                  <a:lnTo>
                    <a:pt x="111" y="604"/>
                  </a:lnTo>
                  <a:lnTo>
                    <a:pt x="107" y="606"/>
                  </a:lnTo>
                  <a:lnTo>
                    <a:pt x="101" y="609"/>
                  </a:lnTo>
                  <a:lnTo>
                    <a:pt x="96" y="615"/>
                  </a:lnTo>
                  <a:lnTo>
                    <a:pt x="92" y="621"/>
                  </a:lnTo>
                  <a:lnTo>
                    <a:pt x="89" y="628"/>
                  </a:lnTo>
                  <a:lnTo>
                    <a:pt x="84" y="623"/>
                  </a:lnTo>
                  <a:lnTo>
                    <a:pt x="77" y="623"/>
                  </a:lnTo>
                  <a:lnTo>
                    <a:pt x="72" y="621"/>
                  </a:lnTo>
                  <a:lnTo>
                    <a:pt x="61" y="621"/>
                  </a:lnTo>
                  <a:lnTo>
                    <a:pt x="60" y="623"/>
                  </a:lnTo>
                  <a:lnTo>
                    <a:pt x="53" y="623"/>
                  </a:lnTo>
                  <a:lnTo>
                    <a:pt x="48" y="618"/>
                  </a:lnTo>
                  <a:lnTo>
                    <a:pt x="41" y="618"/>
                  </a:lnTo>
                  <a:lnTo>
                    <a:pt x="32" y="620"/>
                  </a:lnTo>
                  <a:lnTo>
                    <a:pt x="31" y="621"/>
                  </a:lnTo>
                  <a:lnTo>
                    <a:pt x="26" y="621"/>
                  </a:lnTo>
                  <a:lnTo>
                    <a:pt x="24" y="625"/>
                  </a:lnTo>
                  <a:lnTo>
                    <a:pt x="19" y="625"/>
                  </a:lnTo>
                  <a:lnTo>
                    <a:pt x="17" y="628"/>
                  </a:lnTo>
                  <a:lnTo>
                    <a:pt x="10" y="630"/>
                  </a:lnTo>
                  <a:lnTo>
                    <a:pt x="8" y="633"/>
                  </a:lnTo>
                  <a:lnTo>
                    <a:pt x="7" y="632"/>
                  </a:lnTo>
                  <a:lnTo>
                    <a:pt x="10" y="626"/>
                  </a:lnTo>
                  <a:lnTo>
                    <a:pt x="12" y="621"/>
                  </a:lnTo>
                  <a:lnTo>
                    <a:pt x="10" y="615"/>
                  </a:lnTo>
                  <a:lnTo>
                    <a:pt x="17" y="609"/>
                  </a:lnTo>
                  <a:lnTo>
                    <a:pt x="17" y="603"/>
                  </a:lnTo>
                  <a:lnTo>
                    <a:pt x="22" y="601"/>
                  </a:lnTo>
                  <a:lnTo>
                    <a:pt x="27" y="591"/>
                  </a:lnTo>
                  <a:lnTo>
                    <a:pt x="31" y="591"/>
                  </a:lnTo>
                  <a:lnTo>
                    <a:pt x="32" y="592"/>
                  </a:lnTo>
                  <a:lnTo>
                    <a:pt x="34" y="592"/>
                  </a:lnTo>
                  <a:lnTo>
                    <a:pt x="37" y="596"/>
                  </a:lnTo>
                  <a:lnTo>
                    <a:pt x="39" y="594"/>
                  </a:lnTo>
                  <a:lnTo>
                    <a:pt x="41" y="596"/>
                  </a:lnTo>
                  <a:lnTo>
                    <a:pt x="44" y="596"/>
                  </a:lnTo>
                  <a:lnTo>
                    <a:pt x="49" y="597"/>
                  </a:lnTo>
                  <a:lnTo>
                    <a:pt x="55" y="599"/>
                  </a:lnTo>
                  <a:lnTo>
                    <a:pt x="61" y="594"/>
                  </a:lnTo>
                  <a:lnTo>
                    <a:pt x="72" y="594"/>
                  </a:lnTo>
                  <a:lnTo>
                    <a:pt x="77" y="591"/>
                  </a:lnTo>
                  <a:lnTo>
                    <a:pt x="78" y="587"/>
                  </a:lnTo>
                  <a:lnTo>
                    <a:pt x="82" y="585"/>
                  </a:lnTo>
                  <a:lnTo>
                    <a:pt x="85" y="587"/>
                  </a:lnTo>
                  <a:lnTo>
                    <a:pt x="89" y="582"/>
                  </a:lnTo>
                  <a:lnTo>
                    <a:pt x="97" y="580"/>
                  </a:lnTo>
                  <a:lnTo>
                    <a:pt x="104" y="580"/>
                  </a:lnTo>
                  <a:lnTo>
                    <a:pt x="107" y="579"/>
                  </a:lnTo>
                  <a:close/>
                  <a:moveTo>
                    <a:pt x="225" y="582"/>
                  </a:moveTo>
                  <a:lnTo>
                    <a:pt x="227" y="584"/>
                  </a:lnTo>
                  <a:lnTo>
                    <a:pt x="224" y="585"/>
                  </a:lnTo>
                  <a:lnTo>
                    <a:pt x="224" y="577"/>
                  </a:lnTo>
                  <a:lnTo>
                    <a:pt x="225" y="582"/>
                  </a:lnTo>
                  <a:close/>
                  <a:moveTo>
                    <a:pt x="473" y="575"/>
                  </a:moveTo>
                  <a:lnTo>
                    <a:pt x="475" y="577"/>
                  </a:lnTo>
                  <a:lnTo>
                    <a:pt x="478" y="577"/>
                  </a:lnTo>
                  <a:lnTo>
                    <a:pt x="478" y="580"/>
                  </a:lnTo>
                  <a:lnTo>
                    <a:pt x="475" y="580"/>
                  </a:lnTo>
                  <a:lnTo>
                    <a:pt x="471" y="579"/>
                  </a:lnTo>
                  <a:lnTo>
                    <a:pt x="473" y="575"/>
                  </a:lnTo>
                  <a:close/>
                  <a:moveTo>
                    <a:pt x="217" y="575"/>
                  </a:moveTo>
                  <a:lnTo>
                    <a:pt x="218" y="575"/>
                  </a:lnTo>
                  <a:lnTo>
                    <a:pt x="218" y="577"/>
                  </a:lnTo>
                  <a:lnTo>
                    <a:pt x="217" y="577"/>
                  </a:lnTo>
                  <a:lnTo>
                    <a:pt x="217" y="575"/>
                  </a:lnTo>
                  <a:close/>
                  <a:moveTo>
                    <a:pt x="647" y="574"/>
                  </a:moveTo>
                  <a:lnTo>
                    <a:pt x="649" y="574"/>
                  </a:lnTo>
                  <a:lnTo>
                    <a:pt x="649" y="577"/>
                  </a:lnTo>
                  <a:lnTo>
                    <a:pt x="647" y="577"/>
                  </a:lnTo>
                  <a:lnTo>
                    <a:pt x="647" y="574"/>
                  </a:lnTo>
                  <a:close/>
                  <a:moveTo>
                    <a:pt x="186" y="572"/>
                  </a:moveTo>
                  <a:lnTo>
                    <a:pt x="188" y="572"/>
                  </a:lnTo>
                  <a:lnTo>
                    <a:pt x="188" y="575"/>
                  </a:lnTo>
                  <a:lnTo>
                    <a:pt x="186" y="575"/>
                  </a:lnTo>
                  <a:lnTo>
                    <a:pt x="186" y="572"/>
                  </a:lnTo>
                  <a:close/>
                  <a:moveTo>
                    <a:pt x="614" y="570"/>
                  </a:moveTo>
                  <a:lnTo>
                    <a:pt x="616" y="574"/>
                  </a:lnTo>
                  <a:lnTo>
                    <a:pt x="618" y="574"/>
                  </a:lnTo>
                  <a:lnTo>
                    <a:pt x="623" y="575"/>
                  </a:lnTo>
                  <a:lnTo>
                    <a:pt x="628" y="572"/>
                  </a:lnTo>
                  <a:lnTo>
                    <a:pt x="630" y="574"/>
                  </a:lnTo>
                  <a:lnTo>
                    <a:pt x="628" y="574"/>
                  </a:lnTo>
                  <a:lnTo>
                    <a:pt x="628" y="575"/>
                  </a:lnTo>
                  <a:lnTo>
                    <a:pt x="630" y="575"/>
                  </a:lnTo>
                  <a:lnTo>
                    <a:pt x="630" y="577"/>
                  </a:lnTo>
                  <a:lnTo>
                    <a:pt x="625" y="577"/>
                  </a:lnTo>
                  <a:lnTo>
                    <a:pt x="628" y="579"/>
                  </a:lnTo>
                  <a:lnTo>
                    <a:pt x="625" y="577"/>
                  </a:lnTo>
                  <a:lnTo>
                    <a:pt x="623" y="580"/>
                  </a:lnTo>
                  <a:lnTo>
                    <a:pt x="618" y="580"/>
                  </a:lnTo>
                  <a:lnTo>
                    <a:pt x="611" y="577"/>
                  </a:lnTo>
                  <a:lnTo>
                    <a:pt x="613" y="577"/>
                  </a:lnTo>
                  <a:lnTo>
                    <a:pt x="611" y="572"/>
                  </a:lnTo>
                  <a:lnTo>
                    <a:pt x="614" y="570"/>
                  </a:lnTo>
                  <a:close/>
                  <a:moveTo>
                    <a:pt x="198" y="570"/>
                  </a:moveTo>
                  <a:lnTo>
                    <a:pt x="198" y="572"/>
                  </a:lnTo>
                  <a:lnTo>
                    <a:pt x="201" y="570"/>
                  </a:lnTo>
                  <a:lnTo>
                    <a:pt x="206" y="574"/>
                  </a:lnTo>
                  <a:lnTo>
                    <a:pt x="212" y="574"/>
                  </a:lnTo>
                  <a:lnTo>
                    <a:pt x="212" y="577"/>
                  </a:lnTo>
                  <a:lnTo>
                    <a:pt x="208" y="582"/>
                  </a:lnTo>
                  <a:lnTo>
                    <a:pt x="201" y="584"/>
                  </a:lnTo>
                  <a:lnTo>
                    <a:pt x="200" y="589"/>
                  </a:lnTo>
                  <a:lnTo>
                    <a:pt x="196" y="591"/>
                  </a:lnTo>
                  <a:lnTo>
                    <a:pt x="193" y="589"/>
                  </a:lnTo>
                  <a:lnTo>
                    <a:pt x="191" y="585"/>
                  </a:lnTo>
                  <a:lnTo>
                    <a:pt x="196" y="582"/>
                  </a:lnTo>
                  <a:lnTo>
                    <a:pt x="195" y="575"/>
                  </a:lnTo>
                  <a:lnTo>
                    <a:pt x="196" y="572"/>
                  </a:lnTo>
                  <a:lnTo>
                    <a:pt x="198" y="570"/>
                  </a:lnTo>
                  <a:close/>
                  <a:moveTo>
                    <a:pt x="608" y="568"/>
                  </a:moveTo>
                  <a:lnTo>
                    <a:pt x="611" y="568"/>
                  </a:lnTo>
                  <a:lnTo>
                    <a:pt x="611" y="572"/>
                  </a:lnTo>
                  <a:lnTo>
                    <a:pt x="608" y="572"/>
                  </a:lnTo>
                  <a:lnTo>
                    <a:pt x="608" y="568"/>
                  </a:lnTo>
                  <a:close/>
                  <a:moveTo>
                    <a:pt x="650" y="560"/>
                  </a:moveTo>
                  <a:lnTo>
                    <a:pt x="652" y="562"/>
                  </a:lnTo>
                  <a:lnTo>
                    <a:pt x="647" y="565"/>
                  </a:lnTo>
                  <a:lnTo>
                    <a:pt x="647" y="567"/>
                  </a:lnTo>
                  <a:lnTo>
                    <a:pt x="642" y="570"/>
                  </a:lnTo>
                  <a:lnTo>
                    <a:pt x="642" y="568"/>
                  </a:lnTo>
                  <a:lnTo>
                    <a:pt x="638" y="574"/>
                  </a:lnTo>
                  <a:lnTo>
                    <a:pt x="635" y="574"/>
                  </a:lnTo>
                  <a:lnTo>
                    <a:pt x="638" y="572"/>
                  </a:lnTo>
                  <a:lnTo>
                    <a:pt x="638" y="570"/>
                  </a:lnTo>
                  <a:lnTo>
                    <a:pt x="632" y="572"/>
                  </a:lnTo>
                  <a:lnTo>
                    <a:pt x="626" y="570"/>
                  </a:lnTo>
                  <a:lnTo>
                    <a:pt x="630" y="563"/>
                  </a:lnTo>
                  <a:lnTo>
                    <a:pt x="635" y="562"/>
                  </a:lnTo>
                  <a:lnTo>
                    <a:pt x="642" y="562"/>
                  </a:lnTo>
                  <a:lnTo>
                    <a:pt x="650" y="560"/>
                  </a:lnTo>
                  <a:close/>
                  <a:moveTo>
                    <a:pt x="669" y="558"/>
                  </a:moveTo>
                  <a:lnTo>
                    <a:pt x="671" y="558"/>
                  </a:lnTo>
                  <a:lnTo>
                    <a:pt x="671" y="562"/>
                  </a:lnTo>
                  <a:lnTo>
                    <a:pt x="669" y="562"/>
                  </a:lnTo>
                  <a:lnTo>
                    <a:pt x="669" y="558"/>
                  </a:lnTo>
                  <a:close/>
                  <a:moveTo>
                    <a:pt x="340" y="553"/>
                  </a:moveTo>
                  <a:lnTo>
                    <a:pt x="341" y="555"/>
                  </a:lnTo>
                  <a:lnTo>
                    <a:pt x="340" y="556"/>
                  </a:lnTo>
                  <a:lnTo>
                    <a:pt x="338" y="556"/>
                  </a:lnTo>
                  <a:lnTo>
                    <a:pt x="340" y="553"/>
                  </a:lnTo>
                  <a:close/>
                  <a:moveTo>
                    <a:pt x="662" y="550"/>
                  </a:moveTo>
                  <a:lnTo>
                    <a:pt x="667" y="551"/>
                  </a:lnTo>
                  <a:lnTo>
                    <a:pt x="662" y="555"/>
                  </a:lnTo>
                  <a:lnTo>
                    <a:pt x="664" y="556"/>
                  </a:lnTo>
                  <a:lnTo>
                    <a:pt x="655" y="555"/>
                  </a:lnTo>
                  <a:lnTo>
                    <a:pt x="659" y="553"/>
                  </a:lnTo>
                  <a:lnTo>
                    <a:pt x="659" y="551"/>
                  </a:lnTo>
                  <a:lnTo>
                    <a:pt x="661" y="551"/>
                  </a:lnTo>
                  <a:lnTo>
                    <a:pt x="661" y="550"/>
                  </a:lnTo>
                  <a:lnTo>
                    <a:pt x="662" y="548"/>
                  </a:lnTo>
                  <a:lnTo>
                    <a:pt x="662" y="550"/>
                  </a:lnTo>
                  <a:close/>
                  <a:moveTo>
                    <a:pt x="340" y="550"/>
                  </a:moveTo>
                  <a:lnTo>
                    <a:pt x="340" y="544"/>
                  </a:lnTo>
                  <a:lnTo>
                    <a:pt x="341" y="546"/>
                  </a:lnTo>
                  <a:lnTo>
                    <a:pt x="340" y="550"/>
                  </a:lnTo>
                  <a:close/>
                  <a:moveTo>
                    <a:pt x="679" y="541"/>
                  </a:moveTo>
                  <a:lnTo>
                    <a:pt x="679" y="543"/>
                  </a:lnTo>
                  <a:lnTo>
                    <a:pt x="679" y="541"/>
                  </a:lnTo>
                  <a:close/>
                  <a:moveTo>
                    <a:pt x="679" y="538"/>
                  </a:moveTo>
                  <a:lnTo>
                    <a:pt x="679" y="539"/>
                  </a:lnTo>
                  <a:lnTo>
                    <a:pt x="679" y="538"/>
                  </a:lnTo>
                  <a:lnTo>
                    <a:pt x="678" y="541"/>
                  </a:lnTo>
                  <a:lnTo>
                    <a:pt x="674" y="539"/>
                  </a:lnTo>
                  <a:lnTo>
                    <a:pt x="678" y="538"/>
                  </a:lnTo>
                  <a:lnTo>
                    <a:pt x="678" y="536"/>
                  </a:lnTo>
                  <a:lnTo>
                    <a:pt x="679" y="538"/>
                  </a:lnTo>
                  <a:close/>
                  <a:moveTo>
                    <a:pt x="690" y="531"/>
                  </a:moveTo>
                  <a:lnTo>
                    <a:pt x="690" y="536"/>
                  </a:lnTo>
                  <a:lnTo>
                    <a:pt x="686" y="536"/>
                  </a:lnTo>
                  <a:lnTo>
                    <a:pt x="690" y="531"/>
                  </a:lnTo>
                  <a:close/>
                  <a:moveTo>
                    <a:pt x="710" y="526"/>
                  </a:moveTo>
                  <a:lnTo>
                    <a:pt x="710" y="529"/>
                  </a:lnTo>
                  <a:lnTo>
                    <a:pt x="708" y="533"/>
                  </a:lnTo>
                  <a:lnTo>
                    <a:pt x="713" y="533"/>
                  </a:lnTo>
                  <a:lnTo>
                    <a:pt x="713" y="529"/>
                  </a:lnTo>
                  <a:lnTo>
                    <a:pt x="717" y="529"/>
                  </a:lnTo>
                  <a:lnTo>
                    <a:pt x="713" y="531"/>
                  </a:lnTo>
                  <a:lnTo>
                    <a:pt x="717" y="531"/>
                  </a:lnTo>
                  <a:lnTo>
                    <a:pt x="717" y="534"/>
                  </a:lnTo>
                  <a:lnTo>
                    <a:pt x="720" y="538"/>
                  </a:lnTo>
                  <a:lnTo>
                    <a:pt x="717" y="539"/>
                  </a:lnTo>
                  <a:lnTo>
                    <a:pt x="710" y="539"/>
                  </a:lnTo>
                  <a:lnTo>
                    <a:pt x="707" y="543"/>
                  </a:lnTo>
                  <a:lnTo>
                    <a:pt x="708" y="548"/>
                  </a:lnTo>
                  <a:lnTo>
                    <a:pt x="710" y="551"/>
                  </a:lnTo>
                  <a:lnTo>
                    <a:pt x="708" y="553"/>
                  </a:lnTo>
                  <a:lnTo>
                    <a:pt x="713" y="556"/>
                  </a:lnTo>
                  <a:lnTo>
                    <a:pt x="712" y="558"/>
                  </a:lnTo>
                  <a:lnTo>
                    <a:pt x="708" y="558"/>
                  </a:lnTo>
                  <a:lnTo>
                    <a:pt x="710" y="560"/>
                  </a:lnTo>
                  <a:lnTo>
                    <a:pt x="710" y="563"/>
                  </a:lnTo>
                  <a:lnTo>
                    <a:pt x="715" y="562"/>
                  </a:lnTo>
                  <a:lnTo>
                    <a:pt x="712" y="565"/>
                  </a:lnTo>
                  <a:lnTo>
                    <a:pt x="712" y="570"/>
                  </a:lnTo>
                  <a:lnTo>
                    <a:pt x="708" y="572"/>
                  </a:lnTo>
                  <a:lnTo>
                    <a:pt x="710" y="574"/>
                  </a:lnTo>
                  <a:lnTo>
                    <a:pt x="710" y="577"/>
                  </a:lnTo>
                  <a:lnTo>
                    <a:pt x="707" y="584"/>
                  </a:lnTo>
                  <a:lnTo>
                    <a:pt x="705" y="589"/>
                  </a:lnTo>
                  <a:lnTo>
                    <a:pt x="703" y="589"/>
                  </a:lnTo>
                  <a:lnTo>
                    <a:pt x="700" y="591"/>
                  </a:lnTo>
                  <a:lnTo>
                    <a:pt x="696" y="597"/>
                  </a:lnTo>
                  <a:lnTo>
                    <a:pt x="688" y="599"/>
                  </a:lnTo>
                  <a:lnTo>
                    <a:pt x="688" y="606"/>
                  </a:lnTo>
                  <a:lnTo>
                    <a:pt x="684" y="604"/>
                  </a:lnTo>
                  <a:lnTo>
                    <a:pt x="686" y="608"/>
                  </a:lnTo>
                  <a:lnTo>
                    <a:pt x="683" y="609"/>
                  </a:lnTo>
                  <a:lnTo>
                    <a:pt x="674" y="616"/>
                  </a:lnTo>
                  <a:lnTo>
                    <a:pt x="674" y="618"/>
                  </a:lnTo>
                  <a:lnTo>
                    <a:pt x="676" y="618"/>
                  </a:lnTo>
                  <a:lnTo>
                    <a:pt x="674" y="621"/>
                  </a:lnTo>
                  <a:lnTo>
                    <a:pt x="671" y="620"/>
                  </a:lnTo>
                  <a:lnTo>
                    <a:pt x="669" y="623"/>
                  </a:lnTo>
                  <a:lnTo>
                    <a:pt x="673" y="623"/>
                  </a:lnTo>
                  <a:lnTo>
                    <a:pt x="669" y="626"/>
                  </a:lnTo>
                  <a:lnTo>
                    <a:pt x="671" y="630"/>
                  </a:lnTo>
                  <a:lnTo>
                    <a:pt x="666" y="635"/>
                  </a:lnTo>
                  <a:lnTo>
                    <a:pt x="664" y="632"/>
                  </a:lnTo>
                  <a:lnTo>
                    <a:pt x="667" y="626"/>
                  </a:lnTo>
                  <a:lnTo>
                    <a:pt x="666" y="621"/>
                  </a:lnTo>
                  <a:lnTo>
                    <a:pt x="664" y="623"/>
                  </a:lnTo>
                  <a:lnTo>
                    <a:pt x="662" y="626"/>
                  </a:lnTo>
                  <a:lnTo>
                    <a:pt x="657" y="632"/>
                  </a:lnTo>
                  <a:lnTo>
                    <a:pt x="652" y="630"/>
                  </a:lnTo>
                  <a:lnTo>
                    <a:pt x="642" y="632"/>
                  </a:lnTo>
                  <a:lnTo>
                    <a:pt x="645" y="620"/>
                  </a:lnTo>
                  <a:lnTo>
                    <a:pt x="642" y="615"/>
                  </a:lnTo>
                  <a:lnTo>
                    <a:pt x="642" y="616"/>
                  </a:lnTo>
                  <a:lnTo>
                    <a:pt x="642" y="618"/>
                  </a:lnTo>
                  <a:lnTo>
                    <a:pt x="640" y="618"/>
                  </a:lnTo>
                  <a:lnTo>
                    <a:pt x="640" y="613"/>
                  </a:lnTo>
                  <a:lnTo>
                    <a:pt x="644" y="609"/>
                  </a:lnTo>
                  <a:lnTo>
                    <a:pt x="647" y="611"/>
                  </a:lnTo>
                  <a:lnTo>
                    <a:pt x="649" y="609"/>
                  </a:lnTo>
                  <a:lnTo>
                    <a:pt x="647" y="608"/>
                  </a:lnTo>
                  <a:lnTo>
                    <a:pt x="644" y="606"/>
                  </a:lnTo>
                  <a:lnTo>
                    <a:pt x="647" y="606"/>
                  </a:lnTo>
                  <a:lnTo>
                    <a:pt x="644" y="606"/>
                  </a:lnTo>
                  <a:lnTo>
                    <a:pt x="649" y="604"/>
                  </a:lnTo>
                  <a:lnTo>
                    <a:pt x="647" y="604"/>
                  </a:lnTo>
                  <a:lnTo>
                    <a:pt x="649" y="601"/>
                  </a:lnTo>
                  <a:lnTo>
                    <a:pt x="647" y="599"/>
                  </a:lnTo>
                  <a:lnTo>
                    <a:pt x="644" y="603"/>
                  </a:lnTo>
                  <a:lnTo>
                    <a:pt x="645" y="599"/>
                  </a:lnTo>
                  <a:lnTo>
                    <a:pt x="644" y="597"/>
                  </a:lnTo>
                  <a:lnTo>
                    <a:pt x="644" y="601"/>
                  </a:lnTo>
                  <a:lnTo>
                    <a:pt x="644" y="596"/>
                  </a:lnTo>
                  <a:lnTo>
                    <a:pt x="645" y="592"/>
                  </a:lnTo>
                  <a:lnTo>
                    <a:pt x="650" y="597"/>
                  </a:lnTo>
                  <a:lnTo>
                    <a:pt x="659" y="597"/>
                  </a:lnTo>
                  <a:lnTo>
                    <a:pt x="661" y="599"/>
                  </a:lnTo>
                  <a:lnTo>
                    <a:pt x="661" y="597"/>
                  </a:lnTo>
                  <a:lnTo>
                    <a:pt x="664" y="596"/>
                  </a:lnTo>
                  <a:lnTo>
                    <a:pt x="659" y="597"/>
                  </a:lnTo>
                  <a:lnTo>
                    <a:pt x="655" y="596"/>
                  </a:lnTo>
                  <a:lnTo>
                    <a:pt x="652" y="596"/>
                  </a:lnTo>
                  <a:lnTo>
                    <a:pt x="649" y="592"/>
                  </a:lnTo>
                  <a:lnTo>
                    <a:pt x="654" y="589"/>
                  </a:lnTo>
                  <a:lnTo>
                    <a:pt x="652" y="589"/>
                  </a:lnTo>
                  <a:lnTo>
                    <a:pt x="652" y="584"/>
                  </a:lnTo>
                  <a:lnTo>
                    <a:pt x="655" y="582"/>
                  </a:lnTo>
                  <a:lnTo>
                    <a:pt x="654" y="584"/>
                  </a:lnTo>
                  <a:lnTo>
                    <a:pt x="652" y="582"/>
                  </a:lnTo>
                  <a:lnTo>
                    <a:pt x="657" y="575"/>
                  </a:lnTo>
                  <a:lnTo>
                    <a:pt x="659" y="568"/>
                  </a:lnTo>
                  <a:lnTo>
                    <a:pt x="667" y="563"/>
                  </a:lnTo>
                  <a:lnTo>
                    <a:pt x="667" y="565"/>
                  </a:lnTo>
                  <a:lnTo>
                    <a:pt x="669" y="562"/>
                  </a:lnTo>
                  <a:lnTo>
                    <a:pt x="673" y="565"/>
                  </a:lnTo>
                  <a:lnTo>
                    <a:pt x="674" y="558"/>
                  </a:lnTo>
                  <a:lnTo>
                    <a:pt x="676" y="560"/>
                  </a:lnTo>
                  <a:lnTo>
                    <a:pt x="678" y="558"/>
                  </a:lnTo>
                  <a:lnTo>
                    <a:pt x="674" y="556"/>
                  </a:lnTo>
                  <a:lnTo>
                    <a:pt x="678" y="555"/>
                  </a:lnTo>
                  <a:lnTo>
                    <a:pt x="676" y="553"/>
                  </a:lnTo>
                  <a:lnTo>
                    <a:pt x="678" y="553"/>
                  </a:lnTo>
                  <a:lnTo>
                    <a:pt x="683" y="551"/>
                  </a:lnTo>
                  <a:lnTo>
                    <a:pt x="684" y="553"/>
                  </a:lnTo>
                  <a:lnTo>
                    <a:pt x="683" y="550"/>
                  </a:lnTo>
                  <a:lnTo>
                    <a:pt x="684" y="544"/>
                  </a:lnTo>
                  <a:lnTo>
                    <a:pt x="686" y="546"/>
                  </a:lnTo>
                  <a:lnTo>
                    <a:pt x="690" y="539"/>
                  </a:lnTo>
                  <a:lnTo>
                    <a:pt x="691" y="539"/>
                  </a:lnTo>
                  <a:lnTo>
                    <a:pt x="695" y="538"/>
                  </a:lnTo>
                  <a:lnTo>
                    <a:pt x="693" y="533"/>
                  </a:lnTo>
                  <a:lnTo>
                    <a:pt x="695" y="529"/>
                  </a:lnTo>
                  <a:lnTo>
                    <a:pt x="700" y="529"/>
                  </a:lnTo>
                  <a:lnTo>
                    <a:pt x="702" y="526"/>
                  </a:lnTo>
                  <a:lnTo>
                    <a:pt x="703" y="527"/>
                  </a:lnTo>
                  <a:lnTo>
                    <a:pt x="703" y="526"/>
                  </a:lnTo>
                  <a:lnTo>
                    <a:pt x="710" y="526"/>
                  </a:lnTo>
                  <a:close/>
                  <a:moveTo>
                    <a:pt x="741" y="524"/>
                  </a:moveTo>
                  <a:lnTo>
                    <a:pt x="746" y="531"/>
                  </a:lnTo>
                  <a:lnTo>
                    <a:pt x="748" y="533"/>
                  </a:lnTo>
                  <a:lnTo>
                    <a:pt x="748" y="536"/>
                  </a:lnTo>
                  <a:lnTo>
                    <a:pt x="749" y="538"/>
                  </a:lnTo>
                  <a:lnTo>
                    <a:pt x="746" y="541"/>
                  </a:lnTo>
                  <a:lnTo>
                    <a:pt x="741" y="539"/>
                  </a:lnTo>
                  <a:lnTo>
                    <a:pt x="739" y="534"/>
                  </a:lnTo>
                  <a:lnTo>
                    <a:pt x="736" y="531"/>
                  </a:lnTo>
                  <a:lnTo>
                    <a:pt x="729" y="531"/>
                  </a:lnTo>
                  <a:lnTo>
                    <a:pt x="729" y="533"/>
                  </a:lnTo>
                  <a:lnTo>
                    <a:pt x="725" y="531"/>
                  </a:lnTo>
                  <a:lnTo>
                    <a:pt x="722" y="533"/>
                  </a:lnTo>
                  <a:lnTo>
                    <a:pt x="719" y="533"/>
                  </a:lnTo>
                  <a:lnTo>
                    <a:pt x="717" y="529"/>
                  </a:lnTo>
                  <a:lnTo>
                    <a:pt x="717" y="527"/>
                  </a:lnTo>
                  <a:lnTo>
                    <a:pt x="722" y="526"/>
                  </a:lnTo>
                  <a:lnTo>
                    <a:pt x="731" y="526"/>
                  </a:lnTo>
                  <a:lnTo>
                    <a:pt x="741" y="524"/>
                  </a:lnTo>
                  <a:close/>
                  <a:moveTo>
                    <a:pt x="686" y="526"/>
                  </a:moveTo>
                  <a:lnTo>
                    <a:pt x="684" y="527"/>
                  </a:lnTo>
                  <a:lnTo>
                    <a:pt x="683" y="527"/>
                  </a:lnTo>
                  <a:lnTo>
                    <a:pt x="684" y="522"/>
                  </a:lnTo>
                  <a:lnTo>
                    <a:pt x="686" y="526"/>
                  </a:lnTo>
                  <a:close/>
                  <a:moveTo>
                    <a:pt x="683" y="521"/>
                  </a:moveTo>
                  <a:lnTo>
                    <a:pt x="684" y="521"/>
                  </a:lnTo>
                  <a:lnTo>
                    <a:pt x="684" y="522"/>
                  </a:lnTo>
                  <a:lnTo>
                    <a:pt x="683" y="522"/>
                  </a:lnTo>
                  <a:lnTo>
                    <a:pt x="683" y="521"/>
                  </a:lnTo>
                  <a:close/>
                  <a:moveTo>
                    <a:pt x="1050" y="521"/>
                  </a:moveTo>
                  <a:lnTo>
                    <a:pt x="1053" y="521"/>
                  </a:lnTo>
                  <a:lnTo>
                    <a:pt x="1053" y="524"/>
                  </a:lnTo>
                  <a:lnTo>
                    <a:pt x="1046" y="522"/>
                  </a:lnTo>
                  <a:lnTo>
                    <a:pt x="1048" y="519"/>
                  </a:lnTo>
                  <a:lnTo>
                    <a:pt x="1050" y="521"/>
                  </a:lnTo>
                  <a:close/>
                  <a:moveTo>
                    <a:pt x="346" y="519"/>
                  </a:moveTo>
                  <a:lnTo>
                    <a:pt x="352" y="522"/>
                  </a:lnTo>
                  <a:lnTo>
                    <a:pt x="357" y="524"/>
                  </a:lnTo>
                  <a:lnTo>
                    <a:pt x="357" y="526"/>
                  </a:lnTo>
                  <a:lnTo>
                    <a:pt x="355" y="527"/>
                  </a:lnTo>
                  <a:lnTo>
                    <a:pt x="352" y="527"/>
                  </a:lnTo>
                  <a:lnTo>
                    <a:pt x="353" y="531"/>
                  </a:lnTo>
                  <a:lnTo>
                    <a:pt x="355" y="531"/>
                  </a:lnTo>
                  <a:lnTo>
                    <a:pt x="350" y="538"/>
                  </a:lnTo>
                  <a:lnTo>
                    <a:pt x="348" y="538"/>
                  </a:lnTo>
                  <a:lnTo>
                    <a:pt x="340" y="531"/>
                  </a:lnTo>
                  <a:lnTo>
                    <a:pt x="338" y="531"/>
                  </a:lnTo>
                  <a:lnTo>
                    <a:pt x="336" y="527"/>
                  </a:lnTo>
                  <a:lnTo>
                    <a:pt x="338" y="524"/>
                  </a:lnTo>
                  <a:lnTo>
                    <a:pt x="345" y="519"/>
                  </a:lnTo>
                  <a:lnTo>
                    <a:pt x="346" y="519"/>
                  </a:lnTo>
                  <a:close/>
                  <a:moveTo>
                    <a:pt x="1070" y="512"/>
                  </a:moveTo>
                  <a:lnTo>
                    <a:pt x="1072" y="512"/>
                  </a:lnTo>
                  <a:lnTo>
                    <a:pt x="1072" y="514"/>
                  </a:lnTo>
                  <a:lnTo>
                    <a:pt x="1070" y="514"/>
                  </a:lnTo>
                  <a:lnTo>
                    <a:pt x="1070" y="512"/>
                  </a:lnTo>
                  <a:close/>
                  <a:moveTo>
                    <a:pt x="751" y="510"/>
                  </a:moveTo>
                  <a:lnTo>
                    <a:pt x="746" y="517"/>
                  </a:lnTo>
                  <a:lnTo>
                    <a:pt x="741" y="521"/>
                  </a:lnTo>
                  <a:lnTo>
                    <a:pt x="741" y="517"/>
                  </a:lnTo>
                  <a:lnTo>
                    <a:pt x="748" y="512"/>
                  </a:lnTo>
                  <a:lnTo>
                    <a:pt x="751" y="510"/>
                  </a:lnTo>
                  <a:close/>
                  <a:moveTo>
                    <a:pt x="411" y="505"/>
                  </a:moveTo>
                  <a:lnTo>
                    <a:pt x="411" y="509"/>
                  </a:lnTo>
                  <a:lnTo>
                    <a:pt x="408" y="510"/>
                  </a:lnTo>
                  <a:lnTo>
                    <a:pt x="408" y="507"/>
                  </a:lnTo>
                  <a:lnTo>
                    <a:pt x="411" y="505"/>
                  </a:lnTo>
                  <a:close/>
                  <a:moveTo>
                    <a:pt x="1051" y="503"/>
                  </a:moveTo>
                  <a:lnTo>
                    <a:pt x="1053" y="505"/>
                  </a:lnTo>
                  <a:lnTo>
                    <a:pt x="1050" y="505"/>
                  </a:lnTo>
                  <a:lnTo>
                    <a:pt x="1050" y="503"/>
                  </a:lnTo>
                  <a:lnTo>
                    <a:pt x="1051" y="503"/>
                  </a:lnTo>
                  <a:close/>
                  <a:moveTo>
                    <a:pt x="1053" y="500"/>
                  </a:moveTo>
                  <a:lnTo>
                    <a:pt x="1057" y="500"/>
                  </a:lnTo>
                  <a:lnTo>
                    <a:pt x="1057" y="502"/>
                  </a:lnTo>
                  <a:lnTo>
                    <a:pt x="1053" y="502"/>
                  </a:lnTo>
                  <a:lnTo>
                    <a:pt x="1053" y="500"/>
                  </a:lnTo>
                  <a:close/>
                  <a:moveTo>
                    <a:pt x="691" y="495"/>
                  </a:moveTo>
                  <a:lnTo>
                    <a:pt x="693" y="497"/>
                  </a:lnTo>
                  <a:lnTo>
                    <a:pt x="693" y="498"/>
                  </a:lnTo>
                  <a:lnTo>
                    <a:pt x="690" y="502"/>
                  </a:lnTo>
                  <a:lnTo>
                    <a:pt x="688" y="502"/>
                  </a:lnTo>
                  <a:lnTo>
                    <a:pt x="688" y="497"/>
                  </a:lnTo>
                  <a:lnTo>
                    <a:pt x="691" y="495"/>
                  </a:lnTo>
                  <a:close/>
                  <a:moveTo>
                    <a:pt x="1081" y="497"/>
                  </a:moveTo>
                  <a:lnTo>
                    <a:pt x="1075" y="497"/>
                  </a:lnTo>
                  <a:lnTo>
                    <a:pt x="1074" y="495"/>
                  </a:lnTo>
                  <a:lnTo>
                    <a:pt x="1075" y="497"/>
                  </a:lnTo>
                  <a:lnTo>
                    <a:pt x="1081" y="495"/>
                  </a:lnTo>
                  <a:lnTo>
                    <a:pt x="1081" y="497"/>
                  </a:lnTo>
                  <a:lnTo>
                    <a:pt x="1082" y="493"/>
                  </a:lnTo>
                  <a:lnTo>
                    <a:pt x="1081" y="497"/>
                  </a:lnTo>
                  <a:close/>
                  <a:moveTo>
                    <a:pt x="1070" y="493"/>
                  </a:moveTo>
                  <a:lnTo>
                    <a:pt x="1072" y="495"/>
                  </a:lnTo>
                  <a:lnTo>
                    <a:pt x="1063" y="500"/>
                  </a:lnTo>
                  <a:lnTo>
                    <a:pt x="1060" y="498"/>
                  </a:lnTo>
                  <a:lnTo>
                    <a:pt x="1062" y="497"/>
                  </a:lnTo>
                  <a:lnTo>
                    <a:pt x="1063" y="498"/>
                  </a:lnTo>
                  <a:lnTo>
                    <a:pt x="1067" y="493"/>
                  </a:lnTo>
                  <a:lnTo>
                    <a:pt x="1069" y="495"/>
                  </a:lnTo>
                  <a:lnTo>
                    <a:pt x="1070" y="493"/>
                  </a:lnTo>
                  <a:close/>
                  <a:moveTo>
                    <a:pt x="696" y="488"/>
                  </a:moveTo>
                  <a:lnTo>
                    <a:pt x="695" y="492"/>
                  </a:lnTo>
                  <a:lnTo>
                    <a:pt x="693" y="492"/>
                  </a:lnTo>
                  <a:lnTo>
                    <a:pt x="696" y="488"/>
                  </a:lnTo>
                  <a:close/>
                  <a:moveTo>
                    <a:pt x="1057" y="481"/>
                  </a:moveTo>
                  <a:lnTo>
                    <a:pt x="1057" y="483"/>
                  </a:lnTo>
                  <a:lnTo>
                    <a:pt x="1055" y="485"/>
                  </a:lnTo>
                  <a:lnTo>
                    <a:pt x="1051" y="485"/>
                  </a:lnTo>
                  <a:lnTo>
                    <a:pt x="1053" y="483"/>
                  </a:lnTo>
                  <a:lnTo>
                    <a:pt x="1055" y="483"/>
                  </a:lnTo>
                  <a:lnTo>
                    <a:pt x="1055" y="481"/>
                  </a:lnTo>
                  <a:lnTo>
                    <a:pt x="1057" y="481"/>
                  </a:lnTo>
                  <a:close/>
                  <a:moveTo>
                    <a:pt x="457" y="478"/>
                  </a:moveTo>
                  <a:lnTo>
                    <a:pt x="456" y="481"/>
                  </a:lnTo>
                  <a:lnTo>
                    <a:pt x="454" y="483"/>
                  </a:lnTo>
                  <a:lnTo>
                    <a:pt x="452" y="481"/>
                  </a:lnTo>
                  <a:lnTo>
                    <a:pt x="452" y="483"/>
                  </a:lnTo>
                  <a:lnTo>
                    <a:pt x="451" y="481"/>
                  </a:lnTo>
                  <a:lnTo>
                    <a:pt x="452" y="478"/>
                  </a:lnTo>
                  <a:lnTo>
                    <a:pt x="457" y="478"/>
                  </a:lnTo>
                  <a:close/>
                  <a:moveTo>
                    <a:pt x="1051" y="476"/>
                  </a:moveTo>
                  <a:lnTo>
                    <a:pt x="1055" y="481"/>
                  </a:lnTo>
                  <a:lnTo>
                    <a:pt x="1048" y="483"/>
                  </a:lnTo>
                  <a:lnTo>
                    <a:pt x="1051" y="476"/>
                  </a:lnTo>
                  <a:close/>
                  <a:moveTo>
                    <a:pt x="1048" y="473"/>
                  </a:moveTo>
                  <a:lnTo>
                    <a:pt x="1050" y="473"/>
                  </a:lnTo>
                  <a:lnTo>
                    <a:pt x="1050" y="476"/>
                  </a:lnTo>
                  <a:lnTo>
                    <a:pt x="1048" y="476"/>
                  </a:lnTo>
                  <a:lnTo>
                    <a:pt x="1048" y="473"/>
                  </a:lnTo>
                  <a:close/>
                  <a:moveTo>
                    <a:pt x="703" y="473"/>
                  </a:moveTo>
                  <a:lnTo>
                    <a:pt x="707" y="473"/>
                  </a:lnTo>
                  <a:lnTo>
                    <a:pt x="707" y="476"/>
                  </a:lnTo>
                  <a:lnTo>
                    <a:pt x="703" y="480"/>
                  </a:lnTo>
                  <a:lnTo>
                    <a:pt x="700" y="478"/>
                  </a:lnTo>
                  <a:lnTo>
                    <a:pt x="698" y="481"/>
                  </a:lnTo>
                  <a:lnTo>
                    <a:pt x="700" y="483"/>
                  </a:lnTo>
                  <a:lnTo>
                    <a:pt x="703" y="481"/>
                  </a:lnTo>
                  <a:lnTo>
                    <a:pt x="702" y="485"/>
                  </a:lnTo>
                  <a:lnTo>
                    <a:pt x="695" y="488"/>
                  </a:lnTo>
                  <a:lnTo>
                    <a:pt x="695" y="481"/>
                  </a:lnTo>
                  <a:lnTo>
                    <a:pt x="700" y="476"/>
                  </a:lnTo>
                  <a:lnTo>
                    <a:pt x="700" y="473"/>
                  </a:lnTo>
                  <a:lnTo>
                    <a:pt x="703" y="473"/>
                  </a:lnTo>
                  <a:close/>
                  <a:moveTo>
                    <a:pt x="1055" y="474"/>
                  </a:moveTo>
                  <a:lnTo>
                    <a:pt x="1053" y="476"/>
                  </a:lnTo>
                  <a:lnTo>
                    <a:pt x="1051" y="476"/>
                  </a:lnTo>
                  <a:lnTo>
                    <a:pt x="1050" y="476"/>
                  </a:lnTo>
                  <a:lnTo>
                    <a:pt x="1051" y="474"/>
                  </a:lnTo>
                  <a:lnTo>
                    <a:pt x="1050" y="476"/>
                  </a:lnTo>
                  <a:lnTo>
                    <a:pt x="1051" y="471"/>
                  </a:lnTo>
                  <a:lnTo>
                    <a:pt x="1055" y="474"/>
                  </a:lnTo>
                  <a:close/>
                  <a:moveTo>
                    <a:pt x="1084" y="464"/>
                  </a:moveTo>
                  <a:lnTo>
                    <a:pt x="1087" y="468"/>
                  </a:lnTo>
                  <a:lnTo>
                    <a:pt x="1086" y="468"/>
                  </a:lnTo>
                  <a:lnTo>
                    <a:pt x="1082" y="468"/>
                  </a:lnTo>
                  <a:lnTo>
                    <a:pt x="1082" y="466"/>
                  </a:lnTo>
                  <a:lnTo>
                    <a:pt x="1082" y="464"/>
                  </a:lnTo>
                  <a:lnTo>
                    <a:pt x="1084" y="464"/>
                  </a:lnTo>
                  <a:close/>
                  <a:moveTo>
                    <a:pt x="1062" y="464"/>
                  </a:moveTo>
                  <a:lnTo>
                    <a:pt x="1063" y="464"/>
                  </a:lnTo>
                  <a:lnTo>
                    <a:pt x="1063" y="468"/>
                  </a:lnTo>
                  <a:lnTo>
                    <a:pt x="1062" y="468"/>
                  </a:lnTo>
                  <a:lnTo>
                    <a:pt x="1062" y="464"/>
                  </a:lnTo>
                  <a:close/>
                  <a:moveTo>
                    <a:pt x="1075" y="461"/>
                  </a:moveTo>
                  <a:lnTo>
                    <a:pt x="1082" y="466"/>
                  </a:lnTo>
                  <a:lnTo>
                    <a:pt x="1079" y="469"/>
                  </a:lnTo>
                  <a:lnTo>
                    <a:pt x="1079" y="476"/>
                  </a:lnTo>
                  <a:lnTo>
                    <a:pt x="1075" y="478"/>
                  </a:lnTo>
                  <a:lnTo>
                    <a:pt x="1077" y="480"/>
                  </a:lnTo>
                  <a:lnTo>
                    <a:pt x="1072" y="485"/>
                  </a:lnTo>
                  <a:lnTo>
                    <a:pt x="1065" y="483"/>
                  </a:lnTo>
                  <a:lnTo>
                    <a:pt x="1067" y="480"/>
                  </a:lnTo>
                  <a:lnTo>
                    <a:pt x="1065" y="476"/>
                  </a:lnTo>
                  <a:lnTo>
                    <a:pt x="1070" y="473"/>
                  </a:lnTo>
                  <a:lnTo>
                    <a:pt x="1074" y="462"/>
                  </a:lnTo>
                  <a:lnTo>
                    <a:pt x="1075" y="461"/>
                  </a:lnTo>
                  <a:close/>
                  <a:moveTo>
                    <a:pt x="1075" y="457"/>
                  </a:moveTo>
                  <a:lnTo>
                    <a:pt x="1079" y="457"/>
                  </a:lnTo>
                  <a:lnTo>
                    <a:pt x="1079" y="461"/>
                  </a:lnTo>
                  <a:lnTo>
                    <a:pt x="1075" y="461"/>
                  </a:lnTo>
                  <a:lnTo>
                    <a:pt x="1075" y="457"/>
                  </a:lnTo>
                  <a:close/>
                  <a:moveTo>
                    <a:pt x="1017" y="454"/>
                  </a:moveTo>
                  <a:lnTo>
                    <a:pt x="1019" y="454"/>
                  </a:lnTo>
                  <a:lnTo>
                    <a:pt x="1019" y="457"/>
                  </a:lnTo>
                  <a:lnTo>
                    <a:pt x="1017" y="457"/>
                  </a:lnTo>
                  <a:lnTo>
                    <a:pt x="1017" y="454"/>
                  </a:lnTo>
                  <a:close/>
                  <a:moveTo>
                    <a:pt x="1060" y="457"/>
                  </a:moveTo>
                  <a:lnTo>
                    <a:pt x="1058" y="457"/>
                  </a:lnTo>
                  <a:lnTo>
                    <a:pt x="1060" y="456"/>
                  </a:lnTo>
                  <a:lnTo>
                    <a:pt x="1060" y="452"/>
                  </a:lnTo>
                  <a:lnTo>
                    <a:pt x="1062" y="454"/>
                  </a:lnTo>
                  <a:lnTo>
                    <a:pt x="1060" y="457"/>
                  </a:lnTo>
                  <a:close/>
                  <a:moveTo>
                    <a:pt x="1091" y="449"/>
                  </a:moveTo>
                  <a:lnTo>
                    <a:pt x="1092" y="451"/>
                  </a:lnTo>
                  <a:lnTo>
                    <a:pt x="1089" y="457"/>
                  </a:lnTo>
                  <a:lnTo>
                    <a:pt x="1087" y="456"/>
                  </a:lnTo>
                  <a:lnTo>
                    <a:pt x="1087" y="457"/>
                  </a:lnTo>
                  <a:lnTo>
                    <a:pt x="1086" y="457"/>
                  </a:lnTo>
                  <a:lnTo>
                    <a:pt x="1084" y="452"/>
                  </a:lnTo>
                  <a:lnTo>
                    <a:pt x="1091" y="449"/>
                  </a:lnTo>
                  <a:close/>
                  <a:moveTo>
                    <a:pt x="1058" y="456"/>
                  </a:moveTo>
                  <a:lnTo>
                    <a:pt x="1062" y="449"/>
                  </a:lnTo>
                  <a:lnTo>
                    <a:pt x="1062" y="451"/>
                  </a:lnTo>
                  <a:lnTo>
                    <a:pt x="1058" y="456"/>
                  </a:lnTo>
                  <a:close/>
                  <a:moveTo>
                    <a:pt x="1048" y="445"/>
                  </a:moveTo>
                  <a:lnTo>
                    <a:pt x="1050" y="445"/>
                  </a:lnTo>
                  <a:lnTo>
                    <a:pt x="1050" y="449"/>
                  </a:lnTo>
                  <a:lnTo>
                    <a:pt x="1048" y="449"/>
                  </a:lnTo>
                  <a:lnTo>
                    <a:pt x="1048" y="445"/>
                  </a:lnTo>
                  <a:close/>
                  <a:moveTo>
                    <a:pt x="1069" y="447"/>
                  </a:moveTo>
                  <a:lnTo>
                    <a:pt x="1067" y="452"/>
                  </a:lnTo>
                  <a:lnTo>
                    <a:pt x="1062" y="454"/>
                  </a:lnTo>
                  <a:lnTo>
                    <a:pt x="1060" y="452"/>
                  </a:lnTo>
                  <a:lnTo>
                    <a:pt x="1062" y="449"/>
                  </a:lnTo>
                  <a:lnTo>
                    <a:pt x="1067" y="445"/>
                  </a:lnTo>
                  <a:lnTo>
                    <a:pt x="1069" y="445"/>
                  </a:lnTo>
                  <a:lnTo>
                    <a:pt x="1069" y="447"/>
                  </a:lnTo>
                  <a:close/>
                  <a:moveTo>
                    <a:pt x="1075" y="445"/>
                  </a:moveTo>
                  <a:lnTo>
                    <a:pt x="1081" y="449"/>
                  </a:lnTo>
                  <a:lnTo>
                    <a:pt x="1082" y="456"/>
                  </a:lnTo>
                  <a:lnTo>
                    <a:pt x="1081" y="457"/>
                  </a:lnTo>
                  <a:lnTo>
                    <a:pt x="1077" y="456"/>
                  </a:lnTo>
                  <a:lnTo>
                    <a:pt x="1074" y="459"/>
                  </a:lnTo>
                  <a:lnTo>
                    <a:pt x="1070" y="457"/>
                  </a:lnTo>
                  <a:lnTo>
                    <a:pt x="1070" y="452"/>
                  </a:lnTo>
                  <a:lnTo>
                    <a:pt x="1069" y="451"/>
                  </a:lnTo>
                  <a:lnTo>
                    <a:pt x="1069" y="449"/>
                  </a:lnTo>
                  <a:lnTo>
                    <a:pt x="1074" y="444"/>
                  </a:lnTo>
                  <a:lnTo>
                    <a:pt x="1075" y="445"/>
                  </a:lnTo>
                  <a:close/>
                  <a:moveTo>
                    <a:pt x="1084" y="435"/>
                  </a:moveTo>
                  <a:lnTo>
                    <a:pt x="1086" y="439"/>
                  </a:lnTo>
                  <a:lnTo>
                    <a:pt x="1084" y="442"/>
                  </a:lnTo>
                  <a:lnTo>
                    <a:pt x="1084" y="435"/>
                  </a:lnTo>
                  <a:close/>
                  <a:moveTo>
                    <a:pt x="1081" y="444"/>
                  </a:moveTo>
                  <a:lnTo>
                    <a:pt x="1079" y="442"/>
                  </a:lnTo>
                  <a:lnTo>
                    <a:pt x="1079" y="437"/>
                  </a:lnTo>
                  <a:lnTo>
                    <a:pt x="1082" y="435"/>
                  </a:lnTo>
                  <a:lnTo>
                    <a:pt x="1082" y="442"/>
                  </a:lnTo>
                  <a:lnTo>
                    <a:pt x="1081" y="444"/>
                  </a:lnTo>
                  <a:close/>
                  <a:moveTo>
                    <a:pt x="1031" y="430"/>
                  </a:moveTo>
                  <a:lnTo>
                    <a:pt x="1031" y="433"/>
                  </a:lnTo>
                  <a:lnTo>
                    <a:pt x="1029" y="435"/>
                  </a:lnTo>
                  <a:lnTo>
                    <a:pt x="1028" y="430"/>
                  </a:lnTo>
                  <a:lnTo>
                    <a:pt x="1029" y="428"/>
                  </a:lnTo>
                  <a:lnTo>
                    <a:pt x="1031" y="430"/>
                  </a:lnTo>
                  <a:close/>
                  <a:moveTo>
                    <a:pt x="1057" y="430"/>
                  </a:moveTo>
                  <a:lnTo>
                    <a:pt x="1057" y="432"/>
                  </a:lnTo>
                  <a:lnTo>
                    <a:pt x="1055" y="430"/>
                  </a:lnTo>
                  <a:lnTo>
                    <a:pt x="1057" y="428"/>
                  </a:lnTo>
                  <a:lnTo>
                    <a:pt x="1057" y="430"/>
                  </a:lnTo>
                  <a:close/>
                  <a:moveTo>
                    <a:pt x="1033" y="427"/>
                  </a:moveTo>
                  <a:lnTo>
                    <a:pt x="1034" y="427"/>
                  </a:lnTo>
                  <a:lnTo>
                    <a:pt x="1034" y="430"/>
                  </a:lnTo>
                  <a:lnTo>
                    <a:pt x="1033" y="430"/>
                  </a:lnTo>
                  <a:lnTo>
                    <a:pt x="1033" y="427"/>
                  </a:lnTo>
                  <a:close/>
                  <a:moveTo>
                    <a:pt x="515" y="428"/>
                  </a:moveTo>
                  <a:lnTo>
                    <a:pt x="517" y="430"/>
                  </a:lnTo>
                  <a:lnTo>
                    <a:pt x="514" y="428"/>
                  </a:lnTo>
                  <a:lnTo>
                    <a:pt x="515" y="428"/>
                  </a:lnTo>
                  <a:close/>
                  <a:moveTo>
                    <a:pt x="1087" y="435"/>
                  </a:moveTo>
                  <a:lnTo>
                    <a:pt x="1086" y="432"/>
                  </a:lnTo>
                  <a:lnTo>
                    <a:pt x="1091" y="427"/>
                  </a:lnTo>
                  <a:lnTo>
                    <a:pt x="1091" y="430"/>
                  </a:lnTo>
                  <a:lnTo>
                    <a:pt x="1087" y="435"/>
                  </a:lnTo>
                  <a:close/>
                  <a:moveTo>
                    <a:pt x="1031" y="428"/>
                  </a:moveTo>
                  <a:lnTo>
                    <a:pt x="1031" y="430"/>
                  </a:lnTo>
                  <a:lnTo>
                    <a:pt x="1029" y="428"/>
                  </a:lnTo>
                  <a:lnTo>
                    <a:pt x="1031" y="427"/>
                  </a:lnTo>
                  <a:lnTo>
                    <a:pt x="1031" y="428"/>
                  </a:lnTo>
                  <a:close/>
                  <a:moveTo>
                    <a:pt x="1029" y="425"/>
                  </a:moveTo>
                  <a:lnTo>
                    <a:pt x="1029" y="428"/>
                  </a:lnTo>
                  <a:lnTo>
                    <a:pt x="1029" y="425"/>
                  </a:lnTo>
                  <a:close/>
                  <a:moveTo>
                    <a:pt x="1096" y="425"/>
                  </a:moveTo>
                  <a:lnTo>
                    <a:pt x="1098" y="428"/>
                  </a:lnTo>
                  <a:lnTo>
                    <a:pt x="1094" y="433"/>
                  </a:lnTo>
                  <a:lnTo>
                    <a:pt x="1098" y="428"/>
                  </a:lnTo>
                  <a:lnTo>
                    <a:pt x="1098" y="427"/>
                  </a:lnTo>
                  <a:lnTo>
                    <a:pt x="1101" y="430"/>
                  </a:lnTo>
                  <a:lnTo>
                    <a:pt x="1099" y="433"/>
                  </a:lnTo>
                  <a:lnTo>
                    <a:pt x="1096" y="439"/>
                  </a:lnTo>
                  <a:lnTo>
                    <a:pt x="1094" y="444"/>
                  </a:lnTo>
                  <a:lnTo>
                    <a:pt x="1092" y="449"/>
                  </a:lnTo>
                  <a:lnTo>
                    <a:pt x="1087" y="445"/>
                  </a:lnTo>
                  <a:lnTo>
                    <a:pt x="1089" y="444"/>
                  </a:lnTo>
                  <a:lnTo>
                    <a:pt x="1087" y="439"/>
                  </a:lnTo>
                  <a:lnTo>
                    <a:pt x="1092" y="430"/>
                  </a:lnTo>
                  <a:lnTo>
                    <a:pt x="1092" y="433"/>
                  </a:lnTo>
                  <a:lnTo>
                    <a:pt x="1094" y="435"/>
                  </a:lnTo>
                  <a:lnTo>
                    <a:pt x="1092" y="433"/>
                  </a:lnTo>
                  <a:lnTo>
                    <a:pt x="1092" y="428"/>
                  </a:lnTo>
                  <a:lnTo>
                    <a:pt x="1094" y="425"/>
                  </a:lnTo>
                  <a:lnTo>
                    <a:pt x="1096" y="425"/>
                  </a:lnTo>
                  <a:close/>
                  <a:moveTo>
                    <a:pt x="1046" y="425"/>
                  </a:moveTo>
                  <a:lnTo>
                    <a:pt x="1048" y="427"/>
                  </a:lnTo>
                  <a:lnTo>
                    <a:pt x="1051" y="428"/>
                  </a:lnTo>
                  <a:lnTo>
                    <a:pt x="1055" y="432"/>
                  </a:lnTo>
                  <a:lnTo>
                    <a:pt x="1055" y="435"/>
                  </a:lnTo>
                  <a:lnTo>
                    <a:pt x="1057" y="432"/>
                  </a:lnTo>
                  <a:lnTo>
                    <a:pt x="1057" y="435"/>
                  </a:lnTo>
                  <a:lnTo>
                    <a:pt x="1063" y="439"/>
                  </a:lnTo>
                  <a:lnTo>
                    <a:pt x="1065" y="445"/>
                  </a:lnTo>
                  <a:lnTo>
                    <a:pt x="1058" y="449"/>
                  </a:lnTo>
                  <a:lnTo>
                    <a:pt x="1060" y="449"/>
                  </a:lnTo>
                  <a:lnTo>
                    <a:pt x="1057" y="456"/>
                  </a:lnTo>
                  <a:lnTo>
                    <a:pt x="1053" y="456"/>
                  </a:lnTo>
                  <a:lnTo>
                    <a:pt x="1051" y="451"/>
                  </a:lnTo>
                  <a:lnTo>
                    <a:pt x="1050" y="451"/>
                  </a:lnTo>
                  <a:lnTo>
                    <a:pt x="1050" y="447"/>
                  </a:lnTo>
                  <a:lnTo>
                    <a:pt x="1050" y="444"/>
                  </a:lnTo>
                  <a:lnTo>
                    <a:pt x="1048" y="445"/>
                  </a:lnTo>
                  <a:lnTo>
                    <a:pt x="1048" y="444"/>
                  </a:lnTo>
                  <a:lnTo>
                    <a:pt x="1046" y="442"/>
                  </a:lnTo>
                  <a:lnTo>
                    <a:pt x="1045" y="444"/>
                  </a:lnTo>
                  <a:lnTo>
                    <a:pt x="1040" y="439"/>
                  </a:lnTo>
                  <a:lnTo>
                    <a:pt x="1036" y="439"/>
                  </a:lnTo>
                  <a:lnTo>
                    <a:pt x="1038" y="437"/>
                  </a:lnTo>
                  <a:lnTo>
                    <a:pt x="1036" y="437"/>
                  </a:lnTo>
                  <a:lnTo>
                    <a:pt x="1034" y="435"/>
                  </a:lnTo>
                  <a:lnTo>
                    <a:pt x="1036" y="430"/>
                  </a:lnTo>
                  <a:lnTo>
                    <a:pt x="1040" y="428"/>
                  </a:lnTo>
                  <a:lnTo>
                    <a:pt x="1041" y="427"/>
                  </a:lnTo>
                  <a:lnTo>
                    <a:pt x="1046" y="425"/>
                  </a:lnTo>
                  <a:close/>
                  <a:moveTo>
                    <a:pt x="1041" y="423"/>
                  </a:moveTo>
                  <a:lnTo>
                    <a:pt x="1043" y="423"/>
                  </a:lnTo>
                  <a:lnTo>
                    <a:pt x="1043" y="425"/>
                  </a:lnTo>
                  <a:lnTo>
                    <a:pt x="1041" y="425"/>
                  </a:lnTo>
                  <a:lnTo>
                    <a:pt x="1041" y="423"/>
                  </a:lnTo>
                  <a:close/>
                  <a:moveTo>
                    <a:pt x="1045" y="423"/>
                  </a:moveTo>
                  <a:lnTo>
                    <a:pt x="1043" y="420"/>
                  </a:lnTo>
                  <a:lnTo>
                    <a:pt x="1045" y="423"/>
                  </a:lnTo>
                  <a:close/>
                  <a:moveTo>
                    <a:pt x="1036" y="418"/>
                  </a:moveTo>
                  <a:lnTo>
                    <a:pt x="1038" y="418"/>
                  </a:lnTo>
                  <a:lnTo>
                    <a:pt x="1038" y="422"/>
                  </a:lnTo>
                  <a:lnTo>
                    <a:pt x="1036" y="422"/>
                  </a:lnTo>
                  <a:lnTo>
                    <a:pt x="1036" y="418"/>
                  </a:lnTo>
                  <a:close/>
                  <a:moveTo>
                    <a:pt x="1045" y="423"/>
                  </a:moveTo>
                  <a:lnTo>
                    <a:pt x="1043" y="423"/>
                  </a:lnTo>
                  <a:lnTo>
                    <a:pt x="1040" y="420"/>
                  </a:lnTo>
                  <a:lnTo>
                    <a:pt x="1041" y="418"/>
                  </a:lnTo>
                  <a:lnTo>
                    <a:pt x="1043" y="420"/>
                  </a:lnTo>
                  <a:lnTo>
                    <a:pt x="1045" y="423"/>
                  </a:lnTo>
                  <a:close/>
                  <a:moveTo>
                    <a:pt x="1031" y="416"/>
                  </a:moveTo>
                  <a:lnTo>
                    <a:pt x="1033" y="416"/>
                  </a:lnTo>
                  <a:lnTo>
                    <a:pt x="1033" y="420"/>
                  </a:lnTo>
                  <a:lnTo>
                    <a:pt x="1031" y="420"/>
                  </a:lnTo>
                  <a:lnTo>
                    <a:pt x="1031" y="416"/>
                  </a:lnTo>
                  <a:close/>
                  <a:moveTo>
                    <a:pt x="1017" y="415"/>
                  </a:moveTo>
                  <a:lnTo>
                    <a:pt x="1019" y="415"/>
                  </a:lnTo>
                  <a:lnTo>
                    <a:pt x="1019" y="416"/>
                  </a:lnTo>
                  <a:lnTo>
                    <a:pt x="1017" y="416"/>
                  </a:lnTo>
                  <a:lnTo>
                    <a:pt x="1017" y="415"/>
                  </a:lnTo>
                  <a:close/>
                  <a:moveTo>
                    <a:pt x="1096" y="415"/>
                  </a:moveTo>
                  <a:lnTo>
                    <a:pt x="1094" y="418"/>
                  </a:lnTo>
                  <a:lnTo>
                    <a:pt x="1094" y="416"/>
                  </a:lnTo>
                  <a:lnTo>
                    <a:pt x="1096" y="415"/>
                  </a:lnTo>
                  <a:close/>
                  <a:moveTo>
                    <a:pt x="1005" y="411"/>
                  </a:moveTo>
                  <a:lnTo>
                    <a:pt x="1009" y="411"/>
                  </a:lnTo>
                  <a:lnTo>
                    <a:pt x="1012" y="416"/>
                  </a:lnTo>
                  <a:lnTo>
                    <a:pt x="1019" y="418"/>
                  </a:lnTo>
                  <a:lnTo>
                    <a:pt x="1024" y="423"/>
                  </a:lnTo>
                  <a:lnTo>
                    <a:pt x="1026" y="427"/>
                  </a:lnTo>
                  <a:lnTo>
                    <a:pt x="1028" y="427"/>
                  </a:lnTo>
                  <a:lnTo>
                    <a:pt x="1029" y="428"/>
                  </a:lnTo>
                  <a:lnTo>
                    <a:pt x="1028" y="430"/>
                  </a:lnTo>
                  <a:lnTo>
                    <a:pt x="1028" y="433"/>
                  </a:lnTo>
                  <a:lnTo>
                    <a:pt x="1028" y="435"/>
                  </a:lnTo>
                  <a:lnTo>
                    <a:pt x="1029" y="433"/>
                  </a:lnTo>
                  <a:lnTo>
                    <a:pt x="1033" y="439"/>
                  </a:lnTo>
                  <a:lnTo>
                    <a:pt x="1031" y="440"/>
                  </a:lnTo>
                  <a:lnTo>
                    <a:pt x="1034" y="439"/>
                  </a:lnTo>
                  <a:lnTo>
                    <a:pt x="1034" y="440"/>
                  </a:lnTo>
                  <a:lnTo>
                    <a:pt x="1036" y="440"/>
                  </a:lnTo>
                  <a:lnTo>
                    <a:pt x="1040" y="439"/>
                  </a:lnTo>
                  <a:lnTo>
                    <a:pt x="1043" y="445"/>
                  </a:lnTo>
                  <a:lnTo>
                    <a:pt x="1046" y="444"/>
                  </a:lnTo>
                  <a:lnTo>
                    <a:pt x="1048" y="451"/>
                  </a:lnTo>
                  <a:lnTo>
                    <a:pt x="1051" y="454"/>
                  </a:lnTo>
                  <a:lnTo>
                    <a:pt x="1050" y="454"/>
                  </a:lnTo>
                  <a:lnTo>
                    <a:pt x="1048" y="457"/>
                  </a:lnTo>
                  <a:lnTo>
                    <a:pt x="1051" y="457"/>
                  </a:lnTo>
                  <a:lnTo>
                    <a:pt x="1050" y="459"/>
                  </a:lnTo>
                  <a:lnTo>
                    <a:pt x="1046" y="459"/>
                  </a:lnTo>
                  <a:lnTo>
                    <a:pt x="1050" y="461"/>
                  </a:lnTo>
                  <a:lnTo>
                    <a:pt x="1053" y="461"/>
                  </a:lnTo>
                  <a:lnTo>
                    <a:pt x="1055" y="461"/>
                  </a:lnTo>
                  <a:lnTo>
                    <a:pt x="1053" y="464"/>
                  </a:lnTo>
                  <a:lnTo>
                    <a:pt x="1051" y="466"/>
                  </a:lnTo>
                  <a:lnTo>
                    <a:pt x="1050" y="469"/>
                  </a:lnTo>
                  <a:lnTo>
                    <a:pt x="1048" y="471"/>
                  </a:lnTo>
                  <a:lnTo>
                    <a:pt x="1046" y="473"/>
                  </a:lnTo>
                  <a:lnTo>
                    <a:pt x="1043" y="469"/>
                  </a:lnTo>
                  <a:lnTo>
                    <a:pt x="1040" y="473"/>
                  </a:lnTo>
                  <a:lnTo>
                    <a:pt x="1043" y="471"/>
                  </a:lnTo>
                  <a:lnTo>
                    <a:pt x="1043" y="473"/>
                  </a:lnTo>
                  <a:lnTo>
                    <a:pt x="1045" y="474"/>
                  </a:lnTo>
                  <a:lnTo>
                    <a:pt x="1038" y="480"/>
                  </a:lnTo>
                  <a:lnTo>
                    <a:pt x="1040" y="481"/>
                  </a:lnTo>
                  <a:lnTo>
                    <a:pt x="1036" y="485"/>
                  </a:lnTo>
                  <a:lnTo>
                    <a:pt x="1034" y="488"/>
                  </a:lnTo>
                  <a:lnTo>
                    <a:pt x="1031" y="488"/>
                  </a:lnTo>
                  <a:lnTo>
                    <a:pt x="1033" y="488"/>
                  </a:lnTo>
                  <a:lnTo>
                    <a:pt x="1033" y="492"/>
                  </a:lnTo>
                  <a:lnTo>
                    <a:pt x="1034" y="488"/>
                  </a:lnTo>
                  <a:lnTo>
                    <a:pt x="1036" y="490"/>
                  </a:lnTo>
                  <a:lnTo>
                    <a:pt x="1031" y="495"/>
                  </a:lnTo>
                  <a:lnTo>
                    <a:pt x="1029" y="495"/>
                  </a:lnTo>
                  <a:lnTo>
                    <a:pt x="1021" y="498"/>
                  </a:lnTo>
                  <a:lnTo>
                    <a:pt x="1017" y="500"/>
                  </a:lnTo>
                  <a:lnTo>
                    <a:pt x="1016" y="500"/>
                  </a:lnTo>
                  <a:lnTo>
                    <a:pt x="1014" y="505"/>
                  </a:lnTo>
                  <a:lnTo>
                    <a:pt x="1011" y="502"/>
                  </a:lnTo>
                  <a:lnTo>
                    <a:pt x="1009" y="495"/>
                  </a:lnTo>
                  <a:lnTo>
                    <a:pt x="1011" y="498"/>
                  </a:lnTo>
                  <a:lnTo>
                    <a:pt x="1011" y="493"/>
                  </a:lnTo>
                  <a:lnTo>
                    <a:pt x="1009" y="495"/>
                  </a:lnTo>
                  <a:lnTo>
                    <a:pt x="1005" y="493"/>
                  </a:lnTo>
                  <a:lnTo>
                    <a:pt x="1002" y="493"/>
                  </a:lnTo>
                  <a:lnTo>
                    <a:pt x="997" y="485"/>
                  </a:lnTo>
                  <a:lnTo>
                    <a:pt x="1002" y="474"/>
                  </a:lnTo>
                  <a:lnTo>
                    <a:pt x="1002" y="464"/>
                  </a:lnTo>
                  <a:lnTo>
                    <a:pt x="1002" y="461"/>
                  </a:lnTo>
                  <a:lnTo>
                    <a:pt x="1004" y="451"/>
                  </a:lnTo>
                  <a:lnTo>
                    <a:pt x="1005" y="445"/>
                  </a:lnTo>
                  <a:lnTo>
                    <a:pt x="1007" y="449"/>
                  </a:lnTo>
                  <a:lnTo>
                    <a:pt x="1012" y="449"/>
                  </a:lnTo>
                  <a:lnTo>
                    <a:pt x="1012" y="452"/>
                  </a:lnTo>
                  <a:lnTo>
                    <a:pt x="1016" y="451"/>
                  </a:lnTo>
                  <a:lnTo>
                    <a:pt x="1016" y="456"/>
                  </a:lnTo>
                  <a:lnTo>
                    <a:pt x="1019" y="461"/>
                  </a:lnTo>
                  <a:lnTo>
                    <a:pt x="1017" y="457"/>
                  </a:lnTo>
                  <a:lnTo>
                    <a:pt x="1019" y="452"/>
                  </a:lnTo>
                  <a:lnTo>
                    <a:pt x="1017" y="452"/>
                  </a:lnTo>
                  <a:lnTo>
                    <a:pt x="1017" y="451"/>
                  </a:lnTo>
                  <a:lnTo>
                    <a:pt x="1016" y="447"/>
                  </a:lnTo>
                  <a:lnTo>
                    <a:pt x="1017" y="445"/>
                  </a:lnTo>
                  <a:lnTo>
                    <a:pt x="1014" y="447"/>
                  </a:lnTo>
                  <a:lnTo>
                    <a:pt x="1017" y="442"/>
                  </a:lnTo>
                  <a:lnTo>
                    <a:pt x="1016" y="442"/>
                  </a:lnTo>
                  <a:lnTo>
                    <a:pt x="1014" y="445"/>
                  </a:lnTo>
                  <a:lnTo>
                    <a:pt x="1009" y="447"/>
                  </a:lnTo>
                  <a:lnTo>
                    <a:pt x="1005" y="442"/>
                  </a:lnTo>
                  <a:lnTo>
                    <a:pt x="1005" y="439"/>
                  </a:lnTo>
                  <a:lnTo>
                    <a:pt x="1007" y="437"/>
                  </a:lnTo>
                  <a:lnTo>
                    <a:pt x="1005" y="437"/>
                  </a:lnTo>
                  <a:lnTo>
                    <a:pt x="1009" y="430"/>
                  </a:lnTo>
                  <a:lnTo>
                    <a:pt x="1005" y="422"/>
                  </a:lnTo>
                  <a:lnTo>
                    <a:pt x="1007" y="420"/>
                  </a:lnTo>
                  <a:lnTo>
                    <a:pt x="1009" y="422"/>
                  </a:lnTo>
                  <a:lnTo>
                    <a:pt x="1007" y="420"/>
                  </a:lnTo>
                  <a:lnTo>
                    <a:pt x="1005" y="420"/>
                  </a:lnTo>
                  <a:lnTo>
                    <a:pt x="1004" y="413"/>
                  </a:lnTo>
                  <a:lnTo>
                    <a:pt x="1005" y="411"/>
                  </a:lnTo>
                  <a:close/>
                  <a:moveTo>
                    <a:pt x="1096" y="408"/>
                  </a:moveTo>
                  <a:lnTo>
                    <a:pt x="1098" y="408"/>
                  </a:lnTo>
                  <a:lnTo>
                    <a:pt x="1098" y="410"/>
                  </a:lnTo>
                  <a:lnTo>
                    <a:pt x="1096" y="410"/>
                  </a:lnTo>
                  <a:lnTo>
                    <a:pt x="1096" y="408"/>
                  </a:lnTo>
                  <a:close/>
                  <a:moveTo>
                    <a:pt x="1024" y="406"/>
                  </a:moveTo>
                  <a:lnTo>
                    <a:pt x="1026" y="406"/>
                  </a:lnTo>
                  <a:lnTo>
                    <a:pt x="1026" y="410"/>
                  </a:lnTo>
                  <a:lnTo>
                    <a:pt x="1024" y="410"/>
                  </a:lnTo>
                  <a:lnTo>
                    <a:pt x="1024" y="406"/>
                  </a:lnTo>
                  <a:close/>
                  <a:moveTo>
                    <a:pt x="1011" y="392"/>
                  </a:moveTo>
                  <a:lnTo>
                    <a:pt x="1012" y="396"/>
                  </a:lnTo>
                  <a:lnTo>
                    <a:pt x="1019" y="394"/>
                  </a:lnTo>
                  <a:lnTo>
                    <a:pt x="1019" y="398"/>
                  </a:lnTo>
                  <a:lnTo>
                    <a:pt x="1021" y="401"/>
                  </a:lnTo>
                  <a:lnTo>
                    <a:pt x="1026" y="398"/>
                  </a:lnTo>
                  <a:lnTo>
                    <a:pt x="1021" y="406"/>
                  </a:lnTo>
                  <a:lnTo>
                    <a:pt x="1024" y="410"/>
                  </a:lnTo>
                  <a:lnTo>
                    <a:pt x="1024" y="413"/>
                  </a:lnTo>
                  <a:lnTo>
                    <a:pt x="1026" y="411"/>
                  </a:lnTo>
                  <a:lnTo>
                    <a:pt x="1028" y="411"/>
                  </a:lnTo>
                  <a:lnTo>
                    <a:pt x="1029" y="415"/>
                  </a:lnTo>
                  <a:lnTo>
                    <a:pt x="1031" y="416"/>
                  </a:lnTo>
                  <a:lnTo>
                    <a:pt x="1031" y="420"/>
                  </a:lnTo>
                  <a:lnTo>
                    <a:pt x="1033" y="418"/>
                  </a:lnTo>
                  <a:lnTo>
                    <a:pt x="1033" y="420"/>
                  </a:lnTo>
                  <a:lnTo>
                    <a:pt x="1034" y="418"/>
                  </a:lnTo>
                  <a:lnTo>
                    <a:pt x="1034" y="420"/>
                  </a:lnTo>
                  <a:lnTo>
                    <a:pt x="1036" y="422"/>
                  </a:lnTo>
                  <a:lnTo>
                    <a:pt x="1038" y="420"/>
                  </a:lnTo>
                  <a:lnTo>
                    <a:pt x="1040" y="423"/>
                  </a:lnTo>
                  <a:lnTo>
                    <a:pt x="1041" y="425"/>
                  </a:lnTo>
                  <a:lnTo>
                    <a:pt x="1043" y="425"/>
                  </a:lnTo>
                  <a:lnTo>
                    <a:pt x="1038" y="428"/>
                  </a:lnTo>
                  <a:lnTo>
                    <a:pt x="1034" y="430"/>
                  </a:lnTo>
                  <a:lnTo>
                    <a:pt x="1034" y="432"/>
                  </a:lnTo>
                  <a:lnTo>
                    <a:pt x="1033" y="432"/>
                  </a:lnTo>
                  <a:lnTo>
                    <a:pt x="1034" y="428"/>
                  </a:lnTo>
                  <a:lnTo>
                    <a:pt x="1034" y="427"/>
                  </a:lnTo>
                  <a:lnTo>
                    <a:pt x="1033" y="430"/>
                  </a:lnTo>
                  <a:lnTo>
                    <a:pt x="1031" y="425"/>
                  </a:lnTo>
                  <a:lnTo>
                    <a:pt x="1026" y="425"/>
                  </a:lnTo>
                  <a:lnTo>
                    <a:pt x="1022" y="420"/>
                  </a:lnTo>
                  <a:lnTo>
                    <a:pt x="1021" y="420"/>
                  </a:lnTo>
                  <a:lnTo>
                    <a:pt x="1019" y="415"/>
                  </a:lnTo>
                  <a:lnTo>
                    <a:pt x="1014" y="415"/>
                  </a:lnTo>
                  <a:lnTo>
                    <a:pt x="1012" y="415"/>
                  </a:lnTo>
                  <a:lnTo>
                    <a:pt x="1012" y="411"/>
                  </a:lnTo>
                  <a:lnTo>
                    <a:pt x="1016" y="410"/>
                  </a:lnTo>
                  <a:lnTo>
                    <a:pt x="1016" y="406"/>
                  </a:lnTo>
                  <a:lnTo>
                    <a:pt x="1014" y="406"/>
                  </a:lnTo>
                  <a:lnTo>
                    <a:pt x="1011" y="408"/>
                  </a:lnTo>
                  <a:lnTo>
                    <a:pt x="1011" y="410"/>
                  </a:lnTo>
                  <a:lnTo>
                    <a:pt x="1007" y="406"/>
                  </a:lnTo>
                  <a:lnTo>
                    <a:pt x="1005" y="404"/>
                  </a:lnTo>
                  <a:lnTo>
                    <a:pt x="1007" y="398"/>
                  </a:lnTo>
                  <a:lnTo>
                    <a:pt x="1011" y="392"/>
                  </a:lnTo>
                  <a:close/>
                  <a:moveTo>
                    <a:pt x="809" y="392"/>
                  </a:moveTo>
                  <a:lnTo>
                    <a:pt x="806" y="396"/>
                  </a:lnTo>
                  <a:lnTo>
                    <a:pt x="804" y="392"/>
                  </a:lnTo>
                  <a:lnTo>
                    <a:pt x="807" y="394"/>
                  </a:lnTo>
                  <a:lnTo>
                    <a:pt x="809" y="391"/>
                  </a:lnTo>
                  <a:lnTo>
                    <a:pt x="809" y="392"/>
                  </a:lnTo>
                  <a:close/>
                  <a:moveTo>
                    <a:pt x="1060" y="384"/>
                  </a:moveTo>
                  <a:lnTo>
                    <a:pt x="1063" y="386"/>
                  </a:lnTo>
                  <a:lnTo>
                    <a:pt x="1060" y="389"/>
                  </a:lnTo>
                  <a:lnTo>
                    <a:pt x="1065" y="384"/>
                  </a:lnTo>
                  <a:lnTo>
                    <a:pt x="1072" y="386"/>
                  </a:lnTo>
                  <a:lnTo>
                    <a:pt x="1070" y="387"/>
                  </a:lnTo>
                  <a:lnTo>
                    <a:pt x="1077" y="392"/>
                  </a:lnTo>
                  <a:lnTo>
                    <a:pt x="1079" y="394"/>
                  </a:lnTo>
                  <a:lnTo>
                    <a:pt x="1074" y="398"/>
                  </a:lnTo>
                  <a:lnTo>
                    <a:pt x="1079" y="394"/>
                  </a:lnTo>
                  <a:lnTo>
                    <a:pt x="1081" y="396"/>
                  </a:lnTo>
                  <a:lnTo>
                    <a:pt x="1081" y="398"/>
                  </a:lnTo>
                  <a:lnTo>
                    <a:pt x="1081" y="396"/>
                  </a:lnTo>
                  <a:lnTo>
                    <a:pt x="1082" y="398"/>
                  </a:lnTo>
                  <a:lnTo>
                    <a:pt x="1084" y="401"/>
                  </a:lnTo>
                  <a:lnTo>
                    <a:pt x="1084" y="403"/>
                  </a:lnTo>
                  <a:lnTo>
                    <a:pt x="1086" y="403"/>
                  </a:lnTo>
                  <a:lnTo>
                    <a:pt x="1082" y="406"/>
                  </a:lnTo>
                  <a:lnTo>
                    <a:pt x="1084" y="408"/>
                  </a:lnTo>
                  <a:lnTo>
                    <a:pt x="1079" y="411"/>
                  </a:lnTo>
                  <a:lnTo>
                    <a:pt x="1079" y="410"/>
                  </a:lnTo>
                  <a:lnTo>
                    <a:pt x="1077" y="411"/>
                  </a:lnTo>
                  <a:lnTo>
                    <a:pt x="1075" y="408"/>
                  </a:lnTo>
                  <a:lnTo>
                    <a:pt x="1077" y="413"/>
                  </a:lnTo>
                  <a:lnTo>
                    <a:pt x="1074" y="415"/>
                  </a:lnTo>
                  <a:lnTo>
                    <a:pt x="1075" y="415"/>
                  </a:lnTo>
                  <a:lnTo>
                    <a:pt x="1084" y="411"/>
                  </a:lnTo>
                  <a:lnTo>
                    <a:pt x="1082" y="420"/>
                  </a:lnTo>
                  <a:lnTo>
                    <a:pt x="1081" y="420"/>
                  </a:lnTo>
                  <a:lnTo>
                    <a:pt x="1082" y="422"/>
                  </a:lnTo>
                  <a:lnTo>
                    <a:pt x="1079" y="423"/>
                  </a:lnTo>
                  <a:lnTo>
                    <a:pt x="1081" y="423"/>
                  </a:lnTo>
                  <a:lnTo>
                    <a:pt x="1079" y="428"/>
                  </a:lnTo>
                  <a:lnTo>
                    <a:pt x="1075" y="428"/>
                  </a:lnTo>
                  <a:lnTo>
                    <a:pt x="1079" y="428"/>
                  </a:lnTo>
                  <a:lnTo>
                    <a:pt x="1075" y="428"/>
                  </a:lnTo>
                  <a:lnTo>
                    <a:pt x="1074" y="427"/>
                  </a:lnTo>
                  <a:lnTo>
                    <a:pt x="1075" y="430"/>
                  </a:lnTo>
                  <a:lnTo>
                    <a:pt x="1077" y="428"/>
                  </a:lnTo>
                  <a:lnTo>
                    <a:pt x="1075" y="430"/>
                  </a:lnTo>
                  <a:lnTo>
                    <a:pt x="1067" y="435"/>
                  </a:lnTo>
                  <a:lnTo>
                    <a:pt x="1067" y="433"/>
                  </a:lnTo>
                  <a:lnTo>
                    <a:pt x="1067" y="437"/>
                  </a:lnTo>
                  <a:lnTo>
                    <a:pt x="1060" y="432"/>
                  </a:lnTo>
                  <a:lnTo>
                    <a:pt x="1060" y="433"/>
                  </a:lnTo>
                  <a:lnTo>
                    <a:pt x="1057" y="433"/>
                  </a:lnTo>
                  <a:lnTo>
                    <a:pt x="1057" y="430"/>
                  </a:lnTo>
                  <a:lnTo>
                    <a:pt x="1058" y="427"/>
                  </a:lnTo>
                  <a:lnTo>
                    <a:pt x="1053" y="430"/>
                  </a:lnTo>
                  <a:lnTo>
                    <a:pt x="1051" y="427"/>
                  </a:lnTo>
                  <a:lnTo>
                    <a:pt x="1053" y="425"/>
                  </a:lnTo>
                  <a:lnTo>
                    <a:pt x="1048" y="427"/>
                  </a:lnTo>
                  <a:lnTo>
                    <a:pt x="1046" y="423"/>
                  </a:lnTo>
                  <a:lnTo>
                    <a:pt x="1048" y="423"/>
                  </a:lnTo>
                  <a:lnTo>
                    <a:pt x="1045" y="423"/>
                  </a:lnTo>
                  <a:lnTo>
                    <a:pt x="1045" y="420"/>
                  </a:lnTo>
                  <a:lnTo>
                    <a:pt x="1046" y="418"/>
                  </a:lnTo>
                  <a:lnTo>
                    <a:pt x="1043" y="418"/>
                  </a:lnTo>
                  <a:lnTo>
                    <a:pt x="1040" y="420"/>
                  </a:lnTo>
                  <a:lnTo>
                    <a:pt x="1038" y="418"/>
                  </a:lnTo>
                  <a:lnTo>
                    <a:pt x="1036" y="420"/>
                  </a:lnTo>
                  <a:lnTo>
                    <a:pt x="1036" y="416"/>
                  </a:lnTo>
                  <a:lnTo>
                    <a:pt x="1033" y="418"/>
                  </a:lnTo>
                  <a:lnTo>
                    <a:pt x="1033" y="416"/>
                  </a:lnTo>
                  <a:lnTo>
                    <a:pt x="1031" y="415"/>
                  </a:lnTo>
                  <a:lnTo>
                    <a:pt x="1029" y="411"/>
                  </a:lnTo>
                  <a:lnTo>
                    <a:pt x="1026" y="410"/>
                  </a:lnTo>
                  <a:lnTo>
                    <a:pt x="1026" y="408"/>
                  </a:lnTo>
                  <a:lnTo>
                    <a:pt x="1026" y="406"/>
                  </a:lnTo>
                  <a:lnTo>
                    <a:pt x="1024" y="404"/>
                  </a:lnTo>
                  <a:lnTo>
                    <a:pt x="1024" y="403"/>
                  </a:lnTo>
                  <a:lnTo>
                    <a:pt x="1028" y="399"/>
                  </a:lnTo>
                  <a:lnTo>
                    <a:pt x="1026" y="398"/>
                  </a:lnTo>
                  <a:lnTo>
                    <a:pt x="1029" y="394"/>
                  </a:lnTo>
                  <a:lnTo>
                    <a:pt x="1031" y="394"/>
                  </a:lnTo>
                  <a:lnTo>
                    <a:pt x="1034" y="398"/>
                  </a:lnTo>
                  <a:lnTo>
                    <a:pt x="1038" y="394"/>
                  </a:lnTo>
                  <a:lnTo>
                    <a:pt x="1043" y="394"/>
                  </a:lnTo>
                  <a:lnTo>
                    <a:pt x="1045" y="392"/>
                  </a:lnTo>
                  <a:lnTo>
                    <a:pt x="1048" y="387"/>
                  </a:lnTo>
                  <a:lnTo>
                    <a:pt x="1051" y="387"/>
                  </a:lnTo>
                  <a:lnTo>
                    <a:pt x="1053" y="386"/>
                  </a:lnTo>
                  <a:lnTo>
                    <a:pt x="1057" y="382"/>
                  </a:lnTo>
                  <a:lnTo>
                    <a:pt x="1060" y="384"/>
                  </a:lnTo>
                  <a:close/>
                  <a:moveTo>
                    <a:pt x="1065" y="381"/>
                  </a:moveTo>
                  <a:lnTo>
                    <a:pt x="1067" y="381"/>
                  </a:lnTo>
                  <a:lnTo>
                    <a:pt x="1067" y="384"/>
                  </a:lnTo>
                  <a:lnTo>
                    <a:pt x="1065" y="384"/>
                  </a:lnTo>
                  <a:lnTo>
                    <a:pt x="1065" y="381"/>
                  </a:lnTo>
                  <a:close/>
                  <a:moveTo>
                    <a:pt x="816" y="382"/>
                  </a:moveTo>
                  <a:lnTo>
                    <a:pt x="814" y="379"/>
                  </a:lnTo>
                  <a:lnTo>
                    <a:pt x="816" y="377"/>
                  </a:lnTo>
                  <a:lnTo>
                    <a:pt x="818" y="381"/>
                  </a:lnTo>
                  <a:lnTo>
                    <a:pt x="816" y="382"/>
                  </a:lnTo>
                  <a:close/>
                  <a:moveTo>
                    <a:pt x="1089" y="375"/>
                  </a:moveTo>
                  <a:lnTo>
                    <a:pt x="1086" y="381"/>
                  </a:lnTo>
                  <a:lnTo>
                    <a:pt x="1086" y="377"/>
                  </a:lnTo>
                  <a:lnTo>
                    <a:pt x="1089" y="375"/>
                  </a:lnTo>
                  <a:close/>
                  <a:moveTo>
                    <a:pt x="818" y="372"/>
                  </a:moveTo>
                  <a:lnTo>
                    <a:pt x="819" y="375"/>
                  </a:lnTo>
                  <a:lnTo>
                    <a:pt x="816" y="374"/>
                  </a:lnTo>
                  <a:lnTo>
                    <a:pt x="818" y="372"/>
                  </a:lnTo>
                  <a:close/>
                  <a:moveTo>
                    <a:pt x="824" y="372"/>
                  </a:moveTo>
                  <a:lnTo>
                    <a:pt x="826" y="372"/>
                  </a:lnTo>
                  <a:lnTo>
                    <a:pt x="826" y="375"/>
                  </a:lnTo>
                  <a:lnTo>
                    <a:pt x="824" y="375"/>
                  </a:lnTo>
                  <a:lnTo>
                    <a:pt x="824" y="372"/>
                  </a:lnTo>
                  <a:close/>
                  <a:moveTo>
                    <a:pt x="821" y="370"/>
                  </a:moveTo>
                  <a:lnTo>
                    <a:pt x="824" y="370"/>
                  </a:lnTo>
                  <a:lnTo>
                    <a:pt x="824" y="372"/>
                  </a:lnTo>
                  <a:lnTo>
                    <a:pt x="821" y="372"/>
                  </a:lnTo>
                  <a:lnTo>
                    <a:pt x="821" y="370"/>
                  </a:lnTo>
                  <a:close/>
                  <a:moveTo>
                    <a:pt x="1087" y="369"/>
                  </a:moveTo>
                  <a:lnTo>
                    <a:pt x="1089" y="369"/>
                  </a:lnTo>
                  <a:lnTo>
                    <a:pt x="1089" y="370"/>
                  </a:lnTo>
                  <a:lnTo>
                    <a:pt x="1084" y="370"/>
                  </a:lnTo>
                  <a:lnTo>
                    <a:pt x="1086" y="369"/>
                  </a:lnTo>
                  <a:lnTo>
                    <a:pt x="1087" y="369"/>
                  </a:lnTo>
                  <a:close/>
                  <a:moveTo>
                    <a:pt x="826" y="367"/>
                  </a:moveTo>
                  <a:lnTo>
                    <a:pt x="828" y="367"/>
                  </a:lnTo>
                  <a:lnTo>
                    <a:pt x="828" y="369"/>
                  </a:lnTo>
                  <a:lnTo>
                    <a:pt x="826" y="369"/>
                  </a:lnTo>
                  <a:lnTo>
                    <a:pt x="826" y="367"/>
                  </a:lnTo>
                  <a:close/>
                  <a:moveTo>
                    <a:pt x="1081" y="365"/>
                  </a:moveTo>
                  <a:lnTo>
                    <a:pt x="1084" y="365"/>
                  </a:lnTo>
                  <a:lnTo>
                    <a:pt x="1084" y="369"/>
                  </a:lnTo>
                  <a:lnTo>
                    <a:pt x="1081" y="369"/>
                  </a:lnTo>
                  <a:lnTo>
                    <a:pt x="1081" y="365"/>
                  </a:lnTo>
                  <a:close/>
                  <a:moveTo>
                    <a:pt x="1086" y="365"/>
                  </a:moveTo>
                  <a:lnTo>
                    <a:pt x="1087" y="365"/>
                  </a:lnTo>
                  <a:lnTo>
                    <a:pt x="1087" y="367"/>
                  </a:lnTo>
                  <a:lnTo>
                    <a:pt x="1086" y="367"/>
                  </a:lnTo>
                  <a:lnTo>
                    <a:pt x="1086" y="365"/>
                  </a:lnTo>
                  <a:close/>
                  <a:moveTo>
                    <a:pt x="1016" y="362"/>
                  </a:moveTo>
                  <a:lnTo>
                    <a:pt x="1021" y="362"/>
                  </a:lnTo>
                  <a:lnTo>
                    <a:pt x="1021" y="363"/>
                  </a:lnTo>
                  <a:lnTo>
                    <a:pt x="1022" y="365"/>
                  </a:lnTo>
                  <a:lnTo>
                    <a:pt x="1021" y="370"/>
                  </a:lnTo>
                  <a:lnTo>
                    <a:pt x="1017" y="372"/>
                  </a:lnTo>
                  <a:lnTo>
                    <a:pt x="1016" y="370"/>
                  </a:lnTo>
                  <a:lnTo>
                    <a:pt x="1016" y="362"/>
                  </a:lnTo>
                  <a:close/>
                  <a:moveTo>
                    <a:pt x="831" y="360"/>
                  </a:moveTo>
                  <a:lnTo>
                    <a:pt x="833" y="360"/>
                  </a:lnTo>
                  <a:lnTo>
                    <a:pt x="833" y="362"/>
                  </a:lnTo>
                  <a:lnTo>
                    <a:pt x="831" y="362"/>
                  </a:lnTo>
                  <a:lnTo>
                    <a:pt x="831" y="360"/>
                  </a:lnTo>
                  <a:close/>
                  <a:moveTo>
                    <a:pt x="847" y="360"/>
                  </a:moveTo>
                  <a:lnTo>
                    <a:pt x="847" y="365"/>
                  </a:lnTo>
                  <a:lnTo>
                    <a:pt x="847" y="360"/>
                  </a:lnTo>
                  <a:close/>
                  <a:moveTo>
                    <a:pt x="1086" y="360"/>
                  </a:moveTo>
                  <a:lnTo>
                    <a:pt x="1089" y="360"/>
                  </a:lnTo>
                  <a:lnTo>
                    <a:pt x="1089" y="362"/>
                  </a:lnTo>
                  <a:lnTo>
                    <a:pt x="1086" y="362"/>
                  </a:lnTo>
                  <a:lnTo>
                    <a:pt x="1086" y="360"/>
                  </a:lnTo>
                  <a:close/>
                  <a:moveTo>
                    <a:pt x="1075" y="358"/>
                  </a:moveTo>
                  <a:lnTo>
                    <a:pt x="1079" y="362"/>
                  </a:lnTo>
                  <a:lnTo>
                    <a:pt x="1081" y="360"/>
                  </a:lnTo>
                  <a:lnTo>
                    <a:pt x="1082" y="365"/>
                  </a:lnTo>
                  <a:lnTo>
                    <a:pt x="1081" y="369"/>
                  </a:lnTo>
                  <a:lnTo>
                    <a:pt x="1075" y="369"/>
                  </a:lnTo>
                  <a:lnTo>
                    <a:pt x="1075" y="365"/>
                  </a:lnTo>
                  <a:lnTo>
                    <a:pt x="1072" y="362"/>
                  </a:lnTo>
                  <a:lnTo>
                    <a:pt x="1072" y="360"/>
                  </a:lnTo>
                  <a:lnTo>
                    <a:pt x="1075" y="358"/>
                  </a:lnTo>
                  <a:close/>
                  <a:moveTo>
                    <a:pt x="848" y="358"/>
                  </a:moveTo>
                  <a:lnTo>
                    <a:pt x="848" y="363"/>
                  </a:lnTo>
                  <a:lnTo>
                    <a:pt x="847" y="358"/>
                  </a:lnTo>
                  <a:lnTo>
                    <a:pt x="848" y="358"/>
                  </a:lnTo>
                  <a:close/>
                  <a:moveTo>
                    <a:pt x="777" y="363"/>
                  </a:moveTo>
                  <a:lnTo>
                    <a:pt x="775" y="363"/>
                  </a:lnTo>
                  <a:lnTo>
                    <a:pt x="773" y="360"/>
                  </a:lnTo>
                  <a:lnTo>
                    <a:pt x="777" y="358"/>
                  </a:lnTo>
                  <a:lnTo>
                    <a:pt x="777" y="363"/>
                  </a:lnTo>
                  <a:close/>
                  <a:moveTo>
                    <a:pt x="785" y="355"/>
                  </a:moveTo>
                  <a:lnTo>
                    <a:pt x="785" y="357"/>
                  </a:lnTo>
                  <a:lnTo>
                    <a:pt x="785" y="355"/>
                  </a:lnTo>
                  <a:close/>
                  <a:moveTo>
                    <a:pt x="840" y="346"/>
                  </a:moveTo>
                  <a:lnTo>
                    <a:pt x="842" y="346"/>
                  </a:lnTo>
                  <a:lnTo>
                    <a:pt x="842" y="350"/>
                  </a:lnTo>
                  <a:lnTo>
                    <a:pt x="840" y="350"/>
                  </a:lnTo>
                  <a:lnTo>
                    <a:pt x="840" y="346"/>
                  </a:lnTo>
                  <a:close/>
                  <a:moveTo>
                    <a:pt x="790" y="343"/>
                  </a:moveTo>
                  <a:lnTo>
                    <a:pt x="794" y="343"/>
                  </a:lnTo>
                  <a:lnTo>
                    <a:pt x="794" y="345"/>
                  </a:lnTo>
                  <a:lnTo>
                    <a:pt x="790" y="345"/>
                  </a:lnTo>
                  <a:lnTo>
                    <a:pt x="790" y="343"/>
                  </a:lnTo>
                  <a:close/>
                  <a:moveTo>
                    <a:pt x="838" y="343"/>
                  </a:moveTo>
                  <a:lnTo>
                    <a:pt x="838" y="350"/>
                  </a:lnTo>
                  <a:lnTo>
                    <a:pt x="836" y="350"/>
                  </a:lnTo>
                  <a:lnTo>
                    <a:pt x="838" y="346"/>
                  </a:lnTo>
                  <a:lnTo>
                    <a:pt x="836" y="350"/>
                  </a:lnTo>
                  <a:lnTo>
                    <a:pt x="840" y="351"/>
                  </a:lnTo>
                  <a:lnTo>
                    <a:pt x="840" y="350"/>
                  </a:lnTo>
                  <a:lnTo>
                    <a:pt x="842" y="350"/>
                  </a:lnTo>
                  <a:lnTo>
                    <a:pt x="842" y="348"/>
                  </a:lnTo>
                  <a:lnTo>
                    <a:pt x="843" y="358"/>
                  </a:lnTo>
                  <a:lnTo>
                    <a:pt x="845" y="362"/>
                  </a:lnTo>
                  <a:lnTo>
                    <a:pt x="845" y="358"/>
                  </a:lnTo>
                  <a:lnTo>
                    <a:pt x="847" y="358"/>
                  </a:lnTo>
                  <a:lnTo>
                    <a:pt x="847" y="360"/>
                  </a:lnTo>
                  <a:lnTo>
                    <a:pt x="845" y="363"/>
                  </a:lnTo>
                  <a:lnTo>
                    <a:pt x="847" y="365"/>
                  </a:lnTo>
                  <a:lnTo>
                    <a:pt x="845" y="365"/>
                  </a:lnTo>
                  <a:lnTo>
                    <a:pt x="845" y="369"/>
                  </a:lnTo>
                  <a:lnTo>
                    <a:pt x="848" y="365"/>
                  </a:lnTo>
                  <a:lnTo>
                    <a:pt x="850" y="367"/>
                  </a:lnTo>
                  <a:lnTo>
                    <a:pt x="850" y="372"/>
                  </a:lnTo>
                  <a:lnTo>
                    <a:pt x="848" y="375"/>
                  </a:lnTo>
                  <a:lnTo>
                    <a:pt x="847" y="384"/>
                  </a:lnTo>
                  <a:lnTo>
                    <a:pt x="840" y="386"/>
                  </a:lnTo>
                  <a:lnTo>
                    <a:pt x="840" y="379"/>
                  </a:lnTo>
                  <a:lnTo>
                    <a:pt x="838" y="379"/>
                  </a:lnTo>
                  <a:lnTo>
                    <a:pt x="838" y="382"/>
                  </a:lnTo>
                  <a:lnTo>
                    <a:pt x="836" y="386"/>
                  </a:lnTo>
                  <a:lnTo>
                    <a:pt x="836" y="381"/>
                  </a:lnTo>
                  <a:lnTo>
                    <a:pt x="833" y="381"/>
                  </a:lnTo>
                  <a:lnTo>
                    <a:pt x="833" y="374"/>
                  </a:lnTo>
                  <a:lnTo>
                    <a:pt x="836" y="372"/>
                  </a:lnTo>
                  <a:lnTo>
                    <a:pt x="833" y="365"/>
                  </a:lnTo>
                  <a:lnTo>
                    <a:pt x="835" y="362"/>
                  </a:lnTo>
                  <a:lnTo>
                    <a:pt x="836" y="362"/>
                  </a:lnTo>
                  <a:lnTo>
                    <a:pt x="838" y="372"/>
                  </a:lnTo>
                  <a:lnTo>
                    <a:pt x="838" y="374"/>
                  </a:lnTo>
                  <a:lnTo>
                    <a:pt x="838" y="370"/>
                  </a:lnTo>
                  <a:lnTo>
                    <a:pt x="836" y="362"/>
                  </a:lnTo>
                  <a:lnTo>
                    <a:pt x="836" y="360"/>
                  </a:lnTo>
                  <a:lnTo>
                    <a:pt x="835" y="362"/>
                  </a:lnTo>
                  <a:lnTo>
                    <a:pt x="835" y="358"/>
                  </a:lnTo>
                  <a:lnTo>
                    <a:pt x="831" y="357"/>
                  </a:lnTo>
                  <a:lnTo>
                    <a:pt x="831" y="351"/>
                  </a:lnTo>
                  <a:lnTo>
                    <a:pt x="830" y="353"/>
                  </a:lnTo>
                  <a:lnTo>
                    <a:pt x="830" y="348"/>
                  </a:lnTo>
                  <a:lnTo>
                    <a:pt x="826" y="343"/>
                  </a:lnTo>
                  <a:lnTo>
                    <a:pt x="833" y="346"/>
                  </a:lnTo>
                  <a:lnTo>
                    <a:pt x="835" y="345"/>
                  </a:lnTo>
                  <a:lnTo>
                    <a:pt x="838" y="343"/>
                  </a:lnTo>
                  <a:close/>
                  <a:moveTo>
                    <a:pt x="785" y="341"/>
                  </a:moveTo>
                  <a:lnTo>
                    <a:pt x="787" y="343"/>
                  </a:lnTo>
                  <a:lnTo>
                    <a:pt x="790" y="343"/>
                  </a:lnTo>
                  <a:lnTo>
                    <a:pt x="790" y="345"/>
                  </a:lnTo>
                  <a:lnTo>
                    <a:pt x="792" y="346"/>
                  </a:lnTo>
                  <a:lnTo>
                    <a:pt x="789" y="350"/>
                  </a:lnTo>
                  <a:lnTo>
                    <a:pt x="787" y="343"/>
                  </a:lnTo>
                  <a:lnTo>
                    <a:pt x="785" y="343"/>
                  </a:lnTo>
                  <a:lnTo>
                    <a:pt x="783" y="341"/>
                  </a:lnTo>
                  <a:lnTo>
                    <a:pt x="785" y="341"/>
                  </a:lnTo>
                  <a:close/>
                  <a:moveTo>
                    <a:pt x="838" y="340"/>
                  </a:moveTo>
                  <a:lnTo>
                    <a:pt x="842" y="340"/>
                  </a:lnTo>
                  <a:lnTo>
                    <a:pt x="842" y="343"/>
                  </a:lnTo>
                  <a:lnTo>
                    <a:pt x="838" y="343"/>
                  </a:lnTo>
                  <a:lnTo>
                    <a:pt x="838" y="340"/>
                  </a:lnTo>
                  <a:close/>
                  <a:moveTo>
                    <a:pt x="753" y="341"/>
                  </a:moveTo>
                  <a:lnTo>
                    <a:pt x="754" y="341"/>
                  </a:lnTo>
                  <a:lnTo>
                    <a:pt x="754" y="343"/>
                  </a:lnTo>
                  <a:lnTo>
                    <a:pt x="753" y="343"/>
                  </a:lnTo>
                  <a:lnTo>
                    <a:pt x="753" y="341"/>
                  </a:lnTo>
                  <a:close/>
                  <a:moveTo>
                    <a:pt x="1060" y="340"/>
                  </a:moveTo>
                  <a:lnTo>
                    <a:pt x="1065" y="340"/>
                  </a:lnTo>
                  <a:lnTo>
                    <a:pt x="1067" y="341"/>
                  </a:lnTo>
                  <a:lnTo>
                    <a:pt x="1069" y="341"/>
                  </a:lnTo>
                  <a:lnTo>
                    <a:pt x="1070" y="343"/>
                  </a:lnTo>
                  <a:lnTo>
                    <a:pt x="1070" y="341"/>
                  </a:lnTo>
                  <a:lnTo>
                    <a:pt x="1072" y="343"/>
                  </a:lnTo>
                  <a:lnTo>
                    <a:pt x="1075" y="341"/>
                  </a:lnTo>
                  <a:lnTo>
                    <a:pt x="1075" y="345"/>
                  </a:lnTo>
                  <a:lnTo>
                    <a:pt x="1079" y="343"/>
                  </a:lnTo>
                  <a:lnTo>
                    <a:pt x="1081" y="346"/>
                  </a:lnTo>
                  <a:lnTo>
                    <a:pt x="1082" y="346"/>
                  </a:lnTo>
                  <a:lnTo>
                    <a:pt x="1084" y="351"/>
                  </a:lnTo>
                  <a:lnTo>
                    <a:pt x="1081" y="353"/>
                  </a:lnTo>
                  <a:lnTo>
                    <a:pt x="1079" y="357"/>
                  </a:lnTo>
                  <a:lnTo>
                    <a:pt x="1081" y="357"/>
                  </a:lnTo>
                  <a:lnTo>
                    <a:pt x="1079" y="360"/>
                  </a:lnTo>
                  <a:lnTo>
                    <a:pt x="1075" y="358"/>
                  </a:lnTo>
                  <a:lnTo>
                    <a:pt x="1072" y="360"/>
                  </a:lnTo>
                  <a:lnTo>
                    <a:pt x="1072" y="358"/>
                  </a:lnTo>
                  <a:lnTo>
                    <a:pt x="1069" y="357"/>
                  </a:lnTo>
                  <a:lnTo>
                    <a:pt x="1067" y="358"/>
                  </a:lnTo>
                  <a:lnTo>
                    <a:pt x="1062" y="350"/>
                  </a:lnTo>
                  <a:lnTo>
                    <a:pt x="1058" y="350"/>
                  </a:lnTo>
                  <a:lnTo>
                    <a:pt x="1057" y="341"/>
                  </a:lnTo>
                  <a:lnTo>
                    <a:pt x="1058" y="340"/>
                  </a:lnTo>
                  <a:lnTo>
                    <a:pt x="1060" y="340"/>
                  </a:lnTo>
                  <a:close/>
                  <a:moveTo>
                    <a:pt x="1033" y="340"/>
                  </a:moveTo>
                  <a:lnTo>
                    <a:pt x="1034" y="341"/>
                  </a:lnTo>
                  <a:lnTo>
                    <a:pt x="1033" y="345"/>
                  </a:lnTo>
                  <a:lnTo>
                    <a:pt x="1028" y="346"/>
                  </a:lnTo>
                  <a:lnTo>
                    <a:pt x="1026" y="350"/>
                  </a:lnTo>
                  <a:lnTo>
                    <a:pt x="1022" y="346"/>
                  </a:lnTo>
                  <a:lnTo>
                    <a:pt x="1022" y="345"/>
                  </a:lnTo>
                  <a:lnTo>
                    <a:pt x="1026" y="345"/>
                  </a:lnTo>
                  <a:lnTo>
                    <a:pt x="1029" y="340"/>
                  </a:lnTo>
                  <a:lnTo>
                    <a:pt x="1033" y="340"/>
                  </a:lnTo>
                  <a:close/>
                  <a:moveTo>
                    <a:pt x="1077" y="338"/>
                  </a:moveTo>
                  <a:lnTo>
                    <a:pt x="1079" y="338"/>
                  </a:lnTo>
                  <a:lnTo>
                    <a:pt x="1079" y="341"/>
                  </a:lnTo>
                  <a:lnTo>
                    <a:pt x="1077" y="341"/>
                  </a:lnTo>
                  <a:lnTo>
                    <a:pt x="1077" y="338"/>
                  </a:lnTo>
                  <a:close/>
                  <a:moveTo>
                    <a:pt x="1050" y="340"/>
                  </a:moveTo>
                  <a:lnTo>
                    <a:pt x="1051" y="341"/>
                  </a:lnTo>
                  <a:lnTo>
                    <a:pt x="1050" y="338"/>
                  </a:lnTo>
                  <a:lnTo>
                    <a:pt x="1053" y="336"/>
                  </a:lnTo>
                  <a:lnTo>
                    <a:pt x="1053" y="338"/>
                  </a:lnTo>
                  <a:lnTo>
                    <a:pt x="1057" y="340"/>
                  </a:lnTo>
                  <a:lnTo>
                    <a:pt x="1057" y="348"/>
                  </a:lnTo>
                  <a:lnTo>
                    <a:pt x="1058" y="350"/>
                  </a:lnTo>
                  <a:lnTo>
                    <a:pt x="1062" y="350"/>
                  </a:lnTo>
                  <a:lnTo>
                    <a:pt x="1067" y="358"/>
                  </a:lnTo>
                  <a:lnTo>
                    <a:pt x="1069" y="357"/>
                  </a:lnTo>
                  <a:lnTo>
                    <a:pt x="1072" y="358"/>
                  </a:lnTo>
                  <a:lnTo>
                    <a:pt x="1070" y="362"/>
                  </a:lnTo>
                  <a:lnTo>
                    <a:pt x="1075" y="365"/>
                  </a:lnTo>
                  <a:lnTo>
                    <a:pt x="1075" y="367"/>
                  </a:lnTo>
                  <a:lnTo>
                    <a:pt x="1075" y="369"/>
                  </a:lnTo>
                  <a:lnTo>
                    <a:pt x="1077" y="370"/>
                  </a:lnTo>
                  <a:lnTo>
                    <a:pt x="1075" y="372"/>
                  </a:lnTo>
                  <a:lnTo>
                    <a:pt x="1079" y="372"/>
                  </a:lnTo>
                  <a:lnTo>
                    <a:pt x="1084" y="374"/>
                  </a:lnTo>
                  <a:lnTo>
                    <a:pt x="1084" y="375"/>
                  </a:lnTo>
                  <a:lnTo>
                    <a:pt x="1084" y="379"/>
                  </a:lnTo>
                  <a:lnTo>
                    <a:pt x="1081" y="379"/>
                  </a:lnTo>
                  <a:lnTo>
                    <a:pt x="1081" y="381"/>
                  </a:lnTo>
                  <a:lnTo>
                    <a:pt x="1079" y="379"/>
                  </a:lnTo>
                  <a:lnTo>
                    <a:pt x="1081" y="377"/>
                  </a:lnTo>
                  <a:lnTo>
                    <a:pt x="1077" y="379"/>
                  </a:lnTo>
                  <a:lnTo>
                    <a:pt x="1077" y="381"/>
                  </a:lnTo>
                  <a:lnTo>
                    <a:pt x="1082" y="384"/>
                  </a:lnTo>
                  <a:lnTo>
                    <a:pt x="1081" y="384"/>
                  </a:lnTo>
                  <a:lnTo>
                    <a:pt x="1082" y="387"/>
                  </a:lnTo>
                  <a:lnTo>
                    <a:pt x="1081" y="389"/>
                  </a:lnTo>
                  <a:lnTo>
                    <a:pt x="1074" y="386"/>
                  </a:lnTo>
                  <a:lnTo>
                    <a:pt x="1072" y="384"/>
                  </a:lnTo>
                  <a:lnTo>
                    <a:pt x="1072" y="382"/>
                  </a:lnTo>
                  <a:lnTo>
                    <a:pt x="1069" y="382"/>
                  </a:lnTo>
                  <a:lnTo>
                    <a:pt x="1069" y="379"/>
                  </a:lnTo>
                  <a:lnTo>
                    <a:pt x="1065" y="384"/>
                  </a:lnTo>
                  <a:lnTo>
                    <a:pt x="1057" y="382"/>
                  </a:lnTo>
                  <a:lnTo>
                    <a:pt x="1053" y="386"/>
                  </a:lnTo>
                  <a:lnTo>
                    <a:pt x="1048" y="387"/>
                  </a:lnTo>
                  <a:lnTo>
                    <a:pt x="1045" y="392"/>
                  </a:lnTo>
                  <a:lnTo>
                    <a:pt x="1043" y="394"/>
                  </a:lnTo>
                  <a:lnTo>
                    <a:pt x="1038" y="394"/>
                  </a:lnTo>
                  <a:lnTo>
                    <a:pt x="1034" y="396"/>
                  </a:lnTo>
                  <a:lnTo>
                    <a:pt x="1031" y="394"/>
                  </a:lnTo>
                  <a:lnTo>
                    <a:pt x="1028" y="394"/>
                  </a:lnTo>
                  <a:lnTo>
                    <a:pt x="1033" y="386"/>
                  </a:lnTo>
                  <a:lnTo>
                    <a:pt x="1028" y="382"/>
                  </a:lnTo>
                  <a:lnTo>
                    <a:pt x="1028" y="379"/>
                  </a:lnTo>
                  <a:lnTo>
                    <a:pt x="1031" y="381"/>
                  </a:lnTo>
                  <a:lnTo>
                    <a:pt x="1033" y="377"/>
                  </a:lnTo>
                  <a:lnTo>
                    <a:pt x="1033" y="375"/>
                  </a:lnTo>
                  <a:lnTo>
                    <a:pt x="1036" y="374"/>
                  </a:lnTo>
                  <a:lnTo>
                    <a:pt x="1038" y="372"/>
                  </a:lnTo>
                  <a:lnTo>
                    <a:pt x="1036" y="370"/>
                  </a:lnTo>
                  <a:lnTo>
                    <a:pt x="1038" y="370"/>
                  </a:lnTo>
                  <a:lnTo>
                    <a:pt x="1036" y="370"/>
                  </a:lnTo>
                  <a:lnTo>
                    <a:pt x="1038" y="367"/>
                  </a:lnTo>
                  <a:lnTo>
                    <a:pt x="1043" y="365"/>
                  </a:lnTo>
                  <a:lnTo>
                    <a:pt x="1045" y="367"/>
                  </a:lnTo>
                  <a:lnTo>
                    <a:pt x="1043" y="365"/>
                  </a:lnTo>
                  <a:lnTo>
                    <a:pt x="1040" y="367"/>
                  </a:lnTo>
                  <a:lnTo>
                    <a:pt x="1036" y="363"/>
                  </a:lnTo>
                  <a:lnTo>
                    <a:pt x="1033" y="367"/>
                  </a:lnTo>
                  <a:lnTo>
                    <a:pt x="1031" y="363"/>
                  </a:lnTo>
                  <a:lnTo>
                    <a:pt x="1029" y="363"/>
                  </a:lnTo>
                  <a:lnTo>
                    <a:pt x="1031" y="362"/>
                  </a:lnTo>
                  <a:lnTo>
                    <a:pt x="1028" y="362"/>
                  </a:lnTo>
                  <a:lnTo>
                    <a:pt x="1024" y="363"/>
                  </a:lnTo>
                  <a:lnTo>
                    <a:pt x="1019" y="358"/>
                  </a:lnTo>
                  <a:lnTo>
                    <a:pt x="1019" y="357"/>
                  </a:lnTo>
                  <a:lnTo>
                    <a:pt x="1022" y="351"/>
                  </a:lnTo>
                  <a:lnTo>
                    <a:pt x="1026" y="353"/>
                  </a:lnTo>
                  <a:lnTo>
                    <a:pt x="1026" y="355"/>
                  </a:lnTo>
                  <a:lnTo>
                    <a:pt x="1028" y="353"/>
                  </a:lnTo>
                  <a:lnTo>
                    <a:pt x="1031" y="358"/>
                  </a:lnTo>
                  <a:lnTo>
                    <a:pt x="1034" y="358"/>
                  </a:lnTo>
                  <a:lnTo>
                    <a:pt x="1036" y="357"/>
                  </a:lnTo>
                  <a:lnTo>
                    <a:pt x="1034" y="353"/>
                  </a:lnTo>
                  <a:lnTo>
                    <a:pt x="1043" y="348"/>
                  </a:lnTo>
                  <a:lnTo>
                    <a:pt x="1045" y="343"/>
                  </a:lnTo>
                  <a:lnTo>
                    <a:pt x="1043" y="343"/>
                  </a:lnTo>
                  <a:lnTo>
                    <a:pt x="1046" y="341"/>
                  </a:lnTo>
                  <a:lnTo>
                    <a:pt x="1046" y="336"/>
                  </a:lnTo>
                  <a:lnTo>
                    <a:pt x="1050" y="340"/>
                  </a:lnTo>
                  <a:close/>
                  <a:moveTo>
                    <a:pt x="842" y="334"/>
                  </a:moveTo>
                  <a:lnTo>
                    <a:pt x="843" y="336"/>
                  </a:lnTo>
                  <a:lnTo>
                    <a:pt x="842" y="338"/>
                  </a:lnTo>
                  <a:lnTo>
                    <a:pt x="838" y="338"/>
                  </a:lnTo>
                  <a:lnTo>
                    <a:pt x="836" y="336"/>
                  </a:lnTo>
                  <a:lnTo>
                    <a:pt x="842" y="334"/>
                  </a:lnTo>
                  <a:close/>
                  <a:moveTo>
                    <a:pt x="848" y="340"/>
                  </a:moveTo>
                  <a:lnTo>
                    <a:pt x="852" y="338"/>
                  </a:lnTo>
                  <a:lnTo>
                    <a:pt x="848" y="345"/>
                  </a:lnTo>
                  <a:lnTo>
                    <a:pt x="852" y="353"/>
                  </a:lnTo>
                  <a:lnTo>
                    <a:pt x="848" y="355"/>
                  </a:lnTo>
                  <a:lnTo>
                    <a:pt x="848" y="350"/>
                  </a:lnTo>
                  <a:lnTo>
                    <a:pt x="847" y="355"/>
                  </a:lnTo>
                  <a:lnTo>
                    <a:pt x="845" y="351"/>
                  </a:lnTo>
                  <a:lnTo>
                    <a:pt x="843" y="353"/>
                  </a:lnTo>
                  <a:lnTo>
                    <a:pt x="842" y="348"/>
                  </a:lnTo>
                  <a:lnTo>
                    <a:pt x="843" y="340"/>
                  </a:lnTo>
                  <a:lnTo>
                    <a:pt x="847" y="336"/>
                  </a:lnTo>
                  <a:lnTo>
                    <a:pt x="850" y="334"/>
                  </a:lnTo>
                  <a:lnTo>
                    <a:pt x="848" y="340"/>
                  </a:lnTo>
                  <a:close/>
                  <a:moveTo>
                    <a:pt x="792" y="334"/>
                  </a:moveTo>
                  <a:lnTo>
                    <a:pt x="795" y="334"/>
                  </a:lnTo>
                  <a:lnTo>
                    <a:pt x="795" y="338"/>
                  </a:lnTo>
                  <a:lnTo>
                    <a:pt x="799" y="336"/>
                  </a:lnTo>
                  <a:lnTo>
                    <a:pt x="799" y="338"/>
                  </a:lnTo>
                  <a:lnTo>
                    <a:pt x="797" y="340"/>
                  </a:lnTo>
                  <a:lnTo>
                    <a:pt x="795" y="341"/>
                  </a:lnTo>
                  <a:lnTo>
                    <a:pt x="792" y="341"/>
                  </a:lnTo>
                  <a:lnTo>
                    <a:pt x="790" y="334"/>
                  </a:lnTo>
                  <a:lnTo>
                    <a:pt x="792" y="334"/>
                  </a:lnTo>
                  <a:close/>
                  <a:moveTo>
                    <a:pt x="1051" y="333"/>
                  </a:moveTo>
                  <a:lnTo>
                    <a:pt x="1055" y="333"/>
                  </a:lnTo>
                  <a:lnTo>
                    <a:pt x="1055" y="334"/>
                  </a:lnTo>
                  <a:lnTo>
                    <a:pt x="1051" y="334"/>
                  </a:lnTo>
                  <a:lnTo>
                    <a:pt x="1051" y="333"/>
                  </a:lnTo>
                  <a:close/>
                  <a:moveTo>
                    <a:pt x="1026" y="329"/>
                  </a:moveTo>
                  <a:lnTo>
                    <a:pt x="1028" y="334"/>
                  </a:lnTo>
                  <a:lnTo>
                    <a:pt x="1024" y="338"/>
                  </a:lnTo>
                  <a:lnTo>
                    <a:pt x="1022" y="331"/>
                  </a:lnTo>
                  <a:lnTo>
                    <a:pt x="1026" y="329"/>
                  </a:lnTo>
                  <a:close/>
                  <a:moveTo>
                    <a:pt x="843" y="333"/>
                  </a:moveTo>
                  <a:lnTo>
                    <a:pt x="843" y="331"/>
                  </a:lnTo>
                  <a:lnTo>
                    <a:pt x="845" y="329"/>
                  </a:lnTo>
                  <a:lnTo>
                    <a:pt x="843" y="333"/>
                  </a:lnTo>
                  <a:close/>
                  <a:moveTo>
                    <a:pt x="1074" y="328"/>
                  </a:moveTo>
                  <a:lnTo>
                    <a:pt x="1074" y="329"/>
                  </a:lnTo>
                  <a:lnTo>
                    <a:pt x="1074" y="328"/>
                  </a:lnTo>
                  <a:close/>
                  <a:moveTo>
                    <a:pt x="1074" y="326"/>
                  </a:moveTo>
                  <a:lnTo>
                    <a:pt x="1072" y="329"/>
                  </a:lnTo>
                  <a:lnTo>
                    <a:pt x="1072" y="324"/>
                  </a:lnTo>
                  <a:lnTo>
                    <a:pt x="1074" y="326"/>
                  </a:lnTo>
                  <a:close/>
                  <a:moveTo>
                    <a:pt x="840" y="324"/>
                  </a:moveTo>
                  <a:lnTo>
                    <a:pt x="840" y="326"/>
                  </a:lnTo>
                  <a:lnTo>
                    <a:pt x="840" y="324"/>
                  </a:lnTo>
                  <a:close/>
                  <a:moveTo>
                    <a:pt x="1051" y="322"/>
                  </a:moveTo>
                  <a:lnTo>
                    <a:pt x="1048" y="328"/>
                  </a:lnTo>
                  <a:lnTo>
                    <a:pt x="1050" y="324"/>
                  </a:lnTo>
                  <a:lnTo>
                    <a:pt x="1051" y="322"/>
                  </a:lnTo>
                  <a:close/>
                  <a:moveTo>
                    <a:pt x="1063" y="322"/>
                  </a:moveTo>
                  <a:lnTo>
                    <a:pt x="1065" y="322"/>
                  </a:lnTo>
                  <a:lnTo>
                    <a:pt x="1065" y="326"/>
                  </a:lnTo>
                  <a:lnTo>
                    <a:pt x="1067" y="324"/>
                  </a:lnTo>
                  <a:lnTo>
                    <a:pt x="1067" y="322"/>
                  </a:lnTo>
                  <a:lnTo>
                    <a:pt x="1070" y="324"/>
                  </a:lnTo>
                  <a:lnTo>
                    <a:pt x="1072" y="331"/>
                  </a:lnTo>
                  <a:lnTo>
                    <a:pt x="1072" y="329"/>
                  </a:lnTo>
                  <a:lnTo>
                    <a:pt x="1075" y="333"/>
                  </a:lnTo>
                  <a:lnTo>
                    <a:pt x="1077" y="333"/>
                  </a:lnTo>
                  <a:lnTo>
                    <a:pt x="1077" y="338"/>
                  </a:lnTo>
                  <a:lnTo>
                    <a:pt x="1074" y="336"/>
                  </a:lnTo>
                  <a:lnTo>
                    <a:pt x="1075" y="340"/>
                  </a:lnTo>
                  <a:lnTo>
                    <a:pt x="1072" y="340"/>
                  </a:lnTo>
                  <a:lnTo>
                    <a:pt x="1070" y="340"/>
                  </a:lnTo>
                  <a:lnTo>
                    <a:pt x="1067" y="341"/>
                  </a:lnTo>
                  <a:lnTo>
                    <a:pt x="1065" y="340"/>
                  </a:lnTo>
                  <a:lnTo>
                    <a:pt x="1058" y="338"/>
                  </a:lnTo>
                  <a:lnTo>
                    <a:pt x="1057" y="340"/>
                  </a:lnTo>
                  <a:lnTo>
                    <a:pt x="1055" y="338"/>
                  </a:lnTo>
                  <a:lnTo>
                    <a:pt x="1053" y="338"/>
                  </a:lnTo>
                  <a:lnTo>
                    <a:pt x="1055" y="333"/>
                  </a:lnTo>
                  <a:lnTo>
                    <a:pt x="1051" y="333"/>
                  </a:lnTo>
                  <a:lnTo>
                    <a:pt x="1051" y="331"/>
                  </a:lnTo>
                  <a:lnTo>
                    <a:pt x="1057" y="331"/>
                  </a:lnTo>
                  <a:lnTo>
                    <a:pt x="1057" y="329"/>
                  </a:lnTo>
                  <a:lnTo>
                    <a:pt x="1051" y="329"/>
                  </a:lnTo>
                  <a:lnTo>
                    <a:pt x="1053" y="328"/>
                  </a:lnTo>
                  <a:lnTo>
                    <a:pt x="1051" y="322"/>
                  </a:lnTo>
                  <a:lnTo>
                    <a:pt x="1055" y="322"/>
                  </a:lnTo>
                  <a:lnTo>
                    <a:pt x="1060" y="326"/>
                  </a:lnTo>
                  <a:lnTo>
                    <a:pt x="1060" y="324"/>
                  </a:lnTo>
                  <a:lnTo>
                    <a:pt x="1062" y="324"/>
                  </a:lnTo>
                  <a:lnTo>
                    <a:pt x="1060" y="322"/>
                  </a:lnTo>
                  <a:lnTo>
                    <a:pt x="1063" y="322"/>
                  </a:lnTo>
                  <a:close/>
                  <a:moveTo>
                    <a:pt x="1070" y="317"/>
                  </a:moveTo>
                  <a:lnTo>
                    <a:pt x="1074" y="317"/>
                  </a:lnTo>
                  <a:lnTo>
                    <a:pt x="1074" y="319"/>
                  </a:lnTo>
                  <a:lnTo>
                    <a:pt x="1070" y="319"/>
                  </a:lnTo>
                  <a:lnTo>
                    <a:pt x="1070" y="317"/>
                  </a:lnTo>
                  <a:close/>
                  <a:moveTo>
                    <a:pt x="1063" y="317"/>
                  </a:moveTo>
                  <a:lnTo>
                    <a:pt x="1067" y="317"/>
                  </a:lnTo>
                  <a:lnTo>
                    <a:pt x="1067" y="321"/>
                  </a:lnTo>
                  <a:lnTo>
                    <a:pt x="1063" y="321"/>
                  </a:lnTo>
                  <a:lnTo>
                    <a:pt x="1063" y="317"/>
                  </a:lnTo>
                  <a:close/>
                  <a:moveTo>
                    <a:pt x="1065" y="314"/>
                  </a:moveTo>
                  <a:lnTo>
                    <a:pt x="1063" y="319"/>
                  </a:lnTo>
                  <a:lnTo>
                    <a:pt x="1060" y="319"/>
                  </a:lnTo>
                  <a:lnTo>
                    <a:pt x="1062" y="316"/>
                  </a:lnTo>
                  <a:lnTo>
                    <a:pt x="1065" y="314"/>
                  </a:lnTo>
                  <a:close/>
                  <a:moveTo>
                    <a:pt x="1063" y="310"/>
                  </a:moveTo>
                  <a:lnTo>
                    <a:pt x="1065" y="314"/>
                  </a:lnTo>
                  <a:lnTo>
                    <a:pt x="1063" y="314"/>
                  </a:lnTo>
                  <a:lnTo>
                    <a:pt x="1058" y="321"/>
                  </a:lnTo>
                  <a:lnTo>
                    <a:pt x="1053" y="319"/>
                  </a:lnTo>
                  <a:lnTo>
                    <a:pt x="1053" y="316"/>
                  </a:lnTo>
                  <a:lnTo>
                    <a:pt x="1060" y="314"/>
                  </a:lnTo>
                  <a:lnTo>
                    <a:pt x="1060" y="310"/>
                  </a:lnTo>
                  <a:lnTo>
                    <a:pt x="1063" y="310"/>
                  </a:lnTo>
                  <a:close/>
                  <a:moveTo>
                    <a:pt x="756" y="309"/>
                  </a:moveTo>
                  <a:lnTo>
                    <a:pt x="754" y="316"/>
                  </a:lnTo>
                  <a:lnTo>
                    <a:pt x="751" y="317"/>
                  </a:lnTo>
                  <a:lnTo>
                    <a:pt x="749" y="316"/>
                  </a:lnTo>
                  <a:lnTo>
                    <a:pt x="751" y="310"/>
                  </a:lnTo>
                  <a:lnTo>
                    <a:pt x="753" y="309"/>
                  </a:lnTo>
                  <a:lnTo>
                    <a:pt x="756" y="309"/>
                  </a:lnTo>
                  <a:close/>
                  <a:moveTo>
                    <a:pt x="893" y="307"/>
                  </a:moveTo>
                  <a:lnTo>
                    <a:pt x="893" y="305"/>
                  </a:lnTo>
                  <a:lnTo>
                    <a:pt x="894" y="307"/>
                  </a:lnTo>
                  <a:lnTo>
                    <a:pt x="896" y="310"/>
                  </a:lnTo>
                  <a:lnTo>
                    <a:pt x="894" y="314"/>
                  </a:lnTo>
                  <a:lnTo>
                    <a:pt x="893" y="319"/>
                  </a:lnTo>
                  <a:lnTo>
                    <a:pt x="891" y="328"/>
                  </a:lnTo>
                  <a:lnTo>
                    <a:pt x="889" y="331"/>
                  </a:lnTo>
                  <a:lnTo>
                    <a:pt x="888" y="340"/>
                  </a:lnTo>
                  <a:lnTo>
                    <a:pt x="882" y="346"/>
                  </a:lnTo>
                  <a:lnTo>
                    <a:pt x="877" y="350"/>
                  </a:lnTo>
                  <a:lnTo>
                    <a:pt x="874" y="353"/>
                  </a:lnTo>
                  <a:lnTo>
                    <a:pt x="869" y="360"/>
                  </a:lnTo>
                  <a:lnTo>
                    <a:pt x="865" y="370"/>
                  </a:lnTo>
                  <a:lnTo>
                    <a:pt x="869" y="374"/>
                  </a:lnTo>
                  <a:lnTo>
                    <a:pt x="867" y="377"/>
                  </a:lnTo>
                  <a:lnTo>
                    <a:pt x="862" y="381"/>
                  </a:lnTo>
                  <a:lnTo>
                    <a:pt x="860" y="386"/>
                  </a:lnTo>
                  <a:lnTo>
                    <a:pt x="857" y="387"/>
                  </a:lnTo>
                  <a:lnTo>
                    <a:pt x="853" y="392"/>
                  </a:lnTo>
                  <a:lnTo>
                    <a:pt x="857" y="384"/>
                  </a:lnTo>
                  <a:lnTo>
                    <a:pt x="857" y="381"/>
                  </a:lnTo>
                  <a:lnTo>
                    <a:pt x="859" y="381"/>
                  </a:lnTo>
                  <a:lnTo>
                    <a:pt x="857" y="377"/>
                  </a:lnTo>
                  <a:lnTo>
                    <a:pt x="859" y="375"/>
                  </a:lnTo>
                  <a:lnTo>
                    <a:pt x="859" y="374"/>
                  </a:lnTo>
                  <a:lnTo>
                    <a:pt x="860" y="374"/>
                  </a:lnTo>
                  <a:lnTo>
                    <a:pt x="859" y="372"/>
                  </a:lnTo>
                  <a:lnTo>
                    <a:pt x="865" y="365"/>
                  </a:lnTo>
                  <a:lnTo>
                    <a:pt x="864" y="363"/>
                  </a:lnTo>
                  <a:lnTo>
                    <a:pt x="865" y="355"/>
                  </a:lnTo>
                  <a:lnTo>
                    <a:pt x="871" y="348"/>
                  </a:lnTo>
                  <a:lnTo>
                    <a:pt x="871" y="350"/>
                  </a:lnTo>
                  <a:lnTo>
                    <a:pt x="874" y="350"/>
                  </a:lnTo>
                  <a:lnTo>
                    <a:pt x="874" y="343"/>
                  </a:lnTo>
                  <a:lnTo>
                    <a:pt x="879" y="334"/>
                  </a:lnTo>
                  <a:lnTo>
                    <a:pt x="879" y="326"/>
                  </a:lnTo>
                  <a:lnTo>
                    <a:pt x="882" y="321"/>
                  </a:lnTo>
                  <a:lnTo>
                    <a:pt x="882" y="317"/>
                  </a:lnTo>
                  <a:lnTo>
                    <a:pt x="884" y="316"/>
                  </a:lnTo>
                  <a:lnTo>
                    <a:pt x="888" y="307"/>
                  </a:lnTo>
                  <a:lnTo>
                    <a:pt x="893" y="304"/>
                  </a:lnTo>
                  <a:lnTo>
                    <a:pt x="893" y="307"/>
                  </a:lnTo>
                  <a:close/>
                  <a:moveTo>
                    <a:pt x="724" y="246"/>
                  </a:moveTo>
                  <a:lnTo>
                    <a:pt x="722" y="235"/>
                  </a:lnTo>
                  <a:lnTo>
                    <a:pt x="725" y="239"/>
                  </a:lnTo>
                  <a:lnTo>
                    <a:pt x="724" y="246"/>
                  </a:lnTo>
                  <a:close/>
                  <a:moveTo>
                    <a:pt x="717" y="223"/>
                  </a:moveTo>
                  <a:lnTo>
                    <a:pt x="720" y="223"/>
                  </a:lnTo>
                  <a:lnTo>
                    <a:pt x="720" y="225"/>
                  </a:lnTo>
                  <a:lnTo>
                    <a:pt x="717" y="225"/>
                  </a:lnTo>
                  <a:lnTo>
                    <a:pt x="717" y="223"/>
                  </a:lnTo>
                  <a:close/>
                  <a:moveTo>
                    <a:pt x="519" y="222"/>
                  </a:moveTo>
                  <a:lnTo>
                    <a:pt x="521" y="222"/>
                  </a:lnTo>
                  <a:lnTo>
                    <a:pt x="521" y="225"/>
                  </a:lnTo>
                  <a:lnTo>
                    <a:pt x="519" y="225"/>
                  </a:lnTo>
                  <a:lnTo>
                    <a:pt x="519" y="222"/>
                  </a:lnTo>
                  <a:close/>
                  <a:moveTo>
                    <a:pt x="476" y="217"/>
                  </a:moveTo>
                  <a:lnTo>
                    <a:pt x="478" y="217"/>
                  </a:lnTo>
                  <a:lnTo>
                    <a:pt x="478" y="218"/>
                  </a:lnTo>
                  <a:lnTo>
                    <a:pt x="476" y="218"/>
                  </a:lnTo>
                  <a:lnTo>
                    <a:pt x="476" y="217"/>
                  </a:lnTo>
                  <a:close/>
                  <a:moveTo>
                    <a:pt x="488" y="213"/>
                  </a:moveTo>
                  <a:lnTo>
                    <a:pt x="490" y="213"/>
                  </a:lnTo>
                  <a:lnTo>
                    <a:pt x="490" y="217"/>
                  </a:lnTo>
                  <a:lnTo>
                    <a:pt x="488" y="217"/>
                  </a:lnTo>
                  <a:lnTo>
                    <a:pt x="488" y="213"/>
                  </a:lnTo>
                  <a:close/>
                  <a:moveTo>
                    <a:pt x="509" y="213"/>
                  </a:moveTo>
                  <a:lnTo>
                    <a:pt x="510" y="218"/>
                  </a:lnTo>
                  <a:lnTo>
                    <a:pt x="507" y="220"/>
                  </a:lnTo>
                  <a:lnTo>
                    <a:pt x="502" y="218"/>
                  </a:lnTo>
                  <a:lnTo>
                    <a:pt x="498" y="218"/>
                  </a:lnTo>
                  <a:lnTo>
                    <a:pt x="500" y="217"/>
                  </a:lnTo>
                  <a:lnTo>
                    <a:pt x="507" y="217"/>
                  </a:lnTo>
                  <a:lnTo>
                    <a:pt x="509" y="213"/>
                  </a:lnTo>
                  <a:close/>
                  <a:moveTo>
                    <a:pt x="502" y="213"/>
                  </a:moveTo>
                  <a:lnTo>
                    <a:pt x="502" y="217"/>
                  </a:lnTo>
                  <a:lnTo>
                    <a:pt x="500" y="215"/>
                  </a:lnTo>
                  <a:lnTo>
                    <a:pt x="502" y="213"/>
                  </a:lnTo>
                  <a:close/>
                  <a:moveTo>
                    <a:pt x="504" y="211"/>
                  </a:moveTo>
                  <a:lnTo>
                    <a:pt x="504" y="213"/>
                  </a:lnTo>
                  <a:lnTo>
                    <a:pt x="504" y="215"/>
                  </a:lnTo>
                  <a:lnTo>
                    <a:pt x="504" y="211"/>
                  </a:lnTo>
                  <a:close/>
                  <a:moveTo>
                    <a:pt x="710" y="205"/>
                  </a:moveTo>
                  <a:lnTo>
                    <a:pt x="717" y="213"/>
                  </a:lnTo>
                  <a:lnTo>
                    <a:pt x="717" y="217"/>
                  </a:lnTo>
                  <a:lnTo>
                    <a:pt x="713" y="215"/>
                  </a:lnTo>
                  <a:lnTo>
                    <a:pt x="710" y="206"/>
                  </a:lnTo>
                  <a:lnTo>
                    <a:pt x="708" y="203"/>
                  </a:lnTo>
                  <a:lnTo>
                    <a:pt x="710" y="205"/>
                  </a:lnTo>
                  <a:close/>
                  <a:moveTo>
                    <a:pt x="705" y="198"/>
                  </a:moveTo>
                  <a:lnTo>
                    <a:pt x="708" y="201"/>
                  </a:lnTo>
                  <a:lnTo>
                    <a:pt x="707" y="201"/>
                  </a:lnTo>
                  <a:lnTo>
                    <a:pt x="705" y="198"/>
                  </a:lnTo>
                  <a:close/>
                  <a:moveTo>
                    <a:pt x="681" y="167"/>
                  </a:moveTo>
                  <a:lnTo>
                    <a:pt x="684" y="172"/>
                  </a:lnTo>
                  <a:lnTo>
                    <a:pt x="681" y="172"/>
                  </a:lnTo>
                  <a:lnTo>
                    <a:pt x="679" y="169"/>
                  </a:lnTo>
                  <a:lnTo>
                    <a:pt x="671" y="167"/>
                  </a:lnTo>
                  <a:lnTo>
                    <a:pt x="667" y="162"/>
                  </a:lnTo>
                  <a:lnTo>
                    <a:pt x="671" y="160"/>
                  </a:lnTo>
                  <a:lnTo>
                    <a:pt x="676" y="165"/>
                  </a:lnTo>
                  <a:lnTo>
                    <a:pt x="681" y="167"/>
                  </a:lnTo>
                  <a:close/>
                  <a:moveTo>
                    <a:pt x="664" y="158"/>
                  </a:moveTo>
                  <a:lnTo>
                    <a:pt x="662" y="157"/>
                  </a:lnTo>
                  <a:lnTo>
                    <a:pt x="661" y="150"/>
                  </a:lnTo>
                  <a:lnTo>
                    <a:pt x="664" y="152"/>
                  </a:lnTo>
                  <a:lnTo>
                    <a:pt x="664" y="158"/>
                  </a:lnTo>
                  <a:close/>
                  <a:moveTo>
                    <a:pt x="686" y="147"/>
                  </a:moveTo>
                  <a:lnTo>
                    <a:pt x="688" y="153"/>
                  </a:lnTo>
                  <a:lnTo>
                    <a:pt x="690" y="157"/>
                  </a:lnTo>
                  <a:lnTo>
                    <a:pt x="690" y="160"/>
                  </a:lnTo>
                  <a:lnTo>
                    <a:pt x="688" y="162"/>
                  </a:lnTo>
                  <a:lnTo>
                    <a:pt x="683" y="157"/>
                  </a:lnTo>
                  <a:lnTo>
                    <a:pt x="679" y="148"/>
                  </a:lnTo>
                  <a:lnTo>
                    <a:pt x="686" y="147"/>
                  </a:lnTo>
                  <a:close/>
                  <a:moveTo>
                    <a:pt x="628" y="136"/>
                  </a:moveTo>
                  <a:lnTo>
                    <a:pt x="630" y="138"/>
                  </a:lnTo>
                  <a:lnTo>
                    <a:pt x="626" y="141"/>
                  </a:lnTo>
                  <a:lnTo>
                    <a:pt x="625" y="140"/>
                  </a:lnTo>
                  <a:lnTo>
                    <a:pt x="628" y="136"/>
                  </a:lnTo>
                  <a:close/>
                  <a:moveTo>
                    <a:pt x="181" y="129"/>
                  </a:moveTo>
                  <a:lnTo>
                    <a:pt x="186" y="135"/>
                  </a:lnTo>
                  <a:lnTo>
                    <a:pt x="184" y="140"/>
                  </a:lnTo>
                  <a:lnTo>
                    <a:pt x="181" y="138"/>
                  </a:lnTo>
                  <a:lnTo>
                    <a:pt x="176" y="138"/>
                  </a:lnTo>
                  <a:lnTo>
                    <a:pt x="174" y="135"/>
                  </a:lnTo>
                  <a:lnTo>
                    <a:pt x="176" y="131"/>
                  </a:lnTo>
                  <a:lnTo>
                    <a:pt x="181" y="129"/>
                  </a:lnTo>
                  <a:close/>
                  <a:moveTo>
                    <a:pt x="370" y="109"/>
                  </a:moveTo>
                  <a:lnTo>
                    <a:pt x="374" y="109"/>
                  </a:lnTo>
                  <a:lnTo>
                    <a:pt x="374" y="112"/>
                  </a:lnTo>
                  <a:lnTo>
                    <a:pt x="370" y="116"/>
                  </a:lnTo>
                  <a:lnTo>
                    <a:pt x="369" y="114"/>
                  </a:lnTo>
                  <a:lnTo>
                    <a:pt x="367" y="112"/>
                  </a:lnTo>
                  <a:lnTo>
                    <a:pt x="367" y="109"/>
                  </a:lnTo>
                  <a:lnTo>
                    <a:pt x="369" y="109"/>
                  </a:lnTo>
                  <a:lnTo>
                    <a:pt x="370" y="109"/>
                  </a:lnTo>
                  <a:close/>
                  <a:moveTo>
                    <a:pt x="350" y="111"/>
                  </a:moveTo>
                  <a:lnTo>
                    <a:pt x="350" y="107"/>
                  </a:lnTo>
                  <a:lnTo>
                    <a:pt x="350" y="109"/>
                  </a:lnTo>
                  <a:lnTo>
                    <a:pt x="350" y="111"/>
                  </a:lnTo>
                  <a:close/>
                  <a:moveTo>
                    <a:pt x="331" y="94"/>
                  </a:moveTo>
                  <a:lnTo>
                    <a:pt x="336" y="94"/>
                  </a:lnTo>
                  <a:lnTo>
                    <a:pt x="343" y="97"/>
                  </a:lnTo>
                  <a:lnTo>
                    <a:pt x="346" y="102"/>
                  </a:lnTo>
                  <a:lnTo>
                    <a:pt x="341" y="106"/>
                  </a:lnTo>
                  <a:lnTo>
                    <a:pt x="338" y="104"/>
                  </a:lnTo>
                  <a:lnTo>
                    <a:pt x="336" y="107"/>
                  </a:lnTo>
                  <a:lnTo>
                    <a:pt x="333" y="106"/>
                  </a:lnTo>
                  <a:lnTo>
                    <a:pt x="326" y="107"/>
                  </a:lnTo>
                  <a:lnTo>
                    <a:pt x="328" y="100"/>
                  </a:lnTo>
                  <a:lnTo>
                    <a:pt x="326" y="95"/>
                  </a:lnTo>
                  <a:lnTo>
                    <a:pt x="331" y="94"/>
                  </a:lnTo>
                  <a:close/>
                  <a:moveTo>
                    <a:pt x="346" y="92"/>
                  </a:moveTo>
                  <a:lnTo>
                    <a:pt x="350" y="92"/>
                  </a:lnTo>
                  <a:lnTo>
                    <a:pt x="353" y="95"/>
                  </a:lnTo>
                  <a:lnTo>
                    <a:pt x="358" y="97"/>
                  </a:lnTo>
                  <a:lnTo>
                    <a:pt x="360" y="92"/>
                  </a:lnTo>
                  <a:lnTo>
                    <a:pt x="362" y="92"/>
                  </a:lnTo>
                  <a:lnTo>
                    <a:pt x="364" y="94"/>
                  </a:lnTo>
                  <a:lnTo>
                    <a:pt x="365" y="104"/>
                  </a:lnTo>
                  <a:lnTo>
                    <a:pt x="365" y="106"/>
                  </a:lnTo>
                  <a:lnTo>
                    <a:pt x="360" y="102"/>
                  </a:lnTo>
                  <a:lnTo>
                    <a:pt x="355" y="100"/>
                  </a:lnTo>
                  <a:lnTo>
                    <a:pt x="357" y="106"/>
                  </a:lnTo>
                  <a:lnTo>
                    <a:pt x="353" y="107"/>
                  </a:lnTo>
                  <a:lnTo>
                    <a:pt x="350" y="104"/>
                  </a:lnTo>
                  <a:lnTo>
                    <a:pt x="352" y="102"/>
                  </a:lnTo>
                  <a:lnTo>
                    <a:pt x="348" y="99"/>
                  </a:lnTo>
                  <a:lnTo>
                    <a:pt x="343" y="95"/>
                  </a:lnTo>
                  <a:lnTo>
                    <a:pt x="346" y="92"/>
                  </a:lnTo>
                  <a:close/>
                  <a:moveTo>
                    <a:pt x="311" y="90"/>
                  </a:moveTo>
                  <a:lnTo>
                    <a:pt x="314" y="94"/>
                  </a:lnTo>
                  <a:lnTo>
                    <a:pt x="317" y="92"/>
                  </a:lnTo>
                  <a:lnTo>
                    <a:pt x="319" y="94"/>
                  </a:lnTo>
                  <a:lnTo>
                    <a:pt x="316" y="100"/>
                  </a:lnTo>
                  <a:lnTo>
                    <a:pt x="316" y="102"/>
                  </a:lnTo>
                  <a:lnTo>
                    <a:pt x="319" y="104"/>
                  </a:lnTo>
                  <a:lnTo>
                    <a:pt x="319" y="107"/>
                  </a:lnTo>
                  <a:lnTo>
                    <a:pt x="317" y="109"/>
                  </a:lnTo>
                  <a:lnTo>
                    <a:pt x="307" y="106"/>
                  </a:lnTo>
                  <a:lnTo>
                    <a:pt x="307" y="107"/>
                  </a:lnTo>
                  <a:lnTo>
                    <a:pt x="312" y="114"/>
                  </a:lnTo>
                  <a:lnTo>
                    <a:pt x="312" y="116"/>
                  </a:lnTo>
                  <a:lnTo>
                    <a:pt x="309" y="116"/>
                  </a:lnTo>
                  <a:lnTo>
                    <a:pt x="309" y="119"/>
                  </a:lnTo>
                  <a:lnTo>
                    <a:pt x="304" y="121"/>
                  </a:lnTo>
                  <a:lnTo>
                    <a:pt x="295" y="123"/>
                  </a:lnTo>
                  <a:lnTo>
                    <a:pt x="295" y="124"/>
                  </a:lnTo>
                  <a:lnTo>
                    <a:pt x="287" y="128"/>
                  </a:lnTo>
                  <a:lnTo>
                    <a:pt x="292" y="123"/>
                  </a:lnTo>
                  <a:lnTo>
                    <a:pt x="295" y="116"/>
                  </a:lnTo>
                  <a:lnTo>
                    <a:pt x="300" y="112"/>
                  </a:lnTo>
                  <a:lnTo>
                    <a:pt x="306" y="109"/>
                  </a:lnTo>
                  <a:lnTo>
                    <a:pt x="304" y="107"/>
                  </a:lnTo>
                  <a:lnTo>
                    <a:pt x="300" y="109"/>
                  </a:lnTo>
                  <a:lnTo>
                    <a:pt x="300" y="111"/>
                  </a:lnTo>
                  <a:lnTo>
                    <a:pt x="290" y="114"/>
                  </a:lnTo>
                  <a:lnTo>
                    <a:pt x="287" y="119"/>
                  </a:lnTo>
                  <a:lnTo>
                    <a:pt x="282" y="119"/>
                  </a:lnTo>
                  <a:lnTo>
                    <a:pt x="276" y="126"/>
                  </a:lnTo>
                  <a:lnTo>
                    <a:pt x="270" y="124"/>
                  </a:lnTo>
                  <a:lnTo>
                    <a:pt x="266" y="117"/>
                  </a:lnTo>
                  <a:lnTo>
                    <a:pt x="268" y="114"/>
                  </a:lnTo>
                  <a:lnTo>
                    <a:pt x="273" y="109"/>
                  </a:lnTo>
                  <a:lnTo>
                    <a:pt x="280" y="102"/>
                  </a:lnTo>
                  <a:lnTo>
                    <a:pt x="287" y="102"/>
                  </a:lnTo>
                  <a:lnTo>
                    <a:pt x="299" y="102"/>
                  </a:lnTo>
                  <a:lnTo>
                    <a:pt x="304" y="94"/>
                  </a:lnTo>
                  <a:lnTo>
                    <a:pt x="311" y="90"/>
                  </a:lnTo>
                  <a:close/>
                  <a:moveTo>
                    <a:pt x="611" y="68"/>
                  </a:moveTo>
                  <a:lnTo>
                    <a:pt x="613" y="70"/>
                  </a:lnTo>
                  <a:lnTo>
                    <a:pt x="613" y="71"/>
                  </a:lnTo>
                  <a:lnTo>
                    <a:pt x="608" y="70"/>
                  </a:lnTo>
                  <a:lnTo>
                    <a:pt x="611" y="68"/>
                  </a:lnTo>
                  <a:close/>
                  <a:moveTo>
                    <a:pt x="225" y="63"/>
                  </a:moveTo>
                  <a:lnTo>
                    <a:pt x="225" y="65"/>
                  </a:lnTo>
                  <a:lnTo>
                    <a:pt x="230" y="68"/>
                  </a:lnTo>
                  <a:lnTo>
                    <a:pt x="232" y="70"/>
                  </a:lnTo>
                  <a:lnTo>
                    <a:pt x="236" y="76"/>
                  </a:lnTo>
                  <a:lnTo>
                    <a:pt x="230" y="76"/>
                  </a:lnTo>
                  <a:lnTo>
                    <a:pt x="229" y="73"/>
                  </a:lnTo>
                  <a:lnTo>
                    <a:pt x="225" y="73"/>
                  </a:lnTo>
                  <a:lnTo>
                    <a:pt x="218" y="71"/>
                  </a:lnTo>
                  <a:lnTo>
                    <a:pt x="217" y="70"/>
                  </a:lnTo>
                  <a:lnTo>
                    <a:pt x="215" y="68"/>
                  </a:lnTo>
                  <a:lnTo>
                    <a:pt x="220" y="66"/>
                  </a:lnTo>
                  <a:lnTo>
                    <a:pt x="220" y="63"/>
                  </a:lnTo>
                  <a:lnTo>
                    <a:pt x="225" y="65"/>
                  </a:lnTo>
                  <a:lnTo>
                    <a:pt x="225" y="63"/>
                  </a:lnTo>
                  <a:close/>
                  <a:moveTo>
                    <a:pt x="222" y="63"/>
                  </a:moveTo>
                  <a:lnTo>
                    <a:pt x="225" y="63"/>
                  </a:lnTo>
                  <a:lnTo>
                    <a:pt x="222" y="63"/>
                  </a:lnTo>
                  <a:close/>
                  <a:moveTo>
                    <a:pt x="39" y="59"/>
                  </a:moveTo>
                  <a:lnTo>
                    <a:pt x="37" y="63"/>
                  </a:lnTo>
                  <a:lnTo>
                    <a:pt x="37" y="59"/>
                  </a:lnTo>
                  <a:lnTo>
                    <a:pt x="39" y="59"/>
                  </a:lnTo>
                  <a:close/>
                  <a:moveTo>
                    <a:pt x="249" y="51"/>
                  </a:moveTo>
                  <a:lnTo>
                    <a:pt x="253" y="54"/>
                  </a:lnTo>
                  <a:lnTo>
                    <a:pt x="253" y="63"/>
                  </a:lnTo>
                  <a:lnTo>
                    <a:pt x="247" y="61"/>
                  </a:lnTo>
                  <a:lnTo>
                    <a:pt x="242" y="63"/>
                  </a:lnTo>
                  <a:lnTo>
                    <a:pt x="234" y="59"/>
                  </a:lnTo>
                  <a:lnTo>
                    <a:pt x="236" y="58"/>
                  </a:lnTo>
                  <a:lnTo>
                    <a:pt x="244" y="51"/>
                  </a:lnTo>
                  <a:lnTo>
                    <a:pt x="249" y="51"/>
                  </a:lnTo>
                  <a:close/>
                  <a:moveTo>
                    <a:pt x="254" y="51"/>
                  </a:moveTo>
                  <a:lnTo>
                    <a:pt x="258" y="51"/>
                  </a:lnTo>
                  <a:lnTo>
                    <a:pt x="254" y="51"/>
                  </a:lnTo>
                  <a:lnTo>
                    <a:pt x="254" y="53"/>
                  </a:lnTo>
                  <a:lnTo>
                    <a:pt x="251" y="51"/>
                  </a:lnTo>
                  <a:lnTo>
                    <a:pt x="254" y="51"/>
                  </a:lnTo>
                  <a:close/>
                  <a:moveTo>
                    <a:pt x="123" y="39"/>
                  </a:moveTo>
                  <a:lnTo>
                    <a:pt x="133" y="39"/>
                  </a:lnTo>
                  <a:lnTo>
                    <a:pt x="142" y="44"/>
                  </a:lnTo>
                  <a:lnTo>
                    <a:pt x="145" y="47"/>
                  </a:lnTo>
                  <a:lnTo>
                    <a:pt x="147" y="47"/>
                  </a:lnTo>
                  <a:lnTo>
                    <a:pt x="150" y="49"/>
                  </a:lnTo>
                  <a:lnTo>
                    <a:pt x="155" y="49"/>
                  </a:lnTo>
                  <a:lnTo>
                    <a:pt x="164" y="54"/>
                  </a:lnTo>
                  <a:lnTo>
                    <a:pt x="171" y="59"/>
                  </a:lnTo>
                  <a:lnTo>
                    <a:pt x="172" y="65"/>
                  </a:lnTo>
                  <a:lnTo>
                    <a:pt x="169" y="66"/>
                  </a:lnTo>
                  <a:lnTo>
                    <a:pt x="167" y="63"/>
                  </a:lnTo>
                  <a:lnTo>
                    <a:pt x="162" y="65"/>
                  </a:lnTo>
                  <a:lnTo>
                    <a:pt x="162" y="71"/>
                  </a:lnTo>
                  <a:lnTo>
                    <a:pt x="164" y="73"/>
                  </a:lnTo>
                  <a:lnTo>
                    <a:pt x="166" y="71"/>
                  </a:lnTo>
                  <a:lnTo>
                    <a:pt x="166" y="76"/>
                  </a:lnTo>
                  <a:lnTo>
                    <a:pt x="174" y="78"/>
                  </a:lnTo>
                  <a:lnTo>
                    <a:pt x="174" y="75"/>
                  </a:lnTo>
                  <a:lnTo>
                    <a:pt x="177" y="73"/>
                  </a:lnTo>
                  <a:lnTo>
                    <a:pt x="179" y="75"/>
                  </a:lnTo>
                  <a:lnTo>
                    <a:pt x="188" y="76"/>
                  </a:lnTo>
                  <a:lnTo>
                    <a:pt x="189" y="78"/>
                  </a:lnTo>
                  <a:lnTo>
                    <a:pt x="188" y="87"/>
                  </a:lnTo>
                  <a:lnTo>
                    <a:pt x="188" y="88"/>
                  </a:lnTo>
                  <a:lnTo>
                    <a:pt x="188" y="97"/>
                  </a:lnTo>
                  <a:lnTo>
                    <a:pt x="186" y="100"/>
                  </a:lnTo>
                  <a:lnTo>
                    <a:pt x="188" y="104"/>
                  </a:lnTo>
                  <a:lnTo>
                    <a:pt x="183" y="111"/>
                  </a:lnTo>
                  <a:lnTo>
                    <a:pt x="179" y="112"/>
                  </a:lnTo>
                  <a:lnTo>
                    <a:pt x="174" y="111"/>
                  </a:lnTo>
                  <a:lnTo>
                    <a:pt x="169" y="114"/>
                  </a:lnTo>
                  <a:lnTo>
                    <a:pt x="164" y="114"/>
                  </a:lnTo>
                  <a:lnTo>
                    <a:pt x="155" y="121"/>
                  </a:lnTo>
                  <a:lnTo>
                    <a:pt x="152" y="123"/>
                  </a:lnTo>
                  <a:lnTo>
                    <a:pt x="152" y="124"/>
                  </a:lnTo>
                  <a:lnTo>
                    <a:pt x="143" y="126"/>
                  </a:lnTo>
                  <a:lnTo>
                    <a:pt x="138" y="126"/>
                  </a:lnTo>
                  <a:lnTo>
                    <a:pt x="131" y="129"/>
                  </a:lnTo>
                  <a:lnTo>
                    <a:pt x="126" y="135"/>
                  </a:lnTo>
                  <a:lnTo>
                    <a:pt x="123" y="133"/>
                  </a:lnTo>
                  <a:lnTo>
                    <a:pt x="119" y="135"/>
                  </a:lnTo>
                  <a:lnTo>
                    <a:pt x="114" y="131"/>
                  </a:lnTo>
                  <a:lnTo>
                    <a:pt x="111" y="131"/>
                  </a:lnTo>
                  <a:lnTo>
                    <a:pt x="104" y="128"/>
                  </a:lnTo>
                  <a:lnTo>
                    <a:pt x="99" y="128"/>
                  </a:lnTo>
                  <a:lnTo>
                    <a:pt x="99" y="126"/>
                  </a:lnTo>
                  <a:lnTo>
                    <a:pt x="97" y="126"/>
                  </a:lnTo>
                  <a:lnTo>
                    <a:pt x="96" y="124"/>
                  </a:lnTo>
                  <a:lnTo>
                    <a:pt x="87" y="119"/>
                  </a:lnTo>
                  <a:lnTo>
                    <a:pt x="85" y="117"/>
                  </a:lnTo>
                  <a:lnTo>
                    <a:pt x="84" y="117"/>
                  </a:lnTo>
                  <a:lnTo>
                    <a:pt x="77" y="114"/>
                  </a:lnTo>
                  <a:lnTo>
                    <a:pt x="72" y="112"/>
                  </a:lnTo>
                  <a:lnTo>
                    <a:pt x="65" y="106"/>
                  </a:lnTo>
                  <a:lnTo>
                    <a:pt x="60" y="106"/>
                  </a:lnTo>
                  <a:lnTo>
                    <a:pt x="56" y="102"/>
                  </a:lnTo>
                  <a:lnTo>
                    <a:pt x="55" y="95"/>
                  </a:lnTo>
                  <a:lnTo>
                    <a:pt x="53" y="92"/>
                  </a:lnTo>
                  <a:lnTo>
                    <a:pt x="46" y="88"/>
                  </a:lnTo>
                  <a:lnTo>
                    <a:pt x="43" y="85"/>
                  </a:lnTo>
                  <a:lnTo>
                    <a:pt x="43" y="80"/>
                  </a:lnTo>
                  <a:lnTo>
                    <a:pt x="37" y="75"/>
                  </a:lnTo>
                  <a:lnTo>
                    <a:pt x="39" y="68"/>
                  </a:lnTo>
                  <a:lnTo>
                    <a:pt x="37" y="66"/>
                  </a:lnTo>
                  <a:lnTo>
                    <a:pt x="39" y="66"/>
                  </a:lnTo>
                  <a:lnTo>
                    <a:pt x="37" y="63"/>
                  </a:lnTo>
                  <a:lnTo>
                    <a:pt x="39" y="61"/>
                  </a:lnTo>
                  <a:lnTo>
                    <a:pt x="39" y="53"/>
                  </a:lnTo>
                  <a:lnTo>
                    <a:pt x="46" y="49"/>
                  </a:lnTo>
                  <a:lnTo>
                    <a:pt x="48" y="46"/>
                  </a:lnTo>
                  <a:lnTo>
                    <a:pt x="55" y="51"/>
                  </a:lnTo>
                  <a:lnTo>
                    <a:pt x="61" y="54"/>
                  </a:lnTo>
                  <a:lnTo>
                    <a:pt x="65" y="54"/>
                  </a:lnTo>
                  <a:lnTo>
                    <a:pt x="65" y="49"/>
                  </a:lnTo>
                  <a:lnTo>
                    <a:pt x="68" y="47"/>
                  </a:lnTo>
                  <a:lnTo>
                    <a:pt x="73" y="42"/>
                  </a:lnTo>
                  <a:lnTo>
                    <a:pt x="78" y="44"/>
                  </a:lnTo>
                  <a:lnTo>
                    <a:pt x="87" y="42"/>
                  </a:lnTo>
                  <a:lnTo>
                    <a:pt x="94" y="42"/>
                  </a:lnTo>
                  <a:lnTo>
                    <a:pt x="99" y="41"/>
                  </a:lnTo>
                  <a:lnTo>
                    <a:pt x="109" y="39"/>
                  </a:lnTo>
                  <a:lnTo>
                    <a:pt x="118" y="41"/>
                  </a:lnTo>
                  <a:lnTo>
                    <a:pt x="123" y="39"/>
                  </a:lnTo>
                  <a:close/>
                  <a:moveTo>
                    <a:pt x="283" y="32"/>
                  </a:moveTo>
                  <a:lnTo>
                    <a:pt x="285" y="32"/>
                  </a:lnTo>
                  <a:lnTo>
                    <a:pt x="285" y="34"/>
                  </a:lnTo>
                  <a:lnTo>
                    <a:pt x="283" y="34"/>
                  </a:lnTo>
                  <a:lnTo>
                    <a:pt x="283" y="32"/>
                  </a:lnTo>
                  <a:close/>
                  <a:moveTo>
                    <a:pt x="268" y="24"/>
                  </a:moveTo>
                  <a:lnTo>
                    <a:pt x="266" y="25"/>
                  </a:lnTo>
                  <a:lnTo>
                    <a:pt x="263" y="27"/>
                  </a:lnTo>
                  <a:lnTo>
                    <a:pt x="265" y="24"/>
                  </a:lnTo>
                  <a:lnTo>
                    <a:pt x="268" y="24"/>
                  </a:lnTo>
                  <a:close/>
                  <a:moveTo>
                    <a:pt x="270" y="22"/>
                  </a:moveTo>
                  <a:lnTo>
                    <a:pt x="276" y="24"/>
                  </a:lnTo>
                  <a:lnTo>
                    <a:pt x="278" y="25"/>
                  </a:lnTo>
                  <a:lnTo>
                    <a:pt x="271" y="32"/>
                  </a:lnTo>
                  <a:lnTo>
                    <a:pt x="266" y="37"/>
                  </a:lnTo>
                  <a:lnTo>
                    <a:pt x="256" y="36"/>
                  </a:lnTo>
                  <a:lnTo>
                    <a:pt x="261" y="34"/>
                  </a:lnTo>
                  <a:lnTo>
                    <a:pt x="263" y="27"/>
                  </a:lnTo>
                  <a:lnTo>
                    <a:pt x="266" y="25"/>
                  </a:lnTo>
                  <a:lnTo>
                    <a:pt x="268" y="24"/>
                  </a:lnTo>
                  <a:lnTo>
                    <a:pt x="270" y="25"/>
                  </a:lnTo>
                  <a:lnTo>
                    <a:pt x="266" y="22"/>
                  </a:lnTo>
                  <a:lnTo>
                    <a:pt x="270" y="22"/>
                  </a:lnTo>
                  <a:close/>
                  <a:moveTo>
                    <a:pt x="463" y="8"/>
                  </a:moveTo>
                  <a:lnTo>
                    <a:pt x="468" y="10"/>
                  </a:lnTo>
                  <a:lnTo>
                    <a:pt x="471" y="8"/>
                  </a:lnTo>
                  <a:lnTo>
                    <a:pt x="473" y="12"/>
                  </a:lnTo>
                  <a:lnTo>
                    <a:pt x="481" y="12"/>
                  </a:lnTo>
                  <a:lnTo>
                    <a:pt x="492" y="15"/>
                  </a:lnTo>
                  <a:lnTo>
                    <a:pt x="495" y="22"/>
                  </a:lnTo>
                  <a:lnTo>
                    <a:pt x="502" y="20"/>
                  </a:lnTo>
                  <a:lnTo>
                    <a:pt x="502" y="22"/>
                  </a:lnTo>
                  <a:lnTo>
                    <a:pt x="502" y="24"/>
                  </a:lnTo>
                  <a:lnTo>
                    <a:pt x="504" y="22"/>
                  </a:lnTo>
                  <a:lnTo>
                    <a:pt x="502" y="22"/>
                  </a:lnTo>
                  <a:lnTo>
                    <a:pt x="505" y="22"/>
                  </a:lnTo>
                  <a:lnTo>
                    <a:pt x="505" y="25"/>
                  </a:lnTo>
                  <a:lnTo>
                    <a:pt x="514" y="29"/>
                  </a:lnTo>
                  <a:lnTo>
                    <a:pt x="517" y="29"/>
                  </a:lnTo>
                  <a:lnTo>
                    <a:pt x="521" y="32"/>
                  </a:lnTo>
                  <a:lnTo>
                    <a:pt x="533" y="32"/>
                  </a:lnTo>
                  <a:lnTo>
                    <a:pt x="536" y="30"/>
                  </a:lnTo>
                  <a:lnTo>
                    <a:pt x="539" y="34"/>
                  </a:lnTo>
                  <a:lnTo>
                    <a:pt x="550" y="29"/>
                  </a:lnTo>
                  <a:lnTo>
                    <a:pt x="558" y="29"/>
                  </a:lnTo>
                  <a:lnTo>
                    <a:pt x="563" y="30"/>
                  </a:lnTo>
                  <a:lnTo>
                    <a:pt x="568" y="36"/>
                  </a:lnTo>
                  <a:lnTo>
                    <a:pt x="570" y="39"/>
                  </a:lnTo>
                  <a:lnTo>
                    <a:pt x="574" y="41"/>
                  </a:lnTo>
                  <a:lnTo>
                    <a:pt x="575" y="44"/>
                  </a:lnTo>
                  <a:lnTo>
                    <a:pt x="580" y="44"/>
                  </a:lnTo>
                  <a:lnTo>
                    <a:pt x="585" y="47"/>
                  </a:lnTo>
                  <a:lnTo>
                    <a:pt x="589" y="51"/>
                  </a:lnTo>
                  <a:lnTo>
                    <a:pt x="592" y="61"/>
                  </a:lnTo>
                  <a:lnTo>
                    <a:pt x="592" y="66"/>
                  </a:lnTo>
                  <a:lnTo>
                    <a:pt x="592" y="71"/>
                  </a:lnTo>
                  <a:lnTo>
                    <a:pt x="596" y="80"/>
                  </a:lnTo>
                  <a:lnTo>
                    <a:pt x="597" y="80"/>
                  </a:lnTo>
                  <a:lnTo>
                    <a:pt x="601" y="80"/>
                  </a:lnTo>
                  <a:lnTo>
                    <a:pt x="603" y="80"/>
                  </a:lnTo>
                  <a:lnTo>
                    <a:pt x="613" y="80"/>
                  </a:lnTo>
                  <a:lnTo>
                    <a:pt x="616" y="87"/>
                  </a:lnTo>
                  <a:lnTo>
                    <a:pt x="616" y="88"/>
                  </a:lnTo>
                  <a:lnTo>
                    <a:pt x="614" y="88"/>
                  </a:lnTo>
                  <a:lnTo>
                    <a:pt x="613" y="90"/>
                  </a:lnTo>
                  <a:lnTo>
                    <a:pt x="614" y="95"/>
                  </a:lnTo>
                  <a:lnTo>
                    <a:pt x="621" y="100"/>
                  </a:lnTo>
                  <a:lnTo>
                    <a:pt x="621" y="104"/>
                  </a:lnTo>
                  <a:lnTo>
                    <a:pt x="621" y="107"/>
                  </a:lnTo>
                  <a:lnTo>
                    <a:pt x="616" y="111"/>
                  </a:lnTo>
                  <a:lnTo>
                    <a:pt x="614" y="116"/>
                  </a:lnTo>
                  <a:lnTo>
                    <a:pt x="616" y="126"/>
                  </a:lnTo>
                  <a:lnTo>
                    <a:pt x="614" y="131"/>
                  </a:lnTo>
                  <a:lnTo>
                    <a:pt x="618" y="136"/>
                  </a:lnTo>
                  <a:lnTo>
                    <a:pt x="611" y="135"/>
                  </a:lnTo>
                  <a:lnTo>
                    <a:pt x="613" y="135"/>
                  </a:lnTo>
                  <a:lnTo>
                    <a:pt x="609" y="133"/>
                  </a:lnTo>
                  <a:lnTo>
                    <a:pt x="608" y="131"/>
                  </a:lnTo>
                  <a:lnTo>
                    <a:pt x="606" y="133"/>
                  </a:lnTo>
                  <a:lnTo>
                    <a:pt x="604" y="131"/>
                  </a:lnTo>
                  <a:lnTo>
                    <a:pt x="603" y="131"/>
                  </a:lnTo>
                  <a:lnTo>
                    <a:pt x="599" y="128"/>
                  </a:lnTo>
                  <a:lnTo>
                    <a:pt x="591" y="126"/>
                  </a:lnTo>
                  <a:lnTo>
                    <a:pt x="584" y="117"/>
                  </a:lnTo>
                  <a:lnTo>
                    <a:pt x="574" y="117"/>
                  </a:lnTo>
                  <a:lnTo>
                    <a:pt x="570" y="111"/>
                  </a:lnTo>
                  <a:lnTo>
                    <a:pt x="567" y="107"/>
                  </a:lnTo>
                  <a:lnTo>
                    <a:pt x="555" y="106"/>
                  </a:lnTo>
                  <a:lnTo>
                    <a:pt x="551" y="102"/>
                  </a:lnTo>
                  <a:lnTo>
                    <a:pt x="546" y="100"/>
                  </a:lnTo>
                  <a:lnTo>
                    <a:pt x="543" y="99"/>
                  </a:lnTo>
                  <a:lnTo>
                    <a:pt x="533" y="95"/>
                  </a:lnTo>
                  <a:lnTo>
                    <a:pt x="527" y="92"/>
                  </a:lnTo>
                  <a:lnTo>
                    <a:pt x="519" y="90"/>
                  </a:lnTo>
                  <a:lnTo>
                    <a:pt x="512" y="83"/>
                  </a:lnTo>
                  <a:lnTo>
                    <a:pt x="512" y="75"/>
                  </a:lnTo>
                  <a:lnTo>
                    <a:pt x="507" y="73"/>
                  </a:lnTo>
                  <a:lnTo>
                    <a:pt x="502" y="73"/>
                  </a:lnTo>
                  <a:lnTo>
                    <a:pt x="493" y="71"/>
                  </a:lnTo>
                  <a:lnTo>
                    <a:pt x="488" y="71"/>
                  </a:lnTo>
                  <a:lnTo>
                    <a:pt x="485" y="70"/>
                  </a:lnTo>
                  <a:lnTo>
                    <a:pt x="478" y="71"/>
                  </a:lnTo>
                  <a:lnTo>
                    <a:pt x="469" y="70"/>
                  </a:lnTo>
                  <a:lnTo>
                    <a:pt x="464" y="68"/>
                  </a:lnTo>
                  <a:lnTo>
                    <a:pt x="463" y="70"/>
                  </a:lnTo>
                  <a:lnTo>
                    <a:pt x="459" y="68"/>
                  </a:lnTo>
                  <a:lnTo>
                    <a:pt x="456" y="71"/>
                  </a:lnTo>
                  <a:lnTo>
                    <a:pt x="463" y="78"/>
                  </a:lnTo>
                  <a:lnTo>
                    <a:pt x="464" y="83"/>
                  </a:lnTo>
                  <a:lnTo>
                    <a:pt x="463" y="87"/>
                  </a:lnTo>
                  <a:lnTo>
                    <a:pt x="461" y="88"/>
                  </a:lnTo>
                  <a:lnTo>
                    <a:pt x="454" y="87"/>
                  </a:lnTo>
                  <a:lnTo>
                    <a:pt x="445" y="82"/>
                  </a:lnTo>
                  <a:lnTo>
                    <a:pt x="439" y="82"/>
                  </a:lnTo>
                  <a:lnTo>
                    <a:pt x="437" y="82"/>
                  </a:lnTo>
                  <a:lnTo>
                    <a:pt x="427" y="82"/>
                  </a:lnTo>
                  <a:lnTo>
                    <a:pt x="420" y="78"/>
                  </a:lnTo>
                  <a:lnTo>
                    <a:pt x="416" y="76"/>
                  </a:lnTo>
                  <a:lnTo>
                    <a:pt x="406" y="73"/>
                  </a:lnTo>
                  <a:lnTo>
                    <a:pt x="405" y="75"/>
                  </a:lnTo>
                  <a:lnTo>
                    <a:pt x="394" y="75"/>
                  </a:lnTo>
                  <a:lnTo>
                    <a:pt x="389" y="75"/>
                  </a:lnTo>
                  <a:lnTo>
                    <a:pt x="386" y="71"/>
                  </a:lnTo>
                  <a:lnTo>
                    <a:pt x="387" y="73"/>
                  </a:lnTo>
                  <a:lnTo>
                    <a:pt x="393" y="66"/>
                  </a:lnTo>
                  <a:lnTo>
                    <a:pt x="393" y="59"/>
                  </a:lnTo>
                  <a:lnTo>
                    <a:pt x="384" y="56"/>
                  </a:lnTo>
                  <a:lnTo>
                    <a:pt x="381" y="58"/>
                  </a:lnTo>
                  <a:lnTo>
                    <a:pt x="377" y="61"/>
                  </a:lnTo>
                  <a:lnTo>
                    <a:pt x="370" y="65"/>
                  </a:lnTo>
                  <a:lnTo>
                    <a:pt x="364" y="70"/>
                  </a:lnTo>
                  <a:lnTo>
                    <a:pt x="358" y="75"/>
                  </a:lnTo>
                  <a:lnTo>
                    <a:pt x="357" y="78"/>
                  </a:lnTo>
                  <a:lnTo>
                    <a:pt x="360" y="82"/>
                  </a:lnTo>
                  <a:lnTo>
                    <a:pt x="358" y="83"/>
                  </a:lnTo>
                  <a:lnTo>
                    <a:pt x="348" y="83"/>
                  </a:lnTo>
                  <a:lnTo>
                    <a:pt x="340" y="87"/>
                  </a:lnTo>
                  <a:lnTo>
                    <a:pt x="333" y="87"/>
                  </a:lnTo>
                  <a:lnTo>
                    <a:pt x="326" y="83"/>
                  </a:lnTo>
                  <a:lnTo>
                    <a:pt x="324" y="80"/>
                  </a:lnTo>
                  <a:lnTo>
                    <a:pt x="317" y="71"/>
                  </a:lnTo>
                  <a:lnTo>
                    <a:pt x="312" y="63"/>
                  </a:lnTo>
                  <a:lnTo>
                    <a:pt x="312" y="59"/>
                  </a:lnTo>
                  <a:lnTo>
                    <a:pt x="309" y="56"/>
                  </a:lnTo>
                  <a:lnTo>
                    <a:pt x="307" y="58"/>
                  </a:lnTo>
                  <a:lnTo>
                    <a:pt x="307" y="56"/>
                  </a:lnTo>
                  <a:lnTo>
                    <a:pt x="304" y="58"/>
                  </a:lnTo>
                  <a:lnTo>
                    <a:pt x="300" y="56"/>
                  </a:lnTo>
                  <a:lnTo>
                    <a:pt x="302" y="58"/>
                  </a:lnTo>
                  <a:lnTo>
                    <a:pt x="299" y="59"/>
                  </a:lnTo>
                  <a:lnTo>
                    <a:pt x="297" y="56"/>
                  </a:lnTo>
                  <a:lnTo>
                    <a:pt x="297" y="54"/>
                  </a:lnTo>
                  <a:lnTo>
                    <a:pt x="295" y="54"/>
                  </a:lnTo>
                  <a:lnTo>
                    <a:pt x="295" y="51"/>
                  </a:lnTo>
                  <a:lnTo>
                    <a:pt x="297" y="53"/>
                  </a:lnTo>
                  <a:lnTo>
                    <a:pt x="297" y="49"/>
                  </a:lnTo>
                  <a:lnTo>
                    <a:pt x="300" y="49"/>
                  </a:lnTo>
                  <a:lnTo>
                    <a:pt x="302" y="47"/>
                  </a:lnTo>
                  <a:lnTo>
                    <a:pt x="300" y="41"/>
                  </a:lnTo>
                  <a:lnTo>
                    <a:pt x="299" y="39"/>
                  </a:lnTo>
                  <a:lnTo>
                    <a:pt x="295" y="41"/>
                  </a:lnTo>
                  <a:lnTo>
                    <a:pt x="288" y="47"/>
                  </a:lnTo>
                  <a:lnTo>
                    <a:pt x="285" y="58"/>
                  </a:lnTo>
                  <a:lnTo>
                    <a:pt x="285" y="59"/>
                  </a:lnTo>
                  <a:lnTo>
                    <a:pt x="285" y="63"/>
                  </a:lnTo>
                  <a:lnTo>
                    <a:pt x="283" y="73"/>
                  </a:lnTo>
                  <a:lnTo>
                    <a:pt x="278" y="78"/>
                  </a:lnTo>
                  <a:lnTo>
                    <a:pt x="275" y="78"/>
                  </a:lnTo>
                  <a:lnTo>
                    <a:pt x="273" y="83"/>
                  </a:lnTo>
                  <a:lnTo>
                    <a:pt x="270" y="88"/>
                  </a:lnTo>
                  <a:lnTo>
                    <a:pt x="271" y="95"/>
                  </a:lnTo>
                  <a:lnTo>
                    <a:pt x="268" y="100"/>
                  </a:lnTo>
                  <a:lnTo>
                    <a:pt x="265" y="90"/>
                  </a:lnTo>
                  <a:lnTo>
                    <a:pt x="268" y="82"/>
                  </a:lnTo>
                  <a:lnTo>
                    <a:pt x="270" y="78"/>
                  </a:lnTo>
                  <a:lnTo>
                    <a:pt x="270" y="75"/>
                  </a:lnTo>
                  <a:lnTo>
                    <a:pt x="268" y="68"/>
                  </a:lnTo>
                  <a:lnTo>
                    <a:pt x="263" y="65"/>
                  </a:lnTo>
                  <a:lnTo>
                    <a:pt x="261" y="54"/>
                  </a:lnTo>
                  <a:lnTo>
                    <a:pt x="258" y="51"/>
                  </a:lnTo>
                  <a:lnTo>
                    <a:pt x="266" y="49"/>
                  </a:lnTo>
                  <a:lnTo>
                    <a:pt x="271" y="44"/>
                  </a:lnTo>
                  <a:lnTo>
                    <a:pt x="275" y="44"/>
                  </a:lnTo>
                  <a:lnTo>
                    <a:pt x="276" y="41"/>
                  </a:lnTo>
                  <a:lnTo>
                    <a:pt x="276" y="42"/>
                  </a:lnTo>
                  <a:lnTo>
                    <a:pt x="278" y="41"/>
                  </a:lnTo>
                  <a:lnTo>
                    <a:pt x="282" y="41"/>
                  </a:lnTo>
                  <a:lnTo>
                    <a:pt x="290" y="39"/>
                  </a:lnTo>
                  <a:lnTo>
                    <a:pt x="288" y="34"/>
                  </a:lnTo>
                  <a:lnTo>
                    <a:pt x="292" y="32"/>
                  </a:lnTo>
                  <a:lnTo>
                    <a:pt x="292" y="29"/>
                  </a:lnTo>
                  <a:lnTo>
                    <a:pt x="287" y="30"/>
                  </a:lnTo>
                  <a:lnTo>
                    <a:pt x="285" y="29"/>
                  </a:lnTo>
                  <a:lnTo>
                    <a:pt x="294" y="24"/>
                  </a:lnTo>
                  <a:lnTo>
                    <a:pt x="294" y="22"/>
                  </a:lnTo>
                  <a:lnTo>
                    <a:pt x="292" y="20"/>
                  </a:lnTo>
                  <a:lnTo>
                    <a:pt x="297" y="18"/>
                  </a:lnTo>
                  <a:lnTo>
                    <a:pt x="297" y="15"/>
                  </a:lnTo>
                  <a:lnTo>
                    <a:pt x="306" y="15"/>
                  </a:lnTo>
                  <a:lnTo>
                    <a:pt x="309" y="17"/>
                  </a:lnTo>
                  <a:lnTo>
                    <a:pt x="319" y="15"/>
                  </a:lnTo>
                  <a:lnTo>
                    <a:pt x="324" y="17"/>
                  </a:lnTo>
                  <a:lnTo>
                    <a:pt x="329" y="13"/>
                  </a:lnTo>
                  <a:lnTo>
                    <a:pt x="335" y="15"/>
                  </a:lnTo>
                  <a:lnTo>
                    <a:pt x="338" y="12"/>
                  </a:lnTo>
                  <a:lnTo>
                    <a:pt x="345" y="15"/>
                  </a:lnTo>
                  <a:lnTo>
                    <a:pt x="352" y="15"/>
                  </a:lnTo>
                  <a:lnTo>
                    <a:pt x="357" y="13"/>
                  </a:lnTo>
                  <a:lnTo>
                    <a:pt x="362" y="15"/>
                  </a:lnTo>
                  <a:lnTo>
                    <a:pt x="367" y="13"/>
                  </a:lnTo>
                  <a:lnTo>
                    <a:pt x="377" y="17"/>
                  </a:lnTo>
                  <a:lnTo>
                    <a:pt x="387" y="13"/>
                  </a:lnTo>
                  <a:lnTo>
                    <a:pt x="393" y="13"/>
                  </a:lnTo>
                  <a:lnTo>
                    <a:pt x="399" y="8"/>
                  </a:lnTo>
                  <a:lnTo>
                    <a:pt x="403" y="8"/>
                  </a:lnTo>
                  <a:lnTo>
                    <a:pt x="406" y="15"/>
                  </a:lnTo>
                  <a:lnTo>
                    <a:pt x="405" y="20"/>
                  </a:lnTo>
                  <a:lnTo>
                    <a:pt x="406" y="18"/>
                  </a:lnTo>
                  <a:lnTo>
                    <a:pt x="406" y="25"/>
                  </a:lnTo>
                  <a:lnTo>
                    <a:pt x="413" y="29"/>
                  </a:lnTo>
                  <a:lnTo>
                    <a:pt x="416" y="25"/>
                  </a:lnTo>
                  <a:lnTo>
                    <a:pt x="420" y="27"/>
                  </a:lnTo>
                  <a:lnTo>
                    <a:pt x="418" y="25"/>
                  </a:lnTo>
                  <a:lnTo>
                    <a:pt x="420" y="22"/>
                  </a:lnTo>
                  <a:lnTo>
                    <a:pt x="423" y="27"/>
                  </a:lnTo>
                  <a:lnTo>
                    <a:pt x="422" y="25"/>
                  </a:lnTo>
                  <a:lnTo>
                    <a:pt x="423" y="22"/>
                  </a:lnTo>
                  <a:lnTo>
                    <a:pt x="428" y="20"/>
                  </a:lnTo>
                  <a:lnTo>
                    <a:pt x="437" y="17"/>
                  </a:lnTo>
                  <a:lnTo>
                    <a:pt x="439" y="15"/>
                  </a:lnTo>
                  <a:lnTo>
                    <a:pt x="442" y="6"/>
                  </a:lnTo>
                  <a:lnTo>
                    <a:pt x="449" y="6"/>
                  </a:lnTo>
                  <a:lnTo>
                    <a:pt x="454" y="6"/>
                  </a:lnTo>
                  <a:lnTo>
                    <a:pt x="459" y="8"/>
                  </a:lnTo>
                  <a:lnTo>
                    <a:pt x="461" y="5"/>
                  </a:lnTo>
                  <a:lnTo>
                    <a:pt x="463" y="8"/>
                  </a:lnTo>
                  <a:close/>
                  <a:moveTo>
                    <a:pt x="394" y="0"/>
                  </a:moveTo>
                  <a:lnTo>
                    <a:pt x="396" y="0"/>
                  </a:lnTo>
                  <a:lnTo>
                    <a:pt x="396" y="1"/>
                  </a:lnTo>
                  <a:lnTo>
                    <a:pt x="394" y="1"/>
                  </a:lnTo>
                  <a:lnTo>
                    <a:pt x="394"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5" name="Freeform 63"/>
            <p:cNvSpPr>
              <a:spLocks noEditPoints="1"/>
            </p:cNvSpPr>
            <p:nvPr/>
          </p:nvSpPr>
          <p:spPr bwMode="gray">
            <a:xfrm>
              <a:off x="8372581" y="2921212"/>
              <a:ext cx="1296994" cy="1176598"/>
            </a:xfrm>
            <a:custGeom>
              <a:avLst/>
              <a:gdLst>
                <a:gd name="T0" fmla="*/ 588 w 711"/>
                <a:gd name="T1" fmla="*/ 608 h 645"/>
                <a:gd name="T2" fmla="*/ 561 w 711"/>
                <a:gd name="T3" fmla="*/ 592 h 645"/>
                <a:gd name="T4" fmla="*/ 411 w 711"/>
                <a:gd name="T5" fmla="*/ 539 h 645"/>
                <a:gd name="T6" fmla="*/ 380 w 711"/>
                <a:gd name="T7" fmla="*/ 444 h 645"/>
                <a:gd name="T8" fmla="*/ 606 w 711"/>
                <a:gd name="T9" fmla="*/ 433 h 645"/>
                <a:gd name="T10" fmla="*/ 546 w 711"/>
                <a:gd name="T11" fmla="*/ 423 h 645"/>
                <a:gd name="T12" fmla="*/ 544 w 711"/>
                <a:gd name="T13" fmla="*/ 411 h 645"/>
                <a:gd name="T14" fmla="*/ 530 w 711"/>
                <a:gd name="T15" fmla="*/ 398 h 645"/>
                <a:gd name="T16" fmla="*/ 551 w 711"/>
                <a:gd name="T17" fmla="*/ 391 h 645"/>
                <a:gd name="T18" fmla="*/ 549 w 711"/>
                <a:gd name="T19" fmla="*/ 391 h 645"/>
                <a:gd name="T20" fmla="*/ 109 w 711"/>
                <a:gd name="T21" fmla="*/ 386 h 645"/>
                <a:gd name="T22" fmla="*/ 133 w 711"/>
                <a:gd name="T23" fmla="*/ 379 h 645"/>
                <a:gd name="T24" fmla="*/ 609 w 711"/>
                <a:gd name="T25" fmla="*/ 367 h 645"/>
                <a:gd name="T26" fmla="*/ 37 w 711"/>
                <a:gd name="T27" fmla="*/ 341 h 645"/>
                <a:gd name="T28" fmla="*/ 129 w 711"/>
                <a:gd name="T29" fmla="*/ 331 h 645"/>
                <a:gd name="T30" fmla="*/ 119 w 711"/>
                <a:gd name="T31" fmla="*/ 370 h 645"/>
                <a:gd name="T32" fmla="*/ 99 w 711"/>
                <a:gd name="T33" fmla="*/ 334 h 645"/>
                <a:gd name="T34" fmla="*/ 244 w 711"/>
                <a:gd name="T35" fmla="*/ 293 h 645"/>
                <a:gd name="T36" fmla="*/ 216 w 711"/>
                <a:gd name="T37" fmla="*/ 275 h 645"/>
                <a:gd name="T38" fmla="*/ 5 w 711"/>
                <a:gd name="T39" fmla="*/ 271 h 645"/>
                <a:gd name="T40" fmla="*/ 51 w 711"/>
                <a:gd name="T41" fmla="*/ 273 h 645"/>
                <a:gd name="T42" fmla="*/ 220 w 711"/>
                <a:gd name="T43" fmla="*/ 247 h 645"/>
                <a:gd name="T44" fmla="*/ 213 w 711"/>
                <a:gd name="T45" fmla="*/ 244 h 645"/>
                <a:gd name="T46" fmla="*/ 165 w 711"/>
                <a:gd name="T47" fmla="*/ 242 h 645"/>
                <a:gd name="T48" fmla="*/ 186 w 711"/>
                <a:gd name="T49" fmla="*/ 220 h 645"/>
                <a:gd name="T50" fmla="*/ 138 w 711"/>
                <a:gd name="T51" fmla="*/ 234 h 645"/>
                <a:gd name="T52" fmla="*/ 180 w 711"/>
                <a:gd name="T53" fmla="*/ 222 h 645"/>
                <a:gd name="T54" fmla="*/ 116 w 711"/>
                <a:gd name="T55" fmla="*/ 196 h 645"/>
                <a:gd name="T56" fmla="*/ 140 w 711"/>
                <a:gd name="T57" fmla="*/ 182 h 645"/>
                <a:gd name="T58" fmla="*/ 674 w 711"/>
                <a:gd name="T59" fmla="*/ 618 h 645"/>
                <a:gd name="T60" fmla="*/ 647 w 711"/>
                <a:gd name="T61" fmla="*/ 603 h 645"/>
                <a:gd name="T62" fmla="*/ 641 w 711"/>
                <a:gd name="T63" fmla="*/ 599 h 645"/>
                <a:gd name="T64" fmla="*/ 573 w 711"/>
                <a:gd name="T65" fmla="*/ 596 h 645"/>
                <a:gd name="T66" fmla="*/ 539 w 711"/>
                <a:gd name="T67" fmla="*/ 575 h 645"/>
                <a:gd name="T68" fmla="*/ 489 w 711"/>
                <a:gd name="T69" fmla="*/ 572 h 645"/>
                <a:gd name="T70" fmla="*/ 409 w 711"/>
                <a:gd name="T71" fmla="*/ 570 h 645"/>
                <a:gd name="T72" fmla="*/ 390 w 711"/>
                <a:gd name="T73" fmla="*/ 507 h 645"/>
                <a:gd name="T74" fmla="*/ 327 w 711"/>
                <a:gd name="T75" fmla="*/ 469 h 645"/>
                <a:gd name="T76" fmla="*/ 372 w 711"/>
                <a:gd name="T77" fmla="*/ 456 h 645"/>
                <a:gd name="T78" fmla="*/ 481 w 711"/>
                <a:gd name="T79" fmla="*/ 425 h 645"/>
                <a:gd name="T80" fmla="*/ 536 w 711"/>
                <a:gd name="T81" fmla="*/ 439 h 645"/>
                <a:gd name="T82" fmla="*/ 554 w 711"/>
                <a:gd name="T83" fmla="*/ 380 h 645"/>
                <a:gd name="T84" fmla="*/ 515 w 711"/>
                <a:gd name="T85" fmla="*/ 394 h 645"/>
                <a:gd name="T86" fmla="*/ 389 w 711"/>
                <a:gd name="T87" fmla="*/ 391 h 645"/>
                <a:gd name="T88" fmla="*/ 322 w 711"/>
                <a:gd name="T89" fmla="*/ 336 h 645"/>
                <a:gd name="T90" fmla="*/ 283 w 711"/>
                <a:gd name="T91" fmla="*/ 302 h 645"/>
                <a:gd name="T92" fmla="*/ 233 w 711"/>
                <a:gd name="T93" fmla="*/ 258 h 645"/>
                <a:gd name="T94" fmla="*/ 288 w 711"/>
                <a:gd name="T95" fmla="*/ 217 h 645"/>
                <a:gd name="T96" fmla="*/ 443 w 711"/>
                <a:gd name="T97" fmla="*/ 187 h 645"/>
                <a:gd name="T98" fmla="*/ 573 w 711"/>
                <a:gd name="T99" fmla="*/ 234 h 645"/>
                <a:gd name="T100" fmla="*/ 575 w 711"/>
                <a:gd name="T101" fmla="*/ 351 h 645"/>
                <a:gd name="T102" fmla="*/ 600 w 711"/>
                <a:gd name="T103" fmla="*/ 439 h 645"/>
                <a:gd name="T104" fmla="*/ 105 w 711"/>
                <a:gd name="T105" fmla="*/ 167 h 645"/>
                <a:gd name="T106" fmla="*/ 126 w 711"/>
                <a:gd name="T107" fmla="*/ 152 h 645"/>
                <a:gd name="T108" fmla="*/ 199 w 711"/>
                <a:gd name="T109" fmla="*/ 136 h 645"/>
                <a:gd name="T110" fmla="*/ 191 w 711"/>
                <a:gd name="T111" fmla="*/ 164 h 645"/>
                <a:gd name="T112" fmla="*/ 194 w 711"/>
                <a:gd name="T113" fmla="*/ 172 h 645"/>
                <a:gd name="T114" fmla="*/ 129 w 711"/>
                <a:gd name="T115" fmla="*/ 160 h 645"/>
                <a:gd name="T116" fmla="*/ 119 w 711"/>
                <a:gd name="T117" fmla="*/ 145 h 645"/>
                <a:gd name="T118" fmla="*/ 172 w 711"/>
                <a:gd name="T119" fmla="*/ 133 h 645"/>
                <a:gd name="T120" fmla="*/ 99 w 711"/>
                <a:gd name="T121" fmla="*/ 111 h 645"/>
                <a:gd name="T122" fmla="*/ 233 w 711"/>
                <a:gd name="T123" fmla="*/ 3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1" h="645">
                  <a:moveTo>
                    <a:pt x="481" y="620"/>
                  </a:moveTo>
                  <a:lnTo>
                    <a:pt x="484" y="621"/>
                  </a:lnTo>
                  <a:lnTo>
                    <a:pt x="486" y="625"/>
                  </a:lnTo>
                  <a:lnTo>
                    <a:pt x="488" y="625"/>
                  </a:lnTo>
                  <a:lnTo>
                    <a:pt x="495" y="630"/>
                  </a:lnTo>
                  <a:lnTo>
                    <a:pt x="505" y="633"/>
                  </a:lnTo>
                  <a:lnTo>
                    <a:pt x="507" y="633"/>
                  </a:lnTo>
                  <a:lnTo>
                    <a:pt x="510" y="638"/>
                  </a:lnTo>
                  <a:lnTo>
                    <a:pt x="517" y="644"/>
                  </a:lnTo>
                  <a:lnTo>
                    <a:pt x="517" y="645"/>
                  </a:lnTo>
                  <a:lnTo>
                    <a:pt x="510" y="640"/>
                  </a:lnTo>
                  <a:lnTo>
                    <a:pt x="507" y="637"/>
                  </a:lnTo>
                  <a:lnTo>
                    <a:pt x="501" y="638"/>
                  </a:lnTo>
                  <a:lnTo>
                    <a:pt x="496" y="638"/>
                  </a:lnTo>
                  <a:lnTo>
                    <a:pt x="491" y="633"/>
                  </a:lnTo>
                  <a:lnTo>
                    <a:pt x="488" y="632"/>
                  </a:lnTo>
                  <a:lnTo>
                    <a:pt x="484" y="630"/>
                  </a:lnTo>
                  <a:lnTo>
                    <a:pt x="481" y="630"/>
                  </a:lnTo>
                  <a:lnTo>
                    <a:pt x="483" y="628"/>
                  </a:lnTo>
                  <a:lnTo>
                    <a:pt x="483" y="626"/>
                  </a:lnTo>
                  <a:lnTo>
                    <a:pt x="479" y="625"/>
                  </a:lnTo>
                  <a:lnTo>
                    <a:pt x="479" y="620"/>
                  </a:lnTo>
                  <a:lnTo>
                    <a:pt x="481" y="620"/>
                  </a:lnTo>
                  <a:close/>
                  <a:moveTo>
                    <a:pt x="633" y="616"/>
                  </a:moveTo>
                  <a:lnTo>
                    <a:pt x="635" y="616"/>
                  </a:lnTo>
                  <a:lnTo>
                    <a:pt x="635" y="618"/>
                  </a:lnTo>
                  <a:lnTo>
                    <a:pt x="633" y="618"/>
                  </a:lnTo>
                  <a:lnTo>
                    <a:pt x="633" y="616"/>
                  </a:lnTo>
                  <a:close/>
                  <a:moveTo>
                    <a:pt x="588" y="608"/>
                  </a:moveTo>
                  <a:lnTo>
                    <a:pt x="592" y="609"/>
                  </a:lnTo>
                  <a:lnTo>
                    <a:pt x="592" y="613"/>
                  </a:lnTo>
                  <a:lnTo>
                    <a:pt x="588" y="613"/>
                  </a:lnTo>
                  <a:lnTo>
                    <a:pt x="588" y="609"/>
                  </a:lnTo>
                  <a:lnTo>
                    <a:pt x="588" y="608"/>
                  </a:lnTo>
                  <a:close/>
                  <a:moveTo>
                    <a:pt x="606" y="606"/>
                  </a:moveTo>
                  <a:lnTo>
                    <a:pt x="614" y="609"/>
                  </a:lnTo>
                  <a:lnTo>
                    <a:pt x="614" y="611"/>
                  </a:lnTo>
                  <a:lnTo>
                    <a:pt x="604" y="611"/>
                  </a:lnTo>
                  <a:lnTo>
                    <a:pt x="607" y="609"/>
                  </a:lnTo>
                  <a:lnTo>
                    <a:pt x="606" y="606"/>
                  </a:lnTo>
                  <a:close/>
                  <a:moveTo>
                    <a:pt x="662" y="603"/>
                  </a:moveTo>
                  <a:lnTo>
                    <a:pt x="664" y="604"/>
                  </a:lnTo>
                  <a:lnTo>
                    <a:pt x="664" y="606"/>
                  </a:lnTo>
                  <a:lnTo>
                    <a:pt x="662" y="606"/>
                  </a:lnTo>
                  <a:lnTo>
                    <a:pt x="660" y="604"/>
                  </a:lnTo>
                  <a:lnTo>
                    <a:pt x="662" y="603"/>
                  </a:lnTo>
                  <a:close/>
                  <a:moveTo>
                    <a:pt x="643" y="601"/>
                  </a:moveTo>
                  <a:lnTo>
                    <a:pt x="650" y="603"/>
                  </a:lnTo>
                  <a:lnTo>
                    <a:pt x="648" y="603"/>
                  </a:lnTo>
                  <a:lnTo>
                    <a:pt x="643" y="604"/>
                  </a:lnTo>
                  <a:lnTo>
                    <a:pt x="643" y="601"/>
                  </a:lnTo>
                  <a:close/>
                  <a:moveTo>
                    <a:pt x="573" y="597"/>
                  </a:moveTo>
                  <a:lnTo>
                    <a:pt x="580" y="606"/>
                  </a:lnTo>
                  <a:lnTo>
                    <a:pt x="580" y="604"/>
                  </a:lnTo>
                  <a:lnTo>
                    <a:pt x="582" y="609"/>
                  </a:lnTo>
                  <a:lnTo>
                    <a:pt x="587" y="611"/>
                  </a:lnTo>
                  <a:lnTo>
                    <a:pt x="583" y="611"/>
                  </a:lnTo>
                  <a:lnTo>
                    <a:pt x="585" y="611"/>
                  </a:lnTo>
                  <a:lnTo>
                    <a:pt x="580" y="609"/>
                  </a:lnTo>
                  <a:lnTo>
                    <a:pt x="582" y="609"/>
                  </a:lnTo>
                  <a:lnTo>
                    <a:pt x="571" y="606"/>
                  </a:lnTo>
                  <a:lnTo>
                    <a:pt x="570" y="601"/>
                  </a:lnTo>
                  <a:lnTo>
                    <a:pt x="566" y="599"/>
                  </a:lnTo>
                  <a:lnTo>
                    <a:pt x="573" y="597"/>
                  </a:lnTo>
                  <a:close/>
                  <a:moveTo>
                    <a:pt x="561" y="589"/>
                  </a:moveTo>
                  <a:lnTo>
                    <a:pt x="565" y="589"/>
                  </a:lnTo>
                  <a:lnTo>
                    <a:pt x="565" y="592"/>
                  </a:lnTo>
                  <a:lnTo>
                    <a:pt x="561" y="592"/>
                  </a:lnTo>
                  <a:lnTo>
                    <a:pt x="561" y="589"/>
                  </a:lnTo>
                  <a:close/>
                  <a:moveTo>
                    <a:pt x="551" y="585"/>
                  </a:moveTo>
                  <a:lnTo>
                    <a:pt x="553" y="589"/>
                  </a:lnTo>
                  <a:lnTo>
                    <a:pt x="551" y="592"/>
                  </a:lnTo>
                  <a:lnTo>
                    <a:pt x="549" y="587"/>
                  </a:lnTo>
                  <a:lnTo>
                    <a:pt x="548" y="582"/>
                  </a:lnTo>
                  <a:lnTo>
                    <a:pt x="546" y="577"/>
                  </a:lnTo>
                  <a:lnTo>
                    <a:pt x="546" y="573"/>
                  </a:lnTo>
                  <a:lnTo>
                    <a:pt x="548" y="575"/>
                  </a:lnTo>
                  <a:lnTo>
                    <a:pt x="551" y="585"/>
                  </a:lnTo>
                  <a:close/>
                  <a:moveTo>
                    <a:pt x="503" y="541"/>
                  </a:moveTo>
                  <a:lnTo>
                    <a:pt x="503" y="543"/>
                  </a:lnTo>
                  <a:lnTo>
                    <a:pt x="500" y="541"/>
                  </a:lnTo>
                  <a:lnTo>
                    <a:pt x="503" y="541"/>
                  </a:lnTo>
                  <a:close/>
                  <a:moveTo>
                    <a:pt x="411" y="544"/>
                  </a:moveTo>
                  <a:lnTo>
                    <a:pt x="411" y="539"/>
                  </a:lnTo>
                  <a:lnTo>
                    <a:pt x="411" y="544"/>
                  </a:lnTo>
                  <a:close/>
                  <a:moveTo>
                    <a:pt x="515" y="538"/>
                  </a:moveTo>
                  <a:lnTo>
                    <a:pt x="517" y="539"/>
                  </a:lnTo>
                  <a:lnTo>
                    <a:pt x="515" y="543"/>
                  </a:lnTo>
                  <a:lnTo>
                    <a:pt x="513" y="539"/>
                  </a:lnTo>
                  <a:lnTo>
                    <a:pt x="515" y="538"/>
                  </a:lnTo>
                  <a:close/>
                  <a:moveTo>
                    <a:pt x="399" y="536"/>
                  </a:moveTo>
                  <a:lnTo>
                    <a:pt x="402" y="538"/>
                  </a:lnTo>
                  <a:lnTo>
                    <a:pt x="404" y="541"/>
                  </a:lnTo>
                  <a:lnTo>
                    <a:pt x="408" y="544"/>
                  </a:lnTo>
                  <a:lnTo>
                    <a:pt x="408" y="548"/>
                  </a:lnTo>
                  <a:lnTo>
                    <a:pt x="404" y="550"/>
                  </a:lnTo>
                  <a:lnTo>
                    <a:pt x="402" y="546"/>
                  </a:lnTo>
                  <a:lnTo>
                    <a:pt x="404" y="543"/>
                  </a:lnTo>
                  <a:lnTo>
                    <a:pt x="397" y="539"/>
                  </a:lnTo>
                  <a:lnTo>
                    <a:pt x="397" y="536"/>
                  </a:lnTo>
                  <a:lnTo>
                    <a:pt x="399" y="536"/>
                  </a:lnTo>
                  <a:close/>
                  <a:moveTo>
                    <a:pt x="411" y="539"/>
                  </a:moveTo>
                  <a:lnTo>
                    <a:pt x="411" y="534"/>
                  </a:lnTo>
                  <a:lnTo>
                    <a:pt x="413" y="538"/>
                  </a:lnTo>
                  <a:lnTo>
                    <a:pt x="411" y="539"/>
                  </a:lnTo>
                  <a:close/>
                  <a:moveTo>
                    <a:pt x="375" y="500"/>
                  </a:moveTo>
                  <a:lnTo>
                    <a:pt x="382" y="502"/>
                  </a:lnTo>
                  <a:lnTo>
                    <a:pt x="387" y="505"/>
                  </a:lnTo>
                  <a:lnTo>
                    <a:pt x="387" y="503"/>
                  </a:lnTo>
                  <a:lnTo>
                    <a:pt x="387" y="505"/>
                  </a:lnTo>
                  <a:lnTo>
                    <a:pt x="379" y="503"/>
                  </a:lnTo>
                  <a:lnTo>
                    <a:pt x="375" y="500"/>
                  </a:lnTo>
                  <a:close/>
                  <a:moveTo>
                    <a:pt x="338" y="485"/>
                  </a:moveTo>
                  <a:lnTo>
                    <a:pt x="339" y="485"/>
                  </a:lnTo>
                  <a:lnTo>
                    <a:pt x="336" y="485"/>
                  </a:lnTo>
                  <a:lnTo>
                    <a:pt x="338" y="485"/>
                  </a:lnTo>
                  <a:close/>
                  <a:moveTo>
                    <a:pt x="343" y="483"/>
                  </a:moveTo>
                  <a:lnTo>
                    <a:pt x="346" y="485"/>
                  </a:lnTo>
                  <a:lnTo>
                    <a:pt x="351" y="485"/>
                  </a:lnTo>
                  <a:lnTo>
                    <a:pt x="358" y="485"/>
                  </a:lnTo>
                  <a:lnTo>
                    <a:pt x="361" y="486"/>
                  </a:lnTo>
                  <a:lnTo>
                    <a:pt x="351" y="485"/>
                  </a:lnTo>
                  <a:lnTo>
                    <a:pt x="344" y="485"/>
                  </a:lnTo>
                  <a:lnTo>
                    <a:pt x="343" y="483"/>
                  </a:lnTo>
                  <a:close/>
                  <a:moveTo>
                    <a:pt x="320" y="480"/>
                  </a:moveTo>
                  <a:lnTo>
                    <a:pt x="324" y="481"/>
                  </a:lnTo>
                  <a:lnTo>
                    <a:pt x="322" y="481"/>
                  </a:lnTo>
                  <a:lnTo>
                    <a:pt x="320" y="480"/>
                  </a:lnTo>
                  <a:close/>
                  <a:moveTo>
                    <a:pt x="389" y="445"/>
                  </a:moveTo>
                  <a:lnTo>
                    <a:pt x="392" y="445"/>
                  </a:lnTo>
                  <a:lnTo>
                    <a:pt x="390" y="445"/>
                  </a:lnTo>
                  <a:lnTo>
                    <a:pt x="390" y="447"/>
                  </a:lnTo>
                  <a:lnTo>
                    <a:pt x="387" y="445"/>
                  </a:lnTo>
                  <a:lnTo>
                    <a:pt x="389" y="445"/>
                  </a:lnTo>
                  <a:close/>
                  <a:moveTo>
                    <a:pt x="379" y="444"/>
                  </a:moveTo>
                  <a:lnTo>
                    <a:pt x="380" y="444"/>
                  </a:lnTo>
                  <a:lnTo>
                    <a:pt x="384" y="444"/>
                  </a:lnTo>
                  <a:lnTo>
                    <a:pt x="384" y="447"/>
                  </a:lnTo>
                  <a:lnTo>
                    <a:pt x="377" y="449"/>
                  </a:lnTo>
                  <a:lnTo>
                    <a:pt x="377" y="445"/>
                  </a:lnTo>
                  <a:lnTo>
                    <a:pt x="375" y="445"/>
                  </a:lnTo>
                  <a:lnTo>
                    <a:pt x="377" y="445"/>
                  </a:lnTo>
                  <a:lnTo>
                    <a:pt x="377" y="444"/>
                  </a:lnTo>
                  <a:lnTo>
                    <a:pt x="379" y="444"/>
                  </a:lnTo>
                  <a:close/>
                  <a:moveTo>
                    <a:pt x="283" y="442"/>
                  </a:moveTo>
                  <a:lnTo>
                    <a:pt x="273" y="447"/>
                  </a:lnTo>
                  <a:lnTo>
                    <a:pt x="274" y="445"/>
                  </a:lnTo>
                  <a:lnTo>
                    <a:pt x="283" y="442"/>
                  </a:lnTo>
                  <a:close/>
                  <a:moveTo>
                    <a:pt x="489" y="447"/>
                  </a:moveTo>
                  <a:lnTo>
                    <a:pt x="489" y="439"/>
                  </a:lnTo>
                  <a:lnTo>
                    <a:pt x="491" y="442"/>
                  </a:lnTo>
                  <a:lnTo>
                    <a:pt x="489" y="442"/>
                  </a:lnTo>
                  <a:lnTo>
                    <a:pt x="489" y="447"/>
                  </a:lnTo>
                  <a:close/>
                  <a:moveTo>
                    <a:pt x="507" y="433"/>
                  </a:moveTo>
                  <a:lnTo>
                    <a:pt x="510" y="435"/>
                  </a:lnTo>
                  <a:lnTo>
                    <a:pt x="508" y="437"/>
                  </a:lnTo>
                  <a:lnTo>
                    <a:pt x="510" y="439"/>
                  </a:lnTo>
                  <a:lnTo>
                    <a:pt x="510" y="440"/>
                  </a:lnTo>
                  <a:lnTo>
                    <a:pt x="507" y="440"/>
                  </a:lnTo>
                  <a:lnTo>
                    <a:pt x="505" y="439"/>
                  </a:lnTo>
                  <a:lnTo>
                    <a:pt x="505" y="435"/>
                  </a:lnTo>
                  <a:lnTo>
                    <a:pt x="507" y="433"/>
                  </a:lnTo>
                  <a:close/>
                  <a:moveTo>
                    <a:pt x="513" y="432"/>
                  </a:moveTo>
                  <a:lnTo>
                    <a:pt x="515" y="433"/>
                  </a:lnTo>
                  <a:lnTo>
                    <a:pt x="512" y="435"/>
                  </a:lnTo>
                  <a:lnTo>
                    <a:pt x="513" y="432"/>
                  </a:lnTo>
                  <a:close/>
                  <a:moveTo>
                    <a:pt x="607" y="432"/>
                  </a:moveTo>
                  <a:lnTo>
                    <a:pt x="609" y="432"/>
                  </a:lnTo>
                  <a:lnTo>
                    <a:pt x="609" y="437"/>
                  </a:lnTo>
                  <a:lnTo>
                    <a:pt x="606" y="433"/>
                  </a:lnTo>
                  <a:lnTo>
                    <a:pt x="606" y="430"/>
                  </a:lnTo>
                  <a:lnTo>
                    <a:pt x="607" y="432"/>
                  </a:lnTo>
                  <a:close/>
                  <a:moveTo>
                    <a:pt x="524" y="430"/>
                  </a:moveTo>
                  <a:lnTo>
                    <a:pt x="522" y="432"/>
                  </a:lnTo>
                  <a:lnTo>
                    <a:pt x="518" y="428"/>
                  </a:lnTo>
                  <a:lnTo>
                    <a:pt x="520" y="427"/>
                  </a:lnTo>
                  <a:lnTo>
                    <a:pt x="524" y="430"/>
                  </a:lnTo>
                  <a:close/>
                  <a:moveTo>
                    <a:pt x="599" y="425"/>
                  </a:moveTo>
                  <a:lnTo>
                    <a:pt x="599" y="428"/>
                  </a:lnTo>
                  <a:lnTo>
                    <a:pt x="599" y="425"/>
                  </a:lnTo>
                  <a:close/>
                  <a:moveTo>
                    <a:pt x="483" y="420"/>
                  </a:moveTo>
                  <a:lnTo>
                    <a:pt x="486" y="421"/>
                  </a:lnTo>
                  <a:lnTo>
                    <a:pt x="486" y="428"/>
                  </a:lnTo>
                  <a:lnTo>
                    <a:pt x="479" y="421"/>
                  </a:lnTo>
                  <a:lnTo>
                    <a:pt x="481" y="418"/>
                  </a:lnTo>
                  <a:lnTo>
                    <a:pt x="483" y="420"/>
                  </a:lnTo>
                  <a:close/>
                  <a:moveTo>
                    <a:pt x="501" y="418"/>
                  </a:moveTo>
                  <a:lnTo>
                    <a:pt x="508" y="421"/>
                  </a:lnTo>
                  <a:lnTo>
                    <a:pt x="508" y="425"/>
                  </a:lnTo>
                  <a:lnTo>
                    <a:pt x="510" y="421"/>
                  </a:lnTo>
                  <a:lnTo>
                    <a:pt x="513" y="423"/>
                  </a:lnTo>
                  <a:lnTo>
                    <a:pt x="515" y="428"/>
                  </a:lnTo>
                  <a:lnTo>
                    <a:pt x="512" y="430"/>
                  </a:lnTo>
                  <a:lnTo>
                    <a:pt x="510" y="430"/>
                  </a:lnTo>
                  <a:lnTo>
                    <a:pt x="510" y="427"/>
                  </a:lnTo>
                  <a:lnTo>
                    <a:pt x="510" y="428"/>
                  </a:lnTo>
                  <a:lnTo>
                    <a:pt x="507" y="427"/>
                  </a:lnTo>
                  <a:lnTo>
                    <a:pt x="508" y="427"/>
                  </a:lnTo>
                  <a:lnTo>
                    <a:pt x="505" y="427"/>
                  </a:lnTo>
                  <a:lnTo>
                    <a:pt x="503" y="421"/>
                  </a:lnTo>
                  <a:lnTo>
                    <a:pt x="500" y="420"/>
                  </a:lnTo>
                  <a:lnTo>
                    <a:pt x="501" y="418"/>
                  </a:lnTo>
                  <a:close/>
                  <a:moveTo>
                    <a:pt x="542" y="416"/>
                  </a:moveTo>
                  <a:lnTo>
                    <a:pt x="546" y="423"/>
                  </a:lnTo>
                  <a:lnTo>
                    <a:pt x="546" y="425"/>
                  </a:lnTo>
                  <a:lnTo>
                    <a:pt x="541" y="421"/>
                  </a:lnTo>
                  <a:lnTo>
                    <a:pt x="539" y="423"/>
                  </a:lnTo>
                  <a:lnTo>
                    <a:pt x="534" y="427"/>
                  </a:lnTo>
                  <a:lnTo>
                    <a:pt x="529" y="421"/>
                  </a:lnTo>
                  <a:lnTo>
                    <a:pt x="530" y="420"/>
                  </a:lnTo>
                  <a:lnTo>
                    <a:pt x="537" y="418"/>
                  </a:lnTo>
                  <a:lnTo>
                    <a:pt x="541" y="416"/>
                  </a:lnTo>
                  <a:lnTo>
                    <a:pt x="542" y="416"/>
                  </a:lnTo>
                  <a:close/>
                  <a:moveTo>
                    <a:pt x="546" y="415"/>
                  </a:moveTo>
                  <a:lnTo>
                    <a:pt x="554" y="416"/>
                  </a:lnTo>
                  <a:lnTo>
                    <a:pt x="556" y="420"/>
                  </a:lnTo>
                  <a:lnTo>
                    <a:pt x="559" y="421"/>
                  </a:lnTo>
                  <a:lnTo>
                    <a:pt x="559" y="425"/>
                  </a:lnTo>
                  <a:lnTo>
                    <a:pt x="556" y="423"/>
                  </a:lnTo>
                  <a:lnTo>
                    <a:pt x="551" y="425"/>
                  </a:lnTo>
                  <a:lnTo>
                    <a:pt x="546" y="421"/>
                  </a:lnTo>
                  <a:lnTo>
                    <a:pt x="542" y="416"/>
                  </a:lnTo>
                  <a:lnTo>
                    <a:pt x="546" y="415"/>
                  </a:lnTo>
                  <a:close/>
                  <a:moveTo>
                    <a:pt x="623" y="410"/>
                  </a:moveTo>
                  <a:lnTo>
                    <a:pt x="626" y="410"/>
                  </a:lnTo>
                  <a:lnTo>
                    <a:pt x="626" y="411"/>
                  </a:lnTo>
                  <a:lnTo>
                    <a:pt x="623" y="411"/>
                  </a:lnTo>
                  <a:lnTo>
                    <a:pt x="623" y="410"/>
                  </a:lnTo>
                  <a:close/>
                  <a:moveTo>
                    <a:pt x="542" y="408"/>
                  </a:moveTo>
                  <a:lnTo>
                    <a:pt x="544" y="410"/>
                  </a:lnTo>
                  <a:lnTo>
                    <a:pt x="539" y="410"/>
                  </a:lnTo>
                  <a:lnTo>
                    <a:pt x="539" y="408"/>
                  </a:lnTo>
                  <a:lnTo>
                    <a:pt x="542" y="408"/>
                  </a:lnTo>
                  <a:close/>
                  <a:moveTo>
                    <a:pt x="556" y="408"/>
                  </a:moveTo>
                  <a:lnTo>
                    <a:pt x="561" y="413"/>
                  </a:lnTo>
                  <a:lnTo>
                    <a:pt x="559" y="415"/>
                  </a:lnTo>
                  <a:lnTo>
                    <a:pt x="553" y="415"/>
                  </a:lnTo>
                  <a:lnTo>
                    <a:pt x="544" y="411"/>
                  </a:lnTo>
                  <a:lnTo>
                    <a:pt x="551" y="408"/>
                  </a:lnTo>
                  <a:lnTo>
                    <a:pt x="556" y="408"/>
                  </a:lnTo>
                  <a:close/>
                  <a:moveTo>
                    <a:pt x="539" y="406"/>
                  </a:moveTo>
                  <a:lnTo>
                    <a:pt x="542" y="406"/>
                  </a:lnTo>
                  <a:lnTo>
                    <a:pt x="542" y="408"/>
                  </a:lnTo>
                  <a:lnTo>
                    <a:pt x="539" y="408"/>
                  </a:lnTo>
                  <a:lnTo>
                    <a:pt x="539" y="406"/>
                  </a:lnTo>
                  <a:close/>
                  <a:moveTo>
                    <a:pt x="629" y="403"/>
                  </a:moveTo>
                  <a:lnTo>
                    <a:pt x="631" y="406"/>
                  </a:lnTo>
                  <a:lnTo>
                    <a:pt x="631" y="411"/>
                  </a:lnTo>
                  <a:lnTo>
                    <a:pt x="633" y="416"/>
                  </a:lnTo>
                  <a:lnTo>
                    <a:pt x="629" y="416"/>
                  </a:lnTo>
                  <a:lnTo>
                    <a:pt x="631" y="418"/>
                  </a:lnTo>
                  <a:lnTo>
                    <a:pt x="629" y="421"/>
                  </a:lnTo>
                  <a:lnTo>
                    <a:pt x="626" y="420"/>
                  </a:lnTo>
                  <a:lnTo>
                    <a:pt x="629" y="418"/>
                  </a:lnTo>
                  <a:lnTo>
                    <a:pt x="623" y="416"/>
                  </a:lnTo>
                  <a:lnTo>
                    <a:pt x="623" y="415"/>
                  </a:lnTo>
                  <a:lnTo>
                    <a:pt x="624" y="415"/>
                  </a:lnTo>
                  <a:lnTo>
                    <a:pt x="623" y="411"/>
                  </a:lnTo>
                  <a:lnTo>
                    <a:pt x="629" y="413"/>
                  </a:lnTo>
                  <a:lnTo>
                    <a:pt x="629" y="410"/>
                  </a:lnTo>
                  <a:lnTo>
                    <a:pt x="628" y="408"/>
                  </a:lnTo>
                  <a:lnTo>
                    <a:pt x="629" y="403"/>
                  </a:lnTo>
                  <a:close/>
                  <a:moveTo>
                    <a:pt x="551" y="401"/>
                  </a:moveTo>
                  <a:lnTo>
                    <a:pt x="554" y="403"/>
                  </a:lnTo>
                  <a:lnTo>
                    <a:pt x="553" y="404"/>
                  </a:lnTo>
                  <a:lnTo>
                    <a:pt x="546" y="403"/>
                  </a:lnTo>
                  <a:lnTo>
                    <a:pt x="551" y="401"/>
                  </a:lnTo>
                  <a:close/>
                  <a:moveTo>
                    <a:pt x="530" y="398"/>
                  </a:moveTo>
                  <a:lnTo>
                    <a:pt x="532" y="399"/>
                  </a:lnTo>
                  <a:lnTo>
                    <a:pt x="529" y="401"/>
                  </a:lnTo>
                  <a:lnTo>
                    <a:pt x="527" y="399"/>
                  </a:lnTo>
                  <a:lnTo>
                    <a:pt x="530" y="398"/>
                  </a:lnTo>
                  <a:close/>
                  <a:moveTo>
                    <a:pt x="155" y="398"/>
                  </a:moveTo>
                  <a:lnTo>
                    <a:pt x="158" y="399"/>
                  </a:lnTo>
                  <a:lnTo>
                    <a:pt x="151" y="398"/>
                  </a:lnTo>
                  <a:lnTo>
                    <a:pt x="155" y="398"/>
                  </a:lnTo>
                  <a:close/>
                  <a:moveTo>
                    <a:pt x="114" y="396"/>
                  </a:moveTo>
                  <a:lnTo>
                    <a:pt x="117" y="396"/>
                  </a:lnTo>
                  <a:lnTo>
                    <a:pt x="114" y="396"/>
                  </a:lnTo>
                  <a:close/>
                  <a:moveTo>
                    <a:pt x="151" y="394"/>
                  </a:moveTo>
                  <a:lnTo>
                    <a:pt x="157" y="394"/>
                  </a:lnTo>
                  <a:lnTo>
                    <a:pt x="155" y="394"/>
                  </a:lnTo>
                  <a:lnTo>
                    <a:pt x="151" y="394"/>
                  </a:lnTo>
                  <a:close/>
                  <a:moveTo>
                    <a:pt x="148" y="394"/>
                  </a:moveTo>
                  <a:lnTo>
                    <a:pt x="146" y="396"/>
                  </a:lnTo>
                  <a:lnTo>
                    <a:pt x="143" y="396"/>
                  </a:lnTo>
                  <a:lnTo>
                    <a:pt x="148" y="394"/>
                  </a:lnTo>
                  <a:close/>
                  <a:moveTo>
                    <a:pt x="513" y="394"/>
                  </a:moveTo>
                  <a:lnTo>
                    <a:pt x="517" y="394"/>
                  </a:lnTo>
                  <a:lnTo>
                    <a:pt x="517" y="396"/>
                  </a:lnTo>
                  <a:lnTo>
                    <a:pt x="513" y="396"/>
                  </a:lnTo>
                  <a:lnTo>
                    <a:pt x="513" y="394"/>
                  </a:lnTo>
                  <a:close/>
                  <a:moveTo>
                    <a:pt x="532" y="394"/>
                  </a:moveTo>
                  <a:lnTo>
                    <a:pt x="532" y="398"/>
                  </a:lnTo>
                  <a:lnTo>
                    <a:pt x="529" y="398"/>
                  </a:lnTo>
                  <a:lnTo>
                    <a:pt x="524" y="399"/>
                  </a:lnTo>
                  <a:lnTo>
                    <a:pt x="532" y="394"/>
                  </a:lnTo>
                  <a:close/>
                  <a:moveTo>
                    <a:pt x="133" y="392"/>
                  </a:moveTo>
                  <a:lnTo>
                    <a:pt x="141" y="394"/>
                  </a:lnTo>
                  <a:lnTo>
                    <a:pt x="133" y="394"/>
                  </a:lnTo>
                  <a:lnTo>
                    <a:pt x="133" y="392"/>
                  </a:lnTo>
                  <a:close/>
                  <a:moveTo>
                    <a:pt x="553" y="391"/>
                  </a:moveTo>
                  <a:lnTo>
                    <a:pt x="554" y="398"/>
                  </a:lnTo>
                  <a:lnTo>
                    <a:pt x="553" y="401"/>
                  </a:lnTo>
                  <a:lnTo>
                    <a:pt x="548" y="398"/>
                  </a:lnTo>
                  <a:lnTo>
                    <a:pt x="551" y="391"/>
                  </a:lnTo>
                  <a:lnTo>
                    <a:pt x="553" y="391"/>
                  </a:lnTo>
                  <a:close/>
                  <a:moveTo>
                    <a:pt x="551" y="391"/>
                  </a:moveTo>
                  <a:lnTo>
                    <a:pt x="548" y="398"/>
                  </a:lnTo>
                  <a:lnTo>
                    <a:pt x="549" y="399"/>
                  </a:lnTo>
                  <a:lnTo>
                    <a:pt x="541" y="403"/>
                  </a:lnTo>
                  <a:lnTo>
                    <a:pt x="537" y="403"/>
                  </a:lnTo>
                  <a:lnTo>
                    <a:pt x="539" y="401"/>
                  </a:lnTo>
                  <a:lnTo>
                    <a:pt x="537" y="401"/>
                  </a:lnTo>
                  <a:lnTo>
                    <a:pt x="536" y="401"/>
                  </a:lnTo>
                  <a:lnTo>
                    <a:pt x="534" y="396"/>
                  </a:lnTo>
                  <a:lnTo>
                    <a:pt x="544" y="392"/>
                  </a:lnTo>
                  <a:lnTo>
                    <a:pt x="546" y="392"/>
                  </a:lnTo>
                  <a:lnTo>
                    <a:pt x="549" y="391"/>
                  </a:lnTo>
                  <a:lnTo>
                    <a:pt x="551" y="391"/>
                  </a:lnTo>
                  <a:close/>
                  <a:moveTo>
                    <a:pt x="112" y="389"/>
                  </a:moveTo>
                  <a:lnTo>
                    <a:pt x="121" y="391"/>
                  </a:lnTo>
                  <a:lnTo>
                    <a:pt x="116" y="392"/>
                  </a:lnTo>
                  <a:lnTo>
                    <a:pt x="117" y="394"/>
                  </a:lnTo>
                  <a:lnTo>
                    <a:pt x="114" y="394"/>
                  </a:lnTo>
                  <a:lnTo>
                    <a:pt x="109" y="391"/>
                  </a:lnTo>
                  <a:lnTo>
                    <a:pt x="112" y="392"/>
                  </a:lnTo>
                  <a:lnTo>
                    <a:pt x="114" y="391"/>
                  </a:lnTo>
                  <a:lnTo>
                    <a:pt x="109" y="391"/>
                  </a:lnTo>
                  <a:lnTo>
                    <a:pt x="112" y="389"/>
                  </a:lnTo>
                  <a:close/>
                  <a:moveTo>
                    <a:pt x="530" y="389"/>
                  </a:moveTo>
                  <a:lnTo>
                    <a:pt x="534" y="389"/>
                  </a:lnTo>
                  <a:lnTo>
                    <a:pt x="532" y="392"/>
                  </a:lnTo>
                  <a:lnTo>
                    <a:pt x="525" y="398"/>
                  </a:lnTo>
                  <a:lnTo>
                    <a:pt x="524" y="396"/>
                  </a:lnTo>
                  <a:lnTo>
                    <a:pt x="527" y="392"/>
                  </a:lnTo>
                  <a:lnTo>
                    <a:pt x="529" y="389"/>
                  </a:lnTo>
                  <a:lnTo>
                    <a:pt x="530" y="389"/>
                  </a:lnTo>
                  <a:close/>
                  <a:moveTo>
                    <a:pt x="548" y="389"/>
                  </a:moveTo>
                  <a:lnTo>
                    <a:pt x="549" y="391"/>
                  </a:lnTo>
                  <a:lnTo>
                    <a:pt x="544" y="392"/>
                  </a:lnTo>
                  <a:lnTo>
                    <a:pt x="546" y="389"/>
                  </a:lnTo>
                  <a:lnTo>
                    <a:pt x="548" y="389"/>
                  </a:lnTo>
                  <a:close/>
                  <a:moveTo>
                    <a:pt x="553" y="389"/>
                  </a:moveTo>
                  <a:lnTo>
                    <a:pt x="554" y="389"/>
                  </a:lnTo>
                  <a:lnTo>
                    <a:pt x="554" y="391"/>
                  </a:lnTo>
                  <a:lnTo>
                    <a:pt x="549" y="391"/>
                  </a:lnTo>
                  <a:lnTo>
                    <a:pt x="553" y="389"/>
                  </a:lnTo>
                  <a:close/>
                  <a:moveTo>
                    <a:pt x="140" y="387"/>
                  </a:moveTo>
                  <a:lnTo>
                    <a:pt x="138" y="389"/>
                  </a:lnTo>
                  <a:lnTo>
                    <a:pt x="136" y="389"/>
                  </a:lnTo>
                  <a:lnTo>
                    <a:pt x="140" y="387"/>
                  </a:lnTo>
                  <a:close/>
                  <a:moveTo>
                    <a:pt x="542" y="387"/>
                  </a:moveTo>
                  <a:lnTo>
                    <a:pt x="546" y="387"/>
                  </a:lnTo>
                  <a:lnTo>
                    <a:pt x="546" y="389"/>
                  </a:lnTo>
                  <a:lnTo>
                    <a:pt x="542" y="389"/>
                  </a:lnTo>
                  <a:lnTo>
                    <a:pt x="542" y="387"/>
                  </a:lnTo>
                  <a:close/>
                  <a:moveTo>
                    <a:pt x="544" y="386"/>
                  </a:moveTo>
                  <a:lnTo>
                    <a:pt x="546" y="386"/>
                  </a:lnTo>
                  <a:lnTo>
                    <a:pt x="542" y="387"/>
                  </a:lnTo>
                  <a:lnTo>
                    <a:pt x="542" y="391"/>
                  </a:lnTo>
                  <a:lnTo>
                    <a:pt x="536" y="391"/>
                  </a:lnTo>
                  <a:lnTo>
                    <a:pt x="541" y="386"/>
                  </a:lnTo>
                  <a:lnTo>
                    <a:pt x="544" y="386"/>
                  </a:lnTo>
                  <a:close/>
                  <a:moveTo>
                    <a:pt x="191" y="386"/>
                  </a:moveTo>
                  <a:lnTo>
                    <a:pt x="192" y="386"/>
                  </a:lnTo>
                  <a:lnTo>
                    <a:pt x="196" y="387"/>
                  </a:lnTo>
                  <a:lnTo>
                    <a:pt x="191" y="386"/>
                  </a:lnTo>
                  <a:close/>
                  <a:moveTo>
                    <a:pt x="138" y="386"/>
                  </a:moveTo>
                  <a:lnTo>
                    <a:pt x="140" y="386"/>
                  </a:lnTo>
                  <a:lnTo>
                    <a:pt x="138" y="386"/>
                  </a:lnTo>
                  <a:close/>
                  <a:moveTo>
                    <a:pt x="109" y="386"/>
                  </a:moveTo>
                  <a:lnTo>
                    <a:pt x="110" y="386"/>
                  </a:lnTo>
                  <a:lnTo>
                    <a:pt x="109" y="386"/>
                  </a:lnTo>
                  <a:close/>
                  <a:moveTo>
                    <a:pt x="107" y="386"/>
                  </a:moveTo>
                  <a:lnTo>
                    <a:pt x="109" y="386"/>
                  </a:lnTo>
                  <a:lnTo>
                    <a:pt x="107" y="386"/>
                  </a:lnTo>
                  <a:lnTo>
                    <a:pt x="104" y="386"/>
                  </a:lnTo>
                  <a:lnTo>
                    <a:pt x="107" y="386"/>
                  </a:lnTo>
                  <a:close/>
                  <a:moveTo>
                    <a:pt x="554" y="384"/>
                  </a:moveTo>
                  <a:lnTo>
                    <a:pt x="554" y="387"/>
                  </a:lnTo>
                  <a:lnTo>
                    <a:pt x="549" y="389"/>
                  </a:lnTo>
                  <a:lnTo>
                    <a:pt x="548" y="387"/>
                  </a:lnTo>
                  <a:lnTo>
                    <a:pt x="548" y="386"/>
                  </a:lnTo>
                  <a:lnTo>
                    <a:pt x="554" y="384"/>
                  </a:lnTo>
                  <a:close/>
                  <a:moveTo>
                    <a:pt x="138" y="384"/>
                  </a:moveTo>
                  <a:lnTo>
                    <a:pt x="143" y="386"/>
                  </a:lnTo>
                  <a:lnTo>
                    <a:pt x="140" y="384"/>
                  </a:lnTo>
                  <a:lnTo>
                    <a:pt x="138" y="384"/>
                  </a:lnTo>
                  <a:close/>
                  <a:moveTo>
                    <a:pt x="134" y="382"/>
                  </a:moveTo>
                  <a:lnTo>
                    <a:pt x="136" y="382"/>
                  </a:lnTo>
                  <a:lnTo>
                    <a:pt x="136" y="384"/>
                  </a:lnTo>
                  <a:lnTo>
                    <a:pt x="134" y="384"/>
                  </a:lnTo>
                  <a:lnTo>
                    <a:pt x="134" y="382"/>
                  </a:lnTo>
                  <a:close/>
                  <a:moveTo>
                    <a:pt x="548" y="380"/>
                  </a:moveTo>
                  <a:lnTo>
                    <a:pt x="551" y="380"/>
                  </a:lnTo>
                  <a:lnTo>
                    <a:pt x="549" y="384"/>
                  </a:lnTo>
                  <a:lnTo>
                    <a:pt x="548" y="382"/>
                  </a:lnTo>
                  <a:lnTo>
                    <a:pt x="546" y="386"/>
                  </a:lnTo>
                  <a:lnTo>
                    <a:pt x="542" y="384"/>
                  </a:lnTo>
                  <a:lnTo>
                    <a:pt x="544" y="380"/>
                  </a:lnTo>
                  <a:lnTo>
                    <a:pt x="548" y="380"/>
                  </a:lnTo>
                  <a:close/>
                  <a:moveTo>
                    <a:pt x="551" y="379"/>
                  </a:moveTo>
                  <a:lnTo>
                    <a:pt x="553" y="379"/>
                  </a:lnTo>
                  <a:lnTo>
                    <a:pt x="553" y="382"/>
                  </a:lnTo>
                  <a:lnTo>
                    <a:pt x="551" y="382"/>
                  </a:lnTo>
                  <a:lnTo>
                    <a:pt x="551" y="379"/>
                  </a:lnTo>
                  <a:close/>
                  <a:moveTo>
                    <a:pt x="133" y="379"/>
                  </a:moveTo>
                  <a:lnTo>
                    <a:pt x="133" y="380"/>
                  </a:lnTo>
                  <a:lnTo>
                    <a:pt x="133" y="379"/>
                  </a:lnTo>
                  <a:close/>
                  <a:moveTo>
                    <a:pt x="138" y="375"/>
                  </a:moveTo>
                  <a:lnTo>
                    <a:pt x="140" y="375"/>
                  </a:lnTo>
                  <a:lnTo>
                    <a:pt x="140" y="377"/>
                  </a:lnTo>
                  <a:lnTo>
                    <a:pt x="133" y="379"/>
                  </a:lnTo>
                  <a:lnTo>
                    <a:pt x="131" y="377"/>
                  </a:lnTo>
                  <a:lnTo>
                    <a:pt x="138" y="375"/>
                  </a:lnTo>
                  <a:close/>
                  <a:moveTo>
                    <a:pt x="650" y="374"/>
                  </a:moveTo>
                  <a:lnTo>
                    <a:pt x="648" y="372"/>
                  </a:lnTo>
                  <a:lnTo>
                    <a:pt x="650" y="370"/>
                  </a:lnTo>
                  <a:lnTo>
                    <a:pt x="650" y="374"/>
                  </a:lnTo>
                  <a:close/>
                  <a:moveTo>
                    <a:pt x="580" y="369"/>
                  </a:moveTo>
                  <a:lnTo>
                    <a:pt x="582" y="374"/>
                  </a:lnTo>
                  <a:lnTo>
                    <a:pt x="580" y="372"/>
                  </a:lnTo>
                  <a:lnTo>
                    <a:pt x="580" y="369"/>
                  </a:lnTo>
                  <a:close/>
                  <a:moveTo>
                    <a:pt x="157" y="369"/>
                  </a:moveTo>
                  <a:lnTo>
                    <a:pt x="160" y="369"/>
                  </a:lnTo>
                  <a:lnTo>
                    <a:pt x="155" y="369"/>
                  </a:lnTo>
                  <a:lnTo>
                    <a:pt x="157" y="369"/>
                  </a:lnTo>
                  <a:close/>
                  <a:moveTo>
                    <a:pt x="609" y="367"/>
                  </a:moveTo>
                  <a:lnTo>
                    <a:pt x="611" y="369"/>
                  </a:lnTo>
                  <a:lnTo>
                    <a:pt x="611" y="375"/>
                  </a:lnTo>
                  <a:lnTo>
                    <a:pt x="611" y="377"/>
                  </a:lnTo>
                  <a:lnTo>
                    <a:pt x="609" y="379"/>
                  </a:lnTo>
                  <a:lnTo>
                    <a:pt x="609" y="380"/>
                  </a:lnTo>
                  <a:lnTo>
                    <a:pt x="604" y="389"/>
                  </a:lnTo>
                  <a:lnTo>
                    <a:pt x="602" y="382"/>
                  </a:lnTo>
                  <a:lnTo>
                    <a:pt x="600" y="380"/>
                  </a:lnTo>
                  <a:lnTo>
                    <a:pt x="602" y="379"/>
                  </a:lnTo>
                  <a:lnTo>
                    <a:pt x="600" y="377"/>
                  </a:lnTo>
                  <a:lnTo>
                    <a:pt x="604" y="374"/>
                  </a:lnTo>
                  <a:lnTo>
                    <a:pt x="606" y="369"/>
                  </a:lnTo>
                  <a:lnTo>
                    <a:pt x="609" y="367"/>
                  </a:lnTo>
                  <a:close/>
                  <a:moveTo>
                    <a:pt x="150" y="367"/>
                  </a:moveTo>
                  <a:lnTo>
                    <a:pt x="155" y="369"/>
                  </a:lnTo>
                  <a:lnTo>
                    <a:pt x="150" y="369"/>
                  </a:lnTo>
                  <a:lnTo>
                    <a:pt x="150" y="367"/>
                  </a:lnTo>
                  <a:close/>
                  <a:moveTo>
                    <a:pt x="140" y="363"/>
                  </a:moveTo>
                  <a:lnTo>
                    <a:pt x="141" y="363"/>
                  </a:lnTo>
                  <a:lnTo>
                    <a:pt x="141" y="365"/>
                  </a:lnTo>
                  <a:lnTo>
                    <a:pt x="140" y="365"/>
                  </a:lnTo>
                  <a:lnTo>
                    <a:pt x="140" y="363"/>
                  </a:lnTo>
                  <a:close/>
                  <a:moveTo>
                    <a:pt x="332" y="363"/>
                  </a:moveTo>
                  <a:lnTo>
                    <a:pt x="334" y="365"/>
                  </a:lnTo>
                  <a:lnTo>
                    <a:pt x="332" y="365"/>
                  </a:lnTo>
                  <a:lnTo>
                    <a:pt x="332" y="369"/>
                  </a:lnTo>
                  <a:lnTo>
                    <a:pt x="331" y="369"/>
                  </a:lnTo>
                  <a:lnTo>
                    <a:pt x="331" y="372"/>
                  </a:lnTo>
                  <a:lnTo>
                    <a:pt x="329" y="363"/>
                  </a:lnTo>
                  <a:lnTo>
                    <a:pt x="332" y="363"/>
                  </a:lnTo>
                  <a:close/>
                  <a:moveTo>
                    <a:pt x="138" y="363"/>
                  </a:moveTo>
                  <a:lnTo>
                    <a:pt x="140" y="367"/>
                  </a:lnTo>
                  <a:lnTo>
                    <a:pt x="136" y="365"/>
                  </a:lnTo>
                  <a:lnTo>
                    <a:pt x="138" y="363"/>
                  </a:lnTo>
                  <a:close/>
                  <a:moveTo>
                    <a:pt x="42" y="345"/>
                  </a:moveTo>
                  <a:lnTo>
                    <a:pt x="42" y="348"/>
                  </a:lnTo>
                  <a:lnTo>
                    <a:pt x="41" y="346"/>
                  </a:lnTo>
                  <a:lnTo>
                    <a:pt x="42" y="345"/>
                  </a:lnTo>
                  <a:close/>
                  <a:moveTo>
                    <a:pt x="39" y="343"/>
                  </a:moveTo>
                  <a:lnTo>
                    <a:pt x="41" y="343"/>
                  </a:lnTo>
                  <a:lnTo>
                    <a:pt x="41" y="346"/>
                  </a:lnTo>
                  <a:lnTo>
                    <a:pt x="39" y="346"/>
                  </a:lnTo>
                  <a:lnTo>
                    <a:pt x="39" y="343"/>
                  </a:lnTo>
                  <a:close/>
                  <a:moveTo>
                    <a:pt x="41" y="341"/>
                  </a:moveTo>
                  <a:lnTo>
                    <a:pt x="41" y="345"/>
                  </a:lnTo>
                  <a:lnTo>
                    <a:pt x="41" y="341"/>
                  </a:lnTo>
                  <a:close/>
                  <a:moveTo>
                    <a:pt x="37" y="341"/>
                  </a:moveTo>
                  <a:lnTo>
                    <a:pt x="39" y="341"/>
                  </a:lnTo>
                  <a:lnTo>
                    <a:pt x="39" y="343"/>
                  </a:lnTo>
                  <a:lnTo>
                    <a:pt x="37" y="343"/>
                  </a:lnTo>
                  <a:lnTo>
                    <a:pt x="37" y="341"/>
                  </a:lnTo>
                  <a:close/>
                  <a:moveTo>
                    <a:pt x="46" y="339"/>
                  </a:moveTo>
                  <a:lnTo>
                    <a:pt x="47" y="339"/>
                  </a:lnTo>
                  <a:lnTo>
                    <a:pt x="47" y="341"/>
                  </a:lnTo>
                  <a:lnTo>
                    <a:pt x="46" y="341"/>
                  </a:lnTo>
                  <a:lnTo>
                    <a:pt x="46" y="339"/>
                  </a:lnTo>
                  <a:close/>
                  <a:moveTo>
                    <a:pt x="590" y="338"/>
                  </a:moveTo>
                  <a:lnTo>
                    <a:pt x="590" y="339"/>
                  </a:lnTo>
                  <a:lnTo>
                    <a:pt x="588" y="345"/>
                  </a:lnTo>
                  <a:lnTo>
                    <a:pt x="588" y="348"/>
                  </a:lnTo>
                  <a:lnTo>
                    <a:pt x="585" y="355"/>
                  </a:lnTo>
                  <a:lnTo>
                    <a:pt x="585" y="357"/>
                  </a:lnTo>
                  <a:lnTo>
                    <a:pt x="585" y="355"/>
                  </a:lnTo>
                  <a:lnTo>
                    <a:pt x="582" y="362"/>
                  </a:lnTo>
                  <a:lnTo>
                    <a:pt x="580" y="357"/>
                  </a:lnTo>
                  <a:lnTo>
                    <a:pt x="578" y="357"/>
                  </a:lnTo>
                  <a:lnTo>
                    <a:pt x="580" y="357"/>
                  </a:lnTo>
                  <a:lnTo>
                    <a:pt x="580" y="348"/>
                  </a:lnTo>
                  <a:lnTo>
                    <a:pt x="583" y="345"/>
                  </a:lnTo>
                  <a:lnTo>
                    <a:pt x="587" y="336"/>
                  </a:lnTo>
                  <a:lnTo>
                    <a:pt x="590" y="338"/>
                  </a:lnTo>
                  <a:close/>
                  <a:moveTo>
                    <a:pt x="56" y="333"/>
                  </a:moveTo>
                  <a:lnTo>
                    <a:pt x="58" y="333"/>
                  </a:lnTo>
                  <a:lnTo>
                    <a:pt x="58" y="334"/>
                  </a:lnTo>
                  <a:lnTo>
                    <a:pt x="56" y="334"/>
                  </a:lnTo>
                  <a:lnTo>
                    <a:pt x="56" y="333"/>
                  </a:lnTo>
                  <a:close/>
                  <a:moveTo>
                    <a:pt x="56" y="333"/>
                  </a:moveTo>
                  <a:lnTo>
                    <a:pt x="56" y="334"/>
                  </a:lnTo>
                  <a:lnTo>
                    <a:pt x="56" y="333"/>
                  </a:lnTo>
                  <a:close/>
                  <a:moveTo>
                    <a:pt x="126" y="329"/>
                  </a:moveTo>
                  <a:lnTo>
                    <a:pt x="129" y="331"/>
                  </a:lnTo>
                  <a:lnTo>
                    <a:pt x="126" y="336"/>
                  </a:lnTo>
                  <a:lnTo>
                    <a:pt x="134" y="341"/>
                  </a:lnTo>
                  <a:lnTo>
                    <a:pt x="134" y="345"/>
                  </a:lnTo>
                  <a:lnTo>
                    <a:pt x="138" y="348"/>
                  </a:lnTo>
                  <a:lnTo>
                    <a:pt x="136" y="348"/>
                  </a:lnTo>
                  <a:lnTo>
                    <a:pt x="134" y="353"/>
                  </a:lnTo>
                  <a:lnTo>
                    <a:pt x="133" y="351"/>
                  </a:lnTo>
                  <a:lnTo>
                    <a:pt x="133" y="357"/>
                  </a:lnTo>
                  <a:lnTo>
                    <a:pt x="131" y="355"/>
                  </a:lnTo>
                  <a:lnTo>
                    <a:pt x="124" y="358"/>
                  </a:lnTo>
                  <a:lnTo>
                    <a:pt x="133" y="363"/>
                  </a:lnTo>
                  <a:lnTo>
                    <a:pt x="134" y="362"/>
                  </a:lnTo>
                  <a:lnTo>
                    <a:pt x="134" y="365"/>
                  </a:lnTo>
                  <a:lnTo>
                    <a:pt x="136" y="363"/>
                  </a:lnTo>
                  <a:lnTo>
                    <a:pt x="136" y="367"/>
                  </a:lnTo>
                  <a:lnTo>
                    <a:pt x="133" y="367"/>
                  </a:lnTo>
                  <a:lnTo>
                    <a:pt x="133" y="365"/>
                  </a:lnTo>
                  <a:lnTo>
                    <a:pt x="129" y="367"/>
                  </a:lnTo>
                  <a:lnTo>
                    <a:pt x="136" y="369"/>
                  </a:lnTo>
                  <a:lnTo>
                    <a:pt x="138" y="369"/>
                  </a:lnTo>
                  <a:lnTo>
                    <a:pt x="141" y="369"/>
                  </a:lnTo>
                  <a:lnTo>
                    <a:pt x="133" y="370"/>
                  </a:lnTo>
                  <a:lnTo>
                    <a:pt x="129" y="374"/>
                  </a:lnTo>
                  <a:lnTo>
                    <a:pt x="129" y="372"/>
                  </a:lnTo>
                  <a:lnTo>
                    <a:pt x="128" y="374"/>
                  </a:lnTo>
                  <a:lnTo>
                    <a:pt x="128" y="372"/>
                  </a:lnTo>
                  <a:lnTo>
                    <a:pt x="131" y="369"/>
                  </a:lnTo>
                  <a:lnTo>
                    <a:pt x="129" y="370"/>
                  </a:lnTo>
                  <a:lnTo>
                    <a:pt x="122" y="367"/>
                  </a:lnTo>
                  <a:lnTo>
                    <a:pt x="122" y="365"/>
                  </a:lnTo>
                  <a:lnTo>
                    <a:pt x="124" y="365"/>
                  </a:lnTo>
                  <a:lnTo>
                    <a:pt x="124" y="363"/>
                  </a:lnTo>
                  <a:lnTo>
                    <a:pt x="122" y="365"/>
                  </a:lnTo>
                  <a:lnTo>
                    <a:pt x="119" y="370"/>
                  </a:lnTo>
                  <a:lnTo>
                    <a:pt x="116" y="370"/>
                  </a:lnTo>
                  <a:lnTo>
                    <a:pt x="117" y="372"/>
                  </a:lnTo>
                  <a:lnTo>
                    <a:pt x="116" y="375"/>
                  </a:lnTo>
                  <a:lnTo>
                    <a:pt x="105" y="375"/>
                  </a:lnTo>
                  <a:lnTo>
                    <a:pt x="104" y="375"/>
                  </a:lnTo>
                  <a:lnTo>
                    <a:pt x="99" y="375"/>
                  </a:lnTo>
                  <a:lnTo>
                    <a:pt x="93" y="374"/>
                  </a:lnTo>
                  <a:lnTo>
                    <a:pt x="97" y="374"/>
                  </a:lnTo>
                  <a:lnTo>
                    <a:pt x="93" y="372"/>
                  </a:lnTo>
                  <a:lnTo>
                    <a:pt x="95" y="370"/>
                  </a:lnTo>
                  <a:lnTo>
                    <a:pt x="85" y="370"/>
                  </a:lnTo>
                  <a:lnTo>
                    <a:pt x="87" y="369"/>
                  </a:lnTo>
                  <a:lnTo>
                    <a:pt x="81" y="370"/>
                  </a:lnTo>
                  <a:lnTo>
                    <a:pt x="81" y="369"/>
                  </a:lnTo>
                  <a:lnTo>
                    <a:pt x="80" y="370"/>
                  </a:lnTo>
                  <a:lnTo>
                    <a:pt x="76" y="369"/>
                  </a:lnTo>
                  <a:lnTo>
                    <a:pt x="66" y="365"/>
                  </a:lnTo>
                  <a:lnTo>
                    <a:pt x="61" y="362"/>
                  </a:lnTo>
                  <a:lnTo>
                    <a:pt x="59" y="362"/>
                  </a:lnTo>
                  <a:lnTo>
                    <a:pt x="51" y="357"/>
                  </a:lnTo>
                  <a:lnTo>
                    <a:pt x="52" y="355"/>
                  </a:lnTo>
                  <a:lnTo>
                    <a:pt x="49" y="353"/>
                  </a:lnTo>
                  <a:lnTo>
                    <a:pt x="54" y="350"/>
                  </a:lnTo>
                  <a:lnTo>
                    <a:pt x="56" y="350"/>
                  </a:lnTo>
                  <a:lnTo>
                    <a:pt x="61" y="348"/>
                  </a:lnTo>
                  <a:lnTo>
                    <a:pt x="68" y="346"/>
                  </a:lnTo>
                  <a:lnTo>
                    <a:pt x="71" y="343"/>
                  </a:lnTo>
                  <a:lnTo>
                    <a:pt x="78" y="341"/>
                  </a:lnTo>
                  <a:lnTo>
                    <a:pt x="80" y="339"/>
                  </a:lnTo>
                  <a:lnTo>
                    <a:pt x="81" y="341"/>
                  </a:lnTo>
                  <a:lnTo>
                    <a:pt x="85" y="338"/>
                  </a:lnTo>
                  <a:lnTo>
                    <a:pt x="90" y="334"/>
                  </a:lnTo>
                  <a:lnTo>
                    <a:pt x="95" y="336"/>
                  </a:lnTo>
                  <a:lnTo>
                    <a:pt x="99" y="334"/>
                  </a:lnTo>
                  <a:lnTo>
                    <a:pt x="107" y="334"/>
                  </a:lnTo>
                  <a:lnTo>
                    <a:pt x="114" y="336"/>
                  </a:lnTo>
                  <a:lnTo>
                    <a:pt x="116" y="334"/>
                  </a:lnTo>
                  <a:lnTo>
                    <a:pt x="114" y="333"/>
                  </a:lnTo>
                  <a:lnTo>
                    <a:pt x="122" y="331"/>
                  </a:lnTo>
                  <a:lnTo>
                    <a:pt x="124" y="329"/>
                  </a:lnTo>
                  <a:lnTo>
                    <a:pt x="126" y="329"/>
                  </a:lnTo>
                  <a:close/>
                  <a:moveTo>
                    <a:pt x="116" y="304"/>
                  </a:moveTo>
                  <a:lnTo>
                    <a:pt x="112" y="307"/>
                  </a:lnTo>
                  <a:lnTo>
                    <a:pt x="109" y="307"/>
                  </a:lnTo>
                  <a:lnTo>
                    <a:pt x="116" y="304"/>
                  </a:lnTo>
                  <a:close/>
                  <a:moveTo>
                    <a:pt x="290" y="300"/>
                  </a:moveTo>
                  <a:lnTo>
                    <a:pt x="291" y="304"/>
                  </a:lnTo>
                  <a:lnTo>
                    <a:pt x="291" y="309"/>
                  </a:lnTo>
                  <a:lnTo>
                    <a:pt x="283" y="314"/>
                  </a:lnTo>
                  <a:lnTo>
                    <a:pt x="279" y="314"/>
                  </a:lnTo>
                  <a:lnTo>
                    <a:pt x="273" y="307"/>
                  </a:lnTo>
                  <a:lnTo>
                    <a:pt x="274" y="304"/>
                  </a:lnTo>
                  <a:lnTo>
                    <a:pt x="281" y="302"/>
                  </a:lnTo>
                  <a:lnTo>
                    <a:pt x="281" y="304"/>
                  </a:lnTo>
                  <a:lnTo>
                    <a:pt x="283" y="304"/>
                  </a:lnTo>
                  <a:lnTo>
                    <a:pt x="285" y="300"/>
                  </a:lnTo>
                  <a:lnTo>
                    <a:pt x="288" y="300"/>
                  </a:lnTo>
                  <a:lnTo>
                    <a:pt x="290" y="300"/>
                  </a:lnTo>
                  <a:close/>
                  <a:moveTo>
                    <a:pt x="201" y="293"/>
                  </a:moveTo>
                  <a:lnTo>
                    <a:pt x="203" y="293"/>
                  </a:lnTo>
                  <a:lnTo>
                    <a:pt x="203" y="295"/>
                  </a:lnTo>
                  <a:lnTo>
                    <a:pt x="201" y="295"/>
                  </a:lnTo>
                  <a:lnTo>
                    <a:pt x="201" y="293"/>
                  </a:lnTo>
                  <a:close/>
                  <a:moveTo>
                    <a:pt x="110" y="292"/>
                  </a:moveTo>
                  <a:lnTo>
                    <a:pt x="112" y="292"/>
                  </a:lnTo>
                  <a:lnTo>
                    <a:pt x="110" y="292"/>
                  </a:lnTo>
                  <a:close/>
                  <a:moveTo>
                    <a:pt x="242" y="290"/>
                  </a:moveTo>
                  <a:lnTo>
                    <a:pt x="244" y="293"/>
                  </a:lnTo>
                  <a:lnTo>
                    <a:pt x="245" y="292"/>
                  </a:lnTo>
                  <a:lnTo>
                    <a:pt x="247" y="297"/>
                  </a:lnTo>
                  <a:lnTo>
                    <a:pt x="242" y="299"/>
                  </a:lnTo>
                  <a:lnTo>
                    <a:pt x="235" y="295"/>
                  </a:lnTo>
                  <a:lnTo>
                    <a:pt x="240" y="293"/>
                  </a:lnTo>
                  <a:lnTo>
                    <a:pt x="242" y="293"/>
                  </a:lnTo>
                  <a:lnTo>
                    <a:pt x="240" y="292"/>
                  </a:lnTo>
                  <a:lnTo>
                    <a:pt x="242" y="290"/>
                  </a:lnTo>
                  <a:close/>
                  <a:moveTo>
                    <a:pt x="218" y="275"/>
                  </a:moveTo>
                  <a:lnTo>
                    <a:pt x="221" y="275"/>
                  </a:lnTo>
                  <a:lnTo>
                    <a:pt x="221" y="276"/>
                  </a:lnTo>
                  <a:lnTo>
                    <a:pt x="218" y="276"/>
                  </a:lnTo>
                  <a:lnTo>
                    <a:pt x="218" y="275"/>
                  </a:lnTo>
                  <a:close/>
                  <a:moveTo>
                    <a:pt x="216" y="275"/>
                  </a:moveTo>
                  <a:lnTo>
                    <a:pt x="218" y="275"/>
                  </a:lnTo>
                  <a:lnTo>
                    <a:pt x="218" y="276"/>
                  </a:lnTo>
                  <a:lnTo>
                    <a:pt x="216" y="276"/>
                  </a:lnTo>
                  <a:lnTo>
                    <a:pt x="216" y="275"/>
                  </a:lnTo>
                  <a:close/>
                  <a:moveTo>
                    <a:pt x="63" y="275"/>
                  </a:moveTo>
                  <a:lnTo>
                    <a:pt x="58" y="276"/>
                  </a:lnTo>
                  <a:lnTo>
                    <a:pt x="63" y="275"/>
                  </a:lnTo>
                  <a:close/>
                  <a:moveTo>
                    <a:pt x="56" y="275"/>
                  </a:moveTo>
                  <a:lnTo>
                    <a:pt x="58" y="275"/>
                  </a:lnTo>
                  <a:lnTo>
                    <a:pt x="58" y="276"/>
                  </a:lnTo>
                  <a:lnTo>
                    <a:pt x="56" y="276"/>
                  </a:lnTo>
                  <a:lnTo>
                    <a:pt x="56" y="275"/>
                  </a:lnTo>
                  <a:close/>
                  <a:moveTo>
                    <a:pt x="210" y="273"/>
                  </a:moveTo>
                  <a:lnTo>
                    <a:pt x="211" y="273"/>
                  </a:lnTo>
                  <a:lnTo>
                    <a:pt x="211" y="276"/>
                  </a:lnTo>
                  <a:lnTo>
                    <a:pt x="210" y="276"/>
                  </a:lnTo>
                  <a:lnTo>
                    <a:pt x="210" y="273"/>
                  </a:lnTo>
                  <a:close/>
                  <a:moveTo>
                    <a:pt x="221" y="273"/>
                  </a:moveTo>
                  <a:lnTo>
                    <a:pt x="220" y="275"/>
                  </a:lnTo>
                  <a:lnTo>
                    <a:pt x="216" y="275"/>
                  </a:lnTo>
                  <a:lnTo>
                    <a:pt x="221" y="273"/>
                  </a:lnTo>
                  <a:close/>
                  <a:moveTo>
                    <a:pt x="208" y="271"/>
                  </a:moveTo>
                  <a:lnTo>
                    <a:pt x="210" y="271"/>
                  </a:lnTo>
                  <a:lnTo>
                    <a:pt x="210" y="275"/>
                  </a:lnTo>
                  <a:lnTo>
                    <a:pt x="208" y="275"/>
                  </a:lnTo>
                  <a:lnTo>
                    <a:pt x="208" y="271"/>
                  </a:lnTo>
                  <a:close/>
                  <a:moveTo>
                    <a:pt x="225" y="273"/>
                  </a:moveTo>
                  <a:lnTo>
                    <a:pt x="223" y="275"/>
                  </a:lnTo>
                  <a:lnTo>
                    <a:pt x="220" y="275"/>
                  </a:lnTo>
                  <a:lnTo>
                    <a:pt x="225" y="273"/>
                  </a:lnTo>
                  <a:close/>
                  <a:moveTo>
                    <a:pt x="221" y="271"/>
                  </a:moveTo>
                  <a:lnTo>
                    <a:pt x="223" y="271"/>
                  </a:lnTo>
                  <a:lnTo>
                    <a:pt x="223" y="273"/>
                  </a:lnTo>
                  <a:lnTo>
                    <a:pt x="221" y="273"/>
                  </a:lnTo>
                  <a:lnTo>
                    <a:pt x="221" y="271"/>
                  </a:lnTo>
                  <a:close/>
                  <a:moveTo>
                    <a:pt x="215" y="269"/>
                  </a:moveTo>
                  <a:lnTo>
                    <a:pt x="216" y="269"/>
                  </a:lnTo>
                  <a:lnTo>
                    <a:pt x="215" y="273"/>
                  </a:lnTo>
                  <a:lnTo>
                    <a:pt x="215" y="269"/>
                  </a:lnTo>
                  <a:close/>
                  <a:moveTo>
                    <a:pt x="20" y="268"/>
                  </a:moveTo>
                  <a:lnTo>
                    <a:pt x="20" y="271"/>
                  </a:lnTo>
                  <a:lnTo>
                    <a:pt x="17" y="271"/>
                  </a:lnTo>
                  <a:lnTo>
                    <a:pt x="17" y="269"/>
                  </a:lnTo>
                  <a:lnTo>
                    <a:pt x="20" y="268"/>
                  </a:lnTo>
                  <a:close/>
                  <a:moveTo>
                    <a:pt x="11" y="268"/>
                  </a:moveTo>
                  <a:lnTo>
                    <a:pt x="10" y="269"/>
                  </a:lnTo>
                  <a:lnTo>
                    <a:pt x="11" y="271"/>
                  </a:lnTo>
                  <a:lnTo>
                    <a:pt x="10" y="271"/>
                  </a:lnTo>
                  <a:lnTo>
                    <a:pt x="8" y="269"/>
                  </a:lnTo>
                  <a:lnTo>
                    <a:pt x="11" y="268"/>
                  </a:lnTo>
                  <a:close/>
                  <a:moveTo>
                    <a:pt x="5" y="268"/>
                  </a:moveTo>
                  <a:lnTo>
                    <a:pt x="8" y="268"/>
                  </a:lnTo>
                  <a:lnTo>
                    <a:pt x="8" y="271"/>
                  </a:lnTo>
                  <a:lnTo>
                    <a:pt x="5" y="271"/>
                  </a:lnTo>
                  <a:lnTo>
                    <a:pt x="5" y="268"/>
                  </a:lnTo>
                  <a:close/>
                  <a:moveTo>
                    <a:pt x="210" y="271"/>
                  </a:moveTo>
                  <a:lnTo>
                    <a:pt x="210" y="269"/>
                  </a:lnTo>
                  <a:lnTo>
                    <a:pt x="211" y="266"/>
                  </a:lnTo>
                  <a:lnTo>
                    <a:pt x="210" y="271"/>
                  </a:lnTo>
                  <a:close/>
                  <a:moveTo>
                    <a:pt x="5" y="266"/>
                  </a:moveTo>
                  <a:lnTo>
                    <a:pt x="6" y="268"/>
                  </a:lnTo>
                  <a:lnTo>
                    <a:pt x="0" y="269"/>
                  </a:lnTo>
                  <a:lnTo>
                    <a:pt x="1" y="268"/>
                  </a:lnTo>
                  <a:lnTo>
                    <a:pt x="5" y="266"/>
                  </a:lnTo>
                  <a:close/>
                  <a:moveTo>
                    <a:pt x="52" y="268"/>
                  </a:moveTo>
                  <a:lnTo>
                    <a:pt x="49" y="273"/>
                  </a:lnTo>
                  <a:lnTo>
                    <a:pt x="47" y="273"/>
                  </a:lnTo>
                  <a:lnTo>
                    <a:pt x="44" y="273"/>
                  </a:lnTo>
                  <a:lnTo>
                    <a:pt x="44" y="269"/>
                  </a:lnTo>
                  <a:lnTo>
                    <a:pt x="47" y="273"/>
                  </a:lnTo>
                  <a:lnTo>
                    <a:pt x="44" y="269"/>
                  </a:lnTo>
                  <a:lnTo>
                    <a:pt x="52" y="268"/>
                  </a:lnTo>
                  <a:close/>
                  <a:moveTo>
                    <a:pt x="71" y="268"/>
                  </a:moveTo>
                  <a:lnTo>
                    <a:pt x="80" y="268"/>
                  </a:lnTo>
                  <a:lnTo>
                    <a:pt x="80" y="269"/>
                  </a:lnTo>
                  <a:lnTo>
                    <a:pt x="75" y="275"/>
                  </a:lnTo>
                  <a:lnTo>
                    <a:pt x="75" y="273"/>
                  </a:lnTo>
                  <a:lnTo>
                    <a:pt x="75" y="271"/>
                  </a:lnTo>
                  <a:lnTo>
                    <a:pt x="68" y="276"/>
                  </a:lnTo>
                  <a:lnTo>
                    <a:pt x="64" y="278"/>
                  </a:lnTo>
                  <a:lnTo>
                    <a:pt x="63" y="276"/>
                  </a:lnTo>
                  <a:lnTo>
                    <a:pt x="66" y="275"/>
                  </a:lnTo>
                  <a:lnTo>
                    <a:pt x="68" y="275"/>
                  </a:lnTo>
                  <a:lnTo>
                    <a:pt x="70" y="271"/>
                  </a:lnTo>
                  <a:lnTo>
                    <a:pt x="61" y="275"/>
                  </a:lnTo>
                  <a:lnTo>
                    <a:pt x="59" y="273"/>
                  </a:lnTo>
                  <a:lnTo>
                    <a:pt x="52" y="275"/>
                  </a:lnTo>
                  <a:lnTo>
                    <a:pt x="51" y="273"/>
                  </a:lnTo>
                  <a:lnTo>
                    <a:pt x="54" y="269"/>
                  </a:lnTo>
                  <a:lnTo>
                    <a:pt x="63" y="268"/>
                  </a:lnTo>
                  <a:lnTo>
                    <a:pt x="68" y="266"/>
                  </a:lnTo>
                  <a:lnTo>
                    <a:pt x="71" y="268"/>
                  </a:lnTo>
                  <a:close/>
                  <a:moveTo>
                    <a:pt x="211" y="264"/>
                  </a:moveTo>
                  <a:lnTo>
                    <a:pt x="213" y="264"/>
                  </a:lnTo>
                  <a:lnTo>
                    <a:pt x="213" y="266"/>
                  </a:lnTo>
                  <a:lnTo>
                    <a:pt x="211" y="266"/>
                  </a:lnTo>
                  <a:lnTo>
                    <a:pt x="211" y="264"/>
                  </a:lnTo>
                  <a:close/>
                  <a:moveTo>
                    <a:pt x="228" y="261"/>
                  </a:moveTo>
                  <a:lnTo>
                    <a:pt x="230" y="261"/>
                  </a:lnTo>
                  <a:lnTo>
                    <a:pt x="230" y="264"/>
                  </a:lnTo>
                  <a:lnTo>
                    <a:pt x="228" y="264"/>
                  </a:lnTo>
                  <a:lnTo>
                    <a:pt x="228" y="261"/>
                  </a:lnTo>
                  <a:close/>
                  <a:moveTo>
                    <a:pt x="232" y="256"/>
                  </a:moveTo>
                  <a:lnTo>
                    <a:pt x="233" y="256"/>
                  </a:lnTo>
                  <a:lnTo>
                    <a:pt x="233" y="258"/>
                  </a:lnTo>
                  <a:lnTo>
                    <a:pt x="232" y="258"/>
                  </a:lnTo>
                  <a:lnTo>
                    <a:pt x="232" y="256"/>
                  </a:lnTo>
                  <a:close/>
                  <a:moveTo>
                    <a:pt x="216" y="254"/>
                  </a:moveTo>
                  <a:lnTo>
                    <a:pt x="220" y="254"/>
                  </a:lnTo>
                  <a:lnTo>
                    <a:pt x="220" y="258"/>
                  </a:lnTo>
                  <a:lnTo>
                    <a:pt x="216" y="258"/>
                  </a:lnTo>
                  <a:lnTo>
                    <a:pt x="216" y="254"/>
                  </a:lnTo>
                  <a:close/>
                  <a:moveTo>
                    <a:pt x="223" y="252"/>
                  </a:moveTo>
                  <a:lnTo>
                    <a:pt x="223" y="256"/>
                  </a:lnTo>
                  <a:lnTo>
                    <a:pt x="221" y="258"/>
                  </a:lnTo>
                  <a:lnTo>
                    <a:pt x="223" y="252"/>
                  </a:lnTo>
                  <a:close/>
                  <a:moveTo>
                    <a:pt x="228" y="249"/>
                  </a:moveTo>
                  <a:lnTo>
                    <a:pt x="230" y="249"/>
                  </a:lnTo>
                  <a:lnTo>
                    <a:pt x="230" y="252"/>
                  </a:lnTo>
                  <a:lnTo>
                    <a:pt x="228" y="252"/>
                  </a:lnTo>
                  <a:lnTo>
                    <a:pt x="228" y="249"/>
                  </a:lnTo>
                  <a:close/>
                  <a:moveTo>
                    <a:pt x="220" y="247"/>
                  </a:moveTo>
                  <a:lnTo>
                    <a:pt x="221" y="251"/>
                  </a:lnTo>
                  <a:lnTo>
                    <a:pt x="220" y="252"/>
                  </a:lnTo>
                  <a:lnTo>
                    <a:pt x="220" y="254"/>
                  </a:lnTo>
                  <a:lnTo>
                    <a:pt x="216" y="254"/>
                  </a:lnTo>
                  <a:lnTo>
                    <a:pt x="216" y="256"/>
                  </a:lnTo>
                  <a:lnTo>
                    <a:pt x="218" y="258"/>
                  </a:lnTo>
                  <a:lnTo>
                    <a:pt x="216" y="256"/>
                  </a:lnTo>
                  <a:lnTo>
                    <a:pt x="216" y="258"/>
                  </a:lnTo>
                  <a:lnTo>
                    <a:pt x="215" y="258"/>
                  </a:lnTo>
                  <a:lnTo>
                    <a:pt x="213" y="258"/>
                  </a:lnTo>
                  <a:lnTo>
                    <a:pt x="215" y="249"/>
                  </a:lnTo>
                  <a:lnTo>
                    <a:pt x="220" y="247"/>
                  </a:lnTo>
                  <a:close/>
                  <a:moveTo>
                    <a:pt x="160" y="240"/>
                  </a:moveTo>
                  <a:lnTo>
                    <a:pt x="163" y="240"/>
                  </a:lnTo>
                  <a:lnTo>
                    <a:pt x="163" y="242"/>
                  </a:lnTo>
                  <a:lnTo>
                    <a:pt x="160" y="242"/>
                  </a:lnTo>
                  <a:lnTo>
                    <a:pt x="160" y="240"/>
                  </a:lnTo>
                  <a:close/>
                  <a:moveTo>
                    <a:pt x="218" y="239"/>
                  </a:moveTo>
                  <a:lnTo>
                    <a:pt x="220" y="239"/>
                  </a:lnTo>
                  <a:lnTo>
                    <a:pt x="220" y="240"/>
                  </a:lnTo>
                  <a:lnTo>
                    <a:pt x="218" y="240"/>
                  </a:lnTo>
                  <a:lnTo>
                    <a:pt x="218" y="239"/>
                  </a:lnTo>
                  <a:close/>
                  <a:moveTo>
                    <a:pt x="575" y="235"/>
                  </a:moveTo>
                  <a:lnTo>
                    <a:pt x="577" y="239"/>
                  </a:lnTo>
                  <a:lnTo>
                    <a:pt x="573" y="235"/>
                  </a:lnTo>
                  <a:lnTo>
                    <a:pt x="575" y="235"/>
                  </a:lnTo>
                  <a:close/>
                  <a:moveTo>
                    <a:pt x="192" y="235"/>
                  </a:moveTo>
                  <a:lnTo>
                    <a:pt x="194" y="235"/>
                  </a:lnTo>
                  <a:lnTo>
                    <a:pt x="194" y="239"/>
                  </a:lnTo>
                  <a:lnTo>
                    <a:pt x="196" y="240"/>
                  </a:lnTo>
                  <a:lnTo>
                    <a:pt x="201" y="239"/>
                  </a:lnTo>
                  <a:lnTo>
                    <a:pt x="208" y="237"/>
                  </a:lnTo>
                  <a:lnTo>
                    <a:pt x="211" y="244"/>
                  </a:lnTo>
                  <a:lnTo>
                    <a:pt x="213" y="244"/>
                  </a:lnTo>
                  <a:lnTo>
                    <a:pt x="211" y="246"/>
                  </a:lnTo>
                  <a:lnTo>
                    <a:pt x="211" y="249"/>
                  </a:lnTo>
                  <a:lnTo>
                    <a:pt x="215" y="249"/>
                  </a:lnTo>
                  <a:lnTo>
                    <a:pt x="213" y="251"/>
                  </a:lnTo>
                  <a:lnTo>
                    <a:pt x="213" y="256"/>
                  </a:lnTo>
                  <a:lnTo>
                    <a:pt x="211" y="261"/>
                  </a:lnTo>
                  <a:lnTo>
                    <a:pt x="210" y="268"/>
                  </a:lnTo>
                  <a:lnTo>
                    <a:pt x="210" y="271"/>
                  </a:lnTo>
                  <a:lnTo>
                    <a:pt x="208" y="273"/>
                  </a:lnTo>
                  <a:lnTo>
                    <a:pt x="208" y="278"/>
                  </a:lnTo>
                  <a:lnTo>
                    <a:pt x="203" y="281"/>
                  </a:lnTo>
                  <a:lnTo>
                    <a:pt x="203" y="288"/>
                  </a:lnTo>
                  <a:lnTo>
                    <a:pt x="199" y="292"/>
                  </a:lnTo>
                  <a:lnTo>
                    <a:pt x="192" y="287"/>
                  </a:lnTo>
                  <a:lnTo>
                    <a:pt x="186" y="290"/>
                  </a:lnTo>
                  <a:lnTo>
                    <a:pt x="184" y="285"/>
                  </a:lnTo>
                  <a:lnTo>
                    <a:pt x="182" y="285"/>
                  </a:lnTo>
                  <a:lnTo>
                    <a:pt x="184" y="283"/>
                  </a:lnTo>
                  <a:lnTo>
                    <a:pt x="180" y="280"/>
                  </a:lnTo>
                  <a:lnTo>
                    <a:pt x="177" y="280"/>
                  </a:lnTo>
                  <a:lnTo>
                    <a:pt x="174" y="278"/>
                  </a:lnTo>
                  <a:lnTo>
                    <a:pt x="172" y="275"/>
                  </a:lnTo>
                  <a:lnTo>
                    <a:pt x="174" y="271"/>
                  </a:lnTo>
                  <a:lnTo>
                    <a:pt x="170" y="269"/>
                  </a:lnTo>
                  <a:lnTo>
                    <a:pt x="172" y="268"/>
                  </a:lnTo>
                  <a:lnTo>
                    <a:pt x="165" y="261"/>
                  </a:lnTo>
                  <a:lnTo>
                    <a:pt x="170" y="259"/>
                  </a:lnTo>
                  <a:lnTo>
                    <a:pt x="169" y="259"/>
                  </a:lnTo>
                  <a:lnTo>
                    <a:pt x="170" y="258"/>
                  </a:lnTo>
                  <a:lnTo>
                    <a:pt x="165" y="249"/>
                  </a:lnTo>
                  <a:lnTo>
                    <a:pt x="160" y="246"/>
                  </a:lnTo>
                  <a:lnTo>
                    <a:pt x="160" y="244"/>
                  </a:lnTo>
                  <a:lnTo>
                    <a:pt x="162" y="242"/>
                  </a:lnTo>
                  <a:lnTo>
                    <a:pt x="165" y="242"/>
                  </a:lnTo>
                  <a:lnTo>
                    <a:pt x="172" y="240"/>
                  </a:lnTo>
                  <a:lnTo>
                    <a:pt x="179" y="239"/>
                  </a:lnTo>
                  <a:lnTo>
                    <a:pt x="184" y="235"/>
                  </a:lnTo>
                  <a:lnTo>
                    <a:pt x="186" y="237"/>
                  </a:lnTo>
                  <a:lnTo>
                    <a:pt x="192" y="235"/>
                  </a:lnTo>
                  <a:close/>
                  <a:moveTo>
                    <a:pt x="225" y="234"/>
                  </a:moveTo>
                  <a:lnTo>
                    <a:pt x="228" y="234"/>
                  </a:lnTo>
                  <a:lnTo>
                    <a:pt x="228" y="235"/>
                  </a:lnTo>
                  <a:lnTo>
                    <a:pt x="225" y="235"/>
                  </a:lnTo>
                  <a:lnTo>
                    <a:pt x="225" y="234"/>
                  </a:lnTo>
                  <a:close/>
                  <a:moveTo>
                    <a:pt x="146" y="223"/>
                  </a:moveTo>
                  <a:lnTo>
                    <a:pt x="150" y="223"/>
                  </a:lnTo>
                  <a:lnTo>
                    <a:pt x="148" y="228"/>
                  </a:lnTo>
                  <a:lnTo>
                    <a:pt x="145" y="227"/>
                  </a:lnTo>
                  <a:lnTo>
                    <a:pt x="145" y="225"/>
                  </a:lnTo>
                  <a:lnTo>
                    <a:pt x="146" y="223"/>
                  </a:lnTo>
                  <a:close/>
                  <a:moveTo>
                    <a:pt x="174" y="222"/>
                  </a:moveTo>
                  <a:lnTo>
                    <a:pt x="172" y="225"/>
                  </a:lnTo>
                  <a:lnTo>
                    <a:pt x="170" y="222"/>
                  </a:lnTo>
                  <a:lnTo>
                    <a:pt x="172" y="222"/>
                  </a:lnTo>
                  <a:lnTo>
                    <a:pt x="174" y="220"/>
                  </a:lnTo>
                  <a:lnTo>
                    <a:pt x="174" y="222"/>
                  </a:lnTo>
                  <a:close/>
                  <a:moveTo>
                    <a:pt x="177" y="220"/>
                  </a:moveTo>
                  <a:lnTo>
                    <a:pt x="179" y="220"/>
                  </a:lnTo>
                  <a:lnTo>
                    <a:pt x="177" y="222"/>
                  </a:lnTo>
                  <a:lnTo>
                    <a:pt x="179" y="222"/>
                  </a:lnTo>
                  <a:lnTo>
                    <a:pt x="177" y="225"/>
                  </a:lnTo>
                  <a:lnTo>
                    <a:pt x="175" y="222"/>
                  </a:lnTo>
                  <a:lnTo>
                    <a:pt x="177" y="220"/>
                  </a:lnTo>
                  <a:close/>
                  <a:moveTo>
                    <a:pt x="180" y="218"/>
                  </a:moveTo>
                  <a:lnTo>
                    <a:pt x="184" y="223"/>
                  </a:lnTo>
                  <a:lnTo>
                    <a:pt x="184" y="220"/>
                  </a:lnTo>
                  <a:lnTo>
                    <a:pt x="187" y="225"/>
                  </a:lnTo>
                  <a:lnTo>
                    <a:pt x="186" y="220"/>
                  </a:lnTo>
                  <a:lnTo>
                    <a:pt x="187" y="220"/>
                  </a:lnTo>
                  <a:lnTo>
                    <a:pt x="189" y="222"/>
                  </a:lnTo>
                  <a:lnTo>
                    <a:pt x="191" y="220"/>
                  </a:lnTo>
                  <a:lnTo>
                    <a:pt x="191" y="222"/>
                  </a:lnTo>
                  <a:lnTo>
                    <a:pt x="191" y="220"/>
                  </a:lnTo>
                  <a:lnTo>
                    <a:pt x="191" y="222"/>
                  </a:lnTo>
                  <a:lnTo>
                    <a:pt x="194" y="222"/>
                  </a:lnTo>
                  <a:lnTo>
                    <a:pt x="194" y="225"/>
                  </a:lnTo>
                  <a:lnTo>
                    <a:pt x="189" y="223"/>
                  </a:lnTo>
                  <a:lnTo>
                    <a:pt x="187" y="225"/>
                  </a:lnTo>
                  <a:lnTo>
                    <a:pt x="189" y="228"/>
                  </a:lnTo>
                  <a:lnTo>
                    <a:pt x="191" y="228"/>
                  </a:lnTo>
                  <a:lnTo>
                    <a:pt x="189" y="230"/>
                  </a:lnTo>
                  <a:lnTo>
                    <a:pt x="187" y="228"/>
                  </a:lnTo>
                  <a:lnTo>
                    <a:pt x="186" y="230"/>
                  </a:lnTo>
                  <a:lnTo>
                    <a:pt x="186" y="232"/>
                  </a:lnTo>
                  <a:lnTo>
                    <a:pt x="179" y="232"/>
                  </a:lnTo>
                  <a:lnTo>
                    <a:pt x="179" y="234"/>
                  </a:lnTo>
                  <a:lnTo>
                    <a:pt x="172" y="234"/>
                  </a:lnTo>
                  <a:lnTo>
                    <a:pt x="170" y="235"/>
                  </a:lnTo>
                  <a:lnTo>
                    <a:pt x="167" y="235"/>
                  </a:lnTo>
                  <a:lnTo>
                    <a:pt x="158" y="237"/>
                  </a:lnTo>
                  <a:lnTo>
                    <a:pt x="151" y="239"/>
                  </a:lnTo>
                  <a:lnTo>
                    <a:pt x="150" y="237"/>
                  </a:lnTo>
                  <a:lnTo>
                    <a:pt x="145" y="239"/>
                  </a:lnTo>
                  <a:lnTo>
                    <a:pt x="146" y="235"/>
                  </a:lnTo>
                  <a:lnTo>
                    <a:pt x="141" y="237"/>
                  </a:lnTo>
                  <a:lnTo>
                    <a:pt x="140" y="235"/>
                  </a:lnTo>
                  <a:lnTo>
                    <a:pt x="140" y="239"/>
                  </a:lnTo>
                  <a:lnTo>
                    <a:pt x="138" y="235"/>
                  </a:lnTo>
                  <a:lnTo>
                    <a:pt x="129" y="239"/>
                  </a:lnTo>
                  <a:lnTo>
                    <a:pt x="133" y="235"/>
                  </a:lnTo>
                  <a:lnTo>
                    <a:pt x="138" y="235"/>
                  </a:lnTo>
                  <a:lnTo>
                    <a:pt x="138" y="234"/>
                  </a:lnTo>
                  <a:lnTo>
                    <a:pt x="136" y="232"/>
                  </a:lnTo>
                  <a:lnTo>
                    <a:pt x="138" y="232"/>
                  </a:lnTo>
                  <a:lnTo>
                    <a:pt x="138" y="225"/>
                  </a:lnTo>
                  <a:lnTo>
                    <a:pt x="140" y="225"/>
                  </a:lnTo>
                  <a:lnTo>
                    <a:pt x="140" y="227"/>
                  </a:lnTo>
                  <a:lnTo>
                    <a:pt x="141" y="227"/>
                  </a:lnTo>
                  <a:lnTo>
                    <a:pt x="140" y="223"/>
                  </a:lnTo>
                  <a:lnTo>
                    <a:pt x="141" y="223"/>
                  </a:lnTo>
                  <a:lnTo>
                    <a:pt x="145" y="223"/>
                  </a:lnTo>
                  <a:lnTo>
                    <a:pt x="141" y="227"/>
                  </a:lnTo>
                  <a:lnTo>
                    <a:pt x="141" y="228"/>
                  </a:lnTo>
                  <a:lnTo>
                    <a:pt x="148" y="228"/>
                  </a:lnTo>
                  <a:lnTo>
                    <a:pt x="151" y="227"/>
                  </a:lnTo>
                  <a:lnTo>
                    <a:pt x="151" y="223"/>
                  </a:lnTo>
                  <a:lnTo>
                    <a:pt x="155" y="225"/>
                  </a:lnTo>
                  <a:lnTo>
                    <a:pt x="153" y="228"/>
                  </a:lnTo>
                  <a:lnTo>
                    <a:pt x="160" y="223"/>
                  </a:lnTo>
                  <a:lnTo>
                    <a:pt x="160" y="225"/>
                  </a:lnTo>
                  <a:lnTo>
                    <a:pt x="162" y="225"/>
                  </a:lnTo>
                  <a:lnTo>
                    <a:pt x="160" y="227"/>
                  </a:lnTo>
                  <a:lnTo>
                    <a:pt x="163" y="227"/>
                  </a:lnTo>
                  <a:lnTo>
                    <a:pt x="167" y="227"/>
                  </a:lnTo>
                  <a:lnTo>
                    <a:pt x="163" y="223"/>
                  </a:lnTo>
                  <a:lnTo>
                    <a:pt x="169" y="225"/>
                  </a:lnTo>
                  <a:lnTo>
                    <a:pt x="169" y="228"/>
                  </a:lnTo>
                  <a:lnTo>
                    <a:pt x="170" y="228"/>
                  </a:lnTo>
                  <a:lnTo>
                    <a:pt x="170" y="227"/>
                  </a:lnTo>
                  <a:lnTo>
                    <a:pt x="175" y="227"/>
                  </a:lnTo>
                  <a:lnTo>
                    <a:pt x="179" y="223"/>
                  </a:lnTo>
                  <a:lnTo>
                    <a:pt x="177" y="227"/>
                  </a:lnTo>
                  <a:lnTo>
                    <a:pt x="179" y="227"/>
                  </a:lnTo>
                  <a:lnTo>
                    <a:pt x="180" y="225"/>
                  </a:lnTo>
                  <a:lnTo>
                    <a:pt x="180" y="227"/>
                  </a:lnTo>
                  <a:lnTo>
                    <a:pt x="180" y="222"/>
                  </a:lnTo>
                  <a:lnTo>
                    <a:pt x="179" y="222"/>
                  </a:lnTo>
                  <a:lnTo>
                    <a:pt x="180" y="218"/>
                  </a:lnTo>
                  <a:close/>
                  <a:moveTo>
                    <a:pt x="99" y="217"/>
                  </a:moveTo>
                  <a:lnTo>
                    <a:pt x="102" y="217"/>
                  </a:lnTo>
                  <a:lnTo>
                    <a:pt x="102" y="218"/>
                  </a:lnTo>
                  <a:lnTo>
                    <a:pt x="99" y="218"/>
                  </a:lnTo>
                  <a:lnTo>
                    <a:pt x="99" y="217"/>
                  </a:lnTo>
                  <a:close/>
                  <a:moveTo>
                    <a:pt x="109" y="215"/>
                  </a:moveTo>
                  <a:lnTo>
                    <a:pt x="112" y="215"/>
                  </a:lnTo>
                  <a:lnTo>
                    <a:pt x="112" y="217"/>
                  </a:lnTo>
                  <a:lnTo>
                    <a:pt x="109" y="217"/>
                  </a:lnTo>
                  <a:lnTo>
                    <a:pt x="109" y="215"/>
                  </a:lnTo>
                  <a:close/>
                  <a:moveTo>
                    <a:pt x="110" y="211"/>
                  </a:moveTo>
                  <a:lnTo>
                    <a:pt x="114" y="211"/>
                  </a:lnTo>
                  <a:lnTo>
                    <a:pt x="114" y="213"/>
                  </a:lnTo>
                  <a:lnTo>
                    <a:pt x="110" y="213"/>
                  </a:lnTo>
                  <a:lnTo>
                    <a:pt x="110" y="211"/>
                  </a:lnTo>
                  <a:close/>
                  <a:moveTo>
                    <a:pt x="121" y="206"/>
                  </a:moveTo>
                  <a:lnTo>
                    <a:pt x="121" y="208"/>
                  </a:lnTo>
                  <a:lnTo>
                    <a:pt x="116" y="208"/>
                  </a:lnTo>
                  <a:lnTo>
                    <a:pt x="121" y="206"/>
                  </a:lnTo>
                  <a:close/>
                  <a:moveTo>
                    <a:pt x="162" y="196"/>
                  </a:moveTo>
                  <a:lnTo>
                    <a:pt x="162" y="198"/>
                  </a:lnTo>
                  <a:lnTo>
                    <a:pt x="157" y="199"/>
                  </a:lnTo>
                  <a:lnTo>
                    <a:pt x="153" y="201"/>
                  </a:lnTo>
                  <a:lnTo>
                    <a:pt x="150" y="201"/>
                  </a:lnTo>
                  <a:lnTo>
                    <a:pt x="157" y="198"/>
                  </a:lnTo>
                  <a:lnTo>
                    <a:pt x="162" y="196"/>
                  </a:lnTo>
                  <a:close/>
                  <a:moveTo>
                    <a:pt x="163" y="194"/>
                  </a:moveTo>
                  <a:lnTo>
                    <a:pt x="165" y="194"/>
                  </a:lnTo>
                  <a:lnTo>
                    <a:pt x="165" y="196"/>
                  </a:lnTo>
                  <a:lnTo>
                    <a:pt x="163" y="196"/>
                  </a:lnTo>
                  <a:lnTo>
                    <a:pt x="163" y="194"/>
                  </a:lnTo>
                  <a:close/>
                  <a:moveTo>
                    <a:pt x="116" y="196"/>
                  </a:moveTo>
                  <a:lnTo>
                    <a:pt x="117" y="199"/>
                  </a:lnTo>
                  <a:lnTo>
                    <a:pt x="116" y="198"/>
                  </a:lnTo>
                  <a:lnTo>
                    <a:pt x="114" y="194"/>
                  </a:lnTo>
                  <a:lnTo>
                    <a:pt x="116" y="196"/>
                  </a:lnTo>
                  <a:close/>
                  <a:moveTo>
                    <a:pt x="136" y="181"/>
                  </a:moveTo>
                  <a:lnTo>
                    <a:pt x="138" y="181"/>
                  </a:lnTo>
                  <a:lnTo>
                    <a:pt x="138" y="182"/>
                  </a:lnTo>
                  <a:lnTo>
                    <a:pt x="136" y="182"/>
                  </a:lnTo>
                  <a:lnTo>
                    <a:pt x="136" y="181"/>
                  </a:lnTo>
                  <a:close/>
                  <a:moveTo>
                    <a:pt x="71" y="176"/>
                  </a:moveTo>
                  <a:lnTo>
                    <a:pt x="75" y="177"/>
                  </a:lnTo>
                  <a:lnTo>
                    <a:pt x="73" y="182"/>
                  </a:lnTo>
                  <a:lnTo>
                    <a:pt x="71" y="181"/>
                  </a:lnTo>
                  <a:lnTo>
                    <a:pt x="71" y="186"/>
                  </a:lnTo>
                  <a:lnTo>
                    <a:pt x="68" y="187"/>
                  </a:lnTo>
                  <a:lnTo>
                    <a:pt x="64" y="181"/>
                  </a:lnTo>
                  <a:lnTo>
                    <a:pt x="66" y="177"/>
                  </a:lnTo>
                  <a:lnTo>
                    <a:pt x="71" y="176"/>
                  </a:lnTo>
                  <a:close/>
                  <a:moveTo>
                    <a:pt x="158" y="176"/>
                  </a:moveTo>
                  <a:lnTo>
                    <a:pt x="167" y="181"/>
                  </a:lnTo>
                  <a:lnTo>
                    <a:pt x="162" y="189"/>
                  </a:lnTo>
                  <a:lnTo>
                    <a:pt x="153" y="193"/>
                  </a:lnTo>
                  <a:lnTo>
                    <a:pt x="151" y="191"/>
                  </a:lnTo>
                  <a:lnTo>
                    <a:pt x="155" y="191"/>
                  </a:lnTo>
                  <a:lnTo>
                    <a:pt x="155" y="187"/>
                  </a:lnTo>
                  <a:lnTo>
                    <a:pt x="157" y="187"/>
                  </a:lnTo>
                  <a:lnTo>
                    <a:pt x="153" y="184"/>
                  </a:lnTo>
                  <a:lnTo>
                    <a:pt x="150" y="189"/>
                  </a:lnTo>
                  <a:lnTo>
                    <a:pt x="148" y="189"/>
                  </a:lnTo>
                  <a:lnTo>
                    <a:pt x="140" y="191"/>
                  </a:lnTo>
                  <a:lnTo>
                    <a:pt x="138" y="189"/>
                  </a:lnTo>
                  <a:lnTo>
                    <a:pt x="145" y="187"/>
                  </a:lnTo>
                  <a:lnTo>
                    <a:pt x="140" y="186"/>
                  </a:lnTo>
                  <a:lnTo>
                    <a:pt x="140" y="182"/>
                  </a:lnTo>
                  <a:lnTo>
                    <a:pt x="143" y="182"/>
                  </a:lnTo>
                  <a:lnTo>
                    <a:pt x="141" y="182"/>
                  </a:lnTo>
                  <a:lnTo>
                    <a:pt x="141" y="181"/>
                  </a:lnTo>
                  <a:lnTo>
                    <a:pt x="145" y="181"/>
                  </a:lnTo>
                  <a:lnTo>
                    <a:pt x="146" y="184"/>
                  </a:lnTo>
                  <a:lnTo>
                    <a:pt x="151" y="182"/>
                  </a:lnTo>
                  <a:lnTo>
                    <a:pt x="150" y="181"/>
                  </a:lnTo>
                  <a:lnTo>
                    <a:pt x="155" y="177"/>
                  </a:lnTo>
                  <a:lnTo>
                    <a:pt x="157" y="179"/>
                  </a:lnTo>
                  <a:lnTo>
                    <a:pt x="157" y="177"/>
                  </a:lnTo>
                  <a:lnTo>
                    <a:pt x="158" y="176"/>
                  </a:lnTo>
                  <a:close/>
                  <a:moveTo>
                    <a:pt x="633" y="427"/>
                  </a:moveTo>
                  <a:lnTo>
                    <a:pt x="640" y="469"/>
                  </a:lnTo>
                  <a:lnTo>
                    <a:pt x="645" y="529"/>
                  </a:lnTo>
                  <a:lnTo>
                    <a:pt x="648" y="532"/>
                  </a:lnTo>
                  <a:lnTo>
                    <a:pt x="648" y="538"/>
                  </a:lnTo>
                  <a:lnTo>
                    <a:pt x="638" y="553"/>
                  </a:lnTo>
                  <a:lnTo>
                    <a:pt x="660" y="562"/>
                  </a:lnTo>
                  <a:lnTo>
                    <a:pt x="679" y="567"/>
                  </a:lnTo>
                  <a:lnTo>
                    <a:pt x="689" y="570"/>
                  </a:lnTo>
                  <a:lnTo>
                    <a:pt x="698" y="573"/>
                  </a:lnTo>
                  <a:lnTo>
                    <a:pt x="711" y="579"/>
                  </a:lnTo>
                  <a:lnTo>
                    <a:pt x="705" y="585"/>
                  </a:lnTo>
                  <a:lnTo>
                    <a:pt x="701" y="591"/>
                  </a:lnTo>
                  <a:lnTo>
                    <a:pt x="693" y="604"/>
                  </a:lnTo>
                  <a:lnTo>
                    <a:pt x="689" y="608"/>
                  </a:lnTo>
                  <a:lnTo>
                    <a:pt x="686" y="613"/>
                  </a:lnTo>
                  <a:lnTo>
                    <a:pt x="686" y="606"/>
                  </a:lnTo>
                  <a:lnTo>
                    <a:pt x="684" y="609"/>
                  </a:lnTo>
                  <a:lnTo>
                    <a:pt x="679" y="611"/>
                  </a:lnTo>
                  <a:lnTo>
                    <a:pt x="679" y="613"/>
                  </a:lnTo>
                  <a:lnTo>
                    <a:pt x="670" y="613"/>
                  </a:lnTo>
                  <a:lnTo>
                    <a:pt x="674" y="614"/>
                  </a:lnTo>
                  <a:lnTo>
                    <a:pt x="674" y="618"/>
                  </a:lnTo>
                  <a:lnTo>
                    <a:pt x="672" y="618"/>
                  </a:lnTo>
                  <a:lnTo>
                    <a:pt x="667" y="620"/>
                  </a:lnTo>
                  <a:lnTo>
                    <a:pt x="662" y="621"/>
                  </a:lnTo>
                  <a:lnTo>
                    <a:pt x="658" y="630"/>
                  </a:lnTo>
                  <a:lnTo>
                    <a:pt x="650" y="632"/>
                  </a:lnTo>
                  <a:lnTo>
                    <a:pt x="648" y="633"/>
                  </a:lnTo>
                  <a:lnTo>
                    <a:pt x="647" y="632"/>
                  </a:lnTo>
                  <a:lnTo>
                    <a:pt x="647" y="626"/>
                  </a:lnTo>
                  <a:lnTo>
                    <a:pt x="648" y="628"/>
                  </a:lnTo>
                  <a:lnTo>
                    <a:pt x="647" y="625"/>
                  </a:lnTo>
                  <a:lnTo>
                    <a:pt x="647" y="623"/>
                  </a:lnTo>
                  <a:lnTo>
                    <a:pt x="650" y="623"/>
                  </a:lnTo>
                  <a:lnTo>
                    <a:pt x="647" y="623"/>
                  </a:lnTo>
                  <a:lnTo>
                    <a:pt x="645" y="623"/>
                  </a:lnTo>
                  <a:lnTo>
                    <a:pt x="645" y="621"/>
                  </a:lnTo>
                  <a:lnTo>
                    <a:pt x="640" y="623"/>
                  </a:lnTo>
                  <a:lnTo>
                    <a:pt x="643" y="625"/>
                  </a:lnTo>
                  <a:lnTo>
                    <a:pt x="645" y="623"/>
                  </a:lnTo>
                  <a:lnTo>
                    <a:pt x="647" y="623"/>
                  </a:lnTo>
                  <a:lnTo>
                    <a:pt x="647" y="625"/>
                  </a:lnTo>
                  <a:lnTo>
                    <a:pt x="643" y="625"/>
                  </a:lnTo>
                  <a:lnTo>
                    <a:pt x="638" y="623"/>
                  </a:lnTo>
                  <a:lnTo>
                    <a:pt x="636" y="621"/>
                  </a:lnTo>
                  <a:lnTo>
                    <a:pt x="640" y="614"/>
                  </a:lnTo>
                  <a:lnTo>
                    <a:pt x="638" y="620"/>
                  </a:lnTo>
                  <a:lnTo>
                    <a:pt x="640" y="616"/>
                  </a:lnTo>
                  <a:lnTo>
                    <a:pt x="641" y="618"/>
                  </a:lnTo>
                  <a:lnTo>
                    <a:pt x="641" y="616"/>
                  </a:lnTo>
                  <a:lnTo>
                    <a:pt x="647" y="614"/>
                  </a:lnTo>
                  <a:lnTo>
                    <a:pt x="641" y="613"/>
                  </a:lnTo>
                  <a:lnTo>
                    <a:pt x="640" y="606"/>
                  </a:lnTo>
                  <a:lnTo>
                    <a:pt x="643" y="606"/>
                  </a:lnTo>
                  <a:lnTo>
                    <a:pt x="643" y="604"/>
                  </a:lnTo>
                  <a:lnTo>
                    <a:pt x="647" y="603"/>
                  </a:lnTo>
                  <a:lnTo>
                    <a:pt x="648" y="604"/>
                  </a:lnTo>
                  <a:lnTo>
                    <a:pt x="650" y="603"/>
                  </a:lnTo>
                  <a:lnTo>
                    <a:pt x="650" y="604"/>
                  </a:lnTo>
                  <a:lnTo>
                    <a:pt x="650" y="601"/>
                  </a:lnTo>
                  <a:lnTo>
                    <a:pt x="652" y="601"/>
                  </a:lnTo>
                  <a:lnTo>
                    <a:pt x="652" y="604"/>
                  </a:lnTo>
                  <a:lnTo>
                    <a:pt x="653" y="603"/>
                  </a:lnTo>
                  <a:lnTo>
                    <a:pt x="658" y="606"/>
                  </a:lnTo>
                  <a:lnTo>
                    <a:pt x="653" y="603"/>
                  </a:lnTo>
                  <a:lnTo>
                    <a:pt x="653" y="601"/>
                  </a:lnTo>
                  <a:lnTo>
                    <a:pt x="652" y="601"/>
                  </a:lnTo>
                  <a:lnTo>
                    <a:pt x="653" y="601"/>
                  </a:lnTo>
                  <a:lnTo>
                    <a:pt x="660" y="603"/>
                  </a:lnTo>
                  <a:lnTo>
                    <a:pt x="660" y="604"/>
                  </a:lnTo>
                  <a:lnTo>
                    <a:pt x="662" y="608"/>
                  </a:lnTo>
                  <a:lnTo>
                    <a:pt x="665" y="606"/>
                  </a:lnTo>
                  <a:lnTo>
                    <a:pt x="665" y="608"/>
                  </a:lnTo>
                  <a:lnTo>
                    <a:pt x="665" y="604"/>
                  </a:lnTo>
                  <a:lnTo>
                    <a:pt x="674" y="606"/>
                  </a:lnTo>
                  <a:lnTo>
                    <a:pt x="677" y="603"/>
                  </a:lnTo>
                  <a:lnTo>
                    <a:pt x="676" y="603"/>
                  </a:lnTo>
                  <a:lnTo>
                    <a:pt x="670" y="604"/>
                  </a:lnTo>
                  <a:lnTo>
                    <a:pt x="669" y="603"/>
                  </a:lnTo>
                  <a:lnTo>
                    <a:pt x="672" y="599"/>
                  </a:lnTo>
                  <a:lnTo>
                    <a:pt x="669" y="603"/>
                  </a:lnTo>
                  <a:lnTo>
                    <a:pt x="669" y="601"/>
                  </a:lnTo>
                  <a:lnTo>
                    <a:pt x="667" y="599"/>
                  </a:lnTo>
                  <a:lnTo>
                    <a:pt x="665" y="603"/>
                  </a:lnTo>
                  <a:lnTo>
                    <a:pt x="658" y="601"/>
                  </a:lnTo>
                  <a:lnTo>
                    <a:pt x="653" y="597"/>
                  </a:lnTo>
                  <a:lnTo>
                    <a:pt x="650" y="597"/>
                  </a:lnTo>
                  <a:lnTo>
                    <a:pt x="650" y="601"/>
                  </a:lnTo>
                  <a:lnTo>
                    <a:pt x="647" y="597"/>
                  </a:lnTo>
                  <a:lnTo>
                    <a:pt x="641" y="599"/>
                  </a:lnTo>
                  <a:lnTo>
                    <a:pt x="640" y="599"/>
                  </a:lnTo>
                  <a:lnTo>
                    <a:pt x="641" y="601"/>
                  </a:lnTo>
                  <a:lnTo>
                    <a:pt x="635" y="604"/>
                  </a:lnTo>
                  <a:lnTo>
                    <a:pt x="633" y="608"/>
                  </a:lnTo>
                  <a:lnTo>
                    <a:pt x="629" y="608"/>
                  </a:lnTo>
                  <a:lnTo>
                    <a:pt x="626" y="613"/>
                  </a:lnTo>
                  <a:lnTo>
                    <a:pt x="621" y="613"/>
                  </a:lnTo>
                  <a:lnTo>
                    <a:pt x="619" y="611"/>
                  </a:lnTo>
                  <a:lnTo>
                    <a:pt x="621" y="609"/>
                  </a:lnTo>
                  <a:lnTo>
                    <a:pt x="614" y="606"/>
                  </a:lnTo>
                  <a:lnTo>
                    <a:pt x="617" y="606"/>
                  </a:lnTo>
                  <a:lnTo>
                    <a:pt x="617" y="604"/>
                  </a:lnTo>
                  <a:lnTo>
                    <a:pt x="614" y="597"/>
                  </a:lnTo>
                  <a:lnTo>
                    <a:pt x="609" y="599"/>
                  </a:lnTo>
                  <a:lnTo>
                    <a:pt x="600" y="594"/>
                  </a:lnTo>
                  <a:lnTo>
                    <a:pt x="600" y="596"/>
                  </a:lnTo>
                  <a:lnTo>
                    <a:pt x="604" y="597"/>
                  </a:lnTo>
                  <a:lnTo>
                    <a:pt x="602" y="597"/>
                  </a:lnTo>
                  <a:lnTo>
                    <a:pt x="604" y="603"/>
                  </a:lnTo>
                  <a:lnTo>
                    <a:pt x="602" y="604"/>
                  </a:lnTo>
                  <a:lnTo>
                    <a:pt x="594" y="601"/>
                  </a:lnTo>
                  <a:lnTo>
                    <a:pt x="599" y="606"/>
                  </a:lnTo>
                  <a:lnTo>
                    <a:pt x="600" y="611"/>
                  </a:lnTo>
                  <a:lnTo>
                    <a:pt x="599" y="613"/>
                  </a:lnTo>
                  <a:lnTo>
                    <a:pt x="595" y="613"/>
                  </a:lnTo>
                  <a:lnTo>
                    <a:pt x="595" y="611"/>
                  </a:lnTo>
                  <a:lnTo>
                    <a:pt x="590" y="604"/>
                  </a:lnTo>
                  <a:lnTo>
                    <a:pt x="587" y="604"/>
                  </a:lnTo>
                  <a:lnTo>
                    <a:pt x="580" y="599"/>
                  </a:lnTo>
                  <a:lnTo>
                    <a:pt x="582" y="596"/>
                  </a:lnTo>
                  <a:lnTo>
                    <a:pt x="580" y="597"/>
                  </a:lnTo>
                  <a:lnTo>
                    <a:pt x="578" y="596"/>
                  </a:lnTo>
                  <a:lnTo>
                    <a:pt x="575" y="597"/>
                  </a:lnTo>
                  <a:lnTo>
                    <a:pt x="573" y="596"/>
                  </a:lnTo>
                  <a:lnTo>
                    <a:pt x="577" y="592"/>
                  </a:lnTo>
                  <a:lnTo>
                    <a:pt x="583" y="587"/>
                  </a:lnTo>
                  <a:lnTo>
                    <a:pt x="582" y="587"/>
                  </a:lnTo>
                  <a:lnTo>
                    <a:pt x="582" y="580"/>
                  </a:lnTo>
                  <a:lnTo>
                    <a:pt x="580" y="582"/>
                  </a:lnTo>
                  <a:lnTo>
                    <a:pt x="577" y="577"/>
                  </a:lnTo>
                  <a:lnTo>
                    <a:pt x="577" y="579"/>
                  </a:lnTo>
                  <a:lnTo>
                    <a:pt x="575" y="577"/>
                  </a:lnTo>
                  <a:lnTo>
                    <a:pt x="573" y="580"/>
                  </a:lnTo>
                  <a:lnTo>
                    <a:pt x="575" y="584"/>
                  </a:lnTo>
                  <a:lnTo>
                    <a:pt x="568" y="587"/>
                  </a:lnTo>
                  <a:lnTo>
                    <a:pt x="566" y="582"/>
                  </a:lnTo>
                  <a:lnTo>
                    <a:pt x="561" y="585"/>
                  </a:lnTo>
                  <a:lnTo>
                    <a:pt x="565" y="585"/>
                  </a:lnTo>
                  <a:lnTo>
                    <a:pt x="566" y="589"/>
                  </a:lnTo>
                  <a:lnTo>
                    <a:pt x="561" y="591"/>
                  </a:lnTo>
                  <a:lnTo>
                    <a:pt x="561" y="587"/>
                  </a:lnTo>
                  <a:lnTo>
                    <a:pt x="559" y="587"/>
                  </a:lnTo>
                  <a:lnTo>
                    <a:pt x="556" y="591"/>
                  </a:lnTo>
                  <a:lnTo>
                    <a:pt x="553" y="587"/>
                  </a:lnTo>
                  <a:lnTo>
                    <a:pt x="551" y="582"/>
                  </a:lnTo>
                  <a:lnTo>
                    <a:pt x="551" y="579"/>
                  </a:lnTo>
                  <a:lnTo>
                    <a:pt x="554" y="580"/>
                  </a:lnTo>
                  <a:lnTo>
                    <a:pt x="553" y="579"/>
                  </a:lnTo>
                  <a:lnTo>
                    <a:pt x="551" y="579"/>
                  </a:lnTo>
                  <a:lnTo>
                    <a:pt x="549" y="572"/>
                  </a:lnTo>
                  <a:lnTo>
                    <a:pt x="542" y="565"/>
                  </a:lnTo>
                  <a:lnTo>
                    <a:pt x="542" y="563"/>
                  </a:lnTo>
                  <a:lnTo>
                    <a:pt x="541" y="555"/>
                  </a:lnTo>
                  <a:lnTo>
                    <a:pt x="536" y="560"/>
                  </a:lnTo>
                  <a:lnTo>
                    <a:pt x="534" y="556"/>
                  </a:lnTo>
                  <a:lnTo>
                    <a:pt x="537" y="567"/>
                  </a:lnTo>
                  <a:lnTo>
                    <a:pt x="539" y="573"/>
                  </a:lnTo>
                  <a:lnTo>
                    <a:pt x="539" y="575"/>
                  </a:lnTo>
                  <a:lnTo>
                    <a:pt x="532" y="568"/>
                  </a:lnTo>
                  <a:lnTo>
                    <a:pt x="532" y="565"/>
                  </a:lnTo>
                  <a:lnTo>
                    <a:pt x="524" y="568"/>
                  </a:lnTo>
                  <a:lnTo>
                    <a:pt x="525" y="560"/>
                  </a:lnTo>
                  <a:lnTo>
                    <a:pt x="522" y="551"/>
                  </a:lnTo>
                  <a:lnTo>
                    <a:pt x="520" y="551"/>
                  </a:lnTo>
                  <a:lnTo>
                    <a:pt x="518" y="548"/>
                  </a:lnTo>
                  <a:lnTo>
                    <a:pt x="515" y="544"/>
                  </a:lnTo>
                  <a:lnTo>
                    <a:pt x="517" y="544"/>
                  </a:lnTo>
                  <a:lnTo>
                    <a:pt x="518" y="541"/>
                  </a:lnTo>
                  <a:lnTo>
                    <a:pt x="524" y="539"/>
                  </a:lnTo>
                  <a:lnTo>
                    <a:pt x="524" y="538"/>
                  </a:lnTo>
                  <a:lnTo>
                    <a:pt x="525" y="541"/>
                  </a:lnTo>
                  <a:lnTo>
                    <a:pt x="525" y="536"/>
                  </a:lnTo>
                  <a:lnTo>
                    <a:pt x="522" y="527"/>
                  </a:lnTo>
                  <a:lnTo>
                    <a:pt x="520" y="526"/>
                  </a:lnTo>
                  <a:lnTo>
                    <a:pt x="520" y="532"/>
                  </a:lnTo>
                  <a:lnTo>
                    <a:pt x="517" y="538"/>
                  </a:lnTo>
                  <a:lnTo>
                    <a:pt x="513" y="538"/>
                  </a:lnTo>
                  <a:lnTo>
                    <a:pt x="512" y="539"/>
                  </a:lnTo>
                  <a:lnTo>
                    <a:pt x="507" y="539"/>
                  </a:lnTo>
                  <a:lnTo>
                    <a:pt x="505" y="532"/>
                  </a:lnTo>
                  <a:lnTo>
                    <a:pt x="501" y="532"/>
                  </a:lnTo>
                  <a:lnTo>
                    <a:pt x="503" y="541"/>
                  </a:lnTo>
                  <a:lnTo>
                    <a:pt x="500" y="541"/>
                  </a:lnTo>
                  <a:lnTo>
                    <a:pt x="495" y="538"/>
                  </a:lnTo>
                  <a:lnTo>
                    <a:pt x="500" y="543"/>
                  </a:lnTo>
                  <a:lnTo>
                    <a:pt x="508" y="543"/>
                  </a:lnTo>
                  <a:lnTo>
                    <a:pt x="510" y="546"/>
                  </a:lnTo>
                  <a:lnTo>
                    <a:pt x="513" y="551"/>
                  </a:lnTo>
                  <a:lnTo>
                    <a:pt x="512" y="556"/>
                  </a:lnTo>
                  <a:lnTo>
                    <a:pt x="503" y="562"/>
                  </a:lnTo>
                  <a:lnTo>
                    <a:pt x="496" y="568"/>
                  </a:lnTo>
                  <a:lnTo>
                    <a:pt x="489" y="572"/>
                  </a:lnTo>
                  <a:lnTo>
                    <a:pt x="488" y="577"/>
                  </a:lnTo>
                  <a:lnTo>
                    <a:pt x="491" y="584"/>
                  </a:lnTo>
                  <a:lnTo>
                    <a:pt x="495" y="585"/>
                  </a:lnTo>
                  <a:lnTo>
                    <a:pt x="496" y="591"/>
                  </a:lnTo>
                  <a:lnTo>
                    <a:pt x="489" y="594"/>
                  </a:lnTo>
                  <a:lnTo>
                    <a:pt x="489" y="596"/>
                  </a:lnTo>
                  <a:lnTo>
                    <a:pt x="483" y="604"/>
                  </a:lnTo>
                  <a:lnTo>
                    <a:pt x="481" y="606"/>
                  </a:lnTo>
                  <a:lnTo>
                    <a:pt x="479" y="609"/>
                  </a:lnTo>
                  <a:lnTo>
                    <a:pt x="472" y="613"/>
                  </a:lnTo>
                  <a:lnTo>
                    <a:pt x="471" y="616"/>
                  </a:lnTo>
                  <a:lnTo>
                    <a:pt x="462" y="616"/>
                  </a:lnTo>
                  <a:lnTo>
                    <a:pt x="459" y="616"/>
                  </a:lnTo>
                  <a:lnTo>
                    <a:pt x="448" y="614"/>
                  </a:lnTo>
                  <a:lnTo>
                    <a:pt x="445" y="616"/>
                  </a:lnTo>
                  <a:lnTo>
                    <a:pt x="443" y="621"/>
                  </a:lnTo>
                  <a:lnTo>
                    <a:pt x="442" y="621"/>
                  </a:lnTo>
                  <a:lnTo>
                    <a:pt x="437" y="621"/>
                  </a:lnTo>
                  <a:lnTo>
                    <a:pt x="430" y="618"/>
                  </a:lnTo>
                  <a:lnTo>
                    <a:pt x="431" y="613"/>
                  </a:lnTo>
                  <a:lnTo>
                    <a:pt x="425" y="608"/>
                  </a:lnTo>
                  <a:lnTo>
                    <a:pt x="423" y="606"/>
                  </a:lnTo>
                  <a:lnTo>
                    <a:pt x="423" y="603"/>
                  </a:lnTo>
                  <a:lnTo>
                    <a:pt x="418" y="601"/>
                  </a:lnTo>
                  <a:lnTo>
                    <a:pt x="418" y="599"/>
                  </a:lnTo>
                  <a:lnTo>
                    <a:pt x="423" y="603"/>
                  </a:lnTo>
                  <a:lnTo>
                    <a:pt x="423" y="599"/>
                  </a:lnTo>
                  <a:lnTo>
                    <a:pt x="421" y="597"/>
                  </a:lnTo>
                  <a:lnTo>
                    <a:pt x="416" y="589"/>
                  </a:lnTo>
                  <a:lnTo>
                    <a:pt x="416" y="587"/>
                  </a:lnTo>
                  <a:lnTo>
                    <a:pt x="414" y="587"/>
                  </a:lnTo>
                  <a:lnTo>
                    <a:pt x="416" y="582"/>
                  </a:lnTo>
                  <a:lnTo>
                    <a:pt x="413" y="579"/>
                  </a:lnTo>
                  <a:lnTo>
                    <a:pt x="409" y="570"/>
                  </a:lnTo>
                  <a:lnTo>
                    <a:pt x="409" y="565"/>
                  </a:lnTo>
                  <a:lnTo>
                    <a:pt x="411" y="563"/>
                  </a:lnTo>
                  <a:lnTo>
                    <a:pt x="414" y="565"/>
                  </a:lnTo>
                  <a:lnTo>
                    <a:pt x="421" y="563"/>
                  </a:lnTo>
                  <a:lnTo>
                    <a:pt x="428" y="565"/>
                  </a:lnTo>
                  <a:lnTo>
                    <a:pt x="430" y="556"/>
                  </a:lnTo>
                  <a:lnTo>
                    <a:pt x="435" y="555"/>
                  </a:lnTo>
                  <a:lnTo>
                    <a:pt x="430" y="553"/>
                  </a:lnTo>
                  <a:lnTo>
                    <a:pt x="431" y="551"/>
                  </a:lnTo>
                  <a:lnTo>
                    <a:pt x="430" y="551"/>
                  </a:lnTo>
                  <a:lnTo>
                    <a:pt x="428" y="548"/>
                  </a:lnTo>
                  <a:lnTo>
                    <a:pt x="430" y="543"/>
                  </a:lnTo>
                  <a:lnTo>
                    <a:pt x="425" y="544"/>
                  </a:lnTo>
                  <a:lnTo>
                    <a:pt x="419" y="541"/>
                  </a:lnTo>
                  <a:lnTo>
                    <a:pt x="419" y="536"/>
                  </a:lnTo>
                  <a:lnTo>
                    <a:pt x="418" y="531"/>
                  </a:lnTo>
                  <a:lnTo>
                    <a:pt x="423" y="524"/>
                  </a:lnTo>
                  <a:lnTo>
                    <a:pt x="419" y="522"/>
                  </a:lnTo>
                  <a:lnTo>
                    <a:pt x="419" y="519"/>
                  </a:lnTo>
                  <a:lnTo>
                    <a:pt x="416" y="519"/>
                  </a:lnTo>
                  <a:lnTo>
                    <a:pt x="418" y="521"/>
                  </a:lnTo>
                  <a:lnTo>
                    <a:pt x="416" y="521"/>
                  </a:lnTo>
                  <a:lnTo>
                    <a:pt x="414" y="519"/>
                  </a:lnTo>
                  <a:lnTo>
                    <a:pt x="409" y="522"/>
                  </a:lnTo>
                  <a:lnTo>
                    <a:pt x="409" y="529"/>
                  </a:lnTo>
                  <a:lnTo>
                    <a:pt x="401" y="526"/>
                  </a:lnTo>
                  <a:lnTo>
                    <a:pt x="399" y="519"/>
                  </a:lnTo>
                  <a:lnTo>
                    <a:pt x="394" y="515"/>
                  </a:lnTo>
                  <a:lnTo>
                    <a:pt x="399" y="514"/>
                  </a:lnTo>
                  <a:lnTo>
                    <a:pt x="399" y="510"/>
                  </a:lnTo>
                  <a:lnTo>
                    <a:pt x="394" y="509"/>
                  </a:lnTo>
                  <a:lnTo>
                    <a:pt x="392" y="507"/>
                  </a:lnTo>
                  <a:lnTo>
                    <a:pt x="390" y="505"/>
                  </a:lnTo>
                  <a:lnTo>
                    <a:pt x="390" y="507"/>
                  </a:lnTo>
                  <a:lnTo>
                    <a:pt x="389" y="507"/>
                  </a:lnTo>
                  <a:lnTo>
                    <a:pt x="389" y="503"/>
                  </a:lnTo>
                  <a:lnTo>
                    <a:pt x="390" y="503"/>
                  </a:lnTo>
                  <a:lnTo>
                    <a:pt x="389" y="502"/>
                  </a:lnTo>
                  <a:lnTo>
                    <a:pt x="384" y="497"/>
                  </a:lnTo>
                  <a:lnTo>
                    <a:pt x="380" y="492"/>
                  </a:lnTo>
                  <a:lnTo>
                    <a:pt x="372" y="488"/>
                  </a:lnTo>
                  <a:lnTo>
                    <a:pt x="372" y="486"/>
                  </a:lnTo>
                  <a:lnTo>
                    <a:pt x="365" y="483"/>
                  </a:lnTo>
                  <a:lnTo>
                    <a:pt x="365" y="481"/>
                  </a:lnTo>
                  <a:lnTo>
                    <a:pt x="363" y="481"/>
                  </a:lnTo>
                  <a:lnTo>
                    <a:pt x="361" y="481"/>
                  </a:lnTo>
                  <a:lnTo>
                    <a:pt x="360" y="480"/>
                  </a:lnTo>
                  <a:lnTo>
                    <a:pt x="358" y="480"/>
                  </a:lnTo>
                  <a:lnTo>
                    <a:pt x="348" y="480"/>
                  </a:lnTo>
                  <a:lnTo>
                    <a:pt x="348" y="476"/>
                  </a:lnTo>
                  <a:lnTo>
                    <a:pt x="346" y="480"/>
                  </a:lnTo>
                  <a:lnTo>
                    <a:pt x="344" y="478"/>
                  </a:lnTo>
                  <a:lnTo>
                    <a:pt x="344" y="480"/>
                  </a:lnTo>
                  <a:lnTo>
                    <a:pt x="339" y="480"/>
                  </a:lnTo>
                  <a:lnTo>
                    <a:pt x="341" y="481"/>
                  </a:lnTo>
                  <a:lnTo>
                    <a:pt x="334" y="480"/>
                  </a:lnTo>
                  <a:lnTo>
                    <a:pt x="338" y="481"/>
                  </a:lnTo>
                  <a:lnTo>
                    <a:pt x="332" y="483"/>
                  </a:lnTo>
                  <a:lnTo>
                    <a:pt x="332" y="478"/>
                  </a:lnTo>
                  <a:lnTo>
                    <a:pt x="329" y="474"/>
                  </a:lnTo>
                  <a:lnTo>
                    <a:pt x="327" y="480"/>
                  </a:lnTo>
                  <a:lnTo>
                    <a:pt x="324" y="474"/>
                  </a:lnTo>
                  <a:lnTo>
                    <a:pt x="320" y="476"/>
                  </a:lnTo>
                  <a:lnTo>
                    <a:pt x="320" y="478"/>
                  </a:lnTo>
                  <a:lnTo>
                    <a:pt x="319" y="473"/>
                  </a:lnTo>
                  <a:lnTo>
                    <a:pt x="326" y="473"/>
                  </a:lnTo>
                  <a:lnTo>
                    <a:pt x="326" y="471"/>
                  </a:lnTo>
                  <a:lnTo>
                    <a:pt x="327" y="469"/>
                  </a:lnTo>
                  <a:lnTo>
                    <a:pt x="320" y="468"/>
                  </a:lnTo>
                  <a:lnTo>
                    <a:pt x="327" y="466"/>
                  </a:lnTo>
                  <a:lnTo>
                    <a:pt x="331" y="462"/>
                  </a:lnTo>
                  <a:lnTo>
                    <a:pt x="327" y="461"/>
                  </a:lnTo>
                  <a:lnTo>
                    <a:pt x="322" y="462"/>
                  </a:lnTo>
                  <a:lnTo>
                    <a:pt x="317" y="459"/>
                  </a:lnTo>
                  <a:lnTo>
                    <a:pt x="324" y="457"/>
                  </a:lnTo>
                  <a:lnTo>
                    <a:pt x="329" y="456"/>
                  </a:lnTo>
                  <a:lnTo>
                    <a:pt x="329" y="457"/>
                  </a:lnTo>
                  <a:lnTo>
                    <a:pt x="331" y="457"/>
                  </a:lnTo>
                  <a:lnTo>
                    <a:pt x="331" y="456"/>
                  </a:lnTo>
                  <a:lnTo>
                    <a:pt x="334" y="457"/>
                  </a:lnTo>
                  <a:lnTo>
                    <a:pt x="336" y="456"/>
                  </a:lnTo>
                  <a:lnTo>
                    <a:pt x="332" y="454"/>
                  </a:lnTo>
                  <a:lnTo>
                    <a:pt x="334" y="454"/>
                  </a:lnTo>
                  <a:lnTo>
                    <a:pt x="334" y="452"/>
                  </a:lnTo>
                  <a:lnTo>
                    <a:pt x="338" y="456"/>
                  </a:lnTo>
                  <a:lnTo>
                    <a:pt x="338" y="454"/>
                  </a:lnTo>
                  <a:lnTo>
                    <a:pt x="339" y="454"/>
                  </a:lnTo>
                  <a:lnTo>
                    <a:pt x="346" y="452"/>
                  </a:lnTo>
                  <a:lnTo>
                    <a:pt x="339" y="451"/>
                  </a:lnTo>
                  <a:lnTo>
                    <a:pt x="338" y="452"/>
                  </a:lnTo>
                  <a:lnTo>
                    <a:pt x="336" y="451"/>
                  </a:lnTo>
                  <a:lnTo>
                    <a:pt x="339" y="447"/>
                  </a:lnTo>
                  <a:lnTo>
                    <a:pt x="344" y="449"/>
                  </a:lnTo>
                  <a:lnTo>
                    <a:pt x="346" y="447"/>
                  </a:lnTo>
                  <a:lnTo>
                    <a:pt x="353" y="447"/>
                  </a:lnTo>
                  <a:lnTo>
                    <a:pt x="361" y="447"/>
                  </a:lnTo>
                  <a:lnTo>
                    <a:pt x="370" y="451"/>
                  </a:lnTo>
                  <a:lnTo>
                    <a:pt x="373" y="449"/>
                  </a:lnTo>
                  <a:lnTo>
                    <a:pt x="375" y="451"/>
                  </a:lnTo>
                  <a:lnTo>
                    <a:pt x="372" y="452"/>
                  </a:lnTo>
                  <a:lnTo>
                    <a:pt x="377" y="454"/>
                  </a:lnTo>
                  <a:lnTo>
                    <a:pt x="372" y="456"/>
                  </a:lnTo>
                  <a:lnTo>
                    <a:pt x="377" y="456"/>
                  </a:lnTo>
                  <a:lnTo>
                    <a:pt x="377" y="457"/>
                  </a:lnTo>
                  <a:lnTo>
                    <a:pt x="377" y="456"/>
                  </a:lnTo>
                  <a:lnTo>
                    <a:pt x="379" y="454"/>
                  </a:lnTo>
                  <a:lnTo>
                    <a:pt x="382" y="454"/>
                  </a:lnTo>
                  <a:lnTo>
                    <a:pt x="379" y="451"/>
                  </a:lnTo>
                  <a:lnTo>
                    <a:pt x="380" y="451"/>
                  </a:lnTo>
                  <a:lnTo>
                    <a:pt x="380" y="449"/>
                  </a:lnTo>
                  <a:lnTo>
                    <a:pt x="387" y="451"/>
                  </a:lnTo>
                  <a:lnTo>
                    <a:pt x="392" y="451"/>
                  </a:lnTo>
                  <a:lnTo>
                    <a:pt x="397" y="454"/>
                  </a:lnTo>
                  <a:lnTo>
                    <a:pt x="399" y="456"/>
                  </a:lnTo>
                  <a:lnTo>
                    <a:pt x="402" y="461"/>
                  </a:lnTo>
                  <a:lnTo>
                    <a:pt x="406" y="461"/>
                  </a:lnTo>
                  <a:lnTo>
                    <a:pt x="408" y="464"/>
                  </a:lnTo>
                  <a:lnTo>
                    <a:pt x="411" y="464"/>
                  </a:lnTo>
                  <a:lnTo>
                    <a:pt x="414" y="462"/>
                  </a:lnTo>
                  <a:lnTo>
                    <a:pt x="418" y="462"/>
                  </a:lnTo>
                  <a:lnTo>
                    <a:pt x="416" y="461"/>
                  </a:lnTo>
                  <a:lnTo>
                    <a:pt x="419" y="461"/>
                  </a:lnTo>
                  <a:lnTo>
                    <a:pt x="419" y="459"/>
                  </a:lnTo>
                  <a:lnTo>
                    <a:pt x="426" y="454"/>
                  </a:lnTo>
                  <a:lnTo>
                    <a:pt x="433" y="445"/>
                  </a:lnTo>
                  <a:lnTo>
                    <a:pt x="435" y="444"/>
                  </a:lnTo>
                  <a:lnTo>
                    <a:pt x="437" y="442"/>
                  </a:lnTo>
                  <a:lnTo>
                    <a:pt x="442" y="435"/>
                  </a:lnTo>
                  <a:lnTo>
                    <a:pt x="447" y="428"/>
                  </a:lnTo>
                  <a:lnTo>
                    <a:pt x="454" y="423"/>
                  </a:lnTo>
                  <a:lnTo>
                    <a:pt x="457" y="420"/>
                  </a:lnTo>
                  <a:lnTo>
                    <a:pt x="466" y="420"/>
                  </a:lnTo>
                  <a:lnTo>
                    <a:pt x="467" y="418"/>
                  </a:lnTo>
                  <a:lnTo>
                    <a:pt x="478" y="421"/>
                  </a:lnTo>
                  <a:lnTo>
                    <a:pt x="479" y="427"/>
                  </a:lnTo>
                  <a:lnTo>
                    <a:pt x="481" y="425"/>
                  </a:lnTo>
                  <a:lnTo>
                    <a:pt x="488" y="428"/>
                  </a:lnTo>
                  <a:lnTo>
                    <a:pt x="488" y="432"/>
                  </a:lnTo>
                  <a:lnTo>
                    <a:pt x="486" y="440"/>
                  </a:lnTo>
                  <a:lnTo>
                    <a:pt x="488" y="449"/>
                  </a:lnTo>
                  <a:lnTo>
                    <a:pt x="491" y="447"/>
                  </a:lnTo>
                  <a:lnTo>
                    <a:pt x="489" y="442"/>
                  </a:lnTo>
                  <a:lnTo>
                    <a:pt x="491" y="442"/>
                  </a:lnTo>
                  <a:lnTo>
                    <a:pt x="489" y="435"/>
                  </a:lnTo>
                  <a:lnTo>
                    <a:pt x="489" y="433"/>
                  </a:lnTo>
                  <a:lnTo>
                    <a:pt x="491" y="435"/>
                  </a:lnTo>
                  <a:lnTo>
                    <a:pt x="489" y="432"/>
                  </a:lnTo>
                  <a:lnTo>
                    <a:pt x="495" y="428"/>
                  </a:lnTo>
                  <a:lnTo>
                    <a:pt x="496" y="432"/>
                  </a:lnTo>
                  <a:lnTo>
                    <a:pt x="498" y="442"/>
                  </a:lnTo>
                  <a:lnTo>
                    <a:pt x="498" y="437"/>
                  </a:lnTo>
                  <a:lnTo>
                    <a:pt x="498" y="430"/>
                  </a:lnTo>
                  <a:lnTo>
                    <a:pt x="500" y="428"/>
                  </a:lnTo>
                  <a:lnTo>
                    <a:pt x="503" y="437"/>
                  </a:lnTo>
                  <a:lnTo>
                    <a:pt x="505" y="440"/>
                  </a:lnTo>
                  <a:lnTo>
                    <a:pt x="507" y="442"/>
                  </a:lnTo>
                  <a:lnTo>
                    <a:pt x="510" y="440"/>
                  </a:lnTo>
                  <a:lnTo>
                    <a:pt x="510" y="439"/>
                  </a:lnTo>
                  <a:lnTo>
                    <a:pt x="510" y="437"/>
                  </a:lnTo>
                  <a:lnTo>
                    <a:pt x="515" y="433"/>
                  </a:lnTo>
                  <a:lnTo>
                    <a:pt x="520" y="432"/>
                  </a:lnTo>
                  <a:lnTo>
                    <a:pt x="524" y="437"/>
                  </a:lnTo>
                  <a:lnTo>
                    <a:pt x="522" y="442"/>
                  </a:lnTo>
                  <a:lnTo>
                    <a:pt x="522" y="449"/>
                  </a:lnTo>
                  <a:lnTo>
                    <a:pt x="522" y="447"/>
                  </a:lnTo>
                  <a:lnTo>
                    <a:pt x="527" y="437"/>
                  </a:lnTo>
                  <a:lnTo>
                    <a:pt x="525" y="428"/>
                  </a:lnTo>
                  <a:lnTo>
                    <a:pt x="529" y="428"/>
                  </a:lnTo>
                  <a:lnTo>
                    <a:pt x="532" y="435"/>
                  </a:lnTo>
                  <a:lnTo>
                    <a:pt x="536" y="439"/>
                  </a:lnTo>
                  <a:lnTo>
                    <a:pt x="537" y="445"/>
                  </a:lnTo>
                  <a:lnTo>
                    <a:pt x="539" y="445"/>
                  </a:lnTo>
                  <a:lnTo>
                    <a:pt x="537" y="439"/>
                  </a:lnTo>
                  <a:lnTo>
                    <a:pt x="534" y="435"/>
                  </a:lnTo>
                  <a:lnTo>
                    <a:pt x="534" y="430"/>
                  </a:lnTo>
                  <a:lnTo>
                    <a:pt x="537" y="432"/>
                  </a:lnTo>
                  <a:lnTo>
                    <a:pt x="536" y="427"/>
                  </a:lnTo>
                  <a:lnTo>
                    <a:pt x="541" y="425"/>
                  </a:lnTo>
                  <a:lnTo>
                    <a:pt x="541" y="421"/>
                  </a:lnTo>
                  <a:lnTo>
                    <a:pt x="544" y="425"/>
                  </a:lnTo>
                  <a:lnTo>
                    <a:pt x="546" y="425"/>
                  </a:lnTo>
                  <a:lnTo>
                    <a:pt x="548" y="423"/>
                  </a:lnTo>
                  <a:lnTo>
                    <a:pt x="551" y="427"/>
                  </a:lnTo>
                  <a:lnTo>
                    <a:pt x="556" y="425"/>
                  </a:lnTo>
                  <a:lnTo>
                    <a:pt x="559" y="425"/>
                  </a:lnTo>
                  <a:lnTo>
                    <a:pt x="561" y="421"/>
                  </a:lnTo>
                  <a:lnTo>
                    <a:pt x="559" y="421"/>
                  </a:lnTo>
                  <a:lnTo>
                    <a:pt x="556" y="420"/>
                  </a:lnTo>
                  <a:lnTo>
                    <a:pt x="556" y="416"/>
                  </a:lnTo>
                  <a:lnTo>
                    <a:pt x="559" y="415"/>
                  </a:lnTo>
                  <a:lnTo>
                    <a:pt x="561" y="415"/>
                  </a:lnTo>
                  <a:lnTo>
                    <a:pt x="561" y="411"/>
                  </a:lnTo>
                  <a:lnTo>
                    <a:pt x="556" y="408"/>
                  </a:lnTo>
                  <a:lnTo>
                    <a:pt x="546" y="410"/>
                  </a:lnTo>
                  <a:lnTo>
                    <a:pt x="541" y="408"/>
                  </a:lnTo>
                  <a:lnTo>
                    <a:pt x="546" y="404"/>
                  </a:lnTo>
                  <a:lnTo>
                    <a:pt x="549" y="404"/>
                  </a:lnTo>
                  <a:lnTo>
                    <a:pt x="553" y="404"/>
                  </a:lnTo>
                  <a:lnTo>
                    <a:pt x="554" y="404"/>
                  </a:lnTo>
                  <a:lnTo>
                    <a:pt x="556" y="398"/>
                  </a:lnTo>
                  <a:lnTo>
                    <a:pt x="558" y="398"/>
                  </a:lnTo>
                  <a:lnTo>
                    <a:pt x="556" y="398"/>
                  </a:lnTo>
                  <a:lnTo>
                    <a:pt x="554" y="387"/>
                  </a:lnTo>
                  <a:lnTo>
                    <a:pt x="554" y="380"/>
                  </a:lnTo>
                  <a:lnTo>
                    <a:pt x="558" y="379"/>
                  </a:lnTo>
                  <a:lnTo>
                    <a:pt x="558" y="377"/>
                  </a:lnTo>
                  <a:lnTo>
                    <a:pt x="556" y="379"/>
                  </a:lnTo>
                  <a:lnTo>
                    <a:pt x="556" y="380"/>
                  </a:lnTo>
                  <a:lnTo>
                    <a:pt x="554" y="380"/>
                  </a:lnTo>
                  <a:lnTo>
                    <a:pt x="554" y="384"/>
                  </a:lnTo>
                  <a:lnTo>
                    <a:pt x="551" y="384"/>
                  </a:lnTo>
                  <a:lnTo>
                    <a:pt x="553" y="382"/>
                  </a:lnTo>
                  <a:lnTo>
                    <a:pt x="553" y="379"/>
                  </a:lnTo>
                  <a:lnTo>
                    <a:pt x="556" y="377"/>
                  </a:lnTo>
                  <a:lnTo>
                    <a:pt x="556" y="374"/>
                  </a:lnTo>
                  <a:lnTo>
                    <a:pt x="554" y="379"/>
                  </a:lnTo>
                  <a:lnTo>
                    <a:pt x="553" y="377"/>
                  </a:lnTo>
                  <a:lnTo>
                    <a:pt x="554" y="374"/>
                  </a:lnTo>
                  <a:lnTo>
                    <a:pt x="553" y="375"/>
                  </a:lnTo>
                  <a:lnTo>
                    <a:pt x="553" y="377"/>
                  </a:lnTo>
                  <a:lnTo>
                    <a:pt x="553" y="379"/>
                  </a:lnTo>
                  <a:lnTo>
                    <a:pt x="551" y="380"/>
                  </a:lnTo>
                  <a:lnTo>
                    <a:pt x="549" y="377"/>
                  </a:lnTo>
                  <a:lnTo>
                    <a:pt x="551" y="375"/>
                  </a:lnTo>
                  <a:lnTo>
                    <a:pt x="549" y="377"/>
                  </a:lnTo>
                  <a:lnTo>
                    <a:pt x="549" y="380"/>
                  </a:lnTo>
                  <a:lnTo>
                    <a:pt x="548" y="377"/>
                  </a:lnTo>
                  <a:lnTo>
                    <a:pt x="549" y="380"/>
                  </a:lnTo>
                  <a:lnTo>
                    <a:pt x="548" y="380"/>
                  </a:lnTo>
                  <a:lnTo>
                    <a:pt x="542" y="379"/>
                  </a:lnTo>
                  <a:lnTo>
                    <a:pt x="544" y="375"/>
                  </a:lnTo>
                  <a:lnTo>
                    <a:pt x="541" y="384"/>
                  </a:lnTo>
                  <a:lnTo>
                    <a:pt x="532" y="389"/>
                  </a:lnTo>
                  <a:lnTo>
                    <a:pt x="529" y="387"/>
                  </a:lnTo>
                  <a:lnTo>
                    <a:pt x="525" y="392"/>
                  </a:lnTo>
                  <a:lnTo>
                    <a:pt x="522" y="392"/>
                  </a:lnTo>
                  <a:lnTo>
                    <a:pt x="517" y="396"/>
                  </a:lnTo>
                  <a:lnTo>
                    <a:pt x="515" y="394"/>
                  </a:lnTo>
                  <a:lnTo>
                    <a:pt x="512" y="394"/>
                  </a:lnTo>
                  <a:lnTo>
                    <a:pt x="512" y="389"/>
                  </a:lnTo>
                  <a:lnTo>
                    <a:pt x="510" y="394"/>
                  </a:lnTo>
                  <a:lnTo>
                    <a:pt x="505" y="396"/>
                  </a:lnTo>
                  <a:lnTo>
                    <a:pt x="501" y="391"/>
                  </a:lnTo>
                  <a:lnTo>
                    <a:pt x="503" y="396"/>
                  </a:lnTo>
                  <a:lnTo>
                    <a:pt x="498" y="396"/>
                  </a:lnTo>
                  <a:lnTo>
                    <a:pt x="493" y="396"/>
                  </a:lnTo>
                  <a:lnTo>
                    <a:pt x="491" y="392"/>
                  </a:lnTo>
                  <a:lnTo>
                    <a:pt x="486" y="392"/>
                  </a:lnTo>
                  <a:lnTo>
                    <a:pt x="479" y="394"/>
                  </a:lnTo>
                  <a:lnTo>
                    <a:pt x="476" y="392"/>
                  </a:lnTo>
                  <a:lnTo>
                    <a:pt x="476" y="391"/>
                  </a:lnTo>
                  <a:lnTo>
                    <a:pt x="472" y="392"/>
                  </a:lnTo>
                  <a:lnTo>
                    <a:pt x="471" y="391"/>
                  </a:lnTo>
                  <a:lnTo>
                    <a:pt x="472" y="392"/>
                  </a:lnTo>
                  <a:lnTo>
                    <a:pt x="469" y="394"/>
                  </a:lnTo>
                  <a:lnTo>
                    <a:pt x="469" y="392"/>
                  </a:lnTo>
                  <a:lnTo>
                    <a:pt x="464" y="391"/>
                  </a:lnTo>
                  <a:lnTo>
                    <a:pt x="459" y="392"/>
                  </a:lnTo>
                  <a:lnTo>
                    <a:pt x="454" y="396"/>
                  </a:lnTo>
                  <a:lnTo>
                    <a:pt x="447" y="398"/>
                  </a:lnTo>
                  <a:lnTo>
                    <a:pt x="438" y="403"/>
                  </a:lnTo>
                  <a:lnTo>
                    <a:pt x="437" y="401"/>
                  </a:lnTo>
                  <a:lnTo>
                    <a:pt x="430" y="401"/>
                  </a:lnTo>
                  <a:lnTo>
                    <a:pt x="426" y="398"/>
                  </a:lnTo>
                  <a:lnTo>
                    <a:pt x="421" y="398"/>
                  </a:lnTo>
                  <a:lnTo>
                    <a:pt x="413" y="399"/>
                  </a:lnTo>
                  <a:lnTo>
                    <a:pt x="408" y="404"/>
                  </a:lnTo>
                  <a:lnTo>
                    <a:pt x="401" y="401"/>
                  </a:lnTo>
                  <a:lnTo>
                    <a:pt x="399" y="403"/>
                  </a:lnTo>
                  <a:lnTo>
                    <a:pt x="397" y="401"/>
                  </a:lnTo>
                  <a:lnTo>
                    <a:pt x="394" y="392"/>
                  </a:lnTo>
                  <a:lnTo>
                    <a:pt x="389" y="391"/>
                  </a:lnTo>
                  <a:lnTo>
                    <a:pt x="382" y="392"/>
                  </a:lnTo>
                  <a:lnTo>
                    <a:pt x="373" y="396"/>
                  </a:lnTo>
                  <a:lnTo>
                    <a:pt x="367" y="401"/>
                  </a:lnTo>
                  <a:lnTo>
                    <a:pt x="360" y="403"/>
                  </a:lnTo>
                  <a:lnTo>
                    <a:pt x="358" y="401"/>
                  </a:lnTo>
                  <a:lnTo>
                    <a:pt x="353" y="394"/>
                  </a:lnTo>
                  <a:lnTo>
                    <a:pt x="351" y="391"/>
                  </a:lnTo>
                  <a:lnTo>
                    <a:pt x="346" y="387"/>
                  </a:lnTo>
                  <a:lnTo>
                    <a:pt x="346" y="386"/>
                  </a:lnTo>
                  <a:lnTo>
                    <a:pt x="339" y="386"/>
                  </a:lnTo>
                  <a:lnTo>
                    <a:pt x="331" y="380"/>
                  </a:lnTo>
                  <a:lnTo>
                    <a:pt x="331" y="379"/>
                  </a:lnTo>
                  <a:lnTo>
                    <a:pt x="327" y="377"/>
                  </a:lnTo>
                  <a:lnTo>
                    <a:pt x="327" y="375"/>
                  </a:lnTo>
                  <a:lnTo>
                    <a:pt x="332" y="372"/>
                  </a:lnTo>
                  <a:lnTo>
                    <a:pt x="332" y="370"/>
                  </a:lnTo>
                  <a:lnTo>
                    <a:pt x="334" y="369"/>
                  </a:lnTo>
                  <a:lnTo>
                    <a:pt x="332" y="365"/>
                  </a:lnTo>
                  <a:lnTo>
                    <a:pt x="336" y="365"/>
                  </a:lnTo>
                  <a:lnTo>
                    <a:pt x="334" y="363"/>
                  </a:lnTo>
                  <a:lnTo>
                    <a:pt x="332" y="363"/>
                  </a:lnTo>
                  <a:lnTo>
                    <a:pt x="329" y="363"/>
                  </a:lnTo>
                  <a:lnTo>
                    <a:pt x="331" y="370"/>
                  </a:lnTo>
                  <a:lnTo>
                    <a:pt x="327" y="372"/>
                  </a:lnTo>
                  <a:lnTo>
                    <a:pt x="319" y="365"/>
                  </a:lnTo>
                  <a:lnTo>
                    <a:pt x="322" y="360"/>
                  </a:lnTo>
                  <a:lnTo>
                    <a:pt x="317" y="358"/>
                  </a:lnTo>
                  <a:lnTo>
                    <a:pt x="314" y="355"/>
                  </a:lnTo>
                  <a:lnTo>
                    <a:pt x="314" y="351"/>
                  </a:lnTo>
                  <a:lnTo>
                    <a:pt x="317" y="348"/>
                  </a:lnTo>
                  <a:lnTo>
                    <a:pt x="315" y="350"/>
                  </a:lnTo>
                  <a:lnTo>
                    <a:pt x="314" y="345"/>
                  </a:lnTo>
                  <a:lnTo>
                    <a:pt x="317" y="343"/>
                  </a:lnTo>
                  <a:lnTo>
                    <a:pt x="322" y="336"/>
                  </a:lnTo>
                  <a:lnTo>
                    <a:pt x="324" y="338"/>
                  </a:lnTo>
                  <a:lnTo>
                    <a:pt x="326" y="334"/>
                  </a:lnTo>
                  <a:lnTo>
                    <a:pt x="329" y="334"/>
                  </a:lnTo>
                  <a:lnTo>
                    <a:pt x="324" y="331"/>
                  </a:lnTo>
                  <a:lnTo>
                    <a:pt x="329" y="329"/>
                  </a:lnTo>
                  <a:lnTo>
                    <a:pt x="331" y="326"/>
                  </a:lnTo>
                  <a:lnTo>
                    <a:pt x="329" y="329"/>
                  </a:lnTo>
                  <a:lnTo>
                    <a:pt x="324" y="329"/>
                  </a:lnTo>
                  <a:lnTo>
                    <a:pt x="320" y="333"/>
                  </a:lnTo>
                  <a:lnTo>
                    <a:pt x="312" y="334"/>
                  </a:lnTo>
                  <a:lnTo>
                    <a:pt x="309" y="324"/>
                  </a:lnTo>
                  <a:lnTo>
                    <a:pt x="312" y="319"/>
                  </a:lnTo>
                  <a:lnTo>
                    <a:pt x="320" y="316"/>
                  </a:lnTo>
                  <a:lnTo>
                    <a:pt x="320" y="310"/>
                  </a:lnTo>
                  <a:lnTo>
                    <a:pt x="319" y="314"/>
                  </a:lnTo>
                  <a:lnTo>
                    <a:pt x="314" y="316"/>
                  </a:lnTo>
                  <a:lnTo>
                    <a:pt x="309" y="319"/>
                  </a:lnTo>
                  <a:lnTo>
                    <a:pt x="305" y="317"/>
                  </a:lnTo>
                  <a:lnTo>
                    <a:pt x="300" y="322"/>
                  </a:lnTo>
                  <a:lnTo>
                    <a:pt x="298" y="322"/>
                  </a:lnTo>
                  <a:lnTo>
                    <a:pt x="297" y="321"/>
                  </a:lnTo>
                  <a:lnTo>
                    <a:pt x="300" y="314"/>
                  </a:lnTo>
                  <a:lnTo>
                    <a:pt x="298" y="309"/>
                  </a:lnTo>
                  <a:lnTo>
                    <a:pt x="298" y="314"/>
                  </a:lnTo>
                  <a:lnTo>
                    <a:pt x="295" y="317"/>
                  </a:lnTo>
                  <a:lnTo>
                    <a:pt x="290" y="319"/>
                  </a:lnTo>
                  <a:lnTo>
                    <a:pt x="286" y="316"/>
                  </a:lnTo>
                  <a:lnTo>
                    <a:pt x="293" y="307"/>
                  </a:lnTo>
                  <a:lnTo>
                    <a:pt x="291" y="302"/>
                  </a:lnTo>
                  <a:lnTo>
                    <a:pt x="288" y="299"/>
                  </a:lnTo>
                  <a:lnTo>
                    <a:pt x="283" y="302"/>
                  </a:lnTo>
                  <a:lnTo>
                    <a:pt x="283" y="304"/>
                  </a:lnTo>
                  <a:lnTo>
                    <a:pt x="281" y="304"/>
                  </a:lnTo>
                  <a:lnTo>
                    <a:pt x="283" y="302"/>
                  </a:lnTo>
                  <a:lnTo>
                    <a:pt x="281" y="302"/>
                  </a:lnTo>
                  <a:lnTo>
                    <a:pt x="273" y="302"/>
                  </a:lnTo>
                  <a:lnTo>
                    <a:pt x="269" y="307"/>
                  </a:lnTo>
                  <a:lnTo>
                    <a:pt x="264" y="304"/>
                  </a:lnTo>
                  <a:lnTo>
                    <a:pt x="257" y="310"/>
                  </a:lnTo>
                  <a:lnTo>
                    <a:pt x="249" y="304"/>
                  </a:lnTo>
                  <a:lnTo>
                    <a:pt x="252" y="300"/>
                  </a:lnTo>
                  <a:lnTo>
                    <a:pt x="247" y="295"/>
                  </a:lnTo>
                  <a:lnTo>
                    <a:pt x="247" y="292"/>
                  </a:lnTo>
                  <a:lnTo>
                    <a:pt x="244" y="292"/>
                  </a:lnTo>
                  <a:lnTo>
                    <a:pt x="244" y="290"/>
                  </a:lnTo>
                  <a:lnTo>
                    <a:pt x="242" y="290"/>
                  </a:lnTo>
                  <a:lnTo>
                    <a:pt x="239" y="292"/>
                  </a:lnTo>
                  <a:lnTo>
                    <a:pt x="240" y="293"/>
                  </a:lnTo>
                  <a:lnTo>
                    <a:pt x="235" y="295"/>
                  </a:lnTo>
                  <a:lnTo>
                    <a:pt x="239" y="299"/>
                  </a:lnTo>
                  <a:lnTo>
                    <a:pt x="244" y="300"/>
                  </a:lnTo>
                  <a:lnTo>
                    <a:pt x="244" y="304"/>
                  </a:lnTo>
                  <a:lnTo>
                    <a:pt x="237" y="309"/>
                  </a:lnTo>
                  <a:lnTo>
                    <a:pt x="230" y="310"/>
                  </a:lnTo>
                  <a:lnTo>
                    <a:pt x="223" y="304"/>
                  </a:lnTo>
                  <a:lnTo>
                    <a:pt x="213" y="302"/>
                  </a:lnTo>
                  <a:lnTo>
                    <a:pt x="203" y="304"/>
                  </a:lnTo>
                  <a:lnTo>
                    <a:pt x="194" y="300"/>
                  </a:lnTo>
                  <a:lnTo>
                    <a:pt x="203" y="293"/>
                  </a:lnTo>
                  <a:lnTo>
                    <a:pt x="206" y="285"/>
                  </a:lnTo>
                  <a:lnTo>
                    <a:pt x="206" y="283"/>
                  </a:lnTo>
                  <a:lnTo>
                    <a:pt x="210" y="278"/>
                  </a:lnTo>
                  <a:lnTo>
                    <a:pt x="216" y="278"/>
                  </a:lnTo>
                  <a:lnTo>
                    <a:pt x="225" y="275"/>
                  </a:lnTo>
                  <a:lnTo>
                    <a:pt x="227" y="269"/>
                  </a:lnTo>
                  <a:lnTo>
                    <a:pt x="230" y="263"/>
                  </a:lnTo>
                  <a:lnTo>
                    <a:pt x="232" y="259"/>
                  </a:lnTo>
                  <a:lnTo>
                    <a:pt x="233" y="258"/>
                  </a:lnTo>
                  <a:lnTo>
                    <a:pt x="233" y="254"/>
                  </a:lnTo>
                  <a:lnTo>
                    <a:pt x="232" y="252"/>
                  </a:lnTo>
                  <a:lnTo>
                    <a:pt x="233" y="251"/>
                  </a:lnTo>
                  <a:lnTo>
                    <a:pt x="233" y="249"/>
                  </a:lnTo>
                  <a:lnTo>
                    <a:pt x="235" y="249"/>
                  </a:lnTo>
                  <a:lnTo>
                    <a:pt x="235" y="247"/>
                  </a:lnTo>
                  <a:lnTo>
                    <a:pt x="237" y="247"/>
                  </a:lnTo>
                  <a:lnTo>
                    <a:pt x="235" y="247"/>
                  </a:lnTo>
                  <a:lnTo>
                    <a:pt x="235" y="246"/>
                  </a:lnTo>
                  <a:lnTo>
                    <a:pt x="237" y="246"/>
                  </a:lnTo>
                  <a:lnTo>
                    <a:pt x="235" y="244"/>
                  </a:lnTo>
                  <a:lnTo>
                    <a:pt x="237" y="242"/>
                  </a:lnTo>
                  <a:lnTo>
                    <a:pt x="235" y="239"/>
                  </a:lnTo>
                  <a:lnTo>
                    <a:pt x="239" y="239"/>
                  </a:lnTo>
                  <a:lnTo>
                    <a:pt x="237" y="235"/>
                  </a:lnTo>
                  <a:lnTo>
                    <a:pt x="233" y="234"/>
                  </a:lnTo>
                  <a:lnTo>
                    <a:pt x="232" y="234"/>
                  </a:lnTo>
                  <a:lnTo>
                    <a:pt x="233" y="230"/>
                  </a:lnTo>
                  <a:lnTo>
                    <a:pt x="230" y="227"/>
                  </a:lnTo>
                  <a:lnTo>
                    <a:pt x="233" y="227"/>
                  </a:lnTo>
                  <a:lnTo>
                    <a:pt x="242" y="223"/>
                  </a:lnTo>
                  <a:lnTo>
                    <a:pt x="247" y="222"/>
                  </a:lnTo>
                  <a:lnTo>
                    <a:pt x="250" y="222"/>
                  </a:lnTo>
                  <a:lnTo>
                    <a:pt x="254" y="220"/>
                  </a:lnTo>
                  <a:lnTo>
                    <a:pt x="259" y="218"/>
                  </a:lnTo>
                  <a:lnTo>
                    <a:pt x="264" y="217"/>
                  </a:lnTo>
                  <a:lnTo>
                    <a:pt x="268" y="215"/>
                  </a:lnTo>
                  <a:lnTo>
                    <a:pt x="269" y="217"/>
                  </a:lnTo>
                  <a:lnTo>
                    <a:pt x="264" y="222"/>
                  </a:lnTo>
                  <a:lnTo>
                    <a:pt x="273" y="218"/>
                  </a:lnTo>
                  <a:lnTo>
                    <a:pt x="274" y="218"/>
                  </a:lnTo>
                  <a:lnTo>
                    <a:pt x="283" y="218"/>
                  </a:lnTo>
                  <a:lnTo>
                    <a:pt x="286" y="217"/>
                  </a:lnTo>
                  <a:lnTo>
                    <a:pt x="288" y="217"/>
                  </a:lnTo>
                  <a:lnTo>
                    <a:pt x="293" y="217"/>
                  </a:lnTo>
                  <a:lnTo>
                    <a:pt x="295" y="215"/>
                  </a:lnTo>
                  <a:lnTo>
                    <a:pt x="302" y="215"/>
                  </a:lnTo>
                  <a:lnTo>
                    <a:pt x="305" y="213"/>
                  </a:lnTo>
                  <a:lnTo>
                    <a:pt x="312" y="210"/>
                  </a:lnTo>
                  <a:lnTo>
                    <a:pt x="312" y="206"/>
                  </a:lnTo>
                  <a:lnTo>
                    <a:pt x="319" y="201"/>
                  </a:lnTo>
                  <a:lnTo>
                    <a:pt x="320" y="198"/>
                  </a:lnTo>
                  <a:lnTo>
                    <a:pt x="322" y="196"/>
                  </a:lnTo>
                  <a:lnTo>
                    <a:pt x="332" y="193"/>
                  </a:lnTo>
                  <a:lnTo>
                    <a:pt x="334" y="186"/>
                  </a:lnTo>
                  <a:lnTo>
                    <a:pt x="339" y="184"/>
                  </a:lnTo>
                  <a:lnTo>
                    <a:pt x="344" y="179"/>
                  </a:lnTo>
                  <a:lnTo>
                    <a:pt x="348" y="177"/>
                  </a:lnTo>
                  <a:lnTo>
                    <a:pt x="355" y="176"/>
                  </a:lnTo>
                  <a:lnTo>
                    <a:pt x="355" y="174"/>
                  </a:lnTo>
                  <a:lnTo>
                    <a:pt x="365" y="176"/>
                  </a:lnTo>
                  <a:lnTo>
                    <a:pt x="373" y="170"/>
                  </a:lnTo>
                  <a:lnTo>
                    <a:pt x="379" y="170"/>
                  </a:lnTo>
                  <a:lnTo>
                    <a:pt x="385" y="172"/>
                  </a:lnTo>
                  <a:lnTo>
                    <a:pt x="392" y="172"/>
                  </a:lnTo>
                  <a:lnTo>
                    <a:pt x="397" y="170"/>
                  </a:lnTo>
                  <a:lnTo>
                    <a:pt x="404" y="172"/>
                  </a:lnTo>
                  <a:lnTo>
                    <a:pt x="409" y="172"/>
                  </a:lnTo>
                  <a:lnTo>
                    <a:pt x="411" y="176"/>
                  </a:lnTo>
                  <a:lnTo>
                    <a:pt x="414" y="176"/>
                  </a:lnTo>
                  <a:lnTo>
                    <a:pt x="416" y="177"/>
                  </a:lnTo>
                  <a:lnTo>
                    <a:pt x="418" y="177"/>
                  </a:lnTo>
                  <a:lnTo>
                    <a:pt x="426" y="182"/>
                  </a:lnTo>
                  <a:lnTo>
                    <a:pt x="430" y="182"/>
                  </a:lnTo>
                  <a:lnTo>
                    <a:pt x="431" y="184"/>
                  </a:lnTo>
                  <a:lnTo>
                    <a:pt x="438" y="182"/>
                  </a:lnTo>
                  <a:lnTo>
                    <a:pt x="440" y="187"/>
                  </a:lnTo>
                  <a:lnTo>
                    <a:pt x="443" y="187"/>
                  </a:lnTo>
                  <a:lnTo>
                    <a:pt x="447" y="191"/>
                  </a:lnTo>
                  <a:lnTo>
                    <a:pt x="452" y="191"/>
                  </a:lnTo>
                  <a:lnTo>
                    <a:pt x="454" y="193"/>
                  </a:lnTo>
                  <a:lnTo>
                    <a:pt x="457" y="194"/>
                  </a:lnTo>
                  <a:lnTo>
                    <a:pt x="460" y="194"/>
                  </a:lnTo>
                  <a:lnTo>
                    <a:pt x="464" y="198"/>
                  </a:lnTo>
                  <a:lnTo>
                    <a:pt x="471" y="201"/>
                  </a:lnTo>
                  <a:lnTo>
                    <a:pt x="474" y="205"/>
                  </a:lnTo>
                  <a:lnTo>
                    <a:pt x="478" y="208"/>
                  </a:lnTo>
                  <a:lnTo>
                    <a:pt x="481" y="211"/>
                  </a:lnTo>
                  <a:lnTo>
                    <a:pt x="491" y="217"/>
                  </a:lnTo>
                  <a:lnTo>
                    <a:pt x="495" y="217"/>
                  </a:lnTo>
                  <a:lnTo>
                    <a:pt x="501" y="217"/>
                  </a:lnTo>
                  <a:lnTo>
                    <a:pt x="507" y="218"/>
                  </a:lnTo>
                  <a:lnTo>
                    <a:pt x="508" y="218"/>
                  </a:lnTo>
                  <a:lnTo>
                    <a:pt x="512" y="215"/>
                  </a:lnTo>
                  <a:lnTo>
                    <a:pt x="517" y="217"/>
                  </a:lnTo>
                  <a:lnTo>
                    <a:pt x="522" y="217"/>
                  </a:lnTo>
                  <a:lnTo>
                    <a:pt x="529" y="218"/>
                  </a:lnTo>
                  <a:lnTo>
                    <a:pt x="532" y="217"/>
                  </a:lnTo>
                  <a:lnTo>
                    <a:pt x="530" y="215"/>
                  </a:lnTo>
                  <a:lnTo>
                    <a:pt x="534" y="215"/>
                  </a:lnTo>
                  <a:lnTo>
                    <a:pt x="539" y="215"/>
                  </a:lnTo>
                  <a:lnTo>
                    <a:pt x="541" y="218"/>
                  </a:lnTo>
                  <a:lnTo>
                    <a:pt x="548" y="215"/>
                  </a:lnTo>
                  <a:lnTo>
                    <a:pt x="554" y="217"/>
                  </a:lnTo>
                  <a:lnTo>
                    <a:pt x="556" y="213"/>
                  </a:lnTo>
                  <a:lnTo>
                    <a:pt x="559" y="215"/>
                  </a:lnTo>
                  <a:lnTo>
                    <a:pt x="565" y="222"/>
                  </a:lnTo>
                  <a:lnTo>
                    <a:pt x="573" y="227"/>
                  </a:lnTo>
                  <a:lnTo>
                    <a:pt x="578" y="232"/>
                  </a:lnTo>
                  <a:lnTo>
                    <a:pt x="577" y="234"/>
                  </a:lnTo>
                  <a:lnTo>
                    <a:pt x="577" y="232"/>
                  </a:lnTo>
                  <a:lnTo>
                    <a:pt x="573" y="234"/>
                  </a:lnTo>
                  <a:lnTo>
                    <a:pt x="571" y="232"/>
                  </a:lnTo>
                  <a:lnTo>
                    <a:pt x="571" y="234"/>
                  </a:lnTo>
                  <a:lnTo>
                    <a:pt x="570" y="232"/>
                  </a:lnTo>
                  <a:lnTo>
                    <a:pt x="570" y="235"/>
                  </a:lnTo>
                  <a:lnTo>
                    <a:pt x="568" y="237"/>
                  </a:lnTo>
                  <a:lnTo>
                    <a:pt x="568" y="239"/>
                  </a:lnTo>
                  <a:lnTo>
                    <a:pt x="565" y="240"/>
                  </a:lnTo>
                  <a:lnTo>
                    <a:pt x="565" y="244"/>
                  </a:lnTo>
                  <a:lnTo>
                    <a:pt x="566" y="246"/>
                  </a:lnTo>
                  <a:lnTo>
                    <a:pt x="571" y="252"/>
                  </a:lnTo>
                  <a:lnTo>
                    <a:pt x="571" y="258"/>
                  </a:lnTo>
                  <a:lnTo>
                    <a:pt x="575" y="264"/>
                  </a:lnTo>
                  <a:lnTo>
                    <a:pt x="582" y="271"/>
                  </a:lnTo>
                  <a:lnTo>
                    <a:pt x="585" y="273"/>
                  </a:lnTo>
                  <a:lnTo>
                    <a:pt x="588" y="278"/>
                  </a:lnTo>
                  <a:lnTo>
                    <a:pt x="592" y="283"/>
                  </a:lnTo>
                  <a:lnTo>
                    <a:pt x="592" y="287"/>
                  </a:lnTo>
                  <a:lnTo>
                    <a:pt x="595" y="290"/>
                  </a:lnTo>
                  <a:lnTo>
                    <a:pt x="592" y="292"/>
                  </a:lnTo>
                  <a:lnTo>
                    <a:pt x="588" y="297"/>
                  </a:lnTo>
                  <a:lnTo>
                    <a:pt x="587" y="302"/>
                  </a:lnTo>
                  <a:lnTo>
                    <a:pt x="588" y="309"/>
                  </a:lnTo>
                  <a:lnTo>
                    <a:pt x="587" y="314"/>
                  </a:lnTo>
                  <a:lnTo>
                    <a:pt x="580" y="321"/>
                  </a:lnTo>
                  <a:lnTo>
                    <a:pt x="577" y="324"/>
                  </a:lnTo>
                  <a:lnTo>
                    <a:pt x="571" y="326"/>
                  </a:lnTo>
                  <a:lnTo>
                    <a:pt x="571" y="328"/>
                  </a:lnTo>
                  <a:lnTo>
                    <a:pt x="570" y="329"/>
                  </a:lnTo>
                  <a:lnTo>
                    <a:pt x="571" y="331"/>
                  </a:lnTo>
                  <a:lnTo>
                    <a:pt x="573" y="331"/>
                  </a:lnTo>
                  <a:lnTo>
                    <a:pt x="571" y="331"/>
                  </a:lnTo>
                  <a:lnTo>
                    <a:pt x="575" y="338"/>
                  </a:lnTo>
                  <a:lnTo>
                    <a:pt x="573" y="343"/>
                  </a:lnTo>
                  <a:lnTo>
                    <a:pt x="575" y="351"/>
                  </a:lnTo>
                  <a:lnTo>
                    <a:pt x="577" y="351"/>
                  </a:lnTo>
                  <a:lnTo>
                    <a:pt x="578" y="362"/>
                  </a:lnTo>
                  <a:lnTo>
                    <a:pt x="578" y="363"/>
                  </a:lnTo>
                  <a:lnTo>
                    <a:pt x="582" y="363"/>
                  </a:lnTo>
                  <a:lnTo>
                    <a:pt x="578" y="363"/>
                  </a:lnTo>
                  <a:lnTo>
                    <a:pt x="578" y="369"/>
                  </a:lnTo>
                  <a:lnTo>
                    <a:pt x="578" y="372"/>
                  </a:lnTo>
                  <a:lnTo>
                    <a:pt x="577" y="370"/>
                  </a:lnTo>
                  <a:lnTo>
                    <a:pt x="577" y="374"/>
                  </a:lnTo>
                  <a:lnTo>
                    <a:pt x="575" y="374"/>
                  </a:lnTo>
                  <a:lnTo>
                    <a:pt x="575" y="377"/>
                  </a:lnTo>
                  <a:lnTo>
                    <a:pt x="577" y="380"/>
                  </a:lnTo>
                  <a:lnTo>
                    <a:pt x="577" y="387"/>
                  </a:lnTo>
                  <a:lnTo>
                    <a:pt x="580" y="387"/>
                  </a:lnTo>
                  <a:lnTo>
                    <a:pt x="580" y="392"/>
                  </a:lnTo>
                  <a:lnTo>
                    <a:pt x="578" y="396"/>
                  </a:lnTo>
                  <a:lnTo>
                    <a:pt x="580" y="398"/>
                  </a:lnTo>
                  <a:lnTo>
                    <a:pt x="580" y="403"/>
                  </a:lnTo>
                  <a:lnTo>
                    <a:pt x="583" y="411"/>
                  </a:lnTo>
                  <a:lnTo>
                    <a:pt x="585" y="415"/>
                  </a:lnTo>
                  <a:lnTo>
                    <a:pt x="587" y="413"/>
                  </a:lnTo>
                  <a:lnTo>
                    <a:pt x="588" y="418"/>
                  </a:lnTo>
                  <a:lnTo>
                    <a:pt x="592" y="421"/>
                  </a:lnTo>
                  <a:lnTo>
                    <a:pt x="594" y="420"/>
                  </a:lnTo>
                  <a:lnTo>
                    <a:pt x="595" y="427"/>
                  </a:lnTo>
                  <a:lnTo>
                    <a:pt x="597" y="428"/>
                  </a:lnTo>
                  <a:lnTo>
                    <a:pt x="600" y="428"/>
                  </a:lnTo>
                  <a:lnTo>
                    <a:pt x="597" y="430"/>
                  </a:lnTo>
                  <a:lnTo>
                    <a:pt x="599" y="430"/>
                  </a:lnTo>
                  <a:lnTo>
                    <a:pt x="600" y="432"/>
                  </a:lnTo>
                  <a:lnTo>
                    <a:pt x="599" y="432"/>
                  </a:lnTo>
                  <a:lnTo>
                    <a:pt x="602" y="433"/>
                  </a:lnTo>
                  <a:lnTo>
                    <a:pt x="602" y="437"/>
                  </a:lnTo>
                  <a:lnTo>
                    <a:pt x="600" y="439"/>
                  </a:lnTo>
                  <a:lnTo>
                    <a:pt x="602" y="439"/>
                  </a:lnTo>
                  <a:lnTo>
                    <a:pt x="606" y="442"/>
                  </a:lnTo>
                  <a:lnTo>
                    <a:pt x="604" y="444"/>
                  </a:lnTo>
                  <a:lnTo>
                    <a:pt x="606" y="445"/>
                  </a:lnTo>
                  <a:lnTo>
                    <a:pt x="607" y="445"/>
                  </a:lnTo>
                  <a:lnTo>
                    <a:pt x="606" y="449"/>
                  </a:lnTo>
                  <a:lnTo>
                    <a:pt x="609" y="454"/>
                  </a:lnTo>
                  <a:lnTo>
                    <a:pt x="611" y="454"/>
                  </a:lnTo>
                  <a:lnTo>
                    <a:pt x="611" y="461"/>
                  </a:lnTo>
                  <a:lnTo>
                    <a:pt x="616" y="466"/>
                  </a:lnTo>
                  <a:lnTo>
                    <a:pt x="614" y="469"/>
                  </a:lnTo>
                  <a:lnTo>
                    <a:pt x="617" y="471"/>
                  </a:lnTo>
                  <a:lnTo>
                    <a:pt x="619" y="471"/>
                  </a:lnTo>
                  <a:lnTo>
                    <a:pt x="623" y="468"/>
                  </a:lnTo>
                  <a:lnTo>
                    <a:pt x="624" y="462"/>
                  </a:lnTo>
                  <a:lnTo>
                    <a:pt x="623" y="459"/>
                  </a:lnTo>
                  <a:lnTo>
                    <a:pt x="623" y="456"/>
                  </a:lnTo>
                  <a:lnTo>
                    <a:pt x="621" y="454"/>
                  </a:lnTo>
                  <a:lnTo>
                    <a:pt x="621" y="447"/>
                  </a:lnTo>
                  <a:lnTo>
                    <a:pt x="619" y="445"/>
                  </a:lnTo>
                  <a:lnTo>
                    <a:pt x="619" y="440"/>
                  </a:lnTo>
                  <a:lnTo>
                    <a:pt x="617" y="439"/>
                  </a:lnTo>
                  <a:lnTo>
                    <a:pt x="617" y="433"/>
                  </a:lnTo>
                  <a:lnTo>
                    <a:pt x="624" y="427"/>
                  </a:lnTo>
                  <a:lnTo>
                    <a:pt x="628" y="427"/>
                  </a:lnTo>
                  <a:lnTo>
                    <a:pt x="629" y="427"/>
                  </a:lnTo>
                  <a:lnTo>
                    <a:pt x="623" y="425"/>
                  </a:lnTo>
                  <a:lnTo>
                    <a:pt x="624" y="423"/>
                  </a:lnTo>
                  <a:lnTo>
                    <a:pt x="628" y="425"/>
                  </a:lnTo>
                  <a:lnTo>
                    <a:pt x="626" y="421"/>
                  </a:lnTo>
                  <a:lnTo>
                    <a:pt x="629" y="423"/>
                  </a:lnTo>
                  <a:lnTo>
                    <a:pt x="631" y="425"/>
                  </a:lnTo>
                  <a:lnTo>
                    <a:pt x="633" y="427"/>
                  </a:lnTo>
                  <a:close/>
                  <a:moveTo>
                    <a:pt x="105" y="167"/>
                  </a:moveTo>
                  <a:lnTo>
                    <a:pt x="109" y="169"/>
                  </a:lnTo>
                  <a:lnTo>
                    <a:pt x="110" y="167"/>
                  </a:lnTo>
                  <a:lnTo>
                    <a:pt x="110" y="170"/>
                  </a:lnTo>
                  <a:lnTo>
                    <a:pt x="107" y="169"/>
                  </a:lnTo>
                  <a:lnTo>
                    <a:pt x="105" y="167"/>
                  </a:lnTo>
                  <a:close/>
                  <a:moveTo>
                    <a:pt x="100" y="165"/>
                  </a:moveTo>
                  <a:lnTo>
                    <a:pt x="102" y="165"/>
                  </a:lnTo>
                  <a:lnTo>
                    <a:pt x="102" y="169"/>
                  </a:lnTo>
                  <a:lnTo>
                    <a:pt x="100" y="169"/>
                  </a:lnTo>
                  <a:lnTo>
                    <a:pt x="100" y="165"/>
                  </a:lnTo>
                  <a:close/>
                  <a:moveTo>
                    <a:pt x="163" y="165"/>
                  </a:moveTo>
                  <a:lnTo>
                    <a:pt x="165" y="165"/>
                  </a:lnTo>
                  <a:lnTo>
                    <a:pt x="165" y="167"/>
                  </a:lnTo>
                  <a:lnTo>
                    <a:pt x="163" y="167"/>
                  </a:lnTo>
                  <a:lnTo>
                    <a:pt x="163" y="165"/>
                  </a:lnTo>
                  <a:close/>
                  <a:moveTo>
                    <a:pt x="143" y="165"/>
                  </a:moveTo>
                  <a:lnTo>
                    <a:pt x="146" y="165"/>
                  </a:lnTo>
                  <a:lnTo>
                    <a:pt x="146" y="167"/>
                  </a:lnTo>
                  <a:lnTo>
                    <a:pt x="143" y="169"/>
                  </a:lnTo>
                  <a:lnTo>
                    <a:pt x="141" y="167"/>
                  </a:lnTo>
                  <a:lnTo>
                    <a:pt x="143" y="165"/>
                  </a:lnTo>
                  <a:close/>
                  <a:moveTo>
                    <a:pt x="187" y="164"/>
                  </a:moveTo>
                  <a:lnTo>
                    <a:pt x="191" y="165"/>
                  </a:lnTo>
                  <a:lnTo>
                    <a:pt x="186" y="165"/>
                  </a:lnTo>
                  <a:lnTo>
                    <a:pt x="186" y="164"/>
                  </a:lnTo>
                  <a:lnTo>
                    <a:pt x="187" y="164"/>
                  </a:lnTo>
                  <a:close/>
                  <a:moveTo>
                    <a:pt x="110" y="162"/>
                  </a:moveTo>
                  <a:lnTo>
                    <a:pt x="110" y="164"/>
                  </a:lnTo>
                  <a:lnTo>
                    <a:pt x="112" y="165"/>
                  </a:lnTo>
                  <a:lnTo>
                    <a:pt x="110" y="167"/>
                  </a:lnTo>
                  <a:lnTo>
                    <a:pt x="107" y="165"/>
                  </a:lnTo>
                  <a:lnTo>
                    <a:pt x="107" y="162"/>
                  </a:lnTo>
                  <a:lnTo>
                    <a:pt x="110" y="162"/>
                  </a:lnTo>
                  <a:close/>
                  <a:moveTo>
                    <a:pt x="126" y="152"/>
                  </a:moveTo>
                  <a:lnTo>
                    <a:pt x="124" y="153"/>
                  </a:lnTo>
                  <a:lnTo>
                    <a:pt x="122" y="153"/>
                  </a:lnTo>
                  <a:lnTo>
                    <a:pt x="126" y="152"/>
                  </a:lnTo>
                  <a:close/>
                  <a:moveTo>
                    <a:pt x="112" y="148"/>
                  </a:moveTo>
                  <a:lnTo>
                    <a:pt x="114" y="150"/>
                  </a:lnTo>
                  <a:lnTo>
                    <a:pt x="109" y="150"/>
                  </a:lnTo>
                  <a:lnTo>
                    <a:pt x="112" y="148"/>
                  </a:lnTo>
                  <a:close/>
                  <a:moveTo>
                    <a:pt x="116" y="147"/>
                  </a:moveTo>
                  <a:lnTo>
                    <a:pt x="119" y="152"/>
                  </a:lnTo>
                  <a:lnTo>
                    <a:pt x="114" y="152"/>
                  </a:lnTo>
                  <a:lnTo>
                    <a:pt x="114" y="150"/>
                  </a:lnTo>
                  <a:lnTo>
                    <a:pt x="114" y="148"/>
                  </a:lnTo>
                  <a:lnTo>
                    <a:pt x="116" y="148"/>
                  </a:lnTo>
                  <a:lnTo>
                    <a:pt x="114" y="147"/>
                  </a:lnTo>
                  <a:lnTo>
                    <a:pt x="116" y="147"/>
                  </a:lnTo>
                  <a:close/>
                  <a:moveTo>
                    <a:pt x="163" y="145"/>
                  </a:moveTo>
                  <a:lnTo>
                    <a:pt x="167" y="145"/>
                  </a:lnTo>
                  <a:lnTo>
                    <a:pt x="167" y="147"/>
                  </a:lnTo>
                  <a:lnTo>
                    <a:pt x="163" y="147"/>
                  </a:lnTo>
                  <a:lnTo>
                    <a:pt x="163" y="145"/>
                  </a:lnTo>
                  <a:close/>
                  <a:moveTo>
                    <a:pt x="92" y="136"/>
                  </a:moveTo>
                  <a:lnTo>
                    <a:pt x="92" y="138"/>
                  </a:lnTo>
                  <a:lnTo>
                    <a:pt x="85" y="136"/>
                  </a:lnTo>
                  <a:lnTo>
                    <a:pt x="92" y="136"/>
                  </a:lnTo>
                  <a:close/>
                  <a:moveTo>
                    <a:pt x="143" y="133"/>
                  </a:moveTo>
                  <a:lnTo>
                    <a:pt x="146" y="133"/>
                  </a:lnTo>
                  <a:lnTo>
                    <a:pt x="146" y="135"/>
                  </a:lnTo>
                  <a:lnTo>
                    <a:pt x="143" y="135"/>
                  </a:lnTo>
                  <a:lnTo>
                    <a:pt x="143" y="133"/>
                  </a:lnTo>
                  <a:close/>
                  <a:moveTo>
                    <a:pt x="179" y="129"/>
                  </a:moveTo>
                  <a:lnTo>
                    <a:pt x="189" y="129"/>
                  </a:lnTo>
                  <a:lnTo>
                    <a:pt x="196" y="133"/>
                  </a:lnTo>
                  <a:lnTo>
                    <a:pt x="198" y="133"/>
                  </a:lnTo>
                  <a:lnTo>
                    <a:pt x="199" y="136"/>
                  </a:lnTo>
                  <a:lnTo>
                    <a:pt x="201" y="135"/>
                  </a:lnTo>
                  <a:lnTo>
                    <a:pt x="201" y="133"/>
                  </a:lnTo>
                  <a:lnTo>
                    <a:pt x="204" y="133"/>
                  </a:lnTo>
                  <a:lnTo>
                    <a:pt x="210" y="131"/>
                  </a:lnTo>
                  <a:lnTo>
                    <a:pt x="210" y="135"/>
                  </a:lnTo>
                  <a:lnTo>
                    <a:pt x="208" y="136"/>
                  </a:lnTo>
                  <a:lnTo>
                    <a:pt x="216" y="138"/>
                  </a:lnTo>
                  <a:lnTo>
                    <a:pt x="220" y="136"/>
                  </a:lnTo>
                  <a:lnTo>
                    <a:pt x="225" y="140"/>
                  </a:lnTo>
                  <a:lnTo>
                    <a:pt x="227" y="145"/>
                  </a:lnTo>
                  <a:lnTo>
                    <a:pt x="232" y="147"/>
                  </a:lnTo>
                  <a:lnTo>
                    <a:pt x="235" y="145"/>
                  </a:lnTo>
                  <a:lnTo>
                    <a:pt x="239" y="148"/>
                  </a:lnTo>
                  <a:lnTo>
                    <a:pt x="242" y="152"/>
                  </a:lnTo>
                  <a:lnTo>
                    <a:pt x="239" y="157"/>
                  </a:lnTo>
                  <a:lnTo>
                    <a:pt x="244" y="164"/>
                  </a:lnTo>
                  <a:lnTo>
                    <a:pt x="240" y="164"/>
                  </a:lnTo>
                  <a:lnTo>
                    <a:pt x="237" y="170"/>
                  </a:lnTo>
                  <a:lnTo>
                    <a:pt x="233" y="169"/>
                  </a:lnTo>
                  <a:lnTo>
                    <a:pt x="233" y="174"/>
                  </a:lnTo>
                  <a:lnTo>
                    <a:pt x="227" y="172"/>
                  </a:lnTo>
                  <a:lnTo>
                    <a:pt x="227" y="169"/>
                  </a:lnTo>
                  <a:lnTo>
                    <a:pt x="223" y="169"/>
                  </a:lnTo>
                  <a:lnTo>
                    <a:pt x="216" y="167"/>
                  </a:lnTo>
                  <a:lnTo>
                    <a:pt x="216" y="165"/>
                  </a:lnTo>
                  <a:lnTo>
                    <a:pt x="208" y="170"/>
                  </a:lnTo>
                  <a:lnTo>
                    <a:pt x="208" y="169"/>
                  </a:lnTo>
                  <a:lnTo>
                    <a:pt x="206" y="172"/>
                  </a:lnTo>
                  <a:lnTo>
                    <a:pt x="204" y="169"/>
                  </a:lnTo>
                  <a:lnTo>
                    <a:pt x="203" y="169"/>
                  </a:lnTo>
                  <a:lnTo>
                    <a:pt x="203" y="172"/>
                  </a:lnTo>
                  <a:lnTo>
                    <a:pt x="196" y="170"/>
                  </a:lnTo>
                  <a:lnTo>
                    <a:pt x="194" y="165"/>
                  </a:lnTo>
                  <a:lnTo>
                    <a:pt x="191" y="164"/>
                  </a:lnTo>
                  <a:lnTo>
                    <a:pt x="191" y="160"/>
                  </a:lnTo>
                  <a:lnTo>
                    <a:pt x="187" y="157"/>
                  </a:lnTo>
                  <a:lnTo>
                    <a:pt x="179" y="157"/>
                  </a:lnTo>
                  <a:lnTo>
                    <a:pt x="179" y="148"/>
                  </a:lnTo>
                  <a:lnTo>
                    <a:pt x="170" y="145"/>
                  </a:lnTo>
                  <a:lnTo>
                    <a:pt x="169" y="140"/>
                  </a:lnTo>
                  <a:lnTo>
                    <a:pt x="165" y="140"/>
                  </a:lnTo>
                  <a:lnTo>
                    <a:pt x="167" y="138"/>
                  </a:lnTo>
                  <a:lnTo>
                    <a:pt x="163" y="138"/>
                  </a:lnTo>
                  <a:lnTo>
                    <a:pt x="163" y="140"/>
                  </a:lnTo>
                  <a:lnTo>
                    <a:pt x="158" y="138"/>
                  </a:lnTo>
                  <a:lnTo>
                    <a:pt x="158" y="141"/>
                  </a:lnTo>
                  <a:lnTo>
                    <a:pt x="162" y="141"/>
                  </a:lnTo>
                  <a:lnTo>
                    <a:pt x="163" y="143"/>
                  </a:lnTo>
                  <a:lnTo>
                    <a:pt x="158" y="143"/>
                  </a:lnTo>
                  <a:lnTo>
                    <a:pt x="160" y="147"/>
                  </a:lnTo>
                  <a:lnTo>
                    <a:pt x="158" y="145"/>
                  </a:lnTo>
                  <a:lnTo>
                    <a:pt x="158" y="147"/>
                  </a:lnTo>
                  <a:lnTo>
                    <a:pt x="162" y="147"/>
                  </a:lnTo>
                  <a:lnTo>
                    <a:pt x="165" y="150"/>
                  </a:lnTo>
                  <a:lnTo>
                    <a:pt x="170" y="157"/>
                  </a:lnTo>
                  <a:lnTo>
                    <a:pt x="172" y="162"/>
                  </a:lnTo>
                  <a:lnTo>
                    <a:pt x="172" y="164"/>
                  </a:lnTo>
                  <a:lnTo>
                    <a:pt x="177" y="164"/>
                  </a:lnTo>
                  <a:lnTo>
                    <a:pt x="182" y="165"/>
                  </a:lnTo>
                  <a:lnTo>
                    <a:pt x="180" y="164"/>
                  </a:lnTo>
                  <a:lnTo>
                    <a:pt x="184" y="164"/>
                  </a:lnTo>
                  <a:lnTo>
                    <a:pt x="186" y="165"/>
                  </a:lnTo>
                  <a:lnTo>
                    <a:pt x="191" y="167"/>
                  </a:lnTo>
                  <a:lnTo>
                    <a:pt x="194" y="165"/>
                  </a:lnTo>
                  <a:lnTo>
                    <a:pt x="196" y="170"/>
                  </a:lnTo>
                  <a:lnTo>
                    <a:pt x="198" y="170"/>
                  </a:lnTo>
                  <a:lnTo>
                    <a:pt x="196" y="172"/>
                  </a:lnTo>
                  <a:lnTo>
                    <a:pt x="194" y="172"/>
                  </a:lnTo>
                  <a:lnTo>
                    <a:pt x="196" y="174"/>
                  </a:lnTo>
                  <a:lnTo>
                    <a:pt x="189" y="177"/>
                  </a:lnTo>
                  <a:lnTo>
                    <a:pt x="189" y="179"/>
                  </a:lnTo>
                  <a:lnTo>
                    <a:pt x="186" y="179"/>
                  </a:lnTo>
                  <a:lnTo>
                    <a:pt x="180" y="181"/>
                  </a:lnTo>
                  <a:lnTo>
                    <a:pt x="179" y="182"/>
                  </a:lnTo>
                  <a:lnTo>
                    <a:pt x="170" y="181"/>
                  </a:lnTo>
                  <a:lnTo>
                    <a:pt x="169" y="177"/>
                  </a:lnTo>
                  <a:lnTo>
                    <a:pt x="167" y="170"/>
                  </a:lnTo>
                  <a:lnTo>
                    <a:pt x="163" y="169"/>
                  </a:lnTo>
                  <a:lnTo>
                    <a:pt x="169" y="167"/>
                  </a:lnTo>
                  <a:lnTo>
                    <a:pt x="165" y="164"/>
                  </a:lnTo>
                  <a:lnTo>
                    <a:pt x="160" y="165"/>
                  </a:lnTo>
                  <a:lnTo>
                    <a:pt x="153" y="167"/>
                  </a:lnTo>
                  <a:lnTo>
                    <a:pt x="155" y="169"/>
                  </a:lnTo>
                  <a:lnTo>
                    <a:pt x="151" y="172"/>
                  </a:lnTo>
                  <a:lnTo>
                    <a:pt x="153" y="172"/>
                  </a:lnTo>
                  <a:lnTo>
                    <a:pt x="155" y="174"/>
                  </a:lnTo>
                  <a:lnTo>
                    <a:pt x="150" y="181"/>
                  </a:lnTo>
                  <a:lnTo>
                    <a:pt x="148" y="179"/>
                  </a:lnTo>
                  <a:lnTo>
                    <a:pt x="150" y="176"/>
                  </a:lnTo>
                  <a:lnTo>
                    <a:pt x="150" y="174"/>
                  </a:lnTo>
                  <a:lnTo>
                    <a:pt x="148" y="174"/>
                  </a:lnTo>
                  <a:lnTo>
                    <a:pt x="150" y="165"/>
                  </a:lnTo>
                  <a:lnTo>
                    <a:pt x="146" y="165"/>
                  </a:lnTo>
                  <a:lnTo>
                    <a:pt x="146" y="164"/>
                  </a:lnTo>
                  <a:lnTo>
                    <a:pt x="146" y="158"/>
                  </a:lnTo>
                  <a:lnTo>
                    <a:pt x="140" y="160"/>
                  </a:lnTo>
                  <a:lnTo>
                    <a:pt x="138" y="164"/>
                  </a:lnTo>
                  <a:lnTo>
                    <a:pt x="136" y="164"/>
                  </a:lnTo>
                  <a:lnTo>
                    <a:pt x="136" y="162"/>
                  </a:lnTo>
                  <a:lnTo>
                    <a:pt x="134" y="160"/>
                  </a:lnTo>
                  <a:lnTo>
                    <a:pt x="131" y="160"/>
                  </a:lnTo>
                  <a:lnTo>
                    <a:pt x="129" y="160"/>
                  </a:lnTo>
                  <a:lnTo>
                    <a:pt x="129" y="162"/>
                  </a:lnTo>
                  <a:lnTo>
                    <a:pt x="126" y="158"/>
                  </a:lnTo>
                  <a:lnTo>
                    <a:pt x="122" y="162"/>
                  </a:lnTo>
                  <a:lnTo>
                    <a:pt x="122" y="158"/>
                  </a:lnTo>
                  <a:lnTo>
                    <a:pt x="119" y="157"/>
                  </a:lnTo>
                  <a:lnTo>
                    <a:pt x="110" y="153"/>
                  </a:lnTo>
                  <a:lnTo>
                    <a:pt x="110" y="152"/>
                  </a:lnTo>
                  <a:lnTo>
                    <a:pt x="116" y="153"/>
                  </a:lnTo>
                  <a:lnTo>
                    <a:pt x="116" y="155"/>
                  </a:lnTo>
                  <a:lnTo>
                    <a:pt x="122" y="155"/>
                  </a:lnTo>
                  <a:lnTo>
                    <a:pt x="126" y="153"/>
                  </a:lnTo>
                  <a:lnTo>
                    <a:pt x="131" y="157"/>
                  </a:lnTo>
                  <a:lnTo>
                    <a:pt x="133" y="153"/>
                  </a:lnTo>
                  <a:lnTo>
                    <a:pt x="138" y="152"/>
                  </a:lnTo>
                  <a:lnTo>
                    <a:pt x="134" y="150"/>
                  </a:lnTo>
                  <a:lnTo>
                    <a:pt x="129" y="150"/>
                  </a:lnTo>
                  <a:lnTo>
                    <a:pt x="134" y="148"/>
                  </a:lnTo>
                  <a:lnTo>
                    <a:pt x="134" y="143"/>
                  </a:lnTo>
                  <a:lnTo>
                    <a:pt x="134" y="147"/>
                  </a:lnTo>
                  <a:lnTo>
                    <a:pt x="133" y="143"/>
                  </a:lnTo>
                  <a:lnTo>
                    <a:pt x="134" y="148"/>
                  </a:lnTo>
                  <a:lnTo>
                    <a:pt x="129" y="148"/>
                  </a:lnTo>
                  <a:lnTo>
                    <a:pt x="131" y="150"/>
                  </a:lnTo>
                  <a:lnTo>
                    <a:pt x="128" y="145"/>
                  </a:lnTo>
                  <a:lnTo>
                    <a:pt x="128" y="148"/>
                  </a:lnTo>
                  <a:lnTo>
                    <a:pt x="124" y="145"/>
                  </a:lnTo>
                  <a:lnTo>
                    <a:pt x="126" y="150"/>
                  </a:lnTo>
                  <a:lnTo>
                    <a:pt x="128" y="150"/>
                  </a:lnTo>
                  <a:lnTo>
                    <a:pt x="128" y="152"/>
                  </a:lnTo>
                  <a:lnTo>
                    <a:pt x="121" y="150"/>
                  </a:lnTo>
                  <a:lnTo>
                    <a:pt x="121" y="147"/>
                  </a:lnTo>
                  <a:lnTo>
                    <a:pt x="117" y="147"/>
                  </a:lnTo>
                  <a:lnTo>
                    <a:pt x="117" y="145"/>
                  </a:lnTo>
                  <a:lnTo>
                    <a:pt x="119" y="145"/>
                  </a:lnTo>
                  <a:lnTo>
                    <a:pt x="117" y="141"/>
                  </a:lnTo>
                  <a:lnTo>
                    <a:pt x="119" y="141"/>
                  </a:lnTo>
                  <a:lnTo>
                    <a:pt x="119" y="140"/>
                  </a:lnTo>
                  <a:lnTo>
                    <a:pt x="126" y="141"/>
                  </a:lnTo>
                  <a:lnTo>
                    <a:pt x="126" y="138"/>
                  </a:lnTo>
                  <a:lnTo>
                    <a:pt x="128" y="145"/>
                  </a:lnTo>
                  <a:lnTo>
                    <a:pt x="129" y="143"/>
                  </a:lnTo>
                  <a:lnTo>
                    <a:pt x="128" y="138"/>
                  </a:lnTo>
                  <a:lnTo>
                    <a:pt x="133" y="138"/>
                  </a:lnTo>
                  <a:lnTo>
                    <a:pt x="131" y="141"/>
                  </a:lnTo>
                  <a:lnTo>
                    <a:pt x="133" y="141"/>
                  </a:lnTo>
                  <a:lnTo>
                    <a:pt x="134" y="141"/>
                  </a:lnTo>
                  <a:lnTo>
                    <a:pt x="136" y="141"/>
                  </a:lnTo>
                  <a:lnTo>
                    <a:pt x="134" y="140"/>
                  </a:lnTo>
                  <a:lnTo>
                    <a:pt x="136" y="138"/>
                  </a:lnTo>
                  <a:lnTo>
                    <a:pt x="138" y="140"/>
                  </a:lnTo>
                  <a:lnTo>
                    <a:pt x="138" y="138"/>
                  </a:lnTo>
                  <a:lnTo>
                    <a:pt x="141" y="140"/>
                  </a:lnTo>
                  <a:lnTo>
                    <a:pt x="141" y="138"/>
                  </a:lnTo>
                  <a:lnTo>
                    <a:pt x="146" y="136"/>
                  </a:lnTo>
                  <a:lnTo>
                    <a:pt x="145" y="135"/>
                  </a:lnTo>
                  <a:lnTo>
                    <a:pt x="148" y="136"/>
                  </a:lnTo>
                  <a:lnTo>
                    <a:pt x="150" y="138"/>
                  </a:lnTo>
                  <a:lnTo>
                    <a:pt x="151" y="138"/>
                  </a:lnTo>
                  <a:lnTo>
                    <a:pt x="150" y="136"/>
                  </a:lnTo>
                  <a:lnTo>
                    <a:pt x="153" y="138"/>
                  </a:lnTo>
                  <a:lnTo>
                    <a:pt x="151" y="133"/>
                  </a:lnTo>
                  <a:lnTo>
                    <a:pt x="153" y="136"/>
                  </a:lnTo>
                  <a:lnTo>
                    <a:pt x="155" y="133"/>
                  </a:lnTo>
                  <a:lnTo>
                    <a:pt x="160" y="136"/>
                  </a:lnTo>
                  <a:lnTo>
                    <a:pt x="160" y="135"/>
                  </a:lnTo>
                  <a:lnTo>
                    <a:pt x="162" y="136"/>
                  </a:lnTo>
                  <a:lnTo>
                    <a:pt x="170" y="131"/>
                  </a:lnTo>
                  <a:lnTo>
                    <a:pt x="172" y="133"/>
                  </a:lnTo>
                  <a:lnTo>
                    <a:pt x="169" y="136"/>
                  </a:lnTo>
                  <a:lnTo>
                    <a:pt x="172" y="135"/>
                  </a:lnTo>
                  <a:lnTo>
                    <a:pt x="175" y="135"/>
                  </a:lnTo>
                  <a:lnTo>
                    <a:pt x="177" y="133"/>
                  </a:lnTo>
                  <a:lnTo>
                    <a:pt x="172" y="133"/>
                  </a:lnTo>
                  <a:lnTo>
                    <a:pt x="172" y="131"/>
                  </a:lnTo>
                  <a:lnTo>
                    <a:pt x="179" y="129"/>
                  </a:lnTo>
                  <a:close/>
                  <a:moveTo>
                    <a:pt x="100" y="126"/>
                  </a:moveTo>
                  <a:lnTo>
                    <a:pt x="100" y="128"/>
                  </a:lnTo>
                  <a:lnTo>
                    <a:pt x="99" y="128"/>
                  </a:lnTo>
                  <a:lnTo>
                    <a:pt x="97" y="128"/>
                  </a:lnTo>
                  <a:lnTo>
                    <a:pt x="97" y="129"/>
                  </a:lnTo>
                  <a:lnTo>
                    <a:pt x="100" y="131"/>
                  </a:lnTo>
                  <a:lnTo>
                    <a:pt x="97" y="133"/>
                  </a:lnTo>
                  <a:lnTo>
                    <a:pt x="102" y="135"/>
                  </a:lnTo>
                  <a:lnTo>
                    <a:pt x="102" y="133"/>
                  </a:lnTo>
                  <a:lnTo>
                    <a:pt x="104" y="136"/>
                  </a:lnTo>
                  <a:lnTo>
                    <a:pt x="100" y="140"/>
                  </a:lnTo>
                  <a:lnTo>
                    <a:pt x="95" y="136"/>
                  </a:lnTo>
                  <a:lnTo>
                    <a:pt x="95" y="133"/>
                  </a:lnTo>
                  <a:lnTo>
                    <a:pt x="97" y="133"/>
                  </a:lnTo>
                  <a:lnTo>
                    <a:pt x="93" y="128"/>
                  </a:lnTo>
                  <a:lnTo>
                    <a:pt x="100" y="126"/>
                  </a:lnTo>
                  <a:close/>
                  <a:moveTo>
                    <a:pt x="189" y="124"/>
                  </a:moveTo>
                  <a:lnTo>
                    <a:pt x="191" y="124"/>
                  </a:lnTo>
                  <a:lnTo>
                    <a:pt x="192" y="126"/>
                  </a:lnTo>
                  <a:lnTo>
                    <a:pt x="189" y="126"/>
                  </a:lnTo>
                  <a:lnTo>
                    <a:pt x="189" y="124"/>
                  </a:lnTo>
                  <a:close/>
                  <a:moveTo>
                    <a:pt x="114" y="116"/>
                  </a:moveTo>
                  <a:lnTo>
                    <a:pt x="117" y="116"/>
                  </a:lnTo>
                  <a:lnTo>
                    <a:pt x="117" y="117"/>
                  </a:lnTo>
                  <a:lnTo>
                    <a:pt x="114" y="117"/>
                  </a:lnTo>
                  <a:lnTo>
                    <a:pt x="114" y="116"/>
                  </a:lnTo>
                  <a:close/>
                  <a:moveTo>
                    <a:pt x="99" y="111"/>
                  </a:moveTo>
                  <a:lnTo>
                    <a:pt x="102" y="111"/>
                  </a:lnTo>
                  <a:lnTo>
                    <a:pt x="102" y="112"/>
                  </a:lnTo>
                  <a:lnTo>
                    <a:pt x="99" y="112"/>
                  </a:lnTo>
                  <a:lnTo>
                    <a:pt x="99" y="111"/>
                  </a:lnTo>
                  <a:close/>
                  <a:moveTo>
                    <a:pt x="88" y="107"/>
                  </a:moveTo>
                  <a:lnTo>
                    <a:pt x="92" y="109"/>
                  </a:lnTo>
                  <a:lnTo>
                    <a:pt x="90" y="111"/>
                  </a:lnTo>
                  <a:lnTo>
                    <a:pt x="88" y="109"/>
                  </a:lnTo>
                  <a:lnTo>
                    <a:pt x="90" y="109"/>
                  </a:lnTo>
                  <a:lnTo>
                    <a:pt x="88" y="107"/>
                  </a:lnTo>
                  <a:lnTo>
                    <a:pt x="87" y="107"/>
                  </a:lnTo>
                  <a:lnTo>
                    <a:pt x="88" y="109"/>
                  </a:lnTo>
                  <a:lnTo>
                    <a:pt x="83" y="107"/>
                  </a:lnTo>
                  <a:lnTo>
                    <a:pt x="88" y="107"/>
                  </a:lnTo>
                  <a:close/>
                  <a:moveTo>
                    <a:pt x="68" y="90"/>
                  </a:moveTo>
                  <a:lnTo>
                    <a:pt x="73" y="90"/>
                  </a:lnTo>
                  <a:lnTo>
                    <a:pt x="75" y="95"/>
                  </a:lnTo>
                  <a:lnTo>
                    <a:pt x="70" y="95"/>
                  </a:lnTo>
                  <a:lnTo>
                    <a:pt x="66" y="90"/>
                  </a:lnTo>
                  <a:lnTo>
                    <a:pt x="68" y="90"/>
                  </a:lnTo>
                  <a:close/>
                  <a:moveTo>
                    <a:pt x="208" y="82"/>
                  </a:moveTo>
                  <a:lnTo>
                    <a:pt x="211" y="82"/>
                  </a:lnTo>
                  <a:lnTo>
                    <a:pt x="211" y="85"/>
                  </a:lnTo>
                  <a:lnTo>
                    <a:pt x="208" y="85"/>
                  </a:lnTo>
                  <a:lnTo>
                    <a:pt x="208" y="82"/>
                  </a:lnTo>
                  <a:close/>
                  <a:moveTo>
                    <a:pt x="227" y="58"/>
                  </a:moveTo>
                  <a:lnTo>
                    <a:pt x="227" y="59"/>
                  </a:lnTo>
                  <a:lnTo>
                    <a:pt x="227" y="58"/>
                  </a:lnTo>
                  <a:close/>
                  <a:moveTo>
                    <a:pt x="232" y="5"/>
                  </a:moveTo>
                  <a:lnTo>
                    <a:pt x="233" y="5"/>
                  </a:lnTo>
                  <a:lnTo>
                    <a:pt x="233" y="6"/>
                  </a:lnTo>
                  <a:lnTo>
                    <a:pt x="232" y="6"/>
                  </a:lnTo>
                  <a:lnTo>
                    <a:pt x="232" y="5"/>
                  </a:lnTo>
                  <a:close/>
                  <a:moveTo>
                    <a:pt x="233" y="3"/>
                  </a:moveTo>
                  <a:lnTo>
                    <a:pt x="233" y="0"/>
                  </a:lnTo>
                  <a:lnTo>
                    <a:pt x="235" y="0"/>
                  </a:lnTo>
                  <a:lnTo>
                    <a:pt x="237" y="1"/>
                  </a:lnTo>
                  <a:lnTo>
                    <a:pt x="233" y="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6" name="Freeform 64"/>
            <p:cNvSpPr>
              <a:spLocks noEditPoints="1"/>
            </p:cNvSpPr>
            <p:nvPr/>
          </p:nvSpPr>
          <p:spPr bwMode="gray">
            <a:xfrm>
              <a:off x="6220045" y="2857365"/>
              <a:ext cx="1034311" cy="1094510"/>
            </a:xfrm>
            <a:custGeom>
              <a:avLst/>
              <a:gdLst>
                <a:gd name="T0" fmla="*/ 352 w 567"/>
                <a:gd name="T1" fmla="*/ 557 h 600"/>
                <a:gd name="T2" fmla="*/ 352 w 567"/>
                <a:gd name="T3" fmla="*/ 528 h 600"/>
                <a:gd name="T4" fmla="*/ 490 w 567"/>
                <a:gd name="T5" fmla="*/ 414 h 600"/>
                <a:gd name="T6" fmla="*/ 481 w 567"/>
                <a:gd name="T7" fmla="*/ 400 h 600"/>
                <a:gd name="T8" fmla="*/ 229 w 567"/>
                <a:gd name="T9" fmla="*/ 393 h 600"/>
                <a:gd name="T10" fmla="*/ 527 w 567"/>
                <a:gd name="T11" fmla="*/ 405 h 600"/>
                <a:gd name="T12" fmla="*/ 509 w 567"/>
                <a:gd name="T13" fmla="*/ 386 h 600"/>
                <a:gd name="T14" fmla="*/ 440 w 567"/>
                <a:gd name="T15" fmla="*/ 378 h 600"/>
                <a:gd name="T16" fmla="*/ 490 w 567"/>
                <a:gd name="T17" fmla="*/ 374 h 600"/>
                <a:gd name="T18" fmla="*/ 399 w 567"/>
                <a:gd name="T19" fmla="*/ 344 h 600"/>
                <a:gd name="T20" fmla="*/ 483 w 567"/>
                <a:gd name="T21" fmla="*/ 357 h 600"/>
                <a:gd name="T22" fmla="*/ 452 w 567"/>
                <a:gd name="T23" fmla="*/ 308 h 600"/>
                <a:gd name="T24" fmla="*/ 483 w 567"/>
                <a:gd name="T25" fmla="*/ 316 h 600"/>
                <a:gd name="T26" fmla="*/ 456 w 567"/>
                <a:gd name="T27" fmla="*/ 342 h 600"/>
                <a:gd name="T28" fmla="*/ 445 w 567"/>
                <a:gd name="T29" fmla="*/ 334 h 600"/>
                <a:gd name="T30" fmla="*/ 405 w 567"/>
                <a:gd name="T31" fmla="*/ 342 h 600"/>
                <a:gd name="T32" fmla="*/ 459 w 567"/>
                <a:gd name="T33" fmla="*/ 304 h 600"/>
                <a:gd name="T34" fmla="*/ 285 w 567"/>
                <a:gd name="T35" fmla="*/ 228 h 600"/>
                <a:gd name="T36" fmla="*/ 283 w 567"/>
                <a:gd name="T37" fmla="*/ 211 h 600"/>
                <a:gd name="T38" fmla="*/ 312 w 567"/>
                <a:gd name="T39" fmla="*/ 209 h 600"/>
                <a:gd name="T40" fmla="*/ 299 w 567"/>
                <a:gd name="T41" fmla="*/ 205 h 600"/>
                <a:gd name="T42" fmla="*/ 316 w 567"/>
                <a:gd name="T43" fmla="*/ 216 h 600"/>
                <a:gd name="T44" fmla="*/ 333 w 567"/>
                <a:gd name="T45" fmla="*/ 199 h 600"/>
                <a:gd name="T46" fmla="*/ 341 w 567"/>
                <a:gd name="T47" fmla="*/ 195 h 600"/>
                <a:gd name="T48" fmla="*/ 150 w 567"/>
                <a:gd name="T49" fmla="*/ 45 h 600"/>
                <a:gd name="T50" fmla="*/ 328 w 567"/>
                <a:gd name="T51" fmla="*/ 40 h 600"/>
                <a:gd name="T52" fmla="*/ 246 w 567"/>
                <a:gd name="T53" fmla="*/ 64 h 600"/>
                <a:gd name="T54" fmla="*/ 225 w 567"/>
                <a:gd name="T55" fmla="*/ 103 h 600"/>
                <a:gd name="T56" fmla="*/ 159 w 567"/>
                <a:gd name="T57" fmla="*/ 108 h 600"/>
                <a:gd name="T58" fmla="*/ 73 w 567"/>
                <a:gd name="T59" fmla="*/ 171 h 600"/>
                <a:gd name="T60" fmla="*/ 96 w 567"/>
                <a:gd name="T61" fmla="*/ 270 h 600"/>
                <a:gd name="T62" fmla="*/ 157 w 567"/>
                <a:gd name="T63" fmla="*/ 330 h 600"/>
                <a:gd name="T64" fmla="*/ 212 w 567"/>
                <a:gd name="T65" fmla="*/ 308 h 600"/>
                <a:gd name="T66" fmla="*/ 278 w 567"/>
                <a:gd name="T67" fmla="*/ 281 h 600"/>
                <a:gd name="T68" fmla="*/ 367 w 567"/>
                <a:gd name="T69" fmla="*/ 255 h 600"/>
                <a:gd name="T70" fmla="*/ 415 w 567"/>
                <a:gd name="T71" fmla="*/ 238 h 600"/>
                <a:gd name="T72" fmla="*/ 478 w 567"/>
                <a:gd name="T73" fmla="*/ 253 h 600"/>
                <a:gd name="T74" fmla="*/ 437 w 567"/>
                <a:gd name="T75" fmla="*/ 263 h 600"/>
                <a:gd name="T76" fmla="*/ 391 w 567"/>
                <a:gd name="T77" fmla="*/ 299 h 600"/>
                <a:gd name="T78" fmla="*/ 309 w 567"/>
                <a:gd name="T79" fmla="*/ 357 h 600"/>
                <a:gd name="T80" fmla="*/ 253 w 567"/>
                <a:gd name="T81" fmla="*/ 398 h 600"/>
                <a:gd name="T82" fmla="*/ 227 w 567"/>
                <a:gd name="T83" fmla="*/ 385 h 600"/>
                <a:gd name="T84" fmla="*/ 249 w 567"/>
                <a:gd name="T85" fmla="*/ 409 h 600"/>
                <a:gd name="T86" fmla="*/ 306 w 567"/>
                <a:gd name="T87" fmla="*/ 479 h 600"/>
                <a:gd name="T88" fmla="*/ 355 w 567"/>
                <a:gd name="T89" fmla="*/ 538 h 600"/>
                <a:gd name="T90" fmla="*/ 329 w 567"/>
                <a:gd name="T91" fmla="*/ 533 h 600"/>
                <a:gd name="T92" fmla="*/ 278 w 567"/>
                <a:gd name="T93" fmla="*/ 477 h 600"/>
                <a:gd name="T94" fmla="*/ 179 w 567"/>
                <a:gd name="T95" fmla="*/ 431 h 600"/>
                <a:gd name="T96" fmla="*/ 109 w 567"/>
                <a:gd name="T97" fmla="*/ 402 h 600"/>
                <a:gd name="T98" fmla="*/ 49 w 567"/>
                <a:gd name="T99" fmla="*/ 388 h 600"/>
                <a:gd name="T100" fmla="*/ 7 w 567"/>
                <a:gd name="T101" fmla="*/ 337 h 600"/>
                <a:gd name="T102" fmla="*/ 14 w 567"/>
                <a:gd name="T103" fmla="*/ 284 h 600"/>
                <a:gd name="T104" fmla="*/ 49 w 567"/>
                <a:gd name="T105" fmla="*/ 257 h 600"/>
                <a:gd name="T106" fmla="*/ 24 w 567"/>
                <a:gd name="T107" fmla="*/ 171 h 600"/>
                <a:gd name="T108" fmla="*/ 55 w 567"/>
                <a:gd name="T109" fmla="*/ 137 h 600"/>
                <a:gd name="T110" fmla="*/ 94 w 567"/>
                <a:gd name="T111" fmla="*/ 67 h 600"/>
                <a:gd name="T112" fmla="*/ 131 w 567"/>
                <a:gd name="T113" fmla="*/ 72 h 600"/>
                <a:gd name="T114" fmla="*/ 157 w 567"/>
                <a:gd name="T115" fmla="*/ 43 h 600"/>
                <a:gd name="T116" fmla="*/ 172 w 567"/>
                <a:gd name="T117" fmla="*/ 7 h 600"/>
                <a:gd name="T118" fmla="*/ 236 w 567"/>
                <a:gd name="T119" fmla="*/ 16 h 600"/>
                <a:gd name="T120" fmla="*/ 300 w 567"/>
                <a:gd name="T121" fmla="*/ 3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7" h="600">
                  <a:moveTo>
                    <a:pt x="442" y="590"/>
                  </a:moveTo>
                  <a:lnTo>
                    <a:pt x="445" y="595"/>
                  </a:lnTo>
                  <a:lnTo>
                    <a:pt x="445" y="597"/>
                  </a:lnTo>
                  <a:lnTo>
                    <a:pt x="439" y="597"/>
                  </a:lnTo>
                  <a:lnTo>
                    <a:pt x="439" y="600"/>
                  </a:lnTo>
                  <a:lnTo>
                    <a:pt x="437" y="600"/>
                  </a:lnTo>
                  <a:lnTo>
                    <a:pt x="430" y="595"/>
                  </a:lnTo>
                  <a:lnTo>
                    <a:pt x="434" y="591"/>
                  </a:lnTo>
                  <a:lnTo>
                    <a:pt x="442" y="590"/>
                  </a:lnTo>
                  <a:close/>
                  <a:moveTo>
                    <a:pt x="435" y="583"/>
                  </a:moveTo>
                  <a:lnTo>
                    <a:pt x="432" y="586"/>
                  </a:lnTo>
                  <a:lnTo>
                    <a:pt x="432" y="585"/>
                  </a:lnTo>
                  <a:lnTo>
                    <a:pt x="435" y="583"/>
                  </a:lnTo>
                  <a:close/>
                  <a:moveTo>
                    <a:pt x="352" y="561"/>
                  </a:moveTo>
                  <a:lnTo>
                    <a:pt x="353" y="561"/>
                  </a:lnTo>
                  <a:lnTo>
                    <a:pt x="353" y="562"/>
                  </a:lnTo>
                  <a:lnTo>
                    <a:pt x="352" y="562"/>
                  </a:lnTo>
                  <a:lnTo>
                    <a:pt x="352" y="561"/>
                  </a:lnTo>
                  <a:close/>
                  <a:moveTo>
                    <a:pt x="350" y="557"/>
                  </a:moveTo>
                  <a:lnTo>
                    <a:pt x="352" y="557"/>
                  </a:lnTo>
                  <a:lnTo>
                    <a:pt x="352" y="559"/>
                  </a:lnTo>
                  <a:lnTo>
                    <a:pt x="350" y="559"/>
                  </a:lnTo>
                  <a:lnTo>
                    <a:pt x="350" y="557"/>
                  </a:lnTo>
                  <a:close/>
                  <a:moveTo>
                    <a:pt x="364" y="532"/>
                  </a:moveTo>
                  <a:lnTo>
                    <a:pt x="367" y="530"/>
                  </a:lnTo>
                  <a:lnTo>
                    <a:pt x="367" y="533"/>
                  </a:lnTo>
                  <a:lnTo>
                    <a:pt x="360" y="530"/>
                  </a:lnTo>
                  <a:lnTo>
                    <a:pt x="364" y="532"/>
                  </a:lnTo>
                  <a:lnTo>
                    <a:pt x="364" y="530"/>
                  </a:lnTo>
                  <a:lnTo>
                    <a:pt x="364" y="532"/>
                  </a:lnTo>
                  <a:close/>
                  <a:moveTo>
                    <a:pt x="348" y="527"/>
                  </a:moveTo>
                  <a:lnTo>
                    <a:pt x="352" y="527"/>
                  </a:lnTo>
                  <a:lnTo>
                    <a:pt x="352" y="528"/>
                  </a:lnTo>
                  <a:lnTo>
                    <a:pt x="348" y="528"/>
                  </a:lnTo>
                  <a:lnTo>
                    <a:pt x="348" y="527"/>
                  </a:lnTo>
                  <a:close/>
                  <a:moveTo>
                    <a:pt x="353" y="527"/>
                  </a:moveTo>
                  <a:lnTo>
                    <a:pt x="357" y="528"/>
                  </a:lnTo>
                  <a:lnTo>
                    <a:pt x="355" y="530"/>
                  </a:lnTo>
                  <a:lnTo>
                    <a:pt x="353" y="530"/>
                  </a:lnTo>
                  <a:lnTo>
                    <a:pt x="352" y="528"/>
                  </a:lnTo>
                  <a:lnTo>
                    <a:pt x="353" y="525"/>
                  </a:lnTo>
                  <a:lnTo>
                    <a:pt x="353" y="527"/>
                  </a:lnTo>
                  <a:close/>
                  <a:moveTo>
                    <a:pt x="345" y="523"/>
                  </a:moveTo>
                  <a:lnTo>
                    <a:pt x="348" y="525"/>
                  </a:lnTo>
                  <a:lnTo>
                    <a:pt x="345" y="527"/>
                  </a:lnTo>
                  <a:lnTo>
                    <a:pt x="343" y="523"/>
                  </a:lnTo>
                  <a:lnTo>
                    <a:pt x="345" y="523"/>
                  </a:lnTo>
                  <a:close/>
                  <a:moveTo>
                    <a:pt x="442" y="431"/>
                  </a:moveTo>
                  <a:lnTo>
                    <a:pt x="444" y="427"/>
                  </a:lnTo>
                  <a:lnTo>
                    <a:pt x="442" y="431"/>
                  </a:lnTo>
                  <a:close/>
                  <a:moveTo>
                    <a:pt x="495" y="417"/>
                  </a:moveTo>
                  <a:lnTo>
                    <a:pt x="497" y="417"/>
                  </a:lnTo>
                  <a:lnTo>
                    <a:pt x="497" y="421"/>
                  </a:lnTo>
                  <a:lnTo>
                    <a:pt x="495" y="421"/>
                  </a:lnTo>
                  <a:lnTo>
                    <a:pt x="495" y="417"/>
                  </a:lnTo>
                  <a:close/>
                  <a:moveTo>
                    <a:pt x="490" y="414"/>
                  </a:moveTo>
                  <a:lnTo>
                    <a:pt x="492" y="414"/>
                  </a:lnTo>
                  <a:lnTo>
                    <a:pt x="492" y="415"/>
                  </a:lnTo>
                  <a:lnTo>
                    <a:pt x="490" y="415"/>
                  </a:lnTo>
                  <a:lnTo>
                    <a:pt x="490" y="414"/>
                  </a:lnTo>
                  <a:close/>
                  <a:moveTo>
                    <a:pt x="534" y="414"/>
                  </a:moveTo>
                  <a:lnTo>
                    <a:pt x="536" y="414"/>
                  </a:lnTo>
                  <a:lnTo>
                    <a:pt x="536" y="415"/>
                  </a:lnTo>
                  <a:lnTo>
                    <a:pt x="534" y="415"/>
                  </a:lnTo>
                  <a:lnTo>
                    <a:pt x="534" y="414"/>
                  </a:lnTo>
                  <a:close/>
                  <a:moveTo>
                    <a:pt x="531" y="410"/>
                  </a:moveTo>
                  <a:lnTo>
                    <a:pt x="531" y="414"/>
                  </a:lnTo>
                  <a:lnTo>
                    <a:pt x="529" y="412"/>
                  </a:lnTo>
                  <a:lnTo>
                    <a:pt x="529" y="410"/>
                  </a:lnTo>
                  <a:lnTo>
                    <a:pt x="526" y="410"/>
                  </a:lnTo>
                  <a:lnTo>
                    <a:pt x="527" y="404"/>
                  </a:lnTo>
                  <a:lnTo>
                    <a:pt x="531" y="410"/>
                  </a:lnTo>
                  <a:close/>
                  <a:moveTo>
                    <a:pt x="517" y="405"/>
                  </a:moveTo>
                  <a:lnTo>
                    <a:pt x="519" y="407"/>
                  </a:lnTo>
                  <a:lnTo>
                    <a:pt x="515" y="410"/>
                  </a:lnTo>
                  <a:lnTo>
                    <a:pt x="515" y="407"/>
                  </a:lnTo>
                  <a:lnTo>
                    <a:pt x="517" y="405"/>
                  </a:lnTo>
                  <a:lnTo>
                    <a:pt x="517" y="404"/>
                  </a:lnTo>
                  <a:lnTo>
                    <a:pt x="517" y="405"/>
                  </a:lnTo>
                  <a:close/>
                  <a:moveTo>
                    <a:pt x="481" y="400"/>
                  </a:moveTo>
                  <a:lnTo>
                    <a:pt x="483" y="400"/>
                  </a:lnTo>
                  <a:lnTo>
                    <a:pt x="483" y="404"/>
                  </a:lnTo>
                  <a:lnTo>
                    <a:pt x="481" y="404"/>
                  </a:lnTo>
                  <a:lnTo>
                    <a:pt x="481" y="400"/>
                  </a:lnTo>
                  <a:close/>
                  <a:moveTo>
                    <a:pt x="481" y="395"/>
                  </a:moveTo>
                  <a:lnTo>
                    <a:pt x="483" y="395"/>
                  </a:lnTo>
                  <a:lnTo>
                    <a:pt x="483" y="397"/>
                  </a:lnTo>
                  <a:lnTo>
                    <a:pt x="481" y="397"/>
                  </a:lnTo>
                  <a:lnTo>
                    <a:pt x="481" y="395"/>
                  </a:lnTo>
                  <a:close/>
                  <a:moveTo>
                    <a:pt x="239" y="393"/>
                  </a:moveTo>
                  <a:lnTo>
                    <a:pt x="237" y="397"/>
                  </a:lnTo>
                  <a:lnTo>
                    <a:pt x="237" y="395"/>
                  </a:lnTo>
                  <a:lnTo>
                    <a:pt x="239" y="393"/>
                  </a:lnTo>
                  <a:close/>
                  <a:moveTo>
                    <a:pt x="517" y="392"/>
                  </a:moveTo>
                  <a:lnTo>
                    <a:pt x="517" y="395"/>
                  </a:lnTo>
                  <a:lnTo>
                    <a:pt x="517" y="392"/>
                  </a:lnTo>
                  <a:close/>
                  <a:moveTo>
                    <a:pt x="229" y="392"/>
                  </a:moveTo>
                  <a:lnTo>
                    <a:pt x="230" y="392"/>
                  </a:lnTo>
                  <a:lnTo>
                    <a:pt x="230" y="393"/>
                  </a:lnTo>
                  <a:lnTo>
                    <a:pt x="229" y="393"/>
                  </a:lnTo>
                  <a:lnTo>
                    <a:pt x="229" y="392"/>
                  </a:lnTo>
                  <a:close/>
                  <a:moveTo>
                    <a:pt x="514" y="395"/>
                  </a:moveTo>
                  <a:lnTo>
                    <a:pt x="514" y="398"/>
                  </a:lnTo>
                  <a:lnTo>
                    <a:pt x="509" y="398"/>
                  </a:lnTo>
                  <a:lnTo>
                    <a:pt x="509" y="395"/>
                  </a:lnTo>
                  <a:lnTo>
                    <a:pt x="512" y="392"/>
                  </a:lnTo>
                  <a:lnTo>
                    <a:pt x="514" y="395"/>
                  </a:lnTo>
                  <a:close/>
                  <a:moveTo>
                    <a:pt x="504" y="398"/>
                  </a:moveTo>
                  <a:lnTo>
                    <a:pt x="502" y="397"/>
                  </a:lnTo>
                  <a:lnTo>
                    <a:pt x="502" y="390"/>
                  </a:lnTo>
                  <a:lnTo>
                    <a:pt x="504" y="398"/>
                  </a:lnTo>
                  <a:close/>
                  <a:moveTo>
                    <a:pt x="505" y="388"/>
                  </a:moveTo>
                  <a:lnTo>
                    <a:pt x="507" y="393"/>
                  </a:lnTo>
                  <a:lnTo>
                    <a:pt x="507" y="395"/>
                  </a:lnTo>
                  <a:lnTo>
                    <a:pt x="504" y="390"/>
                  </a:lnTo>
                  <a:lnTo>
                    <a:pt x="505" y="388"/>
                  </a:lnTo>
                  <a:close/>
                  <a:moveTo>
                    <a:pt x="522" y="393"/>
                  </a:moveTo>
                  <a:lnTo>
                    <a:pt x="526" y="397"/>
                  </a:lnTo>
                  <a:lnTo>
                    <a:pt x="529" y="400"/>
                  </a:lnTo>
                  <a:lnTo>
                    <a:pt x="527" y="405"/>
                  </a:lnTo>
                  <a:lnTo>
                    <a:pt x="526" y="402"/>
                  </a:lnTo>
                  <a:lnTo>
                    <a:pt x="524" y="407"/>
                  </a:lnTo>
                  <a:lnTo>
                    <a:pt x="519" y="402"/>
                  </a:lnTo>
                  <a:lnTo>
                    <a:pt x="519" y="397"/>
                  </a:lnTo>
                  <a:lnTo>
                    <a:pt x="517" y="397"/>
                  </a:lnTo>
                  <a:lnTo>
                    <a:pt x="519" y="393"/>
                  </a:lnTo>
                  <a:lnTo>
                    <a:pt x="517" y="390"/>
                  </a:lnTo>
                  <a:lnTo>
                    <a:pt x="519" y="388"/>
                  </a:lnTo>
                  <a:lnTo>
                    <a:pt x="522" y="393"/>
                  </a:lnTo>
                  <a:close/>
                  <a:moveTo>
                    <a:pt x="469" y="386"/>
                  </a:moveTo>
                  <a:lnTo>
                    <a:pt x="471" y="386"/>
                  </a:lnTo>
                  <a:lnTo>
                    <a:pt x="471" y="390"/>
                  </a:lnTo>
                  <a:lnTo>
                    <a:pt x="469" y="390"/>
                  </a:lnTo>
                  <a:lnTo>
                    <a:pt x="469" y="386"/>
                  </a:lnTo>
                  <a:close/>
                  <a:moveTo>
                    <a:pt x="515" y="386"/>
                  </a:moveTo>
                  <a:lnTo>
                    <a:pt x="517" y="386"/>
                  </a:lnTo>
                  <a:lnTo>
                    <a:pt x="517" y="390"/>
                  </a:lnTo>
                  <a:lnTo>
                    <a:pt x="515" y="390"/>
                  </a:lnTo>
                  <a:lnTo>
                    <a:pt x="515" y="386"/>
                  </a:lnTo>
                  <a:close/>
                  <a:moveTo>
                    <a:pt x="509" y="386"/>
                  </a:moveTo>
                  <a:lnTo>
                    <a:pt x="509" y="388"/>
                  </a:lnTo>
                  <a:lnTo>
                    <a:pt x="509" y="390"/>
                  </a:lnTo>
                  <a:lnTo>
                    <a:pt x="509" y="392"/>
                  </a:lnTo>
                  <a:lnTo>
                    <a:pt x="509" y="388"/>
                  </a:lnTo>
                  <a:lnTo>
                    <a:pt x="507" y="388"/>
                  </a:lnTo>
                  <a:lnTo>
                    <a:pt x="509" y="386"/>
                  </a:lnTo>
                  <a:close/>
                  <a:moveTo>
                    <a:pt x="234" y="383"/>
                  </a:moveTo>
                  <a:lnTo>
                    <a:pt x="234" y="386"/>
                  </a:lnTo>
                  <a:lnTo>
                    <a:pt x="230" y="386"/>
                  </a:lnTo>
                  <a:lnTo>
                    <a:pt x="232" y="383"/>
                  </a:lnTo>
                  <a:lnTo>
                    <a:pt x="234" y="383"/>
                  </a:lnTo>
                  <a:close/>
                  <a:moveTo>
                    <a:pt x="545" y="383"/>
                  </a:moveTo>
                  <a:lnTo>
                    <a:pt x="548" y="385"/>
                  </a:lnTo>
                  <a:lnTo>
                    <a:pt x="548" y="390"/>
                  </a:lnTo>
                  <a:lnTo>
                    <a:pt x="543" y="381"/>
                  </a:lnTo>
                  <a:lnTo>
                    <a:pt x="545" y="380"/>
                  </a:lnTo>
                  <a:lnTo>
                    <a:pt x="545" y="383"/>
                  </a:lnTo>
                  <a:close/>
                  <a:moveTo>
                    <a:pt x="437" y="376"/>
                  </a:moveTo>
                  <a:lnTo>
                    <a:pt x="440" y="376"/>
                  </a:lnTo>
                  <a:lnTo>
                    <a:pt x="440" y="378"/>
                  </a:lnTo>
                  <a:lnTo>
                    <a:pt x="442" y="380"/>
                  </a:lnTo>
                  <a:lnTo>
                    <a:pt x="442" y="385"/>
                  </a:lnTo>
                  <a:lnTo>
                    <a:pt x="437" y="390"/>
                  </a:lnTo>
                  <a:lnTo>
                    <a:pt x="435" y="393"/>
                  </a:lnTo>
                  <a:lnTo>
                    <a:pt x="432" y="395"/>
                  </a:lnTo>
                  <a:lnTo>
                    <a:pt x="430" y="392"/>
                  </a:lnTo>
                  <a:lnTo>
                    <a:pt x="432" y="390"/>
                  </a:lnTo>
                  <a:lnTo>
                    <a:pt x="432" y="383"/>
                  </a:lnTo>
                  <a:lnTo>
                    <a:pt x="435" y="374"/>
                  </a:lnTo>
                  <a:lnTo>
                    <a:pt x="437" y="376"/>
                  </a:lnTo>
                  <a:close/>
                  <a:moveTo>
                    <a:pt x="563" y="371"/>
                  </a:moveTo>
                  <a:lnTo>
                    <a:pt x="565" y="373"/>
                  </a:lnTo>
                  <a:lnTo>
                    <a:pt x="567" y="376"/>
                  </a:lnTo>
                  <a:lnTo>
                    <a:pt x="565" y="378"/>
                  </a:lnTo>
                  <a:lnTo>
                    <a:pt x="563" y="376"/>
                  </a:lnTo>
                  <a:lnTo>
                    <a:pt x="565" y="374"/>
                  </a:lnTo>
                  <a:lnTo>
                    <a:pt x="562" y="374"/>
                  </a:lnTo>
                  <a:lnTo>
                    <a:pt x="563" y="371"/>
                  </a:lnTo>
                  <a:close/>
                  <a:moveTo>
                    <a:pt x="490" y="371"/>
                  </a:moveTo>
                  <a:lnTo>
                    <a:pt x="490" y="374"/>
                  </a:lnTo>
                  <a:lnTo>
                    <a:pt x="488" y="374"/>
                  </a:lnTo>
                  <a:lnTo>
                    <a:pt x="488" y="376"/>
                  </a:lnTo>
                  <a:lnTo>
                    <a:pt x="490" y="371"/>
                  </a:lnTo>
                  <a:close/>
                  <a:moveTo>
                    <a:pt x="471" y="364"/>
                  </a:moveTo>
                  <a:lnTo>
                    <a:pt x="471" y="369"/>
                  </a:lnTo>
                  <a:lnTo>
                    <a:pt x="468" y="373"/>
                  </a:lnTo>
                  <a:lnTo>
                    <a:pt x="466" y="371"/>
                  </a:lnTo>
                  <a:lnTo>
                    <a:pt x="463" y="378"/>
                  </a:lnTo>
                  <a:lnTo>
                    <a:pt x="457" y="378"/>
                  </a:lnTo>
                  <a:lnTo>
                    <a:pt x="463" y="369"/>
                  </a:lnTo>
                  <a:lnTo>
                    <a:pt x="468" y="364"/>
                  </a:lnTo>
                  <a:lnTo>
                    <a:pt x="471" y="364"/>
                  </a:lnTo>
                  <a:close/>
                  <a:moveTo>
                    <a:pt x="481" y="347"/>
                  </a:moveTo>
                  <a:lnTo>
                    <a:pt x="483" y="347"/>
                  </a:lnTo>
                  <a:lnTo>
                    <a:pt x="483" y="349"/>
                  </a:lnTo>
                  <a:lnTo>
                    <a:pt x="481" y="349"/>
                  </a:lnTo>
                  <a:lnTo>
                    <a:pt x="481" y="347"/>
                  </a:lnTo>
                  <a:close/>
                  <a:moveTo>
                    <a:pt x="399" y="344"/>
                  </a:moveTo>
                  <a:lnTo>
                    <a:pt x="399" y="347"/>
                  </a:lnTo>
                  <a:lnTo>
                    <a:pt x="399" y="344"/>
                  </a:lnTo>
                  <a:close/>
                  <a:moveTo>
                    <a:pt x="488" y="340"/>
                  </a:moveTo>
                  <a:lnTo>
                    <a:pt x="493" y="349"/>
                  </a:lnTo>
                  <a:lnTo>
                    <a:pt x="492" y="356"/>
                  </a:lnTo>
                  <a:lnTo>
                    <a:pt x="493" y="356"/>
                  </a:lnTo>
                  <a:lnTo>
                    <a:pt x="497" y="354"/>
                  </a:lnTo>
                  <a:lnTo>
                    <a:pt x="500" y="357"/>
                  </a:lnTo>
                  <a:lnTo>
                    <a:pt x="500" y="359"/>
                  </a:lnTo>
                  <a:lnTo>
                    <a:pt x="497" y="359"/>
                  </a:lnTo>
                  <a:lnTo>
                    <a:pt x="500" y="361"/>
                  </a:lnTo>
                  <a:lnTo>
                    <a:pt x="498" y="366"/>
                  </a:lnTo>
                  <a:lnTo>
                    <a:pt x="493" y="371"/>
                  </a:lnTo>
                  <a:lnTo>
                    <a:pt x="490" y="371"/>
                  </a:lnTo>
                  <a:lnTo>
                    <a:pt x="486" y="368"/>
                  </a:lnTo>
                  <a:lnTo>
                    <a:pt x="486" y="369"/>
                  </a:lnTo>
                  <a:lnTo>
                    <a:pt x="483" y="369"/>
                  </a:lnTo>
                  <a:lnTo>
                    <a:pt x="481" y="364"/>
                  </a:lnTo>
                  <a:lnTo>
                    <a:pt x="483" y="364"/>
                  </a:lnTo>
                  <a:lnTo>
                    <a:pt x="481" y="361"/>
                  </a:lnTo>
                  <a:lnTo>
                    <a:pt x="483" y="359"/>
                  </a:lnTo>
                  <a:lnTo>
                    <a:pt x="483" y="357"/>
                  </a:lnTo>
                  <a:lnTo>
                    <a:pt x="485" y="354"/>
                  </a:lnTo>
                  <a:lnTo>
                    <a:pt x="483" y="354"/>
                  </a:lnTo>
                  <a:lnTo>
                    <a:pt x="483" y="349"/>
                  </a:lnTo>
                  <a:lnTo>
                    <a:pt x="486" y="342"/>
                  </a:lnTo>
                  <a:lnTo>
                    <a:pt x="488" y="344"/>
                  </a:lnTo>
                  <a:lnTo>
                    <a:pt x="488" y="342"/>
                  </a:lnTo>
                  <a:lnTo>
                    <a:pt x="488" y="340"/>
                  </a:lnTo>
                  <a:close/>
                  <a:moveTo>
                    <a:pt x="493" y="340"/>
                  </a:moveTo>
                  <a:lnTo>
                    <a:pt x="493" y="344"/>
                  </a:lnTo>
                  <a:lnTo>
                    <a:pt x="492" y="342"/>
                  </a:lnTo>
                  <a:lnTo>
                    <a:pt x="493" y="340"/>
                  </a:lnTo>
                  <a:close/>
                  <a:moveTo>
                    <a:pt x="464" y="310"/>
                  </a:moveTo>
                  <a:lnTo>
                    <a:pt x="461" y="318"/>
                  </a:lnTo>
                  <a:lnTo>
                    <a:pt x="457" y="310"/>
                  </a:lnTo>
                  <a:lnTo>
                    <a:pt x="459" y="306"/>
                  </a:lnTo>
                  <a:lnTo>
                    <a:pt x="463" y="304"/>
                  </a:lnTo>
                  <a:lnTo>
                    <a:pt x="464" y="310"/>
                  </a:lnTo>
                  <a:close/>
                  <a:moveTo>
                    <a:pt x="447" y="301"/>
                  </a:moveTo>
                  <a:lnTo>
                    <a:pt x="449" y="301"/>
                  </a:lnTo>
                  <a:lnTo>
                    <a:pt x="452" y="308"/>
                  </a:lnTo>
                  <a:lnTo>
                    <a:pt x="456" y="311"/>
                  </a:lnTo>
                  <a:lnTo>
                    <a:pt x="451" y="316"/>
                  </a:lnTo>
                  <a:lnTo>
                    <a:pt x="447" y="315"/>
                  </a:lnTo>
                  <a:lnTo>
                    <a:pt x="449" y="318"/>
                  </a:lnTo>
                  <a:lnTo>
                    <a:pt x="447" y="322"/>
                  </a:lnTo>
                  <a:lnTo>
                    <a:pt x="452" y="327"/>
                  </a:lnTo>
                  <a:lnTo>
                    <a:pt x="454" y="330"/>
                  </a:lnTo>
                  <a:lnTo>
                    <a:pt x="459" y="327"/>
                  </a:lnTo>
                  <a:lnTo>
                    <a:pt x="459" y="322"/>
                  </a:lnTo>
                  <a:lnTo>
                    <a:pt x="463" y="320"/>
                  </a:lnTo>
                  <a:lnTo>
                    <a:pt x="464" y="315"/>
                  </a:lnTo>
                  <a:lnTo>
                    <a:pt x="469" y="310"/>
                  </a:lnTo>
                  <a:lnTo>
                    <a:pt x="473" y="311"/>
                  </a:lnTo>
                  <a:lnTo>
                    <a:pt x="473" y="310"/>
                  </a:lnTo>
                  <a:lnTo>
                    <a:pt x="475" y="310"/>
                  </a:lnTo>
                  <a:lnTo>
                    <a:pt x="473" y="313"/>
                  </a:lnTo>
                  <a:lnTo>
                    <a:pt x="476" y="315"/>
                  </a:lnTo>
                  <a:lnTo>
                    <a:pt x="478" y="315"/>
                  </a:lnTo>
                  <a:lnTo>
                    <a:pt x="478" y="311"/>
                  </a:lnTo>
                  <a:lnTo>
                    <a:pt x="483" y="316"/>
                  </a:lnTo>
                  <a:lnTo>
                    <a:pt x="486" y="315"/>
                  </a:lnTo>
                  <a:lnTo>
                    <a:pt x="492" y="316"/>
                  </a:lnTo>
                  <a:lnTo>
                    <a:pt x="492" y="323"/>
                  </a:lnTo>
                  <a:lnTo>
                    <a:pt x="490" y="327"/>
                  </a:lnTo>
                  <a:lnTo>
                    <a:pt x="490" y="330"/>
                  </a:lnTo>
                  <a:lnTo>
                    <a:pt x="486" y="339"/>
                  </a:lnTo>
                  <a:lnTo>
                    <a:pt x="483" y="340"/>
                  </a:lnTo>
                  <a:lnTo>
                    <a:pt x="481" y="339"/>
                  </a:lnTo>
                  <a:lnTo>
                    <a:pt x="480" y="345"/>
                  </a:lnTo>
                  <a:lnTo>
                    <a:pt x="478" y="344"/>
                  </a:lnTo>
                  <a:lnTo>
                    <a:pt x="475" y="347"/>
                  </a:lnTo>
                  <a:lnTo>
                    <a:pt x="469" y="344"/>
                  </a:lnTo>
                  <a:lnTo>
                    <a:pt x="468" y="345"/>
                  </a:lnTo>
                  <a:lnTo>
                    <a:pt x="468" y="340"/>
                  </a:lnTo>
                  <a:lnTo>
                    <a:pt x="464" y="337"/>
                  </a:lnTo>
                  <a:lnTo>
                    <a:pt x="464" y="334"/>
                  </a:lnTo>
                  <a:lnTo>
                    <a:pt x="459" y="334"/>
                  </a:lnTo>
                  <a:lnTo>
                    <a:pt x="459" y="335"/>
                  </a:lnTo>
                  <a:lnTo>
                    <a:pt x="456" y="337"/>
                  </a:lnTo>
                  <a:lnTo>
                    <a:pt x="456" y="342"/>
                  </a:lnTo>
                  <a:lnTo>
                    <a:pt x="454" y="349"/>
                  </a:lnTo>
                  <a:lnTo>
                    <a:pt x="454" y="354"/>
                  </a:lnTo>
                  <a:lnTo>
                    <a:pt x="456" y="356"/>
                  </a:lnTo>
                  <a:lnTo>
                    <a:pt x="456" y="359"/>
                  </a:lnTo>
                  <a:lnTo>
                    <a:pt x="454" y="361"/>
                  </a:lnTo>
                  <a:lnTo>
                    <a:pt x="452" y="356"/>
                  </a:lnTo>
                  <a:lnTo>
                    <a:pt x="451" y="357"/>
                  </a:lnTo>
                  <a:lnTo>
                    <a:pt x="447" y="357"/>
                  </a:lnTo>
                  <a:lnTo>
                    <a:pt x="447" y="359"/>
                  </a:lnTo>
                  <a:lnTo>
                    <a:pt x="444" y="361"/>
                  </a:lnTo>
                  <a:lnTo>
                    <a:pt x="444" y="357"/>
                  </a:lnTo>
                  <a:lnTo>
                    <a:pt x="439" y="357"/>
                  </a:lnTo>
                  <a:lnTo>
                    <a:pt x="439" y="354"/>
                  </a:lnTo>
                  <a:lnTo>
                    <a:pt x="437" y="356"/>
                  </a:lnTo>
                  <a:lnTo>
                    <a:pt x="437" y="354"/>
                  </a:lnTo>
                  <a:lnTo>
                    <a:pt x="439" y="351"/>
                  </a:lnTo>
                  <a:lnTo>
                    <a:pt x="440" y="351"/>
                  </a:lnTo>
                  <a:lnTo>
                    <a:pt x="447" y="345"/>
                  </a:lnTo>
                  <a:lnTo>
                    <a:pt x="445" y="337"/>
                  </a:lnTo>
                  <a:lnTo>
                    <a:pt x="445" y="334"/>
                  </a:lnTo>
                  <a:lnTo>
                    <a:pt x="444" y="334"/>
                  </a:lnTo>
                  <a:lnTo>
                    <a:pt x="445" y="334"/>
                  </a:lnTo>
                  <a:lnTo>
                    <a:pt x="445" y="330"/>
                  </a:lnTo>
                  <a:lnTo>
                    <a:pt x="444" y="327"/>
                  </a:lnTo>
                  <a:lnTo>
                    <a:pt x="445" y="320"/>
                  </a:lnTo>
                  <a:lnTo>
                    <a:pt x="442" y="318"/>
                  </a:lnTo>
                  <a:lnTo>
                    <a:pt x="440" y="322"/>
                  </a:lnTo>
                  <a:lnTo>
                    <a:pt x="439" y="320"/>
                  </a:lnTo>
                  <a:lnTo>
                    <a:pt x="437" y="325"/>
                  </a:lnTo>
                  <a:lnTo>
                    <a:pt x="435" y="325"/>
                  </a:lnTo>
                  <a:lnTo>
                    <a:pt x="430" y="334"/>
                  </a:lnTo>
                  <a:lnTo>
                    <a:pt x="427" y="342"/>
                  </a:lnTo>
                  <a:lnTo>
                    <a:pt x="425" y="345"/>
                  </a:lnTo>
                  <a:lnTo>
                    <a:pt x="418" y="349"/>
                  </a:lnTo>
                  <a:lnTo>
                    <a:pt x="415" y="354"/>
                  </a:lnTo>
                  <a:lnTo>
                    <a:pt x="410" y="354"/>
                  </a:lnTo>
                  <a:lnTo>
                    <a:pt x="406" y="352"/>
                  </a:lnTo>
                  <a:lnTo>
                    <a:pt x="408" y="349"/>
                  </a:lnTo>
                  <a:lnTo>
                    <a:pt x="403" y="344"/>
                  </a:lnTo>
                  <a:lnTo>
                    <a:pt x="405" y="342"/>
                  </a:lnTo>
                  <a:lnTo>
                    <a:pt x="401" y="340"/>
                  </a:lnTo>
                  <a:lnTo>
                    <a:pt x="401" y="342"/>
                  </a:lnTo>
                  <a:lnTo>
                    <a:pt x="399" y="339"/>
                  </a:lnTo>
                  <a:lnTo>
                    <a:pt x="401" y="335"/>
                  </a:lnTo>
                  <a:lnTo>
                    <a:pt x="401" y="328"/>
                  </a:lnTo>
                  <a:lnTo>
                    <a:pt x="403" y="323"/>
                  </a:lnTo>
                  <a:lnTo>
                    <a:pt x="405" y="316"/>
                  </a:lnTo>
                  <a:lnTo>
                    <a:pt x="410" y="313"/>
                  </a:lnTo>
                  <a:lnTo>
                    <a:pt x="413" y="304"/>
                  </a:lnTo>
                  <a:lnTo>
                    <a:pt x="418" y="306"/>
                  </a:lnTo>
                  <a:lnTo>
                    <a:pt x="422" y="310"/>
                  </a:lnTo>
                  <a:lnTo>
                    <a:pt x="428" y="304"/>
                  </a:lnTo>
                  <a:lnTo>
                    <a:pt x="439" y="303"/>
                  </a:lnTo>
                  <a:lnTo>
                    <a:pt x="442" y="308"/>
                  </a:lnTo>
                  <a:lnTo>
                    <a:pt x="445" y="301"/>
                  </a:lnTo>
                  <a:lnTo>
                    <a:pt x="447" y="301"/>
                  </a:lnTo>
                  <a:close/>
                  <a:moveTo>
                    <a:pt x="459" y="304"/>
                  </a:moveTo>
                  <a:lnTo>
                    <a:pt x="459" y="303"/>
                  </a:lnTo>
                  <a:lnTo>
                    <a:pt x="461" y="301"/>
                  </a:lnTo>
                  <a:lnTo>
                    <a:pt x="459" y="304"/>
                  </a:lnTo>
                  <a:close/>
                  <a:moveTo>
                    <a:pt x="379" y="221"/>
                  </a:moveTo>
                  <a:lnTo>
                    <a:pt x="379" y="224"/>
                  </a:lnTo>
                  <a:lnTo>
                    <a:pt x="376" y="224"/>
                  </a:lnTo>
                  <a:lnTo>
                    <a:pt x="374" y="226"/>
                  </a:lnTo>
                  <a:lnTo>
                    <a:pt x="369" y="224"/>
                  </a:lnTo>
                  <a:lnTo>
                    <a:pt x="377" y="221"/>
                  </a:lnTo>
                  <a:lnTo>
                    <a:pt x="379" y="221"/>
                  </a:lnTo>
                  <a:close/>
                  <a:moveTo>
                    <a:pt x="288" y="212"/>
                  </a:moveTo>
                  <a:lnTo>
                    <a:pt x="295" y="217"/>
                  </a:lnTo>
                  <a:lnTo>
                    <a:pt x="297" y="222"/>
                  </a:lnTo>
                  <a:lnTo>
                    <a:pt x="295" y="222"/>
                  </a:lnTo>
                  <a:lnTo>
                    <a:pt x="295" y="224"/>
                  </a:lnTo>
                  <a:lnTo>
                    <a:pt x="295" y="226"/>
                  </a:lnTo>
                  <a:lnTo>
                    <a:pt x="290" y="228"/>
                  </a:lnTo>
                  <a:lnTo>
                    <a:pt x="290" y="226"/>
                  </a:lnTo>
                  <a:lnTo>
                    <a:pt x="290" y="224"/>
                  </a:lnTo>
                  <a:lnTo>
                    <a:pt x="288" y="222"/>
                  </a:lnTo>
                  <a:lnTo>
                    <a:pt x="285" y="222"/>
                  </a:lnTo>
                  <a:lnTo>
                    <a:pt x="288" y="226"/>
                  </a:lnTo>
                  <a:lnTo>
                    <a:pt x="285" y="228"/>
                  </a:lnTo>
                  <a:lnTo>
                    <a:pt x="282" y="224"/>
                  </a:lnTo>
                  <a:lnTo>
                    <a:pt x="278" y="222"/>
                  </a:lnTo>
                  <a:lnTo>
                    <a:pt x="275" y="224"/>
                  </a:lnTo>
                  <a:lnTo>
                    <a:pt x="275" y="222"/>
                  </a:lnTo>
                  <a:lnTo>
                    <a:pt x="270" y="231"/>
                  </a:lnTo>
                  <a:lnTo>
                    <a:pt x="265" y="233"/>
                  </a:lnTo>
                  <a:lnTo>
                    <a:pt x="263" y="228"/>
                  </a:lnTo>
                  <a:lnTo>
                    <a:pt x="266" y="228"/>
                  </a:lnTo>
                  <a:lnTo>
                    <a:pt x="268" y="221"/>
                  </a:lnTo>
                  <a:lnTo>
                    <a:pt x="270" y="221"/>
                  </a:lnTo>
                  <a:lnTo>
                    <a:pt x="268" y="221"/>
                  </a:lnTo>
                  <a:lnTo>
                    <a:pt x="271" y="221"/>
                  </a:lnTo>
                  <a:lnTo>
                    <a:pt x="273" y="219"/>
                  </a:lnTo>
                  <a:lnTo>
                    <a:pt x="273" y="217"/>
                  </a:lnTo>
                  <a:lnTo>
                    <a:pt x="276" y="217"/>
                  </a:lnTo>
                  <a:lnTo>
                    <a:pt x="276" y="214"/>
                  </a:lnTo>
                  <a:lnTo>
                    <a:pt x="278" y="214"/>
                  </a:lnTo>
                  <a:lnTo>
                    <a:pt x="280" y="217"/>
                  </a:lnTo>
                  <a:lnTo>
                    <a:pt x="288" y="212"/>
                  </a:lnTo>
                  <a:close/>
                  <a:moveTo>
                    <a:pt x="283" y="211"/>
                  </a:moveTo>
                  <a:lnTo>
                    <a:pt x="285" y="211"/>
                  </a:lnTo>
                  <a:lnTo>
                    <a:pt x="285" y="212"/>
                  </a:lnTo>
                  <a:lnTo>
                    <a:pt x="283" y="212"/>
                  </a:lnTo>
                  <a:lnTo>
                    <a:pt x="283" y="211"/>
                  </a:lnTo>
                  <a:close/>
                  <a:moveTo>
                    <a:pt x="290" y="205"/>
                  </a:moveTo>
                  <a:lnTo>
                    <a:pt x="288" y="207"/>
                  </a:lnTo>
                  <a:lnTo>
                    <a:pt x="287" y="207"/>
                  </a:lnTo>
                  <a:lnTo>
                    <a:pt x="290" y="205"/>
                  </a:lnTo>
                  <a:close/>
                  <a:moveTo>
                    <a:pt x="299" y="202"/>
                  </a:moveTo>
                  <a:lnTo>
                    <a:pt x="304" y="204"/>
                  </a:lnTo>
                  <a:lnTo>
                    <a:pt x="302" y="205"/>
                  </a:lnTo>
                  <a:lnTo>
                    <a:pt x="306" y="204"/>
                  </a:lnTo>
                  <a:lnTo>
                    <a:pt x="304" y="205"/>
                  </a:lnTo>
                  <a:lnTo>
                    <a:pt x="306" y="205"/>
                  </a:lnTo>
                  <a:lnTo>
                    <a:pt x="307" y="209"/>
                  </a:lnTo>
                  <a:lnTo>
                    <a:pt x="307" y="205"/>
                  </a:lnTo>
                  <a:lnTo>
                    <a:pt x="311" y="207"/>
                  </a:lnTo>
                  <a:lnTo>
                    <a:pt x="311" y="204"/>
                  </a:lnTo>
                  <a:lnTo>
                    <a:pt x="312" y="205"/>
                  </a:lnTo>
                  <a:lnTo>
                    <a:pt x="312" y="209"/>
                  </a:lnTo>
                  <a:lnTo>
                    <a:pt x="314" y="211"/>
                  </a:lnTo>
                  <a:lnTo>
                    <a:pt x="312" y="212"/>
                  </a:lnTo>
                  <a:lnTo>
                    <a:pt x="312" y="214"/>
                  </a:lnTo>
                  <a:lnTo>
                    <a:pt x="309" y="214"/>
                  </a:lnTo>
                  <a:lnTo>
                    <a:pt x="307" y="212"/>
                  </a:lnTo>
                  <a:lnTo>
                    <a:pt x="307" y="214"/>
                  </a:lnTo>
                  <a:lnTo>
                    <a:pt x="304" y="214"/>
                  </a:lnTo>
                  <a:lnTo>
                    <a:pt x="304" y="216"/>
                  </a:lnTo>
                  <a:lnTo>
                    <a:pt x="300" y="214"/>
                  </a:lnTo>
                  <a:lnTo>
                    <a:pt x="299" y="216"/>
                  </a:lnTo>
                  <a:lnTo>
                    <a:pt x="297" y="216"/>
                  </a:lnTo>
                  <a:lnTo>
                    <a:pt x="297" y="217"/>
                  </a:lnTo>
                  <a:lnTo>
                    <a:pt x="292" y="214"/>
                  </a:lnTo>
                  <a:lnTo>
                    <a:pt x="288" y="207"/>
                  </a:lnTo>
                  <a:lnTo>
                    <a:pt x="290" y="209"/>
                  </a:lnTo>
                  <a:lnTo>
                    <a:pt x="292" y="205"/>
                  </a:lnTo>
                  <a:lnTo>
                    <a:pt x="294" y="204"/>
                  </a:lnTo>
                  <a:lnTo>
                    <a:pt x="295" y="204"/>
                  </a:lnTo>
                  <a:lnTo>
                    <a:pt x="297" y="207"/>
                  </a:lnTo>
                  <a:lnTo>
                    <a:pt x="299" y="205"/>
                  </a:lnTo>
                  <a:lnTo>
                    <a:pt x="302" y="207"/>
                  </a:lnTo>
                  <a:lnTo>
                    <a:pt x="299" y="204"/>
                  </a:lnTo>
                  <a:lnTo>
                    <a:pt x="299" y="205"/>
                  </a:lnTo>
                  <a:lnTo>
                    <a:pt x="297" y="204"/>
                  </a:lnTo>
                  <a:lnTo>
                    <a:pt x="299" y="202"/>
                  </a:lnTo>
                  <a:close/>
                  <a:moveTo>
                    <a:pt x="317" y="197"/>
                  </a:moveTo>
                  <a:lnTo>
                    <a:pt x="319" y="204"/>
                  </a:lnTo>
                  <a:lnTo>
                    <a:pt x="321" y="205"/>
                  </a:lnTo>
                  <a:lnTo>
                    <a:pt x="323" y="204"/>
                  </a:lnTo>
                  <a:lnTo>
                    <a:pt x="323" y="207"/>
                  </a:lnTo>
                  <a:lnTo>
                    <a:pt x="324" y="211"/>
                  </a:lnTo>
                  <a:lnTo>
                    <a:pt x="323" y="214"/>
                  </a:lnTo>
                  <a:lnTo>
                    <a:pt x="323" y="212"/>
                  </a:lnTo>
                  <a:lnTo>
                    <a:pt x="321" y="214"/>
                  </a:lnTo>
                  <a:lnTo>
                    <a:pt x="317" y="212"/>
                  </a:lnTo>
                  <a:lnTo>
                    <a:pt x="319" y="216"/>
                  </a:lnTo>
                  <a:lnTo>
                    <a:pt x="317" y="216"/>
                  </a:lnTo>
                  <a:lnTo>
                    <a:pt x="316" y="216"/>
                  </a:lnTo>
                  <a:lnTo>
                    <a:pt x="317" y="217"/>
                  </a:lnTo>
                  <a:lnTo>
                    <a:pt x="316" y="216"/>
                  </a:lnTo>
                  <a:lnTo>
                    <a:pt x="314" y="214"/>
                  </a:lnTo>
                  <a:lnTo>
                    <a:pt x="314" y="212"/>
                  </a:lnTo>
                  <a:lnTo>
                    <a:pt x="316" y="211"/>
                  </a:lnTo>
                  <a:lnTo>
                    <a:pt x="314" y="211"/>
                  </a:lnTo>
                  <a:lnTo>
                    <a:pt x="312" y="205"/>
                  </a:lnTo>
                  <a:lnTo>
                    <a:pt x="314" y="205"/>
                  </a:lnTo>
                  <a:lnTo>
                    <a:pt x="314" y="200"/>
                  </a:lnTo>
                  <a:lnTo>
                    <a:pt x="316" y="200"/>
                  </a:lnTo>
                  <a:lnTo>
                    <a:pt x="317" y="197"/>
                  </a:lnTo>
                  <a:close/>
                  <a:moveTo>
                    <a:pt x="317" y="193"/>
                  </a:moveTo>
                  <a:lnTo>
                    <a:pt x="316" y="195"/>
                  </a:lnTo>
                  <a:lnTo>
                    <a:pt x="309" y="197"/>
                  </a:lnTo>
                  <a:lnTo>
                    <a:pt x="311" y="193"/>
                  </a:lnTo>
                  <a:lnTo>
                    <a:pt x="317" y="193"/>
                  </a:lnTo>
                  <a:close/>
                  <a:moveTo>
                    <a:pt x="331" y="188"/>
                  </a:moveTo>
                  <a:lnTo>
                    <a:pt x="328" y="193"/>
                  </a:lnTo>
                  <a:lnTo>
                    <a:pt x="333" y="195"/>
                  </a:lnTo>
                  <a:lnTo>
                    <a:pt x="333" y="197"/>
                  </a:lnTo>
                  <a:lnTo>
                    <a:pt x="336" y="197"/>
                  </a:lnTo>
                  <a:lnTo>
                    <a:pt x="333" y="199"/>
                  </a:lnTo>
                  <a:lnTo>
                    <a:pt x="335" y="197"/>
                  </a:lnTo>
                  <a:lnTo>
                    <a:pt x="331" y="199"/>
                  </a:lnTo>
                  <a:lnTo>
                    <a:pt x="329" y="197"/>
                  </a:lnTo>
                  <a:lnTo>
                    <a:pt x="328" y="197"/>
                  </a:lnTo>
                  <a:lnTo>
                    <a:pt x="326" y="193"/>
                  </a:lnTo>
                  <a:lnTo>
                    <a:pt x="324" y="195"/>
                  </a:lnTo>
                  <a:lnTo>
                    <a:pt x="323" y="193"/>
                  </a:lnTo>
                  <a:lnTo>
                    <a:pt x="331" y="188"/>
                  </a:lnTo>
                  <a:close/>
                  <a:moveTo>
                    <a:pt x="335" y="188"/>
                  </a:moveTo>
                  <a:lnTo>
                    <a:pt x="336" y="192"/>
                  </a:lnTo>
                  <a:lnTo>
                    <a:pt x="340" y="190"/>
                  </a:lnTo>
                  <a:lnTo>
                    <a:pt x="340" y="193"/>
                  </a:lnTo>
                  <a:lnTo>
                    <a:pt x="343" y="192"/>
                  </a:lnTo>
                  <a:lnTo>
                    <a:pt x="352" y="197"/>
                  </a:lnTo>
                  <a:lnTo>
                    <a:pt x="350" y="204"/>
                  </a:lnTo>
                  <a:lnTo>
                    <a:pt x="353" y="211"/>
                  </a:lnTo>
                  <a:lnTo>
                    <a:pt x="346" y="202"/>
                  </a:lnTo>
                  <a:lnTo>
                    <a:pt x="346" y="199"/>
                  </a:lnTo>
                  <a:lnTo>
                    <a:pt x="345" y="199"/>
                  </a:lnTo>
                  <a:lnTo>
                    <a:pt x="341" y="195"/>
                  </a:lnTo>
                  <a:lnTo>
                    <a:pt x="340" y="195"/>
                  </a:lnTo>
                  <a:lnTo>
                    <a:pt x="336" y="195"/>
                  </a:lnTo>
                  <a:lnTo>
                    <a:pt x="333" y="190"/>
                  </a:lnTo>
                  <a:lnTo>
                    <a:pt x="335" y="188"/>
                  </a:lnTo>
                  <a:close/>
                  <a:moveTo>
                    <a:pt x="261" y="178"/>
                  </a:moveTo>
                  <a:lnTo>
                    <a:pt x="265" y="182"/>
                  </a:lnTo>
                  <a:lnTo>
                    <a:pt x="265" y="187"/>
                  </a:lnTo>
                  <a:lnTo>
                    <a:pt x="259" y="190"/>
                  </a:lnTo>
                  <a:lnTo>
                    <a:pt x="256" y="188"/>
                  </a:lnTo>
                  <a:lnTo>
                    <a:pt x="253" y="183"/>
                  </a:lnTo>
                  <a:lnTo>
                    <a:pt x="258" y="178"/>
                  </a:lnTo>
                  <a:lnTo>
                    <a:pt x="261" y="178"/>
                  </a:lnTo>
                  <a:close/>
                  <a:moveTo>
                    <a:pt x="48" y="100"/>
                  </a:moveTo>
                  <a:lnTo>
                    <a:pt x="51" y="100"/>
                  </a:lnTo>
                  <a:lnTo>
                    <a:pt x="51" y="103"/>
                  </a:lnTo>
                  <a:lnTo>
                    <a:pt x="48" y="103"/>
                  </a:lnTo>
                  <a:lnTo>
                    <a:pt x="48" y="100"/>
                  </a:lnTo>
                  <a:close/>
                  <a:moveTo>
                    <a:pt x="154" y="43"/>
                  </a:moveTo>
                  <a:lnTo>
                    <a:pt x="152" y="45"/>
                  </a:lnTo>
                  <a:lnTo>
                    <a:pt x="150" y="45"/>
                  </a:lnTo>
                  <a:lnTo>
                    <a:pt x="154" y="43"/>
                  </a:lnTo>
                  <a:close/>
                  <a:moveTo>
                    <a:pt x="138" y="36"/>
                  </a:moveTo>
                  <a:lnTo>
                    <a:pt x="145" y="38"/>
                  </a:lnTo>
                  <a:lnTo>
                    <a:pt x="147" y="41"/>
                  </a:lnTo>
                  <a:lnTo>
                    <a:pt x="143" y="38"/>
                  </a:lnTo>
                  <a:lnTo>
                    <a:pt x="140" y="38"/>
                  </a:lnTo>
                  <a:lnTo>
                    <a:pt x="138" y="36"/>
                  </a:lnTo>
                  <a:close/>
                  <a:moveTo>
                    <a:pt x="300" y="35"/>
                  </a:moveTo>
                  <a:lnTo>
                    <a:pt x="302" y="35"/>
                  </a:lnTo>
                  <a:lnTo>
                    <a:pt x="302" y="38"/>
                  </a:lnTo>
                  <a:lnTo>
                    <a:pt x="300" y="38"/>
                  </a:lnTo>
                  <a:lnTo>
                    <a:pt x="300" y="35"/>
                  </a:lnTo>
                  <a:close/>
                  <a:moveTo>
                    <a:pt x="113" y="41"/>
                  </a:moveTo>
                  <a:lnTo>
                    <a:pt x="113" y="43"/>
                  </a:lnTo>
                  <a:lnTo>
                    <a:pt x="109" y="40"/>
                  </a:lnTo>
                  <a:lnTo>
                    <a:pt x="113" y="35"/>
                  </a:lnTo>
                  <a:lnTo>
                    <a:pt x="114" y="36"/>
                  </a:lnTo>
                  <a:lnTo>
                    <a:pt x="113" y="41"/>
                  </a:lnTo>
                  <a:close/>
                  <a:moveTo>
                    <a:pt x="329" y="40"/>
                  </a:moveTo>
                  <a:lnTo>
                    <a:pt x="328" y="40"/>
                  </a:lnTo>
                  <a:lnTo>
                    <a:pt x="326" y="40"/>
                  </a:lnTo>
                  <a:lnTo>
                    <a:pt x="316" y="43"/>
                  </a:lnTo>
                  <a:lnTo>
                    <a:pt x="312" y="45"/>
                  </a:lnTo>
                  <a:lnTo>
                    <a:pt x="309" y="50"/>
                  </a:lnTo>
                  <a:lnTo>
                    <a:pt x="306" y="50"/>
                  </a:lnTo>
                  <a:lnTo>
                    <a:pt x="304" y="55"/>
                  </a:lnTo>
                  <a:lnTo>
                    <a:pt x="300" y="55"/>
                  </a:lnTo>
                  <a:lnTo>
                    <a:pt x="297" y="52"/>
                  </a:lnTo>
                  <a:lnTo>
                    <a:pt x="295" y="52"/>
                  </a:lnTo>
                  <a:lnTo>
                    <a:pt x="294" y="48"/>
                  </a:lnTo>
                  <a:lnTo>
                    <a:pt x="290" y="45"/>
                  </a:lnTo>
                  <a:lnTo>
                    <a:pt x="283" y="50"/>
                  </a:lnTo>
                  <a:lnTo>
                    <a:pt x="282" y="50"/>
                  </a:lnTo>
                  <a:lnTo>
                    <a:pt x="271" y="53"/>
                  </a:lnTo>
                  <a:lnTo>
                    <a:pt x="270" y="55"/>
                  </a:lnTo>
                  <a:lnTo>
                    <a:pt x="259" y="57"/>
                  </a:lnTo>
                  <a:lnTo>
                    <a:pt x="258" y="59"/>
                  </a:lnTo>
                  <a:lnTo>
                    <a:pt x="251" y="59"/>
                  </a:lnTo>
                  <a:lnTo>
                    <a:pt x="249" y="62"/>
                  </a:lnTo>
                  <a:lnTo>
                    <a:pt x="246" y="64"/>
                  </a:lnTo>
                  <a:lnTo>
                    <a:pt x="241" y="62"/>
                  </a:lnTo>
                  <a:lnTo>
                    <a:pt x="234" y="62"/>
                  </a:lnTo>
                  <a:lnTo>
                    <a:pt x="232" y="60"/>
                  </a:lnTo>
                  <a:lnTo>
                    <a:pt x="227" y="62"/>
                  </a:lnTo>
                  <a:lnTo>
                    <a:pt x="229" y="67"/>
                  </a:lnTo>
                  <a:lnTo>
                    <a:pt x="227" y="69"/>
                  </a:lnTo>
                  <a:lnTo>
                    <a:pt x="224" y="69"/>
                  </a:lnTo>
                  <a:lnTo>
                    <a:pt x="215" y="67"/>
                  </a:lnTo>
                  <a:lnTo>
                    <a:pt x="212" y="69"/>
                  </a:lnTo>
                  <a:lnTo>
                    <a:pt x="212" y="70"/>
                  </a:lnTo>
                  <a:lnTo>
                    <a:pt x="208" y="72"/>
                  </a:lnTo>
                  <a:lnTo>
                    <a:pt x="208" y="77"/>
                  </a:lnTo>
                  <a:lnTo>
                    <a:pt x="205" y="82"/>
                  </a:lnTo>
                  <a:lnTo>
                    <a:pt x="210" y="86"/>
                  </a:lnTo>
                  <a:lnTo>
                    <a:pt x="213" y="86"/>
                  </a:lnTo>
                  <a:lnTo>
                    <a:pt x="215" y="91"/>
                  </a:lnTo>
                  <a:lnTo>
                    <a:pt x="222" y="94"/>
                  </a:lnTo>
                  <a:lnTo>
                    <a:pt x="227" y="94"/>
                  </a:lnTo>
                  <a:lnTo>
                    <a:pt x="227" y="100"/>
                  </a:lnTo>
                  <a:lnTo>
                    <a:pt x="225" y="103"/>
                  </a:lnTo>
                  <a:lnTo>
                    <a:pt x="229" y="105"/>
                  </a:lnTo>
                  <a:lnTo>
                    <a:pt x="225" y="106"/>
                  </a:lnTo>
                  <a:lnTo>
                    <a:pt x="220" y="105"/>
                  </a:lnTo>
                  <a:lnTo>
                    <a:pt x="217" y="105"/>
                  </a:lnTo>
                  <a:lnTo>
                    <a:pt x="213" y="108"/>
                  </a:lnTo>
                  <a:lnTo>
                    <a:pt x="207" y="108"/>
                  </a:lnTo>
                  <a:lnTo>
                    <a:pt x="205" y="113"/>
                  </a:lnTo>
                  <a:lnTo>
                    <a:pt x="200" y="115"/>
                  </a:lnTo>
                  <a:lnTo>
                    <a:pt x="195" y="115"/>
                  </a:lnTo>
                  <a:lnTo>
                    <a:pt x="189" y="111"/>
                  </a:lnTo>
                  <a:lnTo>
                    <a:pt x="181" y="113"/>
                  </a:lnTo>
                  <a:lnTo>
                    <a:pt x="179" y="111"/>
                  </a:lnTo>
                  <a:lnTo>
                    <a:pt x="179" y="113"/>
                  </a:lnTo>
                  <a:lnTo>
                    <a:pt x="181" y="113"/>
                  </a:lnTo>
                  <a:lnTo>
                    <a:pt x="177" y="115"/>
                  </a:lnTo>
                  <a:lnTo>
                    <a:pt x="174" y="117"/>
                  </a:lnTo>
                  <a:lnTo>
                    <a:pt x="169" y="110"/>
                  </a:lnTo>
                  <a:lnTo>
                    <a:pt x="164" y="110"/>
                  </a:lnTo>
                  <a:lnTo>
                    <a:pt x="164" y="106"/>
                  </a:lnTo>
                  <a:lnTo>
                    <a:pt x="159" y="108"/>
                  </a:lnTo>
                  <a:lnTo>
                    <a:pt x="154" y="106"/>
                  </a:lnTo>
                  <a:lnTo>
                    <a:pt x="148" y="103"/>
                  </a:lnTo>
                  <a:lnTo>
                    <a:pt x="143" y="101"/>
                  </a:lnTo>
                  <a:lnTo>
                    <a:pt x="135" y="103"/>
                  </a:lnTo>
                  <a:lnTo>
                    <a:pt x="126" y="101"/>
                  </a:lnTo>
                  <a:lnTo>
                    <a:pt x="118" y="108"/>
                  </a:lnTo>
                  <a:lnTo>
                    <a:pt x="114" y="106"/>
                  </a:lnTo>
                  <a:lnTo>
                    <a:pt x="107" y="110"/>
                  </a:lnTo>
                  <a:lnTo>
                    <a:pt x="102" y="113"/>
                  </a:lnTo>
                  <a:lnTo>
                    <a:pt x="99" y="120"/>
                  </a:lnTo>
                  <a:lnTo>
                    <a:pt x="96" y="122"/>
                  </a:lnTo>
                  <a:lnTo>
                    <a:pt x="92" y="129"/>
                  </a:lnTo>
                  <a:lnTo>
                    <a:pt x="90" y="132"/>
                  </a:lnTo>
                  <a:lnTo>
                    <a:pt x="85" y="137"/>
                  </a:lnTo>
                  <a:lnTo>
                    <a:pt x="80" y="144"/>
                  </a:lnTo>
                  <a:lnTo>
                    <a:pt x="82" y="147"/>
                  </a:lnTo>
                  <a:lnTo>
                    <a:pt x="78" y="152"/>
                  </a:lnTo>
                  <a:lnTo>
                    <a:pt x="78" y="158"/>
                  </a:lnTo>
                  <a:lnTo>
                    <a:pt x="77" y="168"/>
                  </a:lnTo>
                  <a:lnTo>
                    <a:pt x="73" y="171"/>
                  </a:lnTo>
                  <a:lnTo>
                    <a:pt x="72" y="170"/>
                  </a:lnTo>
                  <a:lnTo>
                    <a:pt x="70" y="171"/>
                  </a:lnTo>
                  <a:lnTo>
                    <a:pt x="72" y="180"/>
                  </a:lnTo>
                  <a:lnTo>
                    <a:pt x="67" y="185"/>
                  </a:lnTo>
                  <a:lnTo>
                    <a:pt x="67" y="193"/>
                  </a:lnTo>
                  <a:lnTo>
                    <a:pt x="67" y="197"/>
                  </a:lnTo>
                  <a:lnTo>
                    <a:pt x="70" y="200"/>
                  </a:lnTo>
                  <a:lnTo>
                    <a:pt x="70" y="207"/>
                  </a:lnTo>
                  <a:lnTo>
                    <a:pt x="75" y="216"/>
                  </a:lnTo>
                  <a:lnTo>
                    <a:pt x="72" y="222"/>
                  </a:lnTo>
                  <a:lnTo>
                    <a:pt x="72" y="228"/>
                  </a:lnTo>
                  <a:lnTo>
                    <a:pt x="73" y="236"/>
                  </a:lnTo>
                  <a:lnTo>
                    <a:pt x="73" y="240"/>
                  </a:lnTo>
                  <a:lnTo>
                    <a:pt x="77" y="246"/>
                  </a:lnTo>
                  <a:lnTo>
                    <a:pt x="78" y="248"/>
                  </a:lnTo>
                  <a:lnTo>
                    <a:pt x="82" y="257"/>
                  </a:lnTo>
                  <a:lnTo>
                    <a:pt x="87" y="258"/>
                  </a:lnTo>
                  <a:lnTo>
                    <a:pt x="89" y="265"/>
                  </a:lnTo>
                  <a:lnTo>
                    <a:pt x="92" y="265"/>
                  </a:lnTo>
                  <a:lnTo>
                    <a:pt x="96" y="270"/>
                  </a:lnTo>
                  <a:lnTo>
                    <a:pt x="99" y="274"/>
                  </a:lnTo>
                  <a:lnTo>
                    <a:pt x="102" y="279"/>
                  </a:lnTo>
                  <a:lnTo>
                    <a:pt x="107" y="279"/>
                  </a:lnTo>
                  <a:lnTo>
                    <a:pt x="111" y="275"/>
                  </a:lnTo>
                  <a:lnTo>
                    <a:pt x="114" y="274"/>
                  </a:lnTo>
                  <a:lnTo>
                    <a:pt x="121" y="282"/>
                  </a:lnTo>
                  <a:lnTo>
                    <a:pt x="126" y="282"/>
                  </a:lnTo>
                  <a:lnTo>
                    <a:pt x="130" y="289"/>
                  </a:lnTo>
                  <a:lnTo>
                    <a:pt x="137" y="298"/>
                  </a:lnTo>
                  <a:lnTo>
                    <a:pt x="137" y="303"/>
                  </a:lnTo>
                  <a:lnTo>
                    <a:pt x="135" y="308"/>
                  </a:lnTo>
                  <a:lnTo>
                    <a:pt x="135" y="315"/>
                  </a:lnTo>
                  <a:lnTo>
                    <a:pt x="142" y="320"/>
                  </a:lnTo>
                  <a:lnTo>
                    <a:pt x="143" y="327"/>
                  </a:lnTo>
                  <a:lnTo>
                    <a:pt x="147" y="334"/>
                  </a:lnTo>
                  <a:lnTo>
                    <a:pt x="148" y="334"/>
                  </a:lnTo>
                  <a:lnTo>
                    <a:pt x="154" y="330"/>
                  </a:lnTo>
                  <a:lnTo>
                    <a:pt x="155" y="328"/>
                  </a:lnTo>
                  <a:lnTo>
                    <a:pt x="155" y="330"/>
                  </a:lnTo>
                  <a:lnTo>
                    <a:pt x="157" y="330"/>
                  </a:lnTo>
                  <a:lnTo>
                    <a:pt x="155" y="330"/>
                  </a:lnTo>
                  <a:lnTo>
                    <a:pt x="157" y="327"/>
                  </a:lnTo>
                  <a:lnTo>
                    <a:pt x="160" y="328"/>
                  </a:lnTo>
                  <a:lnTo>
                    <a:pt x="162" y="325"/>
                  </a:lnTo>
                  <a:lnTo>
                    <a:pt x="167" y="327"/>
                  </a:lnTo>
                  <a:lnTo>
                    <a:pt x="167" y="330"/>
                  </a:lnTo>
                  <a:lnTo>
                    <a:pt x="169" y="334"/>
                  </a:lnTo>
                  <a:lnTo>
                    <a:pt x="179" y="334"/>
                  </a:lnTo>
                  <a:lnTo>
                    <a:pt x="183" y="332"/>
                  </a:lnTo>
                  <a:lnTo>
                    <a:pt x="188" y="334"/>
                  </a:lnTo>
                  <a:lnTo>
                    <a:pt x="189" y="334"/>
                  </a:lnTo>
                  <a:lnTo>
                    <a:pt x="189" y="335"/>
                  </a:lnTo>
                  <a:lnTo>
                    <a:pt x="198" y="335"/>
                  </a:lnTo>
                  <a:lnTo>
                    <a:pt x="201" y="330"/>
                  </a:lnTo>
                  <a:lnTo>
                    <a:pt x="205" y="327"/>
                  </a:lnTo>
                  <a:lnTo>
                    <a:pt x="205" y="325"/>
                  </a:lnTo>
                  <a:lnTo>
                    <a:pt x="207" y="322"/>
                  </a:lnTo>
                  <a:lnTo>
                    <a:pt x="208" y="316"/>
                  </a:lnTo>
                  <a:lnTo>
                    <a:pt x="210" y="315"/>
                  </a:lnTo>
                  <a:lnTo>
                    <a:pt x="212" y="308"/>
                  </a:lnTo>
                  <a:lnTo>
                    <a:pt x="218" y="303"/>
                  </a:lnTo>
                  <a:lnTo>
                    <a:pt x="220" y="298"/>
                  </a:lnTo>
                  <a:lnTo>
                    <a:pt x="225" y="291"/>
                  </a:lnTo>
                  <a:lnTo>
                    <a:pt x="232" y="287"/>
                  </a:lnTo>
                  <a:lnTo>
                    <a:pt x="234" y="284"/>
                  </a:lnTo>
                  <a:lnTo>
                    <a:pt x="239" y="281"/>
                  </a:lnTo>
                  <a:lnTo>
                    <a:pt x="242" y="272"/>
                  </a:lnTo>
                  <a:lnTo>
                    <a:pt x="251" y="269"/>
                  </a:lnTo>
                  <a:lnTo>
                    <a:pt x="256" y="267"/>
                  </a:lnTo>
                  <a:lnTo>
                    <a:pt x="258" y="265"/>
                  </a:lnTo>
                  <a:lnTo>
                    <a:pt x="256" y="263"/>
                  </a:lnTo>
                  <a:lnTo>
                    <a:pt x="258" y="262"/>
                  </a:lnTo>
                  <a:lnTo>
                    <a:pt x="261" y="260"/>
                  </a:lnTo>
                  <a:lnTo>
                    <a:pt x="265" y="260"/>
                  </a:lnTo>
                  <a:lnTo>
                    <a:pt x="265" y="262"/>
                  </a:lnTo>
                  <a:lnTo>
                    <a:pt x="266" y="267"/>
                  </a:lnTo>
                  <a:lnTo>
                    <a:pt x="265" y="272"/>
                  </a:lnTo>
                  <a:lnTo>
                    <a:pt x="270" y="274"/>
                  </a:lnTo>
                  <a:lnTo>
                    <a:pt x="271" y="277"/>
                  </a:lnTo>
                  <a:lnTo>
                    <a:pt x="278" y="281"/>
                  </a:lnTo>
                  <a:lnTo>
                    <a:pt x="283" y="279"/>
                  </a:lnTo>
                  <a:lnTo>
                    <a:pt x="294" y="281"/>
                  </a:lnTo>
                  <a:lnTo>
                    <a:pt x="295" y="282"/>
                  </a:lnTo>
                  <a:lnTo>
                    <a:pt x="299" y="282"/>
                  </a:lnTo>
                  <a:lnTo>
                    <a:pt x="306" y="275"/>
                  </a:lnTo>
                  <a:lnTo>
                    <a:pt x="314" y="277"/>
                  </a:lnTo>
                  <a:lnTo>
                    <a:pt x="317" y="279"/>
                  </a:lnTo>
                  <a:lnTo>
                    <a:pt x="319" y="277"/>
                  </a:lnTo>
                  <a:lnTo>
                    <a:pt x="323" y="272"/>
                  </a:lnTo>
                  <a:lnTo>
                    <a:pt x="323" y="267"/>
                  </a:lnTo>
                  <a:lnTo>
                    <a:pt x="326" y="263"/>
                  </a:lnTo>
                  <a:lnTo>
                    <a:pt x="324" y="262"/>
                  </a:lnTo>
                  <a:lnTo>
                    <a:pt x="328" y="262"/>
                  </a:lnTo>
                  <a:lnTo>
                    <a:pt x="329" y="258"/>
                  </a:lnTo>
                  <a:lnTo>
                    <a:pt x="340" y="258"/>
                  </a:lnTo>
                  <a:lnTo>
                    <a:pt x="343" y="258"/>
                  </a:lnTo>
                  <a:lnTo>
                    <a:pt x="346" y="257"/>
                  </a:lnTo>
                  <a:lnTo>
                    <a:pt x="355" y="257"/>
                  </a:lnTo>
                  <a:lnTo>
                    <a:pt x="360" y="255"/>
                  </a:lnTo>
                  <a:lnTo>
                    <a:pt x="367" y="255"/>
                  </a:lnTo>
                  <a:lnTo>
                    <a:pt x="369" y="258"/>
                  </a:lnTo>
                  <a:lnTo>
                    <a:pt x="374" y="258"/>
                  </a:lnTo>
                  <a:lnTo>
                    <a:pt x="379" y="255"/>
                  </a:lnTo>
                  <a:lnTo>
                    <a:pt x="387" y="260"/>
                  </a:lnTo>
                  <a:lnTo>
                    <a:pt x="393" y="262"/>
                  </a:lnTo>
                  <a:lnTo>
                    <a:pt x="399" y="257"/>
                  </a:lnTo>
                  <a:lnTo>
                    <a:pt x="410" y="257"/>
                  </a:lnTo>
                  <a:lnTo>
                    <a:pt x="420" y="253"/>
                  </a:lnTo>
                  <a:lnTo>
                    <a:pt x="420" y="252"/>
                  </a:lnTo>
                  <a:lnTo>
                    <a:pt x="413" y="252"/>
                  </a:lnTo>
                  <a:lnTo>
                    <a:pt x="410" y="248"/>
                  </a:lnTo>
                  <a:lnTo>
                    <a:pt x="399" y="248"/>
                  </a:lnTo>
                  <a:lnTo>
                    <a:pt x="393" y="243"/>
                  </a:lnTo>
                  <a:lnTo>
                    <a:pt x="399" y="245"/>
                  </a:lnTo>
                  <a:lnTo>
                    <a:pt x="403" y="240"/>
                  </a:lnTo>
                  <a:lnTo>
                    <a:pt x="406" y="240"/>
                  </a:lnTo>
                  <a:lnTo>
                    <a:pt x="410" y="238"/>
                  </a:lnTo>
                  <a:lnTo>
                    <a:pt x="411" y="240"/>
                  </a:lnTo>
                  <a:lnTo>
                    <a:pt x="413" y="238"/>
                  </a:lnTo>
                  <a:lnTo>
                    <a:pt x="415" y="238"/>
                  </a:lnTo>
                  <a:lnTo>
                    <a:pt x="420" y="238"/>
                  </a:lnTo>
                  <a:lnTo>
                    <a:pt x="418" y="240"/>
                  </a:lnTo>
                  <a:lnTo>
                    <a:pt x="420" y="241"/>
                  </a:lnTo>
                  <a:lnTo>
                    <a:pt x="422" y="238"/>
                  </a:lnTo>
                  <a:lnTo>
                    <a:pt x="423" y="238"/>
                  </a:lnTo>
                  <a:lnTo>
                    <a:pt x="430" y="234"/>
                  </a:lnTo>
                  <a:lnTo>
                    <a:pt x="432" y="231"/>
                  </a:lnTo>
                  <a:lnTo>
                    <a:pt x="435" y="233"/>
                  </a:lnTo>
                  <a:lnTo>
                    <a:pt x="445" y="233"/>
                  </a:lnTo>
                  <a:lnTo>
                    <a:pt x="449" y="231"/>
                  </a:lnTo>
                  <a:lnTo>
                    <a:pt x="456" y="233"/>
                  </a:lnTo>
                  <a:lnTo>
                    <a:pt x="463" y="236"/>
                  </a:lnTo>
                  <a:lnTo>
                    <a:pt x="471" y="241"/>
                  </a:lnTo>
                  <a:lnTo>
                    <a:pt x="475" y="241"/>
                  </a:lnTo>
                  <a:lnTo>
                    <a:pt x="471" y="245"/>
                  </a:lnTo>
                  <a:lnTo>
                    <a:pt x="473" y="243"/>
                  </a:lnTo>
                  <a:lnTo>
                    <a:pt x="476" y="250"/>
                  </a:lnTo>
                  <a:lnTo>
                    <a:pt x="478" y="248"/>
                  </a:lnTo>
                  <a:lnTo>
                    <a:pt x="476" y="253"/>
                  </a:lnTo>
                  <a:lnTo>
                    <a:pt x="478" y="253"/>
                  </a:lnTo>
                  <a:lnTo>
                    <a:pt x="480" y="255"/>
                  </a:lnTo>
                  <a:lnTo>
                    <a:pt x="478" y="260"/>
                  </a:lnTo>
                  <a:lnTo>
                    <a:pt x="478" y="263"/>
                  </a:lnTo>
                  <a:lnTo>
                    <a:pt x="473" y="269"/>
                  </a:lnTo>
                  <a:lnTo>
                    <a:pt x="471" y="275"/>
                  </a:lnTo>
                  <a:lnTo>
                    <a:pt x="473" y="279"/>
                  </a:lnTo>
                  <a:lnTo>
                    <a:pt x="471" y="281"/>
                  </a:lnTo>
                  <a:lnTo>
                    <a:pt x="469" y="284"/>
                  </a:lnTo>
                  <a:lnTo>
                    <a:pt x="466" y="287"/>
                  </a:lnTo>
                  <a:lnTo>
                    <a:pt x="463" y="289"/>
                  </a:lnTo>
                  <a:lnTo>
                    <a:pt x="457" y="289"/>
                  </a:lnTo>
                  <a:lnTo>
                    <a:pt x="456" y="286"/>
                  </a:lnTo>
                  <a:lnTo>
                    <a:pt x="456" y="284"/>
                  </a:lnTo>
                  <a:lnTo>
                    <a:pt x="451" y="282"/>
                  </a:lnTo>
                  <a:lnTo>
                    <a:pt x="447" y="279"/>
                  </a:lnTo>
                  <a:lnTo>
                    <a:pt x="442" y="277"/>
                  </a:lnTo>
                  <a:lnTo>
                    <a:pt x="442" y="272"/>
                  </a:lnTo>
                  <a:lnTo>
                    <a:pt x="444" y="272"/>
                  </a:lnTo>
                  <a:lnTo>
                    <a:pt x="444" y="270"/>
                  </a:lnTo>
                  <a:lnTo>
                    <a:pt x="437" y="263"/>
                  </a:lnTo>
                  <a:lnTo>
                    <a:pt x="432" y="267"/>
                  </a:lnTo>
                  <a:lnTo>
                    <a:pt x="434" y="269"/>
                  </a:lnTo>
                  <a:lnTo>
                    <a:pt x="432" y="270"/>
                  </a:lnTo>
                  <a:lnTo>
                    <a:pt x="435" y="270"/>
                  </a:lnTo>
                  <a:lnTo>
                    <a:pt x="430" y="272"/>
                  </a:lnTo>
                  <a:lnTo>
                    <a:pt x="430" y="269"/>
                  </a:lnTo>
                  <a:lnTo>
                    <a:pt x="428" y="270"/>
                  </a:lnTo>
                  <a:lnTo>
                    <a:pt x="430" y="272"/>
                  </a:lnTo>
                  <a:lnTo>
                    <a:pt x="427" y="270"/>
                  </a:lnTo>
                  <a:lnTo>
                    <a:pt x="425" y="272"/>
                  </a:lnTo>
                  <a:lnTo>
                    <a:pt x="423" y="272"/>
                  </a:lnTo>
                  <a:lnTo>
                    <a:pt x="415" y="274"/>
                  </a:lnTo>
                  <a:lnTo>
                    <a:pt x="413" y="275"/>
                  </a:lnTo>
                  <a:lnTo>
                    <a:pt x="410" y="274"/>
                  </a:lnTo>
                  <a:lnTo>
                    <a:pt x="401" y="275"/>
                  </a:lnTo>
                  <a:lnTo>
                    <a:pt x="399" y="281"/>
                  </a:lnTo>
                  <a:lnTo>
                    <a:pt x="401" y="284"/>
                  </a:lnTo>
                  <a:lnTo>
                    <a:pt x="398" y="289"/>
                  </a:lnTo>
                  <a:lnTo>
                    <a:pt x="393" y="294"/>
                  </a:lnTo>
                  <a:lnTo>
                    <a:pt x="391" y="299"/>
                  </a:lnTo>
                  <a:lnTo>
                    <a:pt x="386" y="299"/>
                  </a:lnTo>
                  <a:lnTo>
                    <a:pt x="384" y="303"/>
                  </a:lnTo>
                  <a:lnTo>
                    <a:pt x="382" y="304"/>
                  </a:lnTo>
                  <a:lnTo>
                    <a:pt x="381" y="311"/>
                  </a:lnTo>
                  <a:lnTo>
                    <a:pt x="372" y="315"/>
                  </a:lnTo>
                  <a:lnTo>
                    <a:pt x="372" y="318"/>
                  </a:lnTo>
                  <a:lnTo>
                    <a:pt x="374" y="318"/>
                  </a:lnTo>
                  <a:lnTo>
                    <a:pt x="372" y="320"/>
                  </a:lnTo>
                  <a:lnTo>
                    <a:pt x="365" y="325"/>
                  </a:lnTo>
                  <a:lnTo>
                    <a:pt x="362" y="332"/>
                  </a:lnTo>
                  <a:lnTo>
                    <a:pt x="355" y="335"/>
                  </a:lnTo>
                  <a:lnTo>
                    <a:pt x="352" y="342"/>
                  </a:lnTo>
                  <a:lnTo>
                    <a:pt x="348" y="345"/>
                  </a:lnTo>
                  <a:lnTo>
                    <a:pt x="341" y="347"/>
                  </a:lnTo>
                  <a:lnTo>
                    <a:pt x="335" y="352"/>
                  </a:lnTo>
                  <a:lnTo>
                    <a:pt x="331" y="356"/>
                  </a:lnTo>
                  <a:lnTo>
                    <a:pt x="328" y="357"/>
                  </a:lnTo>
                  <a:lnTo>
                    <a:pt x="324" y="356"/>
                  </a:lnTo>
                  <a:lnTo>
                    <a:pt x="316" y="357"/>
                  </a:lnTo>
                  <a:lnTo>
                    <a:pt x="309" y="357"/>
                  </a:lnTo>
                  <a:lnTo>
                    <a:pt x="304" y="361"/>
                  </a:lnTo>
                  <a:lnTo>
                    <a:pt x="300" y="364"/>
                  </a:lnTo>
                  <a:lnTo>
                    <a:pt x="297" y="364"/>
                  </a:lnTo>
                  <a:lnTo>
                    <a:pt x="294" y="368"/>
                  </a:lnTo>
                  <a:lnTo>
                    <a:pt x="292" y="364"/>
                  </a:lnTo>
                  <a:lnTo>
                    <a:pt x="292" y="366"/>
                  </a:lnTo>
                  <a:lnTo>
                    <a:pt x="288" y="364"/>
                  </a:lnTo>
                  <a:lnTo>
                    <a:pt x="288" y="368"/>
                  </a:lnTo>
                  <a:lnTo>
                    <a:pt x="290" y="368"/>
                  </a:lnTo>
                  <a:lnTo>
                    <a:pt x="292" y="368"/>
                  </a:lnTo>
                  <a:lnTo>
                    <a:pt x="288" y="368"/>
                  </a:lnTo>
                  <a:lnTo>
                    <a:pt x="287" y="366"/>
                  </a:lnTo>
                  <a:lnTo>
                    <a:pt x="282" y="371"/>
                  </a:lnTo>
                  <a:lnTo>
                    <a:pt x="282" y="374"/>
                  </a:lnTo>
                  <a:lnTo>
                    <a:pt x="278" y="380"/>
                  </a:lnTo>
                  <a:lnTo>
                    <a:pt x="276" y="385"/>
                  </a:lnTo>
                  <a:lnTo>
                    <a:pt x="275" y="390"/>
                  </a:lnTo>
                  <a:lnTo>
                    <a:pt x="266" y="397"/>
                  </a:lnTo>
                  <a:lnTo>
                    <a:pt x="261" y="398"/>
                  </a:lnTo>
                  <a:lnTo>
                    <a:pt x="253" y="398"/>
                  </a:lnTo>
                  <a:lnTo>
                    <a:pt x="251" y="397"/>
                  </a:lnTo>
                  <a:lnTo>
                    <a:pt x="253" y="398"/>
                  </a:lnTo>
                  <a:lnTo>
                    <a:pt x="253" y="397"/>
                  </a:lnTo>
                  <a:lnTo>
                    <a:pt x="247" y="392"/>
                  </a:lnTo>
                  <a:lnTo>
                    <a:pt x="246" y="392"/>
                  </a:lnTo>
                  <a:lnTo>
                    <a:pt x="244" y="388"/>
                  </a:lnTo>
                  <a:lnTo>
                    <a:pt x="241" y="388"/>
                  </a:lnTo>
                  <a:lnTo>
                    <a:pt x="242" y="386"/>
                  </a:lnTo>
                  <a:lnTo>
                    <a:pt x="239" y="386"/>
                  </a:lnTo>
                  <a:lnTo>
                    <a:pt x="242" y="383"/>
                  </a:lnTo>
                  <a:lnTo>
                    <a:pt x="239" y="380"/>
                  </a:lnTo>
                  <a:lnTo>
                    <a:pt x="236" y="381"/>
                  </a:lnTo>
                  <a:lnTo>
                    <a:pt x="234" y="380"/>
                  </a:lnTo>
                  <a:lnTo>
                    <a:pt x="230" y="380"/>
                  </a:lnTo>
                  <a:lnTo>
                    <a:pt x="224" y="374"/>
                  </a:lnTo>
                  <a:lnTo>
                    <a:pt x="224" y="378"/>
                  </a:lnTo>
                  <a:lnTo>
                    <a:pt x="222" y="380"/>
                  </a:lnTo>
                  <a:lnTo>
                    <a:pt x="220" y="386"/>
                  </a:lnTo>
                  <a:lnTo>
                    <a:pt x="225" y="386"/>
                  </a:lnTo>
                  <a:lnTo>
                    <a:pt x="227" y="385"/>
                  </a:lnTo>
                  <a:lnTo>
                    <a:pt x="227" y="386"/>
                  </a:lnTo>
                  <a:lnTo>
                    <a:pt x="229" y="388"/>
                  </a:lnTo>
                  <a:lnTo>
                    <a:pt x="225" y="388"/>
                  </a:lnTo>
                  <a:lnTo>
                    <a:pt x="225" y="390"/>
                  </a:lnTo>
                  <a:lnTo>
                    <a:pt x="227" y="392"/>
                  </a:lnTo>
                  <a:lnTo>
                    <a:pt x="225" y="392"/>
                  </a:lnTo>
                  <a:lnTo>
                    <a:pt x="224" y="395"/>
                  </a:lnTo>
                  <a:lnTo>
                    <a:pt x="227" y="397"/>
                  </a:lnTo>
                  <a:lnTo>
                    <a:pt x="227" y="404"/>
                  </a:lnTo>
                  <a:lnTo>
                    <a:pt x="230" y="400"/>
                  </a:lnTo>
                  <a:lnTo>
                    <a:pt x="230" y="393"/>
                  </a:lnTo>
                  <a:lnTo>
                    <a:pt x="234" y="392"/>
                  </a:lnTo>
                  <a:lnTo>
                    <a:pt x="236" y="398"/>
                  </a:lnTo>
                  <a:lnTo>
                    <a:pt x="239" y="404"/>
                  </a:lnTo>
                  <a:lnTo>
                    <a:pt x="244" y="405"/>
                  </a:lnTo>
                  <a:lnTo>
                    <a:pt x="242" y="407"/>
                  </a:lnTo>
                  <a:lnTo>
                    <a:pt x="244" y="405"/>
                  </a:lnTo>
                  <a:lnTo>
                    <a:pt x="244" y="409"/>
                  </a:lnTo>
                  <a:lnTo>
                    <a:pt x="247" y="410"/>
                  </a:lnTo>
                  <a:lnTo>
                    <a:pt x="249" y="409"/>
                  </a:lnTo>
                  <a:lnTo>
                    <a:pt x="249" y="410"/>
                  </a:lnTo>
                  <a:lnTo>
                    <a:pt x="249" y="409"/>
                  </a:lnTo>
                  <a:lnTo>
                    <a:pt x="251" y="419"/>
                  </a:lnTo>
                  <a:lnTo>
                    <a:pt x="251" y="424"/>
                  </a:lnTo>
                  <a:lnTo>
                    <a:pt x="259" y="426"/>
                  </a:lnTo>
                  <a:lnTo>
                    <a:pt x="266" y="426"/>
                  </a:lnTo>
                  <a:lnTo>
                    <a:pt x="266" y="424"/>
                  </a:lnTo>
                  <a:lnTo>
                    <a:pt x="271" y="427"/>
                  </a:lnTo>
                  <a:lnTo>
                    <a:pt x="273" y="429"/>
                  </a:lnTo>
                  <a:lnTo>
                    <a:pt x="278" y="434"/>
                  </a:lnTo>
                  <a:lnTo>
                    <a:pt x="280" y="438"/>
                  </a:lnTo>
                  <a:lnTo>
                    <a:pt x="283" y="438"/>
                  </a:lnTo>
                  <a:lnTo>
                    <a:pt x="287" y="445"/>
                  </a:lnTo>
                  <a:lnTo>
                    <a:pt x="290" y="451"/>
                  </a:lnTo>
                  <a:lnTo>
                    <a:pt x="294" y="455"/>
                  </a:lnTo>
                  <a:lnTo>
                    <a:pt x="295" y="458"/>
                  </a:lnTo>
                  <a:lnTo>
                    <a:pt x="300" y="467"/>
                  </a:lnTo>
                  <a:lnTo>
                    <a:pt x="304" y="475"/>
                  </a:lnTo>
                  <a:lnTo>
                    <a:pt x="306" y="477"/>
                  </a:lnTo>
                  <a:lnTo>
                    <a:pt x="306" y="479"/>
                  </a:lnTo>
                  <a:lnTo>
                    <a:pt x="309" y="482"/>
                  </a:lnTo>
                  <a:lnTo>
                    <a:pt x="309" y="484"/>
                  </a:lnTo>
                  <a:lnTo>
                    <a:pt x="306" y="484"/>
                  </a:lnTo>
                  <a:lnTo>
                    <a:pt x="306" y="489"/>
                  </a:lnTo>
                  <a:lnTo>
                    <a:pt x="312" y="492"/>
                  </a:lnTo>
                  <a:lnTo>
                    <a:pt x="316" y="497"/>
                  </a:lnTo>
                  <a:lnTo>
                    <a:pt x="321" y="497"/>
                  </a:lnTo>
                  <a:lnTo>
                    <a:pt x="324" y="501"/>
                  </a:lnTo>
                  <a:lnTo>
                    <a:pt x="328" y="503"/>
                  </a:lnTo>
                  <a:lnTo>
                    <a:pt x="328" y="504"/>
                  </a:lnTo>
                  <a:lnTo>
                    <a:pt x="328" y="508"/>
                  </a:lnTo>
                  <a:lnTo>
                    <a:pt x="329" y="511"/>
                  </a:lnTo>
                  <a:lnTo>
                    <a:pt x="335" y="508"/>
                  </a:lnTo>
                  <a:lnTo>
                    <a:pt x="343" y="513"/>
                  </a:lnTo>
                  <a:lnTo>
                    <a:pt x="341" y="518"/>
                  </a:lnTo>
                  <a:lnTo>
                    <a:pt x="335" y="527"/>
                  </a:lnTo>
                  <a:lnTo>
                    <a:pt x="338" y="528"/>
                  </a:lnTo>
                  <a:lnTo>
                    <a:pt x="345" y="533"/>
                  </a:lnTo>
                  <a:lnTo>
                    <a:pt x="350" y="540"/>
                  </a:lnTo>
                  <a:lnTo>
                    <a:pt x="355" y="538"/>
                  </a:lnTo>
                  <a:lnTo>
                    <a:pt x="358" y="542"/>
                  </a:lnTo>
                  <a:lnTo>
                    <a:pt x="362" y="540"/>
                  </a:lnTo>
                  <a:lnTo>
                    <a:pt x="360" y="542"/>
                  </a:lnTo>
                  <a:lnTo>
                    <a:pt x="364" y="545"/>
                  </a:lnTo>
                  <a:lnTo>
                    <a:pt x="357" y="545"/>
                  </a:lnTo>
                  <a:lnTo>
                    <a:pt x="355" y="557"/>
                  </a:lnTo>
                  <a:lnTo>
                    <a:pt x="353" y="552"/>
                  </a:lnTo>
                  <a:lnTo>
                    <a:pt x="350" y="554"/>
                  </a:lnTo>
                  <a:lnTo>
                    <a:pt x="350" y="552"/>
                  </a:lnTo>
                  <a:lnTo>
                    <a:pt x="346" y="554"/>
                  </a:lnTo>
                  <a:lnTo>
                    <a:pt x="348" y="550"/>
                  </a:lnTo>
                  <a:lnTo>
                    <a:pt x="343" y="550"/>
                  </a:lnTo>
                  <a:lnTo>
                    <a:pt x="341" y="556"/>
                  </a:lnTo>
                  <a:lnTo>
                    <a:pt x="340" y="554"/>
                  </a:lnTo>
                  <a:lnTo>
                    <a:pt x="341" y="552"/>
                  </a:lnTo>
                  <a:lnTo>
                    <a:pt x="340" y="550"/>
                  </a:lnTo>
                  <a:lnTo>
                    <a:pt x="343" y="544"/>
                  </a:lnTo>
                  <a:lnTo>
                    <a:pt x="340" y="540"/>
                  </a:lnTo>
                  <a:lnTo>
                    <a:pt x="336" y="540"/>
                  </a:lnTo>
                  <a:lnTo>
                    <a:pt x="329" y="533"/>
                  </a:lnTo>
                  <a:lnTo>
                    <a:pt x="328" y="525"/>
                  </a:lnTo>
                  <a:lnTo>
                    <a:pt x="324" y="523"/>
                  </a:lnTo>
                  <a:lnTo>
                    <a:pt x="317" y="523"/>
                  </a:lnTo>
                  <a:lnTo>
                    <a:pt x="312" y="516"/>
                  </a:lnTo>
                  <a:lnTo>
                    <a:pt x="304" y="518"/>
                  </a:lnTo>
                  <a:lnTo>
                    <a:pt x="295" y="521"/>
                  </a:lnTo>
                  <a:lnTo>
                    <a:pt x="288" y="518"/>
                  </a:lnTo>
                  <a:lnTo>
                    <a:pt x="285" y="520"/>
                  </a:lnTo>
                  <a:lnTo>
                    <a:pt x="278" y="516"/>
                  </a:lnTo>
                  <a:lnTo>
                    <a:pt x="276" y="515"/>
                  </a:lnTo>
                  <a:lnTo>
                    <a:pt x="270" y="513"/>
                  </a:lnTo>
                  <a:lnTo>
                    <a:pt x="266" y="509"/>
                  </a:lnTo>
                  <a:lnTo>
                    <a:pt x="268" y="508"/>
                  </a:lnTo>
                  <a:lnTo>
                    <a:pt x="265" y="504"/>
                  </a:lnTo>
                  <a:lnTo>
                    <a:pt x="271" y="499"/>
                  </a:lnTo>
                  <a:lnTo>
                    <a:pt x="271" y="494"/>
                  </a:lnTo>
                  <a:lnTo>
                    <a:pt x="275" y="494"/>
                  </a:lnTo>
                  <a:lnTo>
                    <a:pt x="276" y="487"/>
                  </a:lnTo>
                  <a:lnTo>
                    <a:pt x="280" y="484"/>
                  </a:lnTo>
                  <a:lnTo>
                    <a:pt x="278" y="477"/>
                  </a:lnTo>
                  <a:lnTo>
                    <a:pt x="273" y="474"/>
                  </a:lnTo>
                  <a:lnTo>
                    <a:pt x="270" y="467"/>
                  </a:lnTo>
                  <a:lnTo>
                    <a:pt x="263" y="468"/>
                  </a:lnTo>
                  <a:lnTo>
                    <a:pt x="259" y="462"/>
                  </a:lnTo>
                  <a:lnTo>
                    <a:pt x="253" y="462"/>
                  </a:lnTo>
                  <a:lnTo>
                    <a:pt x="247" y="456"/>
                  </a:lnTo>
                  <a:lnTo>
                    <a:pt x="246" y="458"/>
                  </a:lnTo>
                  <a:lnTo>
                    <a:pt x="244" y="455"/>
                  </a:lnTo>
                  <a:lnTo>
                    <a:pt x="239" y="451"/>
                  </a:lnTo>
                  <a:lnTo>
                    <a:pt x="232" y="451"/>
                  </a:lnTo>
                  <a:lnTo>
                    <a:pt x="224" y="450"/>
                  </a:lnTo>
                  <a:lnTo>
                    <a:pt x="218" y="448"/>
                  </a:lnTo>
                  <a:lnTo>
                    <a:pt x="213" y="446"/>
                  </a:lnTo>
                  <a:lnTo>
                    <a:pt x="208" y="448"/>
                  </a:lnTo>
                  <a:lnTo>
                    <a:pt x="205" y="446"/>
                  </a:lnTo>
                  <a:lnTo>
                    <a:pt x="203" y="441"/>
                  </a:lnTo>
                  <a:lnTo>
                    <a:pt x="196" y="434"/>
                  </a:lnTo>
                  <a:lnTo>
                    <a:pt x="189" y="436"/>
                  </a:lnTo>
                  <a:lnTo>
                    <a:pt x="183" y="431"/>
                  </a:lnTo>
                  <a:lnTo>
                    <a:pt x="179" y="431"/>
                  </a:lnTo>
                  <a:lnTo>
                    <a:pt x="171" y="429"/>
                  </a:lnTo>
                  <a:lnTo>
                    <a:pt x="169" y="429"/>
                  </a:lnTo>
                  <a:lnTo>
                    <a:pt x="164" y="429"/>
                  </a:lnTo>
                  <a:lnTo>
                    <a:pt x="155" y="433"/>
                  </a:lnTo>
                  <a:lnTo>
                    <a:pt x="152" y="429"/>
                  </a:lnTo>
                  <a:lnTo>
                    <a:pt x="148" y="427"/>
                  </a:lnTo>
                  <a:lnTo>
                    <a:pt x="145" y="424"/>
                  </a:lnTo>
                  <a:lnTo>
                    <a:pt x="140" y="422"/>
                  </a:lnTo>
                  <a:lnTo>
                    <a:pt x="138" y="419"/>
                  </a:lnTo>
                  <a:lnTo>
                    <a:pt x="137" y="419"/>
                  </a:lnTo>
                  <a:lnTo>
                    <a:pt x="137" y="417"/>
                  </a:lnTo>
                  <a:lnTo>
                    <a:pt x="133" y="414"/>
                  </a:lnTo>
                  <a:lnTo>
                    <a:pt x="131" y="410"/>
                  </a:lnTo>
                  <a:lnTo>
                    <a:pt x="128" y="409"/>
                  </a:lnTo>
                  <a:lnTo>
                    <a:pt x="123" y="404"/>
                  </a:lnTo>
                  <a:lnTo>
                    <a:pt x="121" y="397"/>
                  </a:lnTo>
                  <a:lnTo>
                    <a:pt x="114" y="390"/>
                  </a:lnTo>
                  <a:lnTo>
                    <a:pt x="113" y="390"/>
                  </a:lnTo>
                  <a:lnTo>
                    <a:pt x="111" y="397"/>
                  </a:lnTo>
                  <a:lnTo>
                    <a:pt x="109" y="402"/>
                  </a:lnTo>
                  <a:lnTo>
                    <a:pt x="109" y="407"/>
                  </a:lnTo>
                  <a:lnTo>
                    <a:pt x="106" y="409"/>
                  </a:lnTo>
                  <a:lnTo>
                    <a:pt x="101" y="409"/>
                  </a:lnTo>
                  <a:lnTo>
                    <a:pt x="96" y="405"/>
                  </a:lnTo>
                  <a:lnTo>
                    <a:pt x="92" y="407"/>
                  </a:lnTo>
                  <a:lnTo>
                    <a:pt x="85" y="407"/>
                  </a:lnTo>
                  <a:lnTo>
                    <a:pt x="80" y="405"/>
                  </a:lnTo>
                  <a:lnTo>
                    <a:pt x="78" y="402"/>
                  </a:lnTo>
                  <a:lnTo>
                    <a:pt x="72" y="402"/>
                  </a:lnTo>
                  <a:lnTo>
                    <a:pt x="67" y="398"/>
                  </a:lnTo>
                  <a:lnTo>
                    <a:pt x="63" y="400"/>
                  </a:lnTo>
                  <a:lnTo>
                    <a:pt x="60" y="407"/>
                  </a:lnTo>
                  <a:lnTo>
                    <a:pt x="56" y="407"/>
                  </a:lnTo>
                  <a:lnTo>
                    <a:pt x="55" y="410"/>
                  </a:lnTo>
                  <a:lnTo>
                    <a:pt x="49" y="405"/>
                  </a:lnTo>
                  <a:lnTo>
                    <a:pt x="51" y="405"/>
                  </a:lnTo>
                  <a:lnTo>
                    <a:pt x="51" y="397"/>
                  </a:lnTo>
                  <a:lnTo>
                    <a:pt x="49" y="393"/>
                  </a:lnTo>
                  <a:lnTo>
                    <a:pt x="51" y="390"/>
                  </a:lnTo>
                  <a:lnTo>
                    <a:pt x="49" y="388"/>
                  </a:lnTo>
                  <a:lnTo>
                    <a:pt x="51" y="386"/>
                  </a:lnTo>
                  <a:lnTo>
                    <a:pt x="49" y="380"/>
                  </a:lnTo>
                  <a:lnTo>
                    <a:pt x="51" y="376"/>
                  </a:lnTo>
                  <a:lnTo>
                    <a:pt x="48" y="376"/>
                  </a:lnTo>
                  <a:lnTo>
                    <a:pt x="43" y="373"/>
                  </a:lnTo>
                  <a:lnTo>
                    <a:pt x="41" y="366"/>
                  </a:lnTo>
                  <a:lnTo>
                    <a:pt x="38" y="361"/>
                  </a:lnTo>
                  <a:lnTo>
                    <a:pt x="34" y="361"/>
                  </a:lnTo>
                  <a:lnTo>
                    <a:pt x="36" y="356"/>
                  </a:lnTo>
                  <a:lnTo>
                    <a:pt x="27" y="349"/>
                  </a:lnTo>
                  <a:lnTo>
                    <a:pt x="27" y="344"/>
                  </a:lnTo>
                  <a:lnTo>
                    <a:pt x="31" y="339"/>
                  </a:lnTo>
                  <a:lnTo>
                    <a:pt x="26" y="337"/>
                  </a:lnTo>
                  <a:lnTo>
                    <a:pt x="26" y="334"/>
                  </a:lnTo>
                  <a:lnTo>
                    <a:pt x="20" y="330"/>
                  </a:lnTo>
                  <a:lnTo>
                    <a:pt x="17" y="330"/>
                  </a:lnTo>
                  <a:lnTo>
                    <a:pt x="15" y="334"/>
                  </a:lnTo>
                  <a:lnTo>
                    <a:pt x="12" y="335"/>
                  </a:lnTo>
                  <a:lnTo>
                    <a:pt x="10" y="334"/>
                  </a:lnTo>
                  <a:lnTo>
                    <a:pt x="7" y="337"/>
                  </a:lnTo>
                  <a:lnTo>
                    <a:pt x="8" y="334"/>
                  </a:lnTo>
                  <a:lnTo>
                    <a:pt x="8" y="330"/>
                  </a:lnTo>
                  <a:lnTo>
                    <a:pt x="3" y="332"/>
                  </a:lnTo>
                  <a:lnTo>
                    <a:pt x="0" y="327"/>
                  </a:lnTo>
                  <a:lnTo>
                    <a:pt x="2" y="322"/>
                  </a:lnTo>
                  <a:lnTo>
                    <a:pt x="8" y="322"/>
                  </a:lnTo>
                  <a:lnTo>
                    <a:pt x="8" y="318"/>
                  </a:lnTo>
                  <a:lnTo>
                    <a:pt x="3" y="320"/>
                  </a:lnTo>
                  <a:lnTo>
                    <a:pt x="3" y="318"/>
                  </a:lnTo>
                  <a:lnTo>
                    <a:pt x="8" y="313"/>
                  </a:lnTo>
                  <a:lnTo>
                    <a:pt x="10" y="308"/>
                  </a:lnTo>
                  <a:lnTo>
                    <a:pt x="14" y="306"/>
                  </a:lnTo>
                  <a:lnTo>
                    <a:pt x="15" y="301"/>
                  </a:lnTo>
                  <a:lnTo>
                    <a:pt x="19" y="303"/>
                  </a:lnTo>
                  <a:lnTo>
                    <a:pt x="19" y="299"/>
                  </a:lnTo>
                  <a:lnTo>
                    <a:pt x="19" y="298"/>
                  </a:lnTo>
                  <a:lnTo>
                    <a:pt x="17" y="298"/>
                  </a:lnTo>
                  <a:lnTo>
                    <a:pt x="15" y="289"/>
                  </a:lnTo>
                  <a:lnTo>
                    <a:pt x="15" y="286"/>
                  </a:lnTo>
                  <a:lnTo>
                    <a:pt x="14" y="284"/>
                  </a:lnTo>
                  <a:lnTo>
                    <a:pt x="12" y="275"/>
                  </a:lnTo>
                  <a:lnTo>
                    <a:pt x="15" y="269"/>
                  </a:lnTo>
                  <a:lnTo>
                    <a:pt x="14" y="265"/>
                  </a:lnTo>
                  <a:lnTo>
                    <a:pt x="19" y="263"/>
                  </a:lnTo>
                  <a:lnTo>
                    <a:pt x="20" y="260"/>
                  </a:lnTo>
                  <a:lnTo>
                    <a:pt x="27" y="255"/>
                  </a:lnTo>
                  <a:lnTo>
                    <a:pt x="27" y="252"/>
                  </a:lnTo>
                  <a:lnTo>
                    <a:pt x="26" y="250"/>
                  </a:lnTo>
                  <a:lnTo>
                    <a:pt x="31" y="246"/>
                  </a:lnTo>
                  <a:lnTo>
                    <a:pt x="34" y="241"/>
                  </a:lnTo>
                  <a:lnTo>
                    <a:pt x="38" y="245"/>
                  </a:lnTo>
                  <a:lnTo>
                    <a:pt x="38" y="248"/>
                  </a:lnTo>
                  <a:lnTo>
                    <a:pt x="41" y="255"/>
                  </a:lnTo>
                  <a:lnTo>
                    <a:pt x="43" y="260"/>
                  </a:lnTo>
                  <a:lnTo>
                    <a:pt x="44" y="263"/>
                  </a:lnTo>
                  <a:lnTo>
                    <a:pt x="46" y="269"/>
                  </a:lnTo>
                  <a:lnTo>
                    <a:pt x="49" y="270"/>
                  </a:lnTo>
                  <a:lnTo>
                    <a:pt x="51" y="267"/>
                  </a:lnTo>
                  <a:lnTo>
                    <a:pt x="51" y="262"/>
                  </a:lnTo>
                  <a:lnTo>
                    <a:pt x="49" y="257"/>
                  </a:lnTo>
                  <a:lnTo>
                    <a:pt x="49" y="250"/>
                  </a:lnTo>
                  <a:lnTo>
                    <a:pt x="44" y="246"/>
                  </a:lnTo>
                  <a:lnTo>
                    <a:pt x="43" y="241"/>
                  </a:lnTo>
                  <a:lnTo>
                    <a:pt x="43" y="240"/>
                  </a:lnTo>
                  <a:lnTo>
                    <a:pt x="41" y="236"/>
                  </a:lnTo>
                  <a:lnTo>
                    <a:pt x="41" y="229"/>
                  </a:lnTo>
                  <a:lnTo>
                    <a:pt x="38" y="222"/>
                  </a:lnTo>
                  <a:lnTo>
                    <a:pt x="38" y="212"/>
                  </a:lnTo>
                  <a:lnTo>
                    <a:pt x="36" y="207"/>
                  </a:lnTo>
                  <a:lnTo>
                    <a:pt x="38" y="205"/>
                  </a:lnTo>
                  <a:lnTo>
                    <a:pt x="39" y="197"/>
                  </a:lnTo>
                  <a:lnTo>
                    <a:pt x="41" y="193"/>
                  </a:lnTo>
                  <a:lnTo>
                    <a:pt x="44" y="187"/>
                  </a:lnTo>
                  <a:lnTo>
                    <a:pt x="41" y="182"/>
                  </a:lnTo>
                  <a:lnTo>
                    <a:pt x="43" y="180"/>
                  </a:lnTo>
                  <a:lnTo>
                    <a:pt x="41" y="178"/>
                  </a:lnTo>
                  <a:lnTo>
                    <a:pt x="34" y="182"/>
                  </a:lnTo>
                  <a:lnTo>
                    <a:pt x="31" y="180"/>
                  </a:lnTo>
                  <a:lnTo>
                    <a:pt x="26" y="176"/>
                  </a:lnTo>
                  <a:lnTo>
                    <a:pt x="24" y="171"/>
                  </a:lnTo>
                  <a:lnTo>
                    <a:pt x="19" y="164"/>
                  </a:lnTo>
                  <a:lnTo>
                    <a:pt x="26" y="166"/>
                  </a:lnTo>
                  <a:lnTo>
                    <a:pt x="26" y="161"/>
                  </a:lnTo>
                  <a:lnTo>
                    <a:pt x="34" y="166"/>
                  </a:lnTo>
                  <a:lnTo>
                    <a:pt x="34" y="171"/>
                  </a:lnTo>
                  <a:lnTo>
                    <a:pt x="38" y="173"/>
                  </a:lnTo>
                  <a:lnTo>
                    <a:pt x="39" y="176"/>
                  </a:lnTo>
                  <a:lnTo>
                    <a:pt x="44" y="178"/>
                  </a:lnTo>
                  <a:lnTo>
                    <a:pt x="46" y="176"/>
                  </a:lnTo>
                  <a:lnTo>
                    <a:pt x="49" y="170"/>
                  </a:lnTo>
                  <a:lnTo>
                    <a:pt x="51" y="166"/>
                  </a:lnTo>
                  <a:lnTo>
                    <a:pt x="51" y="158"/>
                  </a:lnTo>
                  <a:lnTo>
                    <a:pt x="51" y="154"/>
                  </a:lnTo>
                  <a:lnTo>
                    <a:pt x="48" y="149"/>
                  </a:lnTo>
                  <a:lnTo>
                    <a:pt x="46" y="147"/>
                  </a:lnTo>
                  <a:lnTo>
                    <a:pt x="39" y="141"/>
                  </a:lnTo>
                  <a:lnTo>
                    <a:pt x="39" y="137"/>
                  </a:lnTo>
                  <a:lnTo>
                    <a:pt x="43" y="135"/>
                  </a:lnTo>
                  <a:lnTo>
                    <a:pt x="46" y="137"/>
                  </a:lnTo>
                  <a:lnTo>
                    <a:pt x="55" y="137"/>
                  </a:lnTo>
                  <a:lnTo>
                    <a:pt x="53" y="129"/>
                  </a:lnTo>
                  <a:lnTo>
                    <a:pt x="51" y="129"/>
                  </a:lnTo>
                  <a:lnTo>
                    <a:pt x="48" y="123"/>
                  </a:lnTo>
                  <a:lnTo>
                    <a:pt x="53" y="117"/>
                  </a:lnTo>
                  <a:lnTo>
                    <a:pt x="51" y="108"/>
                  </a:lnTo>
                  <a:lnTo>
                    <a:pt x="55" y="106"/>
                  </a:lnTo>
                  <a:lnTo>
                    <a:pt x="60" y="106"/>
                  </a:lnTo>
                  <a:lnTo>
                    <a:pt x="67" y="106"/>
                  </a:lnTo>
                  <a:lnTo>
                    <a:pt x="72" y="101"/>
                  </a:lnTo>
                  <a:lnTo>
                    <a:pt x="70" y="98"/>
                  </a:lnTo>
                  <a:lnTo>
                    <a:pt x="70" y="91"/>
                  </a:lnTo>
                  <a:lnTo>
                    <a:pt x="68" y="84"/>
                  </a:lnTo>
                  <a:lnTo>
                    <a:pt x="70" y="81"/>
                  </a:lnTo>
                  <a:lnTo>
                    <a:pt x="70" y="77"/>
                  </a:lnTo>
                  <a:lnTo>
                    <a:pt x="72" y="77"/>
                  </a:lnTo>
                  <a:lnTo>
                    <a:pt x="73" y="76"/>
                  </a:lnTo>
                  <a:lnTo>
                    <a:pt x="78" y="74"/>
                  </a:lnTo>
                  <a:lnTo>
                    <a:pt x="80" y="74"/>
                  </a:lnTo>
                  <a:lnTo>
                    <a:pt x="87" y="72"/>
                  </a:lnTo>
                  <a:lnTo>
                    <a:pt x="94" y="67"/>
                  </a:lnTo>
                  <a:lnTo>
                    <a:pt x="96" y="64"/>
                  </a:lnTo>
                  <a:lnTo>
                    <a:pt x="94" y="57"/>
                  </a:lnTo>
                  <a:lnTo>
                    <a:pt x="96" y="48"/>
                  </a:lnTo>
                  <a:lnTo>
                    <a:pt x="99" y="48"/>
                  </a:lnTo>
                  <a:lnTo>
                    <a:pt x="99" y="45"/>
                  </a:lnTo>
                  <a:lnTo>
                    <a:pt x="107" y="45"/>
                  </a:lnTo>
                  <a:lnTo>
                    <a:pt x="109" y="47"/>
                  </a:lnTo>
                  <a:lnTo>
                    <a:pt x="107" y="48"/>
                  </a:lnTo>
                  <a:lnTo>
                    <a:pt x="106" y="50"/>
                  </a:lnTo>
                  <a:lnTo>
                    <a:pt x="106" y="57"/>
                  </a:lnTo>
                  <a:lnTo>
                    <a:pt x="106" y="60"/>
                  </a:lnTo>
                  <a:lnTo>
                    <a:pt x="109" y="64"/>
                  </a:lnTo>
                  <a:lnTo>
                    <a:pt x="111" y="60"/>
                  </a:lnTo>
                  <a:lnTo>
                    <a:pt x="111" y="64"/>
                  </a:lnTo>
                  <a:lnTo>
                    <a:pt x="114" y="69"/>
                  </a:lnTo>
                  <a:lnTo>
                    <a:pt x="123" y="70"/>
                  </a:lnTo>
                  <a:lnTo>
                    <a:pt x="125" y="69"/>
                  </a:lnTo>
                  <a:lnTo>
                    <a:pt x="130" y="69"/>
                  </a:lnTo>
                  <a:lnTo>
                    <a:pt x="133" y="70"/>
                  </a:lnTo>
                  <a:lnTo>
                    <a:pt x="131" y="72"/>
                  </a:lnTo>
                  <a:lnTo>
                    <a:pt x="137" y="74"/>
                  </a:lnTo>
                  <a:lnTo>
                    <a:pt x="135" y="70"/>
                  </a:lnTo>
                  <a:lnTo>
                    <a:pt x="137" y="67"/>
                  </a:lnTo>
                  <a:lnTo>
                    <a:pt x="138" y="67"/>
                  </a:lnTo>
                  <a:lnTo>
                    <a:pt x="138" y="64"/>
                  </a:lnTo>
                  <a:lnTo>
                    <a:pt x="138" y="60"/>
                  </a:lnTo>
                  <a:lnTo>
                    <a:pt x="138" y="59"/>
                  </a:lnTo>
                  <a:lnTo>
                    <a:pt x="142" y="53"/>
                  </a:lnTo>
                  <a:lnTo>
                    <a:pt x="142" y="52"/>
                  </a:lnTo>
                  <a:lnTo>
                    <a:pt x="147" y="50"/>
                  </a:lnTo>
                  <a:lnTo>
                    <a:pt x="147" y="48"/>
                  </a:lnTo>
                  <a:lnTo>
                    <a:pt x="148" y="50"/>
                  </a:lnTo>
                  <a:lnTo>
                    <a:pt x="147" y="48"/>
                  </a:lnTo>
                  <a:lnTo>
                    <a:pt x="148" y="48"/>
                  </a:lnTo>
                  <a:lnTo>
                    <a:pt x="147" y="47"/>
                  </a:lnTo>
                  <a:lnTo>
                    <a:pt x="150" y="45"/>
                  </a:lnTo>
                  <a:lnTo>
                    <a:pt x="152" y="47"/>
                  </a:lnTo>
                  <a:lnTo>
                    <a:pt x="152" y="48"/>
                  </a:lnTo>
                  <a:lnTo>
                    <a:pt x="154" y="48"/>
                  </a:lnTo>
                  <a:lnTo>
                    <a:pt x="157" y="43"/>
                  </a:lnTo>
                  <a:lnTo>
                    <a:pt x="160" y="40"/>
                  </a:lnTo>
                  <a:lnTo>
                    <a:pt x="162" y="40"/>
                  </a:lnTo>
                  <a:lnTo>
                    <a:pt x="162" y="33"/>
                  </a:lnTo>
                  <a:lnTo>
                    <a:pt x="159" y="31"/>
                  </a:lnTo>
                  <a:lnTo>
                    <a:pt x="160" y="24"/>
                  </a:lnTo>
                  <a:lnTo>
                    <a:pt x="162" y="24"/>
                  </a:lnTo>
                  <a:lnTo>
                    <a:pt x="166" y="23"/>
                  </a:lnTo>
                  <a:lnTo>
                    <a:pt x="166" y="19"/>
                  </a:lnTo>
                  <a:lnTo>
                    <a:pt x="162" y="18"/>
                  </a:lnTo>
                  <a:lnTo>
                    <a:pt x="164" y="12"/>
                  </a:lnTo>
                  <a:lnTo>
                    <a:pt x="162" y="12"/>
                  </a:lnTo>
                  <a:lnTo>
                    <a:pt x="164" y="9"/>
                  </a:lnTo>
                  <a:lnTo>
                    <a:pt x="162" y="4"/>
                  </a:lnTo>
                  <a:lnTo>
                    <a:pt x="171" y="6"/>
                  </a:lnTo>
                  <a:lnTo>
                    <a:pt x="174" y="0"/>
                  </a:lnTo>
                  <a:lnTo>
                    <a:pt x="176" y="2"/>
                  </a:lnTo>
                  <a:lnTo>
                    <a:pt x="174" y="4"/>
                  </a:lnTo>
                  <a:lnTo>
                    <a:pt x="174" y="6"/>
                  </a:lnTo>
                  <a:lnTo>
                    <a:pt x="172" y="4"/>
                  </a:lnTo>
                  <a:lnTo>
                    <a:pt x="172" y="7"/>
                  </a:lnTo>
                  <a:lnTo>
                    <a:pt x="176" y="4"/>
                  </a:lnTo>
                  <a:lnTo>
                    <a:pt x="177" y="6"/>
                  </a:lnTo>
                  <a:lnTo>
                    <a:pt x="176" y="4"/>
                  </a:lnTo>
                  <a:lnTo>
                    <a:pt x="179" y="2"/>
                  </a:lnTo>
                  <a:lnTo>
                    <a:pt x="188" y="4"/>
                  </a:lnTo>
                  <a:lnTo>
                    <a:pt x="193" y="7"/>
                  </a:lnTo>
                  <a:lnTo>
                    <a:pt x="195" y="6"/>
                  </a:lnTo>
                  <a:lnTo>
                    <a:pt x="198" y="6"/>
                  </a:lnTo>
                  <a:lnTo>
                    <a:pt x="203" y="9"/>
                  </a:lnTo>
                  <a:lnTo>
                    <a:pt x="210" y="14"/>
                  </a:lnTo>
                  <a:lnTo>
                    <a:pt x="217" y="16"/>
                  </a:lnTo>
                  <a:lnTo>
                    <a:pt x="222" y="12"/>
                  </a:lnTo>
                  <a:lnTo>
                    <a:pt x="225" y="12"/>
                  </a:lnTo>
                  <a:lnTo>
                    <a:pt x="229" y="14"/>
                  </a:lnTo>
                  <a:lnTo>
                    <a:pt x="234" y="12"/>
                  </a:lnTo>
                  <a:lnTo>
                    <a:pt x="237" y="7"/>
                  </a:lnTo>
                  <a:lnTo>
                    <a:pt x="241" y="7"/>
                  </a:lnTo>
                  <a:lnTo>
                    <a:pt x="242" y="12"/>
                  </a:lnTo>
                  <a:lnTo>
                    <a:pt x="241" y="14"/>
                  </a:lnTo>
                  <a:lnTo>
                    <a:pt x="236" y="16"/>
                  </a:lnTo>
                  <a:lnTo>
                    <a:pt x="237" y="18"/>
                  </a:lnTo>
                  <a:lnTo>
                    <a:pt x="236" y="21"/>
                  </a:lnTo>
                  <a:lnTo>
                    <a:pt x="237" y="26"/>
                  </a:lnTo>
                  <a:lnTo>
                    <a:pt x="242" y="31"/>
                  </a:lnTo>
                  <a:lnTo>
                    <a:pt x="247" y="33"/>
                  </a:lnTo>
                  <a:lnTo>
                    <a:pt x="253" y="36"/>
                  </a:lnTo>
                  <a:lnTo>
                    <a:pt x="261" y="36"/>
                  </a:lnTo>
                  <a:lnTo>
                    <a:pt x="263" y="38"/>
                  </a:lnTo>
                  <a:lnTo>
                    <a:pt x="263" y="36"/>
                  </a:lnTo>
                  <a:lnTo>
                    <a:pt x="268" y="35"/>
                  </a:lnTo>
                  <a:lnTo>
                    <a:pt x="270" y="40"/>
                  </a:lnTo>
                  <a:lnTo>
                    <a:pt x="271" y="38"/>
                  </a:lnTo>
                  <a:lnTo>
                    <a:pt x="270" y="35"/>
                  </a:lnTo>
                  <a:lnTo>
                    <a:pt x="271" y="35"/>
                  </a:lnTo>
                  <a:lnTo>
                    <a:pt x="275" y="36"/>
                  </a:lnTo>
                  <a:lnTo>
                    <a:pt x="285" y="33"/>
                  </a:lnTo>
                  <a:lnTo>
                    <a:pt x="292" y="35"/>
                  </a:lnTo>
                  <a:lnTo>
                    <a:pt x="297" y="31"/>
                  </a:lnTo>
                  <a:lnTo>
                    <a:pt x="299" y="36"/>
                  </a:lnTo>
                  <a:lnTo>
                    <a:pt x="300" y="36"/>
                  </a:lnTo>
                  <a:lnTo>
                    <a:pt x="300" y="40"/>
                  </a:lnTo>
                  <a:lnTo>
                    <a:pt x="304" y="41"/>
                  </a:lnTo>
                  <a:lnTo>
                    <a:pt x="311" y="38"/>
                  </a:lnTo>
                  <a:lnTo>
                    <a:pt x="312" y="35"/>
                  </a:lnTo>
                  <a:lnTo>
                    <a:pt x="314" y="36"/>
                  </a:lnTo>
                  <a:lnTo>
                    <a:pt x="319" y="36"/>
                  </a:lnTo>
                  <a:lnTo>
                    <a:pt x="319" y="38"/>
                  </a:lnTo>
                  <a:lnTo>
                    <a:pt x="324" y="38"/>
                  </a:lnTo>
                  <a:lnTo>
                    <a:pt x="324" y="40"/>
                  </a:lnTo>
                  <a:lnTo>
                    <a:pt x="328" y="36"/>
                  </a:lnTo>
                  <a:lnTo>
                    <a:pt x="329" y="4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7" name="Freeform 65"/>
            <p:cNvSpPr>
              <a:spLocks noEditPoints="1"/>
            </p:cNvSpPr>
            <p:nvPr/>
          </p:nvSpPr>
          <p:spPr bwMode="gray">
            <a:xfrm>
              <a:off x="6066813" y="3340774"/>
              <a:ext cx="246264" cy="594684"/>
            </a:xfrm>
            <a:custGeom>
              <a:avLst/>
              <a:gdLst>
                <a:gd name="T0" fmla="*/ 16 w 135"/>
                <a:gd name="T1" fmla="*/ 217 h 326"/>
                <a:gd name="T2" fmla="*/ 122 w 135"/>
                <a:gd name="T3" fmla="*/ 152 h 326"/>
                <a:gd name="T4" fmla="*/ 104 w 135"/>
                <a:gd name="T5" fmla="*/ 174 h 326"/>
                <a:gd name="T6" fmla="*/ 113 w 135"/>
                <a:gd name="T7" fmla="*/ 193 h 326"/>
                <a:gd name="T8" fmla="*/ 125 w 135"/>
                <a:gd name="T9" fmla="*/ 215 h 326"/>
                <a:gd name="T10" fmla="*/ 104 w 135"/>
                <a:gd name="T11" fmla="*/ 229 h 326"/>
                <a:gd name="T12" fmla="*/ 98 w 135"/>
                <a:gd name="T13" fmla="*/ 243 h 326"/>
                <a:gd name="T14" fmla="*/ 99 w 135"/>
                <a:gd name="T15" fmla="*/ 262 h 326"/>
                <a:gd name="T16" fmla="*/ 94 w 135"/>
                <a:gd name="T17" fmla="*/ 275 h 326"/>
                <a:gd name="T18" fmla="*/ 77 w 135"/>
                <a:gd name="T19" fmla="*/ 282 h 326"/>
                <a:gd name="T20" fmla="*/ 82 w 135"/>
                <a:gd name="T21" fmla="*/ 296 h 326"/>
                <a:gd name="T22" fmla="*/ 86 w 135"/>
                <a:gd name="T23" fmla="*/ 313 h 326"/>
                <a:gd name="T24" fmla="*/ 81 w 135"/>
                <a:gd name="T25" fmla="*/ 314 h 326"/>
                <a:gd name="T26" fmla="*/ 74 w 135"/>
                <a:gd name="T27" fmla="*/ 313 h 326"/>
                <a:gd name="T28" fmla="*/ 63 w 135"/>
                <a:gd name="T29" fmla="*/ 313 h 326"/>
                <a:gd name="T30" fmla="*/ 38 w 135"/>
                <a:gd name="T31" fmla="*/ 318 h 326"/>
                <a:gd name="T32" fmla="*/ 26 w 135"/>
                <a:gd name="T33" fmla="*/ 323 h 326"/>
                <a:gd name="T34" fmla="*/ 14 w 135"/>
                <a:gd name="T35" fmla="*/ 314 h 326"/>
                <a:gd name="T36" fmla="*/ 11 w 135"/>
                <a:gd name="T37" fmla="*/ 297 h 326"/>
                <a:gd name="T38" fmla="*/ 9 w 135"/>
                <a:gd name="T39" fmla="*/ 279 h 326"/>
                <a:gd name="T40" fmla="*/ 5 w 135"/>
                <a:gd name="T41" fmla="*/ 268 h 326"/>
                <a:gd name="T42" fmla="*/ 12 w 135"/>
                <a:gd name="T43" fmla="*/ 262 h 326"/>
                <a:gd name="T44" fmla="*/ 11 w 135"/>
                <a:gd name="T45" fmla="*/ 239 h 326"/>
                <a:gd name="T46" fmla="*/ 2 w 135"/>
                <a:gd name="T47" fmla="*/ 229 h 326"/>
                <a:gd name="T48" fmla="*/ 14 w 135"/>
                <a:gd name="T49" fmla="*/ 219 h 326"/>
                <a:gd name="T50" fmla="*/ 31 w 135"/>
                <a:gd name="T51" fmla="*/ 209 h 326"/>
                <a:gd name="T52" fmla="*/ 46 w 135"/>
                <a:gd name="T53" fmla="*/ 195 h 326"/>
                <a:gd name="T54" fmla="*/ 48 w 135"/>
                <a:gd name="T55" fmla="*/ 168 h 326"/>
                <a:gd name="T56" fmla="*/ 53 w 135"/>
                <a:gd name="T57" fmla="*/ 150 h 326"/>
                <a:gd name="T58" fmla="*/ 70 w 135"/>
                <a:gd name="T59" fmla="*/ 133 h 326"/>
                <a:gd name="T60" fmla="*/ 67 w 135"/>
                <a:gd name="T61" fmla="*/ 115 h 326"/>
                <a:gd name="T62" fmla="*/ 63 w 135"/>
                <a:gd name="T63" fmla="*/ 98 h 326"/>
                <a:gd name="T64" fmla="*/ 69 w 135"/>
                <a:gd name="T65" fmla="*/ 87 h 326"/>
                <a:gd name="T66" fmla="*/ 70 w 135"/>
                <a:gd name="T67" fmla="*/ 58 h 326"/>
                <a:gd name="T68" fmla="*/ 70 w 135"/>
                <a:gd name="T69" fmla="*/ 38 h 326"/>
                <a:gd name="T70" fmla="*/ 86 w 135"/>
                <a:gd name="T71" fmla="*/ 26 h 326"/>
                <a:gd name="T72" fmla="*/ 98 w 135"/>
                <a:gd name="T73" fmla="*/ 0 h 326"/>
                <a:gd name="T74" fmla="*/ 99 w 135"/>
                <a:gd name="T75" fmla="*/ 21 h 326"/>
                <a:gd name="T76" fmla="*/ 103 w 135"/>
                <a:gd name="T77" fmla="*/ 34 h 326"/>
                <a:gd name="T78" fmla="*/ 94 w 135"/>
                <a:gd name="T79" fmla="*/ 43 h 326"/>
                <a:gd name="T80" fmla="*/ 92 w 135"/>
                <a:gd name="T81" fmla="*/ 53 h 326"/>
                <a:gd name="T82" fmla="*/ 87 w 135"/>
                <a:gd name="T83" fmla="*/ 67 h 326"/>
                <a:gd name="T84" fmla="*/ 94 w 135"/>
                <a:gd name="T85" fmla="*/ 69 h 326"/>
                <a:gd name="T86" fmla="*/ 104 w 135"/>
                <a:gd name="T87" fmla="*/ 65 h 326"/>
                <a:gd name="T88" fmla="*/ 111 w 135"/>
                <a:gd name="T89" fmla="*/ 79 h 326"/>
                <a:gd name="T90" fmla="*/ 122 w 135"/>
                <a:gd name="T91" fmla="*/ 96 h 326"/>
                <a:gd name="T92" fmla="*/ 135 w 135"/>
                <a:gd name="T93" fmla="*/ 111 h 326"/>
                <a:gd name="T94" fmla="*/ 135 w 135"/>
                <a:gd name="T95" fmla="*/ 125 h 326"/>
                <a:gd name="T96" fmla="*/ 133 w 135"/>
                <a:gd name="T97" fmla="*/ 14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326">
                  <a:moveTo>
                    <a:pt x="16" y="217"/>
                  </a:moveTo>
                  <a:lnTo>
                    <a:pt x="16" y="214"/>
                  </a:lnTo>
                  <a:lnTo>
                    <a:pt x="17" y="212"/>
                  </a:lnTo>
                  <a:lnTo>
                    <a:pt x="16" y="217"/>
                  </a:lnTo>
                  <a:close/>
                  <a:moveTo>
                    <a:pt x="133" y="140"/>
                  </a:moveTo>
                  <a:lnTo>
                    <a:pt x="128" y="145"/>
                  </a:lnTo>
                  <a:lnTo>
                    <a:pt x="127" y="152"/>
                  </a:lnTo>
                  <a:lnTo>
                    <a:pt x="122" y="152"/>
                  </a:lnTo>
                  <a:lnTo>
                    <a:pt x="122" y="156"/>
                  </a:lnTo>
                  <a:lnTo>
                    <a:pt x="115" y="162"/>
                  </a:lnTo>
                  <a:lnTo>
                    <a:pt x="104" y="168"/>
                  </a:lnTo>
                  <a:lnTo>
                    <a:pt x="104" y="174"/>
                  </a:lnTo>
                  <a:lnTo>
                    <a:pt x="111" y="180"/>
                  </a:lnTo>
                  <a:lnTo>
                    <a:pt x="113" y="178"/>
                  </a:lnTo>
                  <a:lnTo>
                    <a:pt x="116" y="186"/>
                  </a:lnTo>
                  <a:lnTo>
                    <a:pt x="113" y="193"/>
                  </a:lnTo>
                  <a:lnTo>
                    <a:pt x="118" y="198"/>
                  </a:lnTo>
                  <a:lnTo>
                    <a:pt x="115" y="207"/>
                  </a:lnTo>
                  <a:lnTo>
                    <a:pt x="122" y="212"/>
                  </a:lnTo>
                  <a:lnTo>
                    <a:pt x="125" y="215"/>
                  </a:lnTo>
                  <a:lnTo>
                    <a:pt x="120" y="219"/>
                  </a:lnTo>
                  <a:lnTo>
                    <a:pt x="120" y="224"/>
                  </a:lnTo>
                  <a:lnTo>
                    <a:pt x="111" y="229"/>
                  </a:lnTo>
                  <a:lnTo>
                    <a:pt x="104" y="229"/>
                  </a:lnTo>
                  <a:lnTo>
                    <a:pt x="103" y="227"/>
                  </a:lnTo>
                  <a:lnTo>
                    <a:pt x="99" y="229"/>
                  </a:lnTo>
                  <a:lnTo>
                    <a:pt x="98" y="236"/>
                  </a:lnTo>
                  <a:lnTo>
                    <a:pt x="98" y="243"/>
                  </a:lnTo>
                  <a:lnTo>
                    <a:pt x="96" y="246"/>
                  </a:lnTo>
                  <a:lnTo>
                    <a:pt x="99" y="253"/>
                  </a:lnTo>
                  <a:lnTo>
                    <a:pt x="98" y="256"/>
                  </a:lnTo>
                  <a:lnTo>
                    <a:pt x="99" y="262"/>
                  </a:lnTo>
                  <a:lnTo>
                    <a:pt x="104" y="267"/>
                  </a:lnTo>
                  <a:lnTo>
                    <a:pt x="106" y="273"/>
                  </a:lnTo>
                  <a:lnTo>
                    <a:pt x="103" y="272"/>
                  </a:lnTo>
                  <a:lnTo>
                    <a:pt x="94" y="275"/>
                  </a:lnTo>
                  <a:lnTo>
                    <a:pt x="91" y="279"/>
                  </a:lnTo>
                  <a:lnTo>
                    <a:pt x="86" y="280"/>
                  </a:lnTo>
                  <a:lnTo>
                    <a:pt x="81" y="279"/>
                  </a:lnTo>
                  <a:lnTo>
                    <a:pt x="77" y="282"/>
                  </a:lnTo>
                  <a:lnTo>
                    <a:pt x="74" y="282"/>
                  </a:lnTo>
                  <a:lnTo>
                    <a:pt x="74" y="284"/>
                  </a:lnTo>
                  <a:lnTo>
                    <a:pt x="82" y="291"/>
                  </a:lnTo>
                  <a:lnTo>
                    <a:pt x="82" y="296"/>
                  </a:lnTo>
                  <a:lnTo>
                    <a:pt x="82" y="297"/>
                  </a:lnTo>
                  <a:lnTo>
                    <a:pt x="81" y="299"/>
                  </a:lnTo>
                  <a:lnTo>
                    <a:pt x="86" y="302"/>
                  </a:lnTo>
                  <a:lnTo>
                    <a:pt x="86" y="313"/>
                  </a:lnTo>
                  <a:lnTo>
                    <a:pt x="89" y="314"/>
                  </a:lnTo>
                  <a:lnTo>
                    <a:pt x="86" y="318"/>
                  </a:lnTo>
                  <a:lnTo>
                    <a:pt x="84" y="316"/>
                  </a:lnTo>
                  <a:lnTo>
                    <a:pt x="81" y="314"/>
                  </a:lnTo>
                  <a:lnTo>
                    <a:pt x="81" y="313"/>
                  </a:lnTo>
                  <a:lnTo>
                    <a:pt x="79" y="314"/>
                  </a:lnTo>
                  <a:lnTo>
                    <a:pt x="75" y="313"/>
                  </a:lnTo>
                  <a:lnTo>
                    <a:pt x="74" y="313"/>
                  </a:lnTo>
                  <a:lnTo>
                    <a:pt x="70" y="309"/>
                  </a:lnTo>
                  <a:lnTo>
                    <a:pt x="65" y="309"/>
                  </a:lnTo>
                  <a:lnTo>
                    <a:pt x="63" y="309"/>
                  </a:lnTo>
                  <a:lnTo>
                    <a:pt x="63" y="313"/>
                  </a:lnTo>
                  <a:lnTo>
                    <a:pt x="55" y="316"/>
                  </a:lnTo>
                  <a:lnTo>
                    <a:pt x="46" y="316"/>
                  </a:lnTo>
                  <a:lnTo>
                    <a:pt x="43" y="320"/>
                  </a:lnTo>
                  <a:lnTo>
                    <a:pt x="38" y="318"/>
                  </a:lnTo>
                  <a:lnTo>
                    <a:pt x="31" y="320"/>
                  </a:lnTo>
                  <a:lnTo>
                    <a:pt x="29" y="323"/>
                  </a:lnTo>
                  <a:lnTo>
                    <a:pt x="29" y="325"/>
                  </a:lnTo>
                  <a:lnTo>
                    <a:pt x="26" y="323"/>
                  </a:lnTo>
                  <a:lnTo>
                    <a:pt x="21" y="326"/>
                  </a:lnTo>
                  <a:lnTo>
                    <a:pt x="17" y="318"/>
                  </a:lnTo>
                  <a:lnTo>
                    <a:pt x="17" y="316"/>
                  </a:lnTo>
                  <a:lnTo>
                    <a:pt x="14" y="314"/>
                  </a:lnTo>
                  <a:lnTo>
                    <a:pt x="14" y="311"/>
                  </a:lnTo>
                  <a:lnTo>
                    <a:pt x="11" y="304"/>
                  </a:lnTo>
                  <a:lnTo>
                    <a:pt x="12" y="299"/>
                  </a:lnTo>
                  <a:lnTo>
                    <a:pt x="11" y="297"/>
                  </a:lnTo>
                  <a:lnTo>
                    <a:pt x="12" y="294"/>
                  </a:lnTo>
                  <a:lnTo>
                    <a:pt x="9" y="285"/>
                  </a:lnTo>
                  <a:lnTo>
                    <a:pt x="11" y="284"/>
                  </a:lnTo>
                  <a:lnTo>
                    <a:pt x="9" y="279"/>
                  </a:lnTo>
                  <a:lnTo>
                    <a:pt x="4" y="273"/>
                  </a:lnTo>
                  <a:lnTo>
                    <a:pt x="2" y="270"/>
                  </a:lnTo>
                  <a:lnTo>
                    <a:pt x="4" y="268"/>
                  </a:lnTo>
                  <a:lnTo>
                    <a:pt x="5" y="268"/>
                  </a:lnTo>
                  <a:lnTo>
                    <a:pt x="5" y="267"/>
                  </a:lnTo>
                  <a:lnTo>
                    <a:pt x="9" y="268"/>
                  </a:lnTo>
                  <a:lnTo>
                    <a:pt x="11" y="268"/>
                  </a:lnTo>
                  <a:lnTo>
                    <a:pt x="12" y="262"/>
                  </a:lnTo>
                  <a:lnTo>
                    <a:pt x="11" y="256"/>
                  </a:lnTo>
                  <a:lnTo>
                    <a:pt x="14" y="253"/>
                  </a:lnTo>
                  <a:lnTo>
                    <a:pt x="16" y="244"/>
                  </a:lnTo>
                  <a:lnTo>
                    <a:pt x="11" y="239"/>
                  </a:lnTo>
                  <a:lnTo>
                    <a:pt x="2" y="243"/>
                  </a:lnTo>
                  <a:lnTo>
                    <a:pt x="2" y="236"/>
                  </a:lnTo>
                  <a:lnTo>
                    <a:pt x="0" y="232"/>
                  </a:lnTo>
                  <a:lnTo>
                    <a:pt x="2" y="229"/>
                  </a:lnTo>
                  <a:lnTo>
                    <a:pt x="4" y="227"/>
                  </a:lnTo>
                  <a:lnTo>
                    <a:pt x="4" y="221"/>
                  </a:lnTo>
                  <a:lnTo>
                    <a:pt x="7" y="212"/>
                  </a:lnTo>
                  <a:lnTo>
                    <a:pt x="14" y="219"/>
                  </a:lnTo>
                  <a:lnTo>
                    <a:pt x="19" y="219"/>
                  </a:lnTo>
                  <a:lnTo>
                    <a:pt x="22" y="215"/>
                  </a:lnTo>
                  <a:lnTo>
                    <a:pt x="29" y="212"/>
                  </a:lnTo>
                  <a:lnTo>
                    <a:pt x="31" y="209"/>
                  </a:lnTo>
                  <a:lnTo>
                    <a:pt x="33" y="209"/>
                  </a:lnTo>
                  <a:lnTo>
                    <a:pt x="34" y="198"/>
                  </a:lnTo>
                  <a:lnTo>
                    <a:pt x="45" y="197"/>
                  </a:lnTo>
                  <a:lnTo>
                    <a:pt x="46" y="195"/>
                  </a:lnTo>
                  <a:lnTo>
                    <a:pt x="45" y="193"/>
                  </a:lnTo>
                  <a:lnTo>
                    <a:pt x="46" y="185"/>
                  </a:lnTo>
                  <a:lnTo>
                    <a:pt x="45" y="176"/>
                  </a:lnTo>
                  <a:lnTo>
                    <a:pt x="48" y="168"/>
                  </a:lnTo>
                  <a:lnTo>
                    <a:pt x="46" y="162"/>
                  </a:lnTo>
                  <a:lnTo>
                    <a:pt x="50" y="157"/>
                  </a:lnTo>
                  <a:lnTo>
                    <a:pt x="52" y="156"/>
                  </a:lnTo>
                  <a:lnTo>
                    <a:pt x="53" y="150"/>
                  </a:lnTo>
                  <a:lnTo>
                    <a:pt x="57" y="140"/>
                  </a:lnTo>
                  <a:lnTo>
                    <a:pt x="55" y="139"/>
                  </a:lnTo>
                  <a:lnTo>
                    <a:pt x="65" y="132"/>
                  </a:lnTo>
                  <a:lnTo>
                    <a:pt x="70" y="133"/>
                  </a:lnTo>
                  <a:lnTo>
                    <a:pt x="70" y="128"/>
                  </a:lnTo>
                  <a:lnTo>
                    <a:pt x="74" y="121"/>
                  </a:lnTo>
                  <a:lnTo>
                    <a:pt x="72" y="116"/>
                  </a:lnTo>
                  <a:lnTo>
                    <a:pt x="67" y="115"/>
                  </a:lnTo>
                  <a:lnTo>
                    <a:pt x="69" y="111"/>
                  </a:lnTo>
                  <a:lnTo>
                    <a:pt x="67" y="103"/>
                  </a:lnTo>
                  <a:lnTo>
                    <a:pt x="63" y="101"/>
                  </a:lnTo>
                  <a:lnTo>
                    <a:pt x="63" y="98"/>
                  </a:lnTo>
                  <a:lnTo>
                    <a:pt x="67" y="96"/>
                  </a:lnTo>
                  <a:lnTo>
                    <a:pt x="65" y="92"/>
                  </a:lnTo>
                  <a:lnTo>
                    <a:pt x="69" y="91"/>
                  </a:lnTo>
                  <a:lnTo>
                    <a:pt x="69" y="87"/>
                  </a:lnTo>
                  <a:lnTo>
                    <a:pt x="67" y="82"/>
                  </a:lnTo>
                  <a:lnTo>
                    <a:pt x="65" y="72"/>
                  </a:lnTo>
                  <a:lnTo>
                    <a:pt x="65" y="65"/>
                  </a:lnTo>
                  <a:lnTo>
                    <a:pt x="70" y="58"/>
                  </a:lnTo>
                  <a:lnTo>
                    <a:pt x="70" y="60"/>
                  </a:lnTo>
                  <a:lnTo>
                    <a:pt x="67" y="51"/>
                  </a:lnTo>
                  <a:lnTo>
                    <a:pt x="70" y="41"/>
                  </a:lnTo>
                  <a:lnTo>
                    <a:pt x="70" y="38"/>
                  </a:lnTo>
                  <a:lnTo>
                    <a:pt x="75" y="38"/>
                  </a:lnTo>
                  <a:lnTo>
                    <a:pt x="75" y="34"/>
                  </a:lnTo>
                  <a:lnTo>
                    <a:pt x="81" y="33"/>
                  </a:lnTo>
                  <a:lnTo>
                    <a:pt x="86" y="26"/>
                  </a:lnTo>
                  <a:lnTo>
                    <a:pt x="87" y="19"/>
                  </a:lnTo>
                  <a:lnTo>
                    <a:pt x="92" y="12"/>
                  </a:lnTo>
                  <a:lnTo>
                    <a:pt x="92" y="5"/>
                  </a:lnTo>
                  <a:lnTo>
                    <a:pt x="98" y="0"/>
                  </a:lnTo>
                  <a:lnTo>
                    <a:pt x="99" y="4"/>
                  </a:lnTo>
                  <a:lnTo>
                    <a:pt x="96" y="10"/>
                  </a:lnTo>
                  <a:lnTo>
                    <a:pt x="98" y="19"/>
                  </a:lnTo>
                  <a:lnTo>
                    <a:pt x="99" y="21"/>
                  </a:lnTo>
                  <a:lnTo>
                    <a:pt x="99" y="24"/>
                  </a:lnTo>
                  <a:lnTo>
                    <a:pt x="101" y="33"/>
                  </a:lnTo>
                  <a:lnTo>
                    <a:pt x="103" y="33"/>
                  </a:lnTo>
                  <a:lnTo>
                    <a:pt x="103" y="34"/>
                  </a:lnTo>
                  <a:lnTo>
                    <a:pt x="103" y="38"/>
                  </a:lnTo>
                  <a:lnTo>
                    <a:pt x="99" y="36"/>
                  </a:lnTo>
                  <a:lnTo>
                    <a:pt x="98" y="41"/>
                  </a:lnTo>
                  <a:lnTo>
                    <a:pt x="94" y="43"/>
                  </a:lnTo>
                  <a:lnTo>
                    <a:pt x="92" y="48"/>
                  </a:lnTo>
                  <a:lnTo>
                    <a:pt x="87" y="53"/>
                  </a:lnTo>
                  <a:lnTo>
                    <a:pt x="87" y="55"/>
                  </a:lnTo>
                  <a:lnTo>
                    <a:pt x="92" y="53"/>
                  </a:lnTo>
                  <a:lnTo>
                    <a:pt x="92" y="57"/>
                  </a:lnTo>
                  <a:lnTo>
                    <a:pt x="86" y="57"/>
                  </a:lnTo>
                  <a:lnTo>
                    <a:pt x="84" y="62"/>
                  </a:lnTo>
                  <a:lnTo>
                    <a:pt x="87" y="67"/>
                  </a:lnTo>
                  <a:lnTo>
                    <a:pt x="92" y="65"/>
                  </a:lnTo>
                  <a:lnTo>
                    <a:pt x="92" y="69"/>
                  </a:lnTo>
                  <a:lnTo>
                    <a:pt x="91" y="72"/>
                  </a:lnTo>
                  <a:lnTo>
                    <a:pt x="94" y="69"/>
                  </a:lnTo>
                  <a:lnTo>
                    <a:pt x="96" y="70"/>
                  </a:lnTo>
                  <a:lnTo>
                    <a:pt x="99" y="69"/>
                  </a:lnTo>
                  <a:lnTo>
                    <a:pt x="101" y="65"/>
                  </a:lnTo>
                  <a:lnTo>
                    <a:pt x="104" y="65"/>
                  </a:lnTo>
                  <a:lnTo>
                    <a:pt x="110" y="69"/>
                  </a:lnTo>
                  <a:lnTo>
                    <a:pt x="110" y="72"/>
                  </a:lnTo>
                  <a:lnTo>
                    <a:pt x="115" y="74"/>
                  </a:lnTo>
                  <a:lnTo>
                    <a:pt x="111" y="79"/>
                  </a:lnTo>
                  <a:lnTo>
                    <a:pt x="111" y="84"/>
                  </a:lnTo>
                  <a:lnTo>
                    <a:pt x="120" y="91"/>
                  </a:lnTo>
                  <a:lnTo>
                    <a:pt x="118" y="96"/>
                  </a:lnTo>
                  <a:lnTo>
                    <a:pt x="122" y="96"/>
                  </a:lnTo>
                  <a:lnTo>
                    <a:pt x="125" y="101"/>
                  </a:lnTo>
                  <a:lnTo>
                    <a:pt x="127" y="108"/>
                  </a:lnTo>
                  <a:lnTo>
                    <a:pt x="132" y="111"/>
                  </a:lnTo>
                  <a:lnTo>
                    <a:pt x="135" y="111"/>
                  </a:lnTo>
                  <a:lnTo>
                    <a:pt x="133" y="115"/>
                  </a:lnTo>
                  <a:lnTo>
                    <a:pt x="135" y="121"/>
                  </a:lnTo>
                  <a:lnTo>
                    <a:pt x="133" y="123"/>
                  </a:lnTo>
                  <a:lnTo>
                    <a:pt x="135" y="125"/>
                  </a:lnTo>
                  <a:lnTo>
                    <a:pt x="133" y="128"/>
                  </a:lnTo>
                  <a:lnTo>
                    <a:pt x="135" y="132"/>
                  </a:lnTo>
                  <a:lnTo>
                    <a:pt x="135" y="140"/>
                  </a:lnTo>
                  <a:lnTo>
                    <a:pt x="133" y="14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8" name="Freeform 66"/>
            <p:cNvSpPr>
              <a:spLocks noEditPoints="1"/>
            </p:cNvSpPr>
            <p:nvPr/>
          </p:nvSpPr>
          <p:spPr bwMode="gray">
            <a:xfrm>
              <a:off x="6528332" y="3762160"/>
              <a:ext cx="811761" cy="749740"/>
            </a:xfrm>
            <a:custGeom>
              <a:avLst/>
              <a:gdLst>
                <a:gd name="T0" fmla="*/ 377 w 445"/>
                <a:gd name="T1" fmla="*/ 376 h 411"/>
                <a:gd name="T2" fmla="*/ 364 w 445"/>
                <a:gd name="T3" fmla="*/ 365 h 411"/>
                <a:gd name="T4" fmla="*/ 364 w 445"/>
                <a:gd name="T5" fmla="*/ 353 h 411"/>
                <a:gd name="T6" fmla="*/ 355 w 445"/>
                <a:gd name="T7" fmla="*/ 331 h 411"/>
                <a:gd name="T8" fmla="*/ 142 w 445"/>
                <a:gd name="T9" fmla="*/ 326 h 411"/>
                <a:gd name="T10" fmla="*/ 352 w 445"/>
                <a:gd name="T11" fmla="*/ 338 h 411"/>
                <a:gd name="T12" fmla="*/ 208 w 445"/>
                <a:gd name="T13" fmla="*/ 319 h 411"/>
                <a:gd name="T14" fmla="*/ 415 w 445"/>
                <a:gd name="T15" fmla="*/ 309 h 411"/>
                <a:gd name="T16" fmla="*/ 106 w 445"/>
                <a:gd name="T17" fmla="*/ 297 h 411"/>
                <a:gd name="T18" fmla="*/ 217 w 445"/>
                <a:gd name="T19" fmla="*/ 302 h 411"/>
                <a:gd name="T20" fmla="*/ 131 w 445"/>
                <a:gd name="T21" fmla="*/ 275 h 411"/>
                <a:gd name="T22" fmla="*/ 140 w 445"/>
                <a:gd name="T23" fmla="*/ 304 h 411"/>
                <a:gd name="T24" fmla="*/ 119 w 445"/>
                <a:gd name="T25" fmla="*/ 312 h 411"/>
                <a:gd name="T26" fmla="*/ 119 w 445"/>
                <a:gd name="T27" fmla="*/ 280 h 411"/>
                <a:gd name="T28" fmla="*/ 140 w 445"/>
                <a:gd name="T29" fmla="*/ 253 h 411"/>
                <a:gd name="T30" fmla="*/ 261 w 445"/>
                <a:gd name="T31" fmla="*/ 249 h 411"/>
                <a:gd name="T32" fmla="*/ 258 w 445"/>
                <a:gd name="T33" fmla="*/ 237 h 411"/>
                <a:gd name="T34" fmla="*/ 171 w 445"/>
                <a:gd name="T35" fmla="*/ 232 h 411"/>
                <a:gd name="T36" fmla="*/ 177 w 445"/>
                <a:gd name="T37" fmla="*/ 222 h 411"/>
                <a:gd name="T38" fmla="*/ 227 w 445"/>
                <a:gd name="T39" fmla="*/ 254 h 411"/>
                <a:gd name="T40" fmla="*/ 208 w 445"/>
                <a:gd name="T41" fmla="*/ 297 h 411"/>
                <a:gd name="T42" fmla="*/ 198 w 445"/>
                <a:gd name="T43" fmla="*/ 299 h 411"/>
                <a:gd name="T44" fmla="*/ 167 w 445"/>
                <a:gd name="T45" fmla="*/ 314 h 411"/>
                <a:gd name="T46" fmla="*/ 179 w 445"/>
                <a:gd name="T47" fmla="*/ 271 h 411"/>
                <a:gd name="T48" fmla="*/ 205 w 445"/>
                <a:gd name="T49" fmla="*/ 227 h 411"/>
                <a:gd name="T50" fmla="*/ 220 w 445"/>
                <a:gd name="T51" fmla="*/ 217 h 411"/>
                <a:gd name="T52" fmla="*/ 263 w 445"/>
                <a:gd name="T53" fmla="*/ 200 h 411"/>
                <a:gd name="T54" fmla="*/ 280 w 445"/>
                <a:gd name="T55" fmla="*/ 230 h 411"/>
                <a:gd name="T56" fmla="*/ 268 w 445"/>
                <a:gd name="T57" fmla="*/ 239 h 411"/>
                <a:gd name="T58" fmla="*/ 251 w 445"/>
                <a:gd name="T59" fmla="*/ 261 h 411"/>
                <a:gd name="T60" fmla="*/ 266 w 445"/>
                <a:gd name="T61" fmla="*/ 292 h 411"/>
                <a:gd name="T62" fmla="*/ 251 w 445"/>
                <a:gd name="T63" fmla="*/ 314 h 411"/>
                <a:gd name="T64" fmla="*/ 224 w 445"/>
                <a:gd name="T65" fmla="*/ 343 h 411"/>
                <a:gd name="T66" fmla="*/ 210 w 445"/>
                <a:gd name="T67" fmla="*/ 323 h 411"/>
                <a:gd name="T68" fmla="*/ 232 w 445"/>
                <a:gd name="T69" fmla="*/ 294 h 411"/>
                <a:gd name="T70" fmla="*/ 227 w 445"/>
                <a:gd name="T71" fmla="*/ 268 h 411"/>
                <a:gd name="T72" fmla="*/ 236 w 445"/>
                <a:gd name="T73" fmla="*/ 217 h 411"/>
                <a:gd name="T74" fmla="*/ 68 w 445"/>
                <a:gd name="T75" fmla="*/ 160 h 411"/>
                <a:gd name="T76" fmla="*/ 61 w 445"/>
                <a:gd name="T77" fmla="*/ 157 h 411"/>
                <a:gd name="T78" fmla="*/ 273 w 445"/>
                <a:gd name="T79" fmla="*/ 176 h 411"/>
                <a:gd name="T80" fmla="*/ 177 w 445"/>
                <a:gd name="T81" fmla="*/ 92 h 411"/>
                <a:gd name="T82" fmla="*/ 188 w 445"/>
                <a:gd name="T83" fmla="*/ 89 h 411"/>
                <a:gd name="T84" fmla="*/ 143 w 445"/>
                <a:gd name="T85" fmla="*/ 20 h 411"/>
                <a:gd name="T86" fmla="*/ 171 w 445"/>
                <a:gd name="T87" fmla="*/ 65 h 411"/>
                <a:gd name="T88" fmla="*/ 164 w 445"/>
                <a:gd name="T89" fmla="*/ 73 h 411"/>
                <a:gd name="T90" fmla="*/ 159 w 445"/>
                <a:gd name="T91" fmla="*/ 95 h 411"/>
                <a:gd name="T92" fmla="*/ 193 w 445"/>
                <a:gd name="T93" fmla="*/ 126 h 411"/>
                <a:gd name="T94" fmla="*/ 213 w 445"/>
                <a:gd name="T95" fmla="*/ 148 h 411"/>
                <a:gd name="T96" fmla="*/ 236 w 445"/>
                <a:gd name="T97" fmla="*/ 165 h 411"/>
                <a:gd name="T98" fmla="*/ 241 w 445"/>
                <a:gd name="T99" fmla="*/ 183 h 411"/>
                <a:gd name="T100" fmla="*/ 213 w 445"/>
                <a:gd name="T101" fmla="*/ 189 h 411"/>
                <a:gd name="T102" fmla="*/ 205 w 445"/>
                <a:gd name="T103" fmla="*/ 194 h 411"/>
                <a:gd name="T104" fmla="*/ 154 w 445"/>
                <a:gd name="T105" fmla="*/ 210 h 411"/>
                <a:gd name="T106" fmla="*/ 145 w 445"/>
                <a:gd name="T107" fmla="*/ 246 h 411"/>
                <a:gd name="T108" fmla="*/ 97 w 445"/>
                <a:gd name="T109" fmla="*/ 249 h 411"/>
                <a:gd name="T110" fmla="*/ 77 w 445"/>
                <a:gd name="T111" fmla="*/ 201 h 411"/>
                <a:gd name="T112" fmla="*/ 89 w 445"/>
                <a:gd name="T113" fmla="*/ 155 h 411"/>
                <a:gd name="T114" fmla="*/ 48 w 445"/>
                <a:gd name="T115" fmla="*/ 133 h 411"/>
                <a:gd name="T116" fmla="*/ 2 w 445"/>
                <a:gd name="T117" fmla="*/ 90 h 411"/>
                <a:gd name="T118" fmla="*/ 20 w 445"/>
                <a:gd name="T119" fmla="*/ 39 h 411"/>
                <a:gd name="T120" fmla="*/ 26 w 445"/>
                <a:gd name="T121" fmla="*/ 10 h 411"/>
                <a:gd name="T122" fmla="*/ 34 w 445"/>
                <a:gd name="T123" fmla="*/ 5 h 411"/>
                <a:gd name="T124" fmla="*/ 78 w 445"/>
                <a:gd name="T125" fmla="*/ 22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5" h="411">
                  <a:moveTo>
                    <a:pt x="217" y="408"/>
                  </a:moveTo>
                  <a:lnTo>
                    <a:pt x="217" y="410"/>
                  </a:lnTo>
                  <a:lnTo>
                    <a:pt x="220" y="411"/>
                  </a:lnTo>
                  <a:lnTo>
                    <a:pt x="215" y="411"/>
                  </a:lnTo>
                  <a:lnTo>
                    <a:pt x="213" y="408"/>
                  </a:lnTo>
                  <a:lnTo>
                    <a:pt x="217" y="408"/>
                  </a:lnTo>
                  <a:close/>
                  <a:moveTo>
                    <a:pt x="444" y="399"/>
                  </a:moveTo>
                  <a:lnTo>
                    <a:pt x="445" y="399"/>
                  </a:lnTo>
                  <a:lnTo>
                    <a:pt x="445" y="403"/>
                  </a:lnTo>
                  <a:lnTo>
                    <a:pt x="444" y="403"/>
                  </a:lnTo>
                  <a:lnTo>
                    <a:pt x="444" y="399"/>
                  </a:lnTo>
                  <a:close/>
                  <a:moveTo>
                    <a:pt x="372" y="372"/>
                  </a:moveTo>
                  <a:lnTo>
                    <a:pt x="377" y="376"/>
                  </a:lnTo>
                  <a:lnTo>
                    <a:pt x="381" y="382"/>
                  </a:lnTo>
                  <a:lnTo>
                    <a:pt x="382" y="386"/>
                  </a:lnTo>
                  <a:lnTo>
                    <a:pt x="382" y="389"/>
                  </a:lnTo>
                  <a:lnTo>
                    <a:pt x="379" y="391"/>
                  </a:lnTo>
                  <a:lnTo>
                    <a:pt x="377" y="389"/>
                  </a:lnTo>
                  <a:lnTo>
                    <a:pt x="379" y="384"/>
                  </a:lnTo>
                  <a:lnTo>
                    <a:pt x="370" y="382"/>
                  </a:lnTo>
                  <a:lnTo>
                    <a:pt x="369" y="379"/>
                  </a:lnTo>
                  <a:lnTo>
                    <a:pt x="372" y="372"/>
                  </a:lnTo>
                  <a:close/>
                  <a:moveTo>
                    <a:pt x="362" y="364"/>
                  </a:moveTo>
                  <a:lnTo>
                    <a:pt x="365" y="364"/>
                  </a:lnTo>
                  <a:lnTo>
                    <a:pt x="367" y="365"/>
                  </a:lnTo>
                  <a:lnTo>
                    <a:pt x="364" y="365"/>
                  </a:lnTo>
                  <a:lnTo>
                    <a:pt x="362" y="364"/>
                  </a:lnTo>
                  <a:close/>
                  <a:moveTo>
                    <a:pt x="360" y="358"/>
                  </a:moveTo>
                  <a:lnTo>
                    <a:pt x="364" y="358"/>
                  </a:lnTo>
                  <a:lnTo>
                    <a:pt x="364" y="360"/>
                  </a:lnTo>
                  <a:lnTo>
                    <a:pt x="360" y="360"/>
                  </a:lnTo>
                  <a:lnTo>
                    <a:pt x="360" y="358"/>
                  </a:lnTo>
                  <a:close/>
                  <a:moveTo>
                    <a:pt x="364" y="353"/>
                  </a:moveTo>
                  <a:lnTo>
                    <a:pt x="369" y="355"/>
                  </a:lnTo>
                  <a:lnTo>
                    <a:pt x="374" y="358"/>
                  </a:lnTo>
                  <a:lnTo>
                    <a:pt x="367" y="360"/>
                  </a:lnTo>
                  <a:lnTo>
                    <a:pt x="364" y="360"/>
                  </a:lnTo>
                  <a:lnTo>
                    <a:pt x="360" y="353"/>
                  </a:lnTo>
                  <a:lnTo>
                    <a:pt x="364" y="353"/>
                  </a:lnTo>
                  <a:close/>
                  <a:moveTo>
                    <a:pt x="195" y="341"/>
                  </a:moveTo>
                  <a:lnTo>
                    <a:pt x="200" y="341"/>
                  </a:lnTo>
                  <a:lnTo>
                    <a:pt x="200" y="345"/>
                  </a:lnTo>
                  <a:lnTo>
                    <a:pt x="200" y="348"/>
                  </a:lnTo>
                  <a:lnTo>
                    <a:pt x="189" y="350"/>
                  </a:lnTo>
                  <a:lnTo>
                    <a:pt x="195" y="341"/>
                  </a:lnTo>
                  <a:close/>
                  <a:moveTo>
                    <a:pt x="355" y="333"/>
                  </a:moveTo>
                  <a:lnTo>
                    <a:pt x="358" y="336"/>
                  </a:lnTo>
                  <a:lnTo>
                    <a:pt x="357" y="338"/>
                  </a:lnTo>
                  <a:lnTo>
                    <a:pt x="353" y="336"/>
                  </a:lnTo>
                  <a:lnTo>
                    <a:pt x="353" y="335"/>
                  </a:lnTo>
                  <a:lnTo>
                    <a:pt x="355" y="333"/>
                  </a:lnTo>
                  <a:close/>
                  <a:moveTo>
                    <a:pt x="355" y="331"/>
                  </a:moveTo>
                  <a:lnTo>
                    <a:pt x="357" y="331"/>
                  </a:lnTo>
                  <a:lnTo>
                    <a:pt x="357" y="333"/>
                  </a:lnTo>
                  <a:lnTo>
                    <a:pt x="355" y="333"/>
                  </a:lnTo>
                  <a:lnTo>
                    <a:pt x="355" y="331"/>
                  </a:lnTo>
                  <a:close/>
                  <a:moveTo>
                    <a:pt x="196" y="326"/>
                  </a:moveTo>
                  <a:lnTo>
                    <a:pt x="195" y="335"/>
                  </a:lnTo>
                  <a:lnTo>
                    <a:pt x="193" y="335"/>
                  </a:lnTo>
                  <a:lnTo>
                    <a:pt x="191" y="331"/>
                  </a:lnTo>
                  <a:lnTo>
                    <a:pt x="196" y="326"/>
                  </a:lnTo>
                  <a:close/>
                  <a:moveTo>
                    <a:pt x="142" y="326"/>
                  </a:moveTo>
                  <a:lnTo>
                    <a:pt x="138" y="329"/>
                  </a:lnTo>
                  <a:lnTo>
                    <a:pt x="133" y="329"/>
                  </a:lnTo>
                  <a:lnTo>
                    <a:pt x="142" y="326"/>
                  </a:lnTo>
                  <a:close/>
                  <a:moveTo>
                    <a:pt x="143" y="323"/>
                  </a:moveTo>
                  <a:lnTo>
                    <a:pt x="145" y="323"/>
                  </a:lnTo>
                  <a:lnTo>
                    <a:pt x="145" y="326"/>
                  </a:lnTo>
                  <a:lnTo>
                    <a:pt x="143" y="326"/>
                  </a:lnTo>
                  <a:lnTo>
                    <a:pt x="143" y="323"/>
                  </a:lnTo>
                  <a:close/>
                  <a:moveTo>
                    <a:pt x="338" y="323"/>
                  </a:moveTo>
                  <a:lnTo>
                    <a:pt x="341" y="324"/>
                  </a:lnTo>
                  <a:lnTo>
                    <a:pt x="346" y="328"/>
                  </a:lnTo>
                  <a:lnTo>
                    <a:pt x="350" y="333"/>
                  </a:lnTo>
                  <a:lnTo>
                    <a:pt x="352" y="333"/>
                  </a:lnTo>
                  <a:lnTo>
                    <a:pt x="353" y="335"/>
                  </a:lnTo>
                  <a:lnTo>
                    <a:pt x="350" y="336"/>
                  </a:lnTo>
                  <a:lnTo>
                    <a:pt x="352" y="338"/>
                  </a:lnTo>
                  <a:lnTo>
                    <a:pt x="346" y="338"/>
                  </a:lnTo>
                  <a:lnTo>
                    <a:pt x="345" y="333"/>
                  </a:lnTo>
                  <a:lnTo>
                    <a:pt x="340" y="328"/>
                  </a:lnTo>
                  <a:lnTo>
                    <a:pt x="338" y="323"/>
                  </a:lnTo>
                  <a:close/>
                  <a:moveTo>
                    <a:pt x="345" y="321"/>
                  </a:moveTo>
                  <a:lnTo>
                    <a:pt x="348" y="321"/>
                  </a:lnTo>
                  <a:lnTo>
                    <a:pt x="348" y="324"/>
                  </a:lnTo>
                  <a:lnTo>
                    <a:pt x="345" y="324"/>
                  </a:lnTo>
                  <a:lnTo>
                    <a:pt x="345" y="321"/>
                  </a:lnTo>
                  <a:close/>
                  <a:moveTo>
                    <a:pt x="208" y="316"/>
                  </a:moveTo>
                  <a:lnTo>
                    <a:pt x="210" y="316"/>
                  </a:lnTo>
                  <a:lnTo>
                    <a:pt x="210" y="319"/>
                  </a:lnTo>
                  <a:lnTo>
                    <a:pt x="208" y="319"/>
                  </a:lnTo>
                  <a:lnTo>
                    <a:pt x="208" y="316"/>
                  </a:lnTo>
                  <a:close/>
                  <a:moveTo>
                    <a:pt x="328" y="316"/>
                  </a:moveTo>
                  <a:lnTo>
                    <a:pt x="331" y="317"/>
                  </a:lnTo>
                  <a:lnTo>
                    <a:pt x="329" y="319"/>
                  </a:lnTo>
                  <a:lnTo>
                    <a:pt x="324" y="316"/>
                  </a:lnTo>
                  <a:lnTo>
                    <a:pt x="328" y="316"/>
                  </a:lnTo>
                  <a:close/>
                  <a:moveTo>
                    <a:pt x="311" y="305"/>
                  </a:moveTo>
                  <a:lnTo>
                    <a:pt x="319" y="312"/>
                  </a:lnTo>
                  <a:lnTo>
                    <a:pt x="311" y="309"/>
                  </a:lnTo>
                  <a:lnTo>
                    <a:pt x="309" y="307"/>
                  </a:lnTo>
                  <a:lnTo>
                    <a:pt x="311" y="305"/>
                  </a:lnTo>
                  <a:close/>
                  <a:moveTo>
                    <a:pt x="413" y="305"/>
                  </a:moveTo>
                  <a:lnTo>
                    <a:pt x="415" y="309"/>
                  </a:lnTo>
                  <a:lnTo>
                    <a:pt x="413" y="307"/>
                  </a:lnTo>
                  <a:lnTo>
                    <a:pt x="411" y="305"/>
                  </a:lnTo>
                  <a:lnTo>
                    <a:pt x="413" y="305"/>
                  </a:lnTo>
                  <a:close/>
                  <a:moveTo>
                    <a:pt x="142" y="300"/>
                  </a:moveTo>
                  <a:lnTo>
                    <a:pt x="143" y="300"/>
                  </a:lnTo>
                  <a:lnTo>
                    <a:pt x="143" y="304"/>
                  </a:lnTo>
                  <a:lnTo>
                    <a:pt x="142" y="304"/>
                  </a:lnTo>
                  <a:lnTo>
                    <a:pt x="142" y="300"/>
                  </a:lnTo>
                  <a:close/>
                  <a:moveTo>
                    <a:pt x="106" y="297"/>
                  </a:moveTo>
                  <a:lnTo>
                    <a:pt x="107" y="297"/>
                  </a:lnTo>
                  <a:lnTo>
                    <a:pt x="107" y="300"/>
                  </a:lnTo>
                  <a:lnTo>
                    <a:pt x="106" y="300"/>
                  </a:lnTo>
                  <a:lnTo>
                    <a:pt x="106" y="297"/>
                  </a:lnTo>
                  <a:close/>
                  <a:moveTo>
                    <a:pt x="324" y="297"/>
                  </a:moveTo>
                  <a:lnTo>
                    <a:pt x="331" y="302"/>
                  </a:lnTo>
                  <a:lnTo>
                    <a:pt x="331" y="311"/>
                  </a:lnTo>
                  <a:lnTo>
                    <a:pt x="328" y="312"/>
                  </a:lnTo>
                  <a:lnTo>
                    <a:pt x="323" y="312"/>
                  </a:lnTo>
                  <a:lnTo>
                    <a:pt x="319" y="309"/>
                  </a:lnTo>
                  <a:lnTo>
                    <a:pt x="317" y="304"/>
                  </a:lnTo>
                  <a:lnTo>
                    <a:pt x="316" y="297"/>
                  </a:lnTo>
                  <a:lnTo>
                    <a:pt x="324" y="297"/>
                  </a:lnTo>
                  <a:close/>
                  <a:moveTo>
                    <a:pt x="217" y="302"/>
                  </a:moveTo>
                  <a:lnTo>
                    <a:pt x="220" y="295"/>
                  </a:lnTo>
                  <a:lnTo>
                    <a:pt x="218" y="300"/>
                  </a:lnTo>
                  <a:lnTo>
                    <a:pt x="217" y="302"/>
                  </a:lnTo>
                  <a:close/>
                  <a:moveTo>
                    <a:pt x="220" y="288"/>
                  </a:moveTo>
                  <a:lnTo>
                    <a:pt x="222" y="288"/>
                  </a:lnTo>
                  <a:lnTo>
                    <a:pt x="222" y="292"/>
                  </a:lnTo>
                  <a:lnTo>
                    <a:pt x="220" y="292"/>
                  </a:lnTo>
                  <a:lnTo>
                    <a:pt x="220" y="288"/>
                  </a:lnTo>
                  <a:close/>
                  <a:moveTo>
                    <a:pt x="114" y="285"/>
                  </a:moveTo>
                  <a:lnTo>
                    <a:pt x="113" y="285"/>
                  </a:lnTo>
                  <a:lnTo>
                    <a:pt x="114" y="282"/>
                  </a:lnTo>
                  <a:lnTo>
                    <a:pt x="114" y="285"/>
                  </a:lnTo>
                  <a:close/>
                  <a:moveTo>
                    <a:pt x="121" y="278"/>
                  </a:moveTo>
                  <a:lnTo>
                    <a:pt x="126" y="280"/>
                  </a:lnTo>
                  <a:lnTo>
                    <a:pt x="126" y="275"/>
                  </a:lnTo>
                  <a:lnTo>
                    <a:pt x="131" y="275"/>
                  </a:lnTo>
                  <a:lnTo>
                    <a:pt x="133" y="278"/>
                  </a:lnTo>
                  <a:lnTo>
                    <a:pt x="131" y="282"/>
                  </a:lnTo>
                  <a:lnTo>
                    <a:pt x="133" y="285"/>
                  </a:lnTo>
                  <a:lnTo>
                    <a:pt x="137" y="287"/>
                  </a:lnTo>
                  <a:lnTo>
                    <a:pt x="135" y="285"/>
                  </a:lnTo>
                  <a:lnTo>
                    <a:pt x="138" y="285"/>
                  </a:lnTo>
                  <a:lnTo>
                    <a:pt x="142" y="288"/>
                  </a:lnTo>
                  <a:lnTo>
                    <a:pt x="142" y="290"/>
                  </a:lnTo>
                  <a:lnTo>
                    <a:pt x="143" y="290"/>
                  </a:lnTo>
                  <a:lnTo>
                    <a:pt x="143" y="295"/>
                  </a:lnTo>
                  <a:lnTo>
                    <a:pt x="138" y="295"/>
                  </a:lnTo>
                  <a:lnTo>
                    <a:pt x="140" y="299"/>
                  </a:lnTo>
                  <a:lnTo>
                    <a:pt x="140" y="304"/>
                  </a:lnTo>
                  <a:lnTo>
                    <a:pt x="138" y="309"/>
                  </a:lnTo>
                  <a:lnTo>
                    <a:pt x="138" y="311"/>
                  </a:lnTo>
                  <a:lnTo>
                    <a:pt x="140" y="311"/>
                  </a:lnTo>
                  <a:lnTo>
                    <a:pt x="140" y="319"/>
                  </a:lnTo>
                  <a:lnTo>
                    <a:pt x="140" y="323"/>
                  </a:lnTo>
                  <a:lnTo>
                    <a:pt x="138" y="324"/>
                  </a:lnTo>
                  <a:lnTo>
                    <a:pt x="133" y="323"/>
                  </a:lnTo>
                  <a:lnTo>
                    <a:pt x="130" y="324"/>
                  </a:lnTo>
                  <a:lnTo>
                    <a:pt x="128" y="326"/>
                  </a:lnTo>
                  <a:lnTo>
                    <a:pt x="128" y="321"/>
                  </a:lnTo>
                  <a:lnTo>
                    <a:pt x="125" y="316"/>
                  </a:lnTo>
                  <a:lnTo>
                    <a:pt x="123" y="316"/>
                  </a:lnTo>
                  <a:lnTo>
                    <a:pt x="119" y="312"/>
                  </a:lnTo>
                  <a:lnTo>
                    <a:pt x="113" y="304"/>
                  </a:lnTo>
                  <a:lnTo>
                    <a:pt x="113" y="302"/>
                  </a:lnTo>
                  <a:lnTo>
                    <a:pt x="109" y="300"/>
                  </a:lnTo>
                  <a:lnTo>
                    <a:pt x="111" y="292"/>
                  </a:lnTo>
                  <a:lnTo>
                    <a:pt x="114" y="290"/>
                  </a:lnTo>
                  <a:lnTo>
                    <a:pt x="113" y="287"/>
                  </a:lnTo>
                  <a:lnTo>
                    <a:pt x="116" y="285"/>
                  </a:lnTo>
                  <a:lnTo>
                    <a:pt x="118" y="285"/>
                  </a:lnTo>
                  <a:lnTo>
                    <a:pt x="119" y="285"/>
                  </a:lnTo>
                  <a:lnTo>
                    <a:pt x="116" y="280"/>
                  </a:lnTo>
                  <a:lnTo>
                    <a:pt x="116" y="278"/>
                  </a:lnTo>
                  <a:lnTo>
                    <a:pt x="118" y="282"/>
                  </a:lnTo>
                  <a:lnTo>
                    <a:pt x="119" y="280"/>
                  </a:lnTo>
                  <a:lnTo>
                    <a:pt x="116" y="278"/>
                  </a:lnTo>
                  <a:lnTo>
                    <a:pt x="121" y="273"/>
                  </a:lnTo>
                  <a:lnTo>
                    <a:pt x="121" y="278"/>
                  </a:lnTo>
                  <a:close/>
                  <a:moveTo>
                    <a:pt x="174" y="256"/>
                  </a:moveTo>
                  <a:lnTo>
                    <a:pt x="176" y="256"/>
                  </a:lnTo>
                  <a:lnTo>
                    <a:pt x="176" y="259"/>
                  </a:lnTo>
                  <a:lnTo>
                    <a:pt x="174" y="259"/>
                  </a:lnTo>
                  <a:lnTo>
                    <a:pt x="174" y="256"/>
                  </a:lnTo>
                  <a:close/>
                  <a:moveTo>
                    <a:pt x="140" y="253"/>
                  </a:moveTo>
                  <a:lnTo>
                    <a:pt x="142" y="253"/>
                  </a:lnTo>
                  <a:lnTo>
                    <a:pt x="142" y="254"/>
                  </a:lnTo>
                  <a:lnTo>
                    <a:pt x="140" y="254"/>
                  </a:lnTo>
                  <a:lnTo>
                    <a:pt x="140" y="253"/>
                  </a:lnTo>
                  <a:close/>
                  <a:moveTo>
                    <a:pt x="148" y="244"/>
                  </a:moveTo>
                  <a:lnTo>
                    <a:pt x="152" y="244"/>
                  </a:lnTo>
                  <a:lnTo>
                    <a:pt x="152" y="246"/>
                  </a:lnTo>
                  <a:lnTo>
                    <a:pt x="148" y="246"/>
                  </a:lnTo>
                  <a:lnTo>
                    <a:pt x="148" y="244"/>
                  </a:lnTo>
                  <a:close/>
                  <a:moveTo>
                    <a:pt x="265" y="242"/>
                  </a:moveTo>
                  <a:lnTo>
                    <a:pt x="268" y="242"/>
                  </a:lnTo>
                  <a:lnTo>
                    <a:pt x="268" y="249"/>
                  </a:lnTo>
                  <a:lnTo>
                    <a:pt x="266" y="249"/>
                  </a:lnTo>
                  <a:lnTo>
                    <a:pt x="266" y="247"/>
                  </a:lnTo>
                  <a:lnTo>
                    <a:pt x="266" y="249"/>
                  </a:lnTo>
                  <a:lnTo>
                    <a:pt x="261" y="247"/>
                  </a:lnTo>
                  <a:lnTo>
                    <a:pt x="261" y="249"/>
                  </a:lnTo>
                  <a:lnTo>
                    <a:pt x="258" y="247"/>
                  </a:lnTo>
                  <a:lnTo>
                    <a:pt x="261" y="246"/>
                  </a:lnTo>
                  <a:lnTo>
                    <a:pt x="261" y="244"/>
                  </a:lnTo>
                  <a:lnTo>
                    <a:pt x="259" y="244"/>
                  </a:lnTo>
                  <a:lnTo>
                    <a:pt x="261" y="244"/>
                  </a:lnTo>
                  <a:lnTo>
                    <a:pt x="263" y="242"/>
                  </a:lnTo>
                  <a:lnTo>
                    <a:pt x="263" y="244"/>
                  </a:lnTo>
                  <a:lnTo>
                    <a:pt x="265" y="242"/>
                  </a:lnTo>
                  <a:close/>
                  <a:moveTo>
                    <a:pt x="258" y="237"/>
                  </a:moveTo>
                  <a:lnTo>
                    <a:pt x="259" y="237"/>
                  </a:lnTo>
                  <a:lnTo>
                    <a:pt x="259" y="241"/>
                  </a:lnTo>
                  <a:lnTo>
                    <a:pt x="258" y="241"/>
                  </a:lnTo>
                  <a:lnTo>
                    <a:pt x="258" y="237"/>
                  </a:lnTo>
                  <a:close/>
                  <a:moveTo>
                    <a:pt x="268" y="235"/>
                  </a:moveTo>
                  <a:lnTo>
                    <a:pt x="270" y="235"/>
                  </a:lnTo>
                  <a:lnTo>
                    <a:pt x="270" y="239"/>
                  </a:lnTo>
                  <a:lnTo>
                    <a:pt x="268" y="239"/>
                  </a:lnTo>
                  <a:lnTo>
                    <a:pt x="268" y="235"/>
                  </a:lnTo>
                  <a:close/>
                  <a:moveTo>
                    <a:pt x="270" y="234"/>
                  </a:moveTo>
                  <a:lnTo>
                    <a:pt x="270" y="237"/>
                  </a:lnTo>
                  <a:lnTo>
                    <a:pt x="270" y="234"/>
                  </a:lnTo>
                  <a:close/>
                  <a:moveTo>
                    <a:pt x="171" y="232"/>
                  </a:moveTo>
                  <a:lnTo>
                    <a:pt x="169" y="232"/>
                  </a:lnTo>
                  <a:lnTo>
                    <a:pt x="172" y="229"/>
                  </a:lnTo>
                  <a:lnTo>
                    <a:pt x="172" y="230"/>
                  </a:lnTo>
                  <a:lnTo>
                    <a:pt x="171" y="232"/>
                  </a:lnTo>
                  <a:close/>
                  <a:moveTo>
                    <a:pt x="179" y="227"/>
                  </a:moveTo>
                  <a:lnTo>
                    <a:pt x="179" y="230"/>
                  </a:lnTo>
                  <a:lnTo>
                    <a:pt x="174" y="234"/>
                  </a:lnTo>
                  <a:lnTo>
                    <a:pt x="179" y="227"/>
                  </a:lnTo>
                  <a:close/>
                  <a:moveTo>
                    <a:pt x="176" y="224"/>
                  </a:moveTo>
                  <a:lnTo>
                    <a:pt x="177" y="224"/>
                  </a:lnTo>
                  <a:lnTo>
                    <a:pt x="177" y="227"/>
                  </a:lnTo>
                  <a:lnTo>
                    <a:pt x="176" y="227"/>
                  </a:lnTo>
                  <a:lnTo>
                    <a:pt x="176" y="224"/>
                  </a:lnTo>
                  <a:close/>
                  <a:moveTo>
                    <a:pt x="174" y="224"/>
                  </a:moveTo>
                  <a:lnTo>
                    <a:pt x="172" y="227"/>
                  </a:lnTo>
                  <a:lnTo>
                    <a:pt x="172" y="225"/>
                  </a:lnTo>
                  <a:lnTo>
                    <a:pt x="177" y="222"/>
                  </a:lnTo>
                  <a:lnTo>
                    <a:pt x="174" y="224"/>
                  </a:lnTo>
                  <a:close/>
                  <a:moveTo>
                    <a:pt x="215" y="220"/>
                  </a:moveTo>
                  <a:lnTo>
                    <a:pt x="224" y="225"/>
                  </a:lnTo>
                  <a:lnTo>
                    <a:pt x="222" y="225"/>
                  </a:lnTo>
                  <a:lnTo>
                    <a:pt x="222" y="229"/>
                  </a:lnTo>
                  <a:lnTo>
                    <a:pt x="220" y="230"/>
                  </a:lnTo>
                  <a:lnTo>
                    <a:pt x="224" y="235"/>
                  </a:lnTo>
                  <a:lnTo>
                    <a:pt x="224" y="239"/>
                  </a:lnTo>
                  <a:lnTo>
                    <a:pt x="224" y="241"/>
                  </a:lnTo>
                  <a:lnTo>
                    <a:pt x="222" y="249"/>
                  </a:lnTo>
                  <a:lnTo>
                    <a:pt x="222" y="253"/>
                  </a:lnTo>
                  <a:lnTo>
                    <a:pt x="225" y="253"/>
                  </a:lnTo>
                  <a:lnTo>
                    <a:pt x="227" y="254"/>
                  </a:lnTo>
                  <a:lnTo>
                    <a:pt x="225" y="256"/>
                  </a:lnTo>
                  <a:lnTo>
                    <a:pt x="225" y="263"/>
                  </a:lnTo>
                  <a:lnTo>
                    <a:pt x="220" y="263"/>
                  </a:lnTo>
                  <a:lnTo>
                    <a:pt x="218" y="268"/>
                  </a:lnTo>
                  <a:lnTo>
                    <a:pt x="215" y="271"/>
                  </a:lnTo>
                  <a:lnTo>
                    <a:pt x="210" y="275"/>
                  </a:lnTo>
                  <a:lnTo>
                    <a:pt x="208" y="278"/>
                  </a:lnTo>
                  <a:lnTo>
                    <a:pt x="208" y="280"/>
                  </a:lnTo>
                  <a:lnTo>
                    <a:pt x="205" y="285"/>
                  </a:lnTo>
                  <a:lnTo>
                    <a:pt x="205" y="290"/>
                  </a:lnTo>
                  <a:lnTo>
                    <a:pt x="210" y="290"/>
                  </a:lnTo>
                  <a:lnTo>
                    <a:pt x="203" y="297"/>
                  </a:lnTo>
                  <a:lnTo>
                    <a:pt x="208" y="297"/>
                  </a:lnTo>
                  <a:lnTo>
                    <a:pt x="212" y="299"/>
                  </a:lnTo>
                  <a:lnTo>
                    <a:pt x="212" y="309"/>
                  </a:lnTo>
                  <a:lnTo>
                    <a:pt x="208" y="311"/>
                  </a:lnTo>
                  <a:lnTo>
                    <a:pt x="208" y="309"/>
                  </a:lnTo>
                  <a:lnTo>
                    <a:pt x="205" y="311"/>
                  </a:lnTo>
                  <a:lnTo>
                    <a:pt x="205" y="319"/>
                  </a:lnTo>
                  <a:lnTo>
                    <a:pt x="201" y="316"/>
                  </a:lnTo>
                  <a:lnTo>
                    <a:pt x="200" y="319"/>
                  </a:lnTo>
                  <a:lnTo>
                    <a:pt x="196" y="319"/>
                  </a:lnTo>
                  <a:lnTo>
                    <a:pt x="196" y="316"/>
                  </a:lnTo>
                  <a:lnTo>
                    <a:pt x="198" y="305"/>
                  </a:lnTo>
                  <a:lnTo>
                    <a:pt x="196" y="304"/>
                  </a:lnTo>
                  <a:lnTo>
                    <a:pt x="198" y="299"/>
                  </a:lnTo>
                  <a:lnTo>
                    <a:pt x="191" y="302"/>
                  </a:lnTo>
                  <a:lnTo>
                    <a:pt x="195" y="309"/>
                  </a:lnTo>
                  <a:lnTo>
                    <a:pt x="193" y="311"/>
                  </a:lnTo>
                  <a:lnTo>
                    <a:pt x="189" y="311"/>
                  </a:lnTo>
                  <a:lnTo>
                    <a:pt x="189" y="316"/>
                  </a:lnTo>
                  <a:lnTo>
                    <a:pt x="183" y="314"/>
                  </a:lnTo>
                  <a:lnTo>
                    <a:pt x="179" y="307"/>
                  </a:lnTo>
                  <a:lnTo>
                    <a:pt x="188" y="304"/>
                  </a:lnTo>
                  <a:lnTo>
                    <a:pt x="179" y="305"/>
                  </a:lnTo>
                  <a:lnTo>
                    <a:pt x="179" y="307"/>
                  </a:lnTo>
                  <a:lnTo>
                    <a:pt x="179" y="311"/>
                  </a:lnTo>
                  <a:lnTo>
                    <a:pt x="177" y="314"/>
                  </a:lnTo>
                  <a:lnTo>
                    <a:pt x="167" y="314"/>
                  </a:lnTo>
                  <a:lnTo>
                    <a:pt x="166" y="312"/>
                  </a:lnTo>
                  <a:lnTo>
                    <a:pt x="166" y="305"/>
                  </a:lnTo>
                  <a:lnTo>
                    <a:pt x="167" y="302"/>
                  </a:lnTo>
                  <a:lnTo>
                    <a:pt x="172" y="295"/>
                  </a:lnTo>
                  <a:lnTo>
                    <a:pt x="171" y="290"/>
                  </a:lnTo>
                  <a:lnTo>
                    <a:pt x="172" y="288"/>
                  </a:lnTo>
                  <a:lnTo>
                    <a:pt x="171" y="285"/>
                  </a:lnTo>
                  <a:lnTo>
                    <a:pt x="172" y="280"/>
                  </a:lnTo>
                  <a:lnTo>
                    <a:pt x="181" y="275"/>
                  </a:lnTo>
                  <a:lnTo>
                    <a:pt x="184" y="278"/>
                  </a:lnTo>
                  <a:lnTo>
                    <a:pt x="183" y="275"/>
                  </a:lnTo>
                  <a:lnTo>
                    <a:pt x="181" y="275"/>
                  </a:lnTo>
                  <a:lnTo>
                    <a:pt x="179" y="271"/>
                  </a:lnTo>
                  <a:lnTo>
                    <a:pt x="179" y="261"/>
                  </a:lnTo>
                  <a:lnTo>
                    <a:pt x="176" y="258"/>
                  </a:lnTo>
                  <a:lnTo>
                    <a:pt x="174" y="251"/>
                  </a:lnTo>
                  <a:lnTo>
                    <a:pt x="172" y="247"/>
                  </a:lnTo>
                  <a:lnTo>
                    <a:pt x="172" y="246"/>
                  </a:lnTo>
                  <a:lnTo>
                    <a:pt x="174" y="244"/>
                  </a:lnTo>
                  <a:lnTo>
                    <a:pt x="179" y="235"/>
                  </a:lnTo>
                  <a:lnTo>
                    <a:pt x="183" y="237"/>
                  </a:lnTo>
                  <a:lnTo>
                    <a:pt x="191" y="235"/>
                  </a:lnTo>
                  <a:lnTo>
                    <a:pt x="191" y="234"/>
                  </a:lnTo>
                  <a:lnTo>
                    <a:pt x="193" y="234"/>
                  </a:lnTo>
                  <a:lnTo>
                    <a:pt x="198" y="232"/>
                  </a:lnTo>
                  <a:lnTo>
                    <a:pt x="205" y="227"/>
                  </a:lnTo>
                  <a:lnTo>
                    <a:pt x="207" y="224"/>
                  </a:lnTo>
                  <a:lnTo>
                    <a:pt x="210" y="224"/>
                  </a:lnTo>
                  <a:lnTo>
                    <a:pt x="215" y="220"/>
                  </a:lnTo>
                  <a:close/>
                  <a:moveTo>
                    <a:pt x="172" y="220"/>
                  </a:moveTo>
                  <a:lnTo>
                    <a:pt x="174" y="220"/>
                  </a:lnTo>
                  <a:lnTo>
                    <a:pt x="174" y="222"/>
                  </a:lnTo>
                  <a:lnTo>
                    <a:pt x="172" y="222"/>
                  </a:lnTo>
                  <a:lnTo>
                    <a:pt x="172" y="220"/>
                  </a:lnTo>
                  <a:close/>
                  <a:moveTo>
                    <a:pt x="220" y="217"/>
                  </a:moveTo>
                  <a:lnTo>
                    <a:pt x="222" y="217"/>
                  </a:lnTo>
                  <a:lnTo>
                    <a:pt x="222" y="218"/>
                  </a:lnTo>
                  <a:lnTo>
                    <a:pt x="220" y="218"/>
                  </a:lnTo>
                  <a:lnTo>
                    <a:pt x="220" y="217"/>
                  </a:lnTo>
                  <a:close/>
                  <a:moveTo>
                    <a:pt x="220" y="208"/>
                  </a:moveTo>
                  <a:lnTo>
                    <a:pt x="224" y="210"/>
                  </a:lnTo>
                  <a:lnTo>
                    <a:pt x="222" y="212"/>
                  </a:lnTo>
                  <a:lnTo>
                    <a:pt x="224" y="213"/>
                  </a:lnTo>
                  <a:lnTo>
                    <a:pt x="224" y="217"/>
                  </a:lnTo>
                  <a:lnTo>
                    <a:pt x="217" y="213"/>
                  </a:lnTo>
                  <a:lnTo>
                    <a:pt x="218" y="210"/>
                  </a:lnTo>
                  <a:lnTo>
                    <a:pt x="220" y="208"/>
                  </a:lnTo>
                  <a:close/>
                  <a:moveTo>
                    <a:pt x="261" y="191"/>
                  </a:moveTo>
                  <a:lnTo>
                    <a:pt x="265" y="191"/>
                  </a:lnTo>
                  <a:lnTo>
                    <a:pt x="265" y="193"/>
                  </a:lnTo>
                  <a:lnTo>
                    <a:pt x="259" y="198"/>
                  </a:lnTo>
                  <a:lnTo>
                    <a:pt x="263" y="200"/>
                  </a:lnTo>
                  <a:lnTo>
                    <a:pt x="265" y="201"/>
                  </a:lnTo>
                  <a:lnTo>
                    <a:pt x="266" y="201"/>
                  </a:lnTo>
                  <a:lnTo>
                    <a:pt x="268" y="205"/>
                  </a:lnTo>
                  <a:lnTo>
                    <a:pt x="271" y="205"/>
                  </a:lnTo>
                  <a:lnTo>
                    <a:pt x="273" y="208"/>
                  </a:lnTo>
                  <a:lnTo>
                    <a:pt x="276" y="213"/>
                  </a:lnTo>
                  <a:lnTo>
                    <a:pt x="280" y="220"/>
                  </a:lnTo>
                  <a:lnTo>
                    <a:pt x="276" y="224"/>
                  </a:lnTo>
                  <a:lnTo>
                    <a:pt x="276" y="227"/>
                  </a:lnTo>
                  <a:lnTo>
                    <a:pt x="278" y="229"/>
                  </a:lnTo>
                  <a:lnTo>
                    <a:pt x="276" y="227"/>
                  </a:lnTo>
                  <a:lnTo>
                    <a:pt x="278" y="225"/>
                  </a:lnTo>
                  <a:lnTo>
                    <a:pt x="280" y="230"/>
                  </a:lnTo>
                  <a:lnTo>
                    <a:pt x="278" y="241"/>
                  </a:lnTo>
                  <a:lnTo>
                    <a:pt x="280" y="249"/>
                  </a:lnTo>
                  <a:lnTo>
                    <a:pt x="278" y="251"/>
                  </a:lnTo>
                  <a:lnTo>
                    <a:pt x="275" y="247"/>
                  </a:lnTo>
                  <a:lnTo>
                    <a:pt x="275" y="241"/>
                  </a:lnTo>
                  <a:lnTo>
                    <a:pt x="275" y="239"/>
                  </a:lnTo>
                  <a:lnTo>
                    <a:pt x="270" y="237"/>
                  </a:lnTo>
                  <a:lnTo>
                    <a:pt x="273" y="235"/>
                  </a:lnTo>
                  <a:lnTo>
                    <a:pt x="268" y="232"/>
                  </a:lnTo>
                  <a:lnTo>
                    <a:pt x="268" y="230"/>
                  </a:lnTo>
                  <a:lnTo>
                    <a:pt x="266" y="237"/>
                  </a:lnTo>
                  <a:lnTo>
                    <a:pt x="266" y="241"/>
                  </a:lnTo>
                  <a:lnTo>
                    <a:pt x="268" y="239"/>
                  </a:lnTo>
                  <a:lnTo>
                    <a:pt x="270" y="239"/>
                  </a:lnTo>
                  <a:lnTo>
                    <a:pt x="268" y="242"/>
                  </a:lnTo>
                  <a:lnTo>
                    <a:pt x="263" y="242"/>
                  </a:lnTo>
                  <a:lnTo>
                    <a:pt x="265" y="237"/>
                  </a:lnTo>
                  <a:lnTo>
                    <a:pt x="261" y="237"/>
                  </a:lnTo>
                  <a:lnTo>
                    <a:pt x="261" y="239"/>
                  </a:lnTo>
                  <a:lnTo>
                    <a:pt x="258" y="235"/>
                  </a:lnTo>
                  <a:lnTo>
                    <a:pt x="258" y="239"/>
                  </a:lnTo>
                  <a:lnTo>
                    <a:pt x="259" y="242"/>
                  </a:lnTo>
                  <a:lnTo>
                    <a:pt x="254" y="246"/>
                  </a:lnTo>
                  <a:lnTo>
                    <a:pt x="256" y="256"/>
                  </a:lnTo>
                  <a:lnTo>
                    <a:pt x="254" y="259"/>
                  </a:lnTo>
                  <a:lnTo>
                    <a:pt x="251" y="261"/>
                  </a:lnTo>
                  <a:lnTo>
                    <a:pt x="249" y="270"/>
                  </a:lnTo>
                  <a:lnTo>
                    <a:pt x="251" y="270"/>
                  </a:lnTo>
                  <a:lnTo>
                    <a:pt x="253" y="273"/>
                  </a:lnTo>
                  <a:lnTo>
                    <a:pt x="251" y="280"/>
                  </a:lnTo>
                  <a:lnTo>
                    <a:pt x="244" y="288"/>
                  </a:lnTo>
                  <a:lnTo>
                    <a:pt x="249" y="292"/>
                  </a:lnTo>
                  <a:lnTo>
                    <a:pt x="254" y="285"/>
                  </a:lnTo>
                  <a:lnTo>
                    <a:pt x="258" y="283"/>
                  </a:lnTo>
                  <a:lnTo>
                    <a:pt x="263" y="287"/>
                  </a:lnTo>
                  <a:lnTo>
                    <a:pt x="261" y="290"/>
                  </a:lnTo>
                  <a:lnTo>
                    <a:pt x="265" y="288"/>
                  </a:lnTo>
                  <a:lnTo>
                    <a:pt x="266" y="290"/>
                  </a:lnTo>
                  <a:lnTo>
                    <a:pt x="266" y="292"/>
                  </a:lnTo>
                  <a:lnTo>
                    <a:pt x="268" y="292"/>
                  </a:lnTo>
                  <a:lnTo>
                    <a:pt x="271" y="297"/>
                  </a:lnTo>
                  <a:lnTo>
                    <a:pt x="276" y="297"/>
                  </a:lnTo>
                  <a:lnTo>
                    <a:pt x="278" y="299"/>
                  </a:lnTo>
                  <a:lnTo>
                    <a:pt x="280" y="299"/>
                  </a:lnTo>
                  <a:lnTo>
                    <a:pt x="280" y="302"/>
                  </a:lnTo>
                  <a:lnTo>
                    <a:pt x="275" y="309"/>
                  </a:lnTo>
                  <a:lnTo>
                    <a:pt x="270" y="314"/>
                  </a:lnTo>
                  <a:lnTo>
                    <a:pt x="268" y="314"/>
                  </a:lnTo>
                  <a:lnTo>
                    <a:pt x="266" y="316"/>
                  </a:lnTo>
                  <a:lnTo>
                    <a:pt x="256" y="319"/>
                  </a:lnTo>
                  <a:lnTo>
                    <a:pt x="253" y="314"/>
                  </a:lnTo>
                  <a:lnTo>
                    <a:pt x="251" y="314"/>
                  </a:lnTo>
                  <a:lnTo>
                    <a:pt x="244" y="319"/>
                  </a:lnTo>
                  <a:lnTo>
                    <a:pt x="239" y="321"/>
                  </a:lnTo>
                  <a:lnTo>
                    <a:pt x="236" y="324"/>
                  </a:lnTo>
                  <a:lnTo>
                    <a:pt x="236" y="329"/>
                  </a:lnTo>
                  <a:lnTo>
                    <a:pt x="239" y="328"/>
                  </a:lnTo>
                  <a:lnTo>
                    <a:pt x="241" y="329"/>
                  </a:lnTo>
                  <a:lnTo>
                    <a:pt x="241" y="335"/>
                  </a:lnTo>
                  <a:lnTo>
                    <a:pt x="237" y="338"/>
                  </a:lnTo>
                  <a:lnTo>
                    <a:pt x="232" y="345"/>
                  </a:lnTo>
                  <a:lnTo>
                    <a:pt x="230" y="350"/>
                  </a:lnTo>
                  <a:lnTo>
                    <a:pt x="224" y="350"/>
                  </a:lnTo>
                  <a:lnTo>
                    <a:pt x="225" y="346"/>
                  </a:lnTo>
                  <a:lnTo>
                    <a:pt x="224" y="343"/>
                  </a:lnTo>
                  <a:lnTo>
                    <a:pt x="220" y="350"/>
                  </a:lnTo>
                  <a:lnTo>
                    <a:pt x="218" y="348"/>
                  </a:lnTo>
                  <a:lnTo>
                    <a:pt x="220" y="343"/>
                  </a:lnTo>
                  <a:lnTo>
                    <a:pt x="218" y="341"/>
                  </a:lnTo>
                  <a:lnTo>
                    <a:pt x="215" y="348"/>
                  </a:lnTo>
                  <a:lnTo>
                    <a:pt x="212" y="350"/>
                  </a:lnTo>
                  <a:lnTo>
                    <a:pt x="207" y="345"/>
                  </a:lnTo>
                  <a:lnTo>
                    <a:pt x="207" y="343"/>
                  </a:lnTo>
                  <a:lnTo>
                    <a:pt x="203" y="335"/>
                  </a:lnTo>
                  <a:lnTo>
                    <a:pt x="201" y="329"/>
                  </a:lnTo>
                  <a:lnTo>
                    <a:pt x="201" y="326"/>
                  </a:lnTo>
                  <a:lnTo>
                    <a:pt x="205" y="321"/>
                  </a:lnTo>
                  <a:lnTo>
                    <a:pt x="210" y="323"/>
                  </a:lnTo>
                  <a:lnTo>
                    <a:pt x="212" y="319"/>
                  </a:lnTo>
                  <a:lnTo>
                    <a:pt x="210" y="316"/>
                  </a:lnTo>
                  <a:lnTo>
                    <a:pt x="208" y="316"/>
                  </a:lnTo>
                  <a:lnTo>
                    <a:pt x="212" y="309"/>
                  </a:lnTo>
                  <a:lnTo>
                    <a:pt x="212" y="305"/>
                  </a:lnTo>
                  <a:lnTo>
                    <a:pt x="215" y="304"/>
                  </a:lnTo>
                  <a:lnTo>
                    <a:pt x="217" y="305"/>
                  </a:lnTo>
                  <a:lnTo>
                    <a:pt x="218" y="299"/>
                  </a:lnTo>
                  <a:lnTo>
                    <a:pt x="222" y="295"/>
                  </a:lnTo>
                  <a:lnTo>
                    <a:pt x="225" y="295"/>
                  </a:lnTo>
                  <a:lnTo>
                    <a:pt x="225" y="297"/>
                  </a:lnTo>
                  <a:lnTo>
                    <a:pt x="227" y="297"/>
                  </a:lnTo>
                  <a:lnTo>
                    <a:pt x="232" y="294"/>
                  </a:lnTo>
                  <a:lnTo>
                    <a:pt x="229" y="288"/>
                  </a:lnTo>
                  <a:lnTo>
                    <a:pt x="225" y="294"/>
                  </a:lnTo>
                  <a:lnTo>
                    <a:pt x="225" y="288"/>
                  </a:lnTo>
                  <a:lnTo>
                    <a:pt x="222" y="288"/>
                  </a:lnTo>
                  <a:lnTo>
                    <a:pt x="227" y="280"/>
                  </a:lnTo>
                  <a:lnTo>
                    <a:pt x="229" y="280"/>
                  </a:lnTo>
                  <a:lnTo>
                    <a:pt x="229" y="276"/>
                  </a:lnTo>
                  <a:lnTo>
                    <a:pt x="225" y="280"/>
                  </a:lnTo>
                  <a:lnTo>
                    <a:pt x="229" y="273"/>
                  </a:lnTo>
                  <a:lnTo>
                    <a:pt x="230" y="270"/>
                  </a:lnTo>
                  <a:lnTo>
                    <a:pt x="229" y="270"/>
                  </a:lnTo>
                  <a:lnTo>
                    <a:pt x="222" y="273"/>
                  </a:lnTo>
                  <a:lnTo>
                    <a:pt x="227" y="268"/>
                  </a:lnTo>
                  <a:lnTo>
                    <a:pt x="232" y="264"/>
                  </a:lnTo>
                  <a:lnTo>
                    <a:pt x="232" y="258"/>
                  </a:lnTo>
                  <a:lnTo>
                    <a:pt x="234" y="258"/>
                  </a:lnTo>
                  <a:lnTo>
                    <a:pt x="234" y="253"/>
                  </a:lnTo>
                  <a:lnTo>
                    <a:pt x="230" y="251"/>
                  </a:lnTo>
                  <a:lnTo>
                    <a:pt x="232" y="246"/>
                  </a:lnTo>
                  <a:lnTo>
                    <a:pt x="236" y="247"/>
                  </a:lnTo>
                  <a:lnTo>
                    <a:pt x="237" y="241"/>
                  </a:lnTo>
                  <a:lnTo>
                    <a:pt x="236" y="235"/>
                  </a:lnTo>
                  <a:lnTo>
                    <a:pt x="236" y="230"/>
                  </a:lnTo>
                  <a:lnTo>
                    <a:pt x="234" y="229"/>
                  </a:lnTo>
                  <a:lnTo>
                    <a:pt x="236" y="224"/>
                  </a:lnTo>
                  <a:lnTo>
                    <a:pt x="236" y="217"/>
                  </a:lnTo>
                  <a:lnTo>
                    <a:pt x="239" y="210"/>
                  </a:lnTo>
                  <a:lnTo>
                    <a:pt x="244" y="201"/>
                  </a:lnTo>
                  <a:lnTo>
                    <a:pt x="247" y="200"/>
                  </a:lnTo>
                  <a:lnTo>
                    <a:pt x="254" y="194"/>
                  </a:lnTo>
                  <a:lnTo>
                    <a:pt x="261" y="191"/>
                  </a:lnTo>
                  <a:close/>
                  <a:moveTo>
                    <a:pt x="75" y="171"/>
                  </a:moveTo>
                  <a:lnTo>
                    <a:pt x="73" y="171"/>
                  </a:lnTo>
                  <a:lnTo>
                    <a:pt x="72" y="174"/>
                  </a:lnTo>
                  <a:lnTo>
                    <a:pt x="72" y="172"/>
                  </a:lnTo>
                  <a:lnTo>
                    <a:pt x="75" y="171"/>
                  </a:lnTo>
                  <a:close/>
                  <a:moveTo>
                    <a:pt x="67" y="157"/>
                  </a:moveTo>
                  <a:lnTo>
                    <a:pt x="65" y="160"/>
                  </a:lnTo>
                  <a:lnTo>
                    <a:pt x="68" y="160"/>
                  </a:lnTo>
                  <a:lnTo>
                    <a:pt x="72" y="159"/>
                  </a:lnTo>
                  <a:lnTo>
                    <a:pt x="70" y="164"/>
                  </a:lnTo>
                  <a:lnTo>
                    <a:pt x="67" y="162"/>
                  </a:lnTo>
                  <a:lnTo>
                    <a:pt x="68" y="167"/>
                  </a:lnTo>
                  <a:lnTo>
                    <a:pt x="65" y="165"/>
                  </a:lnTo>
                  <a:lnTo>
                    <a:pt x="63" y="167"/>
                  </a:lnTo>
                  <a:lnTo>
                    <a:pt x="63" y="164"/>
                  </a:lnTo>
                  <a:lnTo>
                    <a:pt x="61" y="159"/>
                  </a:lnTo>
                  <a:lnTo>
                    <a:pt x="63" y="160"/>
                  </a:lnTo>
                  <a:lnTo>
                    <a:pt x="65" y="157"/>
                  </a:lnTo>
                  <a:lnTo>
                    <a:pt x="67" y="157"/>
                  </a:lnTo>
                  <a:close/>
                  <a:moveTo>
                    <a:pt x="58" y="157"/>
                  </a:moveTo>
                  <a:lnTo>
                    <a:pt x="61" y="157"/>
                  </a:lnTo>
                  <a:lnTo>
                    <a:pt x="61" y="159"/>
                  </a:lnTo>
                  <a:lnTo>
                    <a:pt x="58" y="159"/>
                  </a:lnTo>
                  <a:lnTo>
                    <a:pt x="58" y="157"/>
                  </a:lnTo>
                  <a:close/>
                  <a:moveTo>
                    <a:pt x="261" y="147"/>
                  </a:moveTo>
                  <a:lnTo>
                    <a:pt x="266" y="150"/>
                  </a:lnTo>
                  <a:lnTo>
                    <a:pt x="271" y="148"/>
                  </a:lnTo>
                  <a:lnTo>
                    <a:pt x="278" y="148"/>
                  </a:lnTo>
                  <a:lnTo>
                    <a:pt x="282" y="150"/>
                  </a:lnTo>
                  <a:lnTo>
                    <a:pt x="285" y="155"/>
                  </a:lnTo>
                  <a:lnTo>
                    <a:pt x="283" y="164"/>
                  </a:lnTo>
                  <a:lnTo>
                    <a:pt x="280" y="165"/>
                  </a:lnTo>
                  <a:lnTo>
                    <a:pt x="275" y="172"/>
                  </a:lnTo>
                  <a:lnTo>
                    <a:pt x="273" y="176"/>
                  </a:lnTo>
                  <a:lnTo>
                    <a:pt x="270" y="177"/>
                  </a:lnTo>
                  <a:lnTo>
                    <a:pt x="263" y="176"/>
                  </a:lnTo>
                  <a:lnTo>
                    <a:pt x="254" y="171"/>
                  </a:lnTo>
                  <a:lnTo>
                    <a:pt x="253" y="167"/>
                  </a:lnTo>
                  <a:lnTo>
                    <a:pt x="247" y="159"/>
                  </a:lnTo>
                  <a:lnTo>
                    <a:pt x="249" y="157"/>
                  </a:lnTo>
                  <a:lnTo>
                    <a:pt x="247" y="155"/>
                  </a:lnTo>
                  <a:lnTo>
                    <a:pt x="249" y="153"/>
                  </a:lnTo>
                  <a:lnTo>
                    <a:pt x="251" y="153"/>
                  </a:lnTo>
                  <a:lnTo>
                    <a:pt x="256" y="145"/>
                  </a:lnTo>
                  <a:lnTo>
                    <a:pt x="261" y="147"/>
                  </a:lnTo>
                  <a:close/>
                  <a:moveTo>
                    <a:pt x="174" y="90"/>
                  </a:moveTo>
                  <a:lnTo>
                    <a:pt x="177" y="92"/>
                  </a:lnTo>
                  <a:lnTo>
                    <a:pt x="176" y="94"/>
                  </a:lnTo>
                  <a:lnTo>
                    <a:pt x="179" y="95"/>
                  </a:lnTo>
                  <a:lnTo>
                    <a:pt x="172" y="95"/>
                  </a:lnTo>
                  <a:lnTo>
                    <a:pt x="169" y="99"/>
                  </a:lnTo>
                  <a:lnTo>
                    <a:pt x="169" y="95"/>
                  </a:lnTo>
                  <a:lnTo>
                    <a:pt x="171" y="92"/>
                  </a:lnTo>
                  <a:lnTo>
                    <a:pt x="174" y="90"/>
                  </a:lnTo>
                  <a:close/>
                  <a:moveTo>
                    <a:pt x="188" y="80"/>
                  </a:moveTo>
                  <a:lnTo>
                    <a:pt x="191" y="83"/>
                  </a:lnTo>
                  <a:lnTo>
                    <a:pt x="189" y="85"/>
                  </a:lnTo>
                  <a:lnTo>
                    <a:pt x="188" y="85"/>
                  </a:lnTo>
                  <a:lnTo>
                    <a:pt x="189" y="87"/>
                  </a:lnTo>
                  <a:lnTo>
                    <a:pt x="188" y="89"/>
                  </a:lnTo>
                  <a:lnTo>
                    <a:pt x="184" y="83"/>
                  </a:lnTo>
                  <a:lnTo>
                    <a:pt x="183" y="80"/>
                  </a:lnTo>
                  <a:lnTo>
                    <a:pt x="184" y="75"/>
                  </a:lnTo>
                  <a:lnTo>
                    <a:pt x="188" y="80"/>
                  </a:lnTo>
                  <a:close/>
                  <a:moveTo>
                    <a:pt x="97" y="13"/>
                  </a:moveTo>
                  <a:lnTo>
                    <a:pt x="101" y="17"/>
                  </a:lnTo>
                  <a:lnTo>
                    <a:pt x="107" y="19"/>
                  </a:lnTo>
                  <a:lnTo>
                    <a:pt x="109" y="20"/>
                  </a:lnTo>
                  <a:lnTo>
                    <a:pt x="116" y="24"/>
                  </a:lnTo>
                  <a:lnTo>
                    <a:pt x="119" y="22"/>
                  </a:lnTo>
                  <a:lnTo>
                    <a:pt x="126" y="25"/>
                  </a:lnTo>
                  <a:lnTo>
                    <a:pt x="135" y="22"/>
                  </a:lnTo>
                  <a:lnTo>
                    <a:pt x="143" y="20"/>
                  </a:lnTo>
                  <a:lnTo>
                    <a:pt x="148" y="27"/>
                  </a:lnTo>
                  <a:lnTo>
                    <a:pt x="155" y="27"/>
                  </a:lnTo>
                  <a:lnTo>
                    <a:pt x="159" y="29"/>
                  </a:lnTo>
                  <a:lnTo>
                    <a:pt x="160" y="37"/>
                  </a:lnTo>
                  <a:lnTo>
                    <a:pt x="167" y="44"/>
                  </a:lnTo>
                  <a:lnTo>
                    <a:pt x="171" y="44"/>
                  </a:lnTo>
                  <a:lnTo>
                    <a:pt x="174" y="48"/>
                  </a:lnTo>
                  <a:lnTo>
                    <a:pt x="171" y="54"/>
                  </a:lnTo>
                  <a:lnTo>
                    <a:pt x="172" y="56"/>
                  </a:lnTo>
                  <a:lnTo>
                    <a:pt x="171" y="58"/>
                  </a:lnTo>
                  <a:lnTo>
                    <a:pt x="172" y="60"/>
                  </a:lnTo>
                  <a:lnTo>
                    <a:pt x="169" y="65"/>
                  </a:lnTo>
                  <a:lnTo>
                    <a:pt x="171" y="65"/>
                  </a:lnTo>
                  <a:lnTo>
                    <a:pt x="171" y="70"/>
                  </a:lnTo>
                  <a:lnTo>
                    <a:pt x="181" y="73"/>
                  </a:lnTo>
                  <a:lnTo>
                    <a:pt x="183" y="77"/>
                  </a:lnTo>
                  <a:lnTo>
                    <a:pt x="181" y="82"/>
                  </a:lnTo>
                  <a:lnTo>
                    <a:pt x="179" y="82"/>
                  </a:lnTo>
                  <a:lnTo>
                    <a:pt x="179" y="80"/>
                  </a:lnTo>
                  <a:lnTo>
                    <a:pt x="177" y="77"/>
                  </a:lnTo>
                  <a:lnTo>
                    <a:pt x="174" y="78"/>
                  </a:lnTo>
                  <a:lnTo>
                    <a:pt x="174" y="71"/>
                  </a:lnTo>
                  <a:lnTo>
                    <a:pt x="172" y="73"/>
                  </a:lnTo>
                  <a:lnTo>
                    <a:pt x="169" y="71"/>
                  </a:lnTo>
                  <a:lnTo>
                    <a:pt x="167" y="75"/>
                  </a:lnTo>
                  <a:lnTo>
                    <a:pt x="164" y="73"/>
                  </a:lnTo>
                  <a:lnTo>
                    <a:pt x="166" y="77"/>
                  </a:lnTo>
                  <a:lnTo>
                    <a:pt x="172" y="83"/>
                  </a:lnTo>
                  <a:lnTo>
                    <a:pt x="171" y="85"/>
                  </a:lnTo>
                  <a:lnTo>
                    <a:pt x="169" y="85"/>
                  </a:lnTo>
                  <a:lnTo>
                    <a:pt x="166" y="85"/>
                  </a:lnTo>
                  <a:lnTo>
                    <a:pt x="167" y="87"/>
                  </a:lnTo>
                  <a:lnTo>
                    <a:pt x="169" y="85"/>
                  </a:lnTo>
                  <a:lnTo>
                    <a:pt x="169" y="94"/>
                  </a:lnTo>
                  <a:lnTo>
                    <a:pt x="167" y="90"/>
                  </a:lnTo>
                  <a:lnTo>
                    <a:pt x="164" y="92"/>
                  </a:lnTo>
                  <a:lnTo>
                    <a:pt x="167" y="92"/>
                  </a:lnTo>
                  <a:lnTo>
                    <a:pt x="167" y="94"/>
                  </a:lnTo>
                  <a:lnTo>
                    <a:pt x="159" y="95"/>
                  </a:lnTo>
                  <a:lnTo>
                    <a:pt x="159" y="101"/>
                  </a:lnTo>
                  <a:lnTo>
                    <a:pt x="166" y="107"/>
                  </a:lnTo>
                  <a:lnTo>
                    <a:pt x="171" y="109"/>
                  </a:lnTo>
                  <a:lnTo>
                    <a:pt x="176" y="116"/>
                  </a:lnTo>
                  <a:lnTo>
                    <a:pt x="179" y="118"/>
                  </a:lnTo>
                  <a:lnTo>
                    <a:pt x="183" y="114"/>
                  </a:lnTo>
                  <a:lnTo>
                    <a:pt x="183" y="116"/>
                  </a:lnTo>
                  <a:lnTo>
                    <a:pt x="188" y="118"/>
                  </a:lnTo>
                  <a:lnTo>
                    <a:pt x="191" y="124"/>
                  </a:lnTo>
                  <a:lnTo>
                    <a:pt x="189" y="124"/>
                  </a:lnTo>
                  <a:lnTo>
                    <a:pt x="189" y="128"/>
                  </a:lnTo>
                  <a:lnTo>
                    <a:pt x="191" y="126"/>
                  </a:lnTo>
                  <a:lnTo>
                    <a:pt x="193" y="126"/>
                  </a:lnTo>
                  <a:lnTo>
                    <a:pt x="196" y="133"/>
                  </a:lnTo>
                  <a:lnTo>
                    <a:pt x="203" y="135"/>
                  </a:lnTo>
                  <a:lnTo>
                    <a:pt x="210" y="133"/>
                  </a:lnTo>
                  <a:lnTo>
                    <a:pt x="215" y="135"/>
                  </a:lnTo>
                  <a:lnTo>
                    <a:pt x="215" y="138"/>
                  </a:lnTo>
                  <a:lnTo>
                    <a:pt x="210" y="140"/>
                  </a:lnTo>
                  <a:lnTo>
                    <a:pt x="210" y="142"/>
                  </a:lnTo>
                  <a:lnTo>
                    <a:pt x="207" y="145"/>
                  </a:lnTo>
                  <a:lnTo>
                    <a:pt x="198" y="143"/>
                  </a:lnTo>
                  <a:lnTo>
                    <a:pt x="200" y="145"/>
                  </a:lnTo>
                  <a:lnTo>
                    <a:pt x="207" y="145"/>
                  </a:lnTo>
                  <a:lnTo>
                    <a:pt x="210" y="147"/>
                  </a:lnTo>
                  <a:lnTo>
                    <a:pt x="213" y="148"/>
                  </a:lnTo>
                  <a:lnTo>
                    <a:pt x="215" y="152"/>
                  </a:lnTo>
                  <a:lnTo>
                    <a:pt x="213" y="153"/>
                  </a:lnTo>
                  <a:lnTo>
                    <a:pt x="213" y="157"/>
                  </a:lnTo>
                  <a:lnTo>
                    <a:pt x="215" y="157"/>
                  </a:lnTo>
                  <a:lnTo>
                    <a:pt x="215" y="162"/>
                  </a:lnTo>
                  <a:lnTo>
                    <a:pt x="217" y="165"/>
                  </a:lnTo>
                  <a:lnTo>
                    <a:pt x="220" y="167"/>
                  </a:lnTo>
                  <a:lnTo>
                    <a:pt x="218" y="164"/>
                  </a:lnTo>
                  <a:lnTo>
                    <a:pt x="220" y="162"/>
                  </a:lnTo>
                  <a:lnTo>
                    <a:pt x="227" y="165"/>
                  </a:lnTo>
                  <a:lnTo>
                    <a:pt x="230" y="165"/>
                  </a:lnTo>
                  <a:lnTo>
                    <a:pt x="232" y="164"/>
                  </a:lnTo>
                  <a:lnTo>
                    <a:pt x="236" y="165"/>
                  </a:lnTo>
                  <a:lnTo>
                    <a:pt x="234" y="164"/>
                  </a:lnTo>
                  <a:lnTo>
                    <a:pt x="236" y="164"/>
                  </a:lnTo>
                  <a:lnTo>
                    <a:pt x="236" y="162"/>
                  </a:lnTo>
                  <a:lnTo>
                    <a:pt x="234" y="160"/>
                  </a:lnTo>
                  <a:lnTo>
                    <a:pt x="229" y="159"/>
                  </a:lnTo>
                  <a:lnTo>
                    <a:pt x="227" y="155"/>
                  </a:lnTo>
                  <a:lnTo>
                    <a:pt x="236" y="153"/>
                  </a:lnTo>
                  <a:lnTo>
                    <a:pt x="237" y="155"/>
                  </a:lnTo>
                  <a:lnTo>
                    <a:pt x="241" y="162"/>
                  </a:lnTo>
                  <a:lnTo>
                    <a:pt x="242" y="171"/>
                  </a:lnTo>
                  <a:lnTo>
                    <a:pt x="242" y="174"/>
                  </a:lnTo>
                  <a:lnTo>
                    <a:pt x="244" y="174"/>
                  </a:lnTo>
                  <a:lnTo>
                    <a:pt x="241" y="183"/>
                  </a:lnTo>
                  <a:lnTo>
                    <a:pt x="241" y="184"/>
                  </a:lnTo>
                  <a:lnTo>
                    <a:pt x="244" y="186"/>
                  </a:lnTo>
                  <a:lnTo>
                    <a:pt x="242" y="188"/>
                  </a:lnTo>
                  <a:lnTo>
                    <a:pt x="242" y="193"/>
                  </a:lnTo>
                  <a:lnTo>
                    <a:pt x="241" y="196"/>
                  </a:lnTo>
                  <a:lnTo>
                    <a:pt x="237" y="198"/>
                  </a:lnTo>
                  <a:lnTo>
                    <a:pt x="234" y="201"/>
                  </a:lnTo>
                  <a:lnTo>
                    <a:pt x="232" y="198"/>
                  </a:lnTo>
                  <a:lnTo>
                    <a:pt x="227" y="196"/>
                  </a:lnTo>
                  <a:lnTo>
                    <a:pt x="220" y="189"/>
                  </a:lnTo>
                  <a:lnTo>
                    <a:pt x="218" y="186"/>
                  </a:lnTo>
                  <a:lnTo>
                    <a:pt x="215" y="188"/>
                  </a:lnTo>
                  <a:lnTo>
                    <a:pt x="213" y="189"/>
                  </a:lnTo>
                  <a:lnTo>
                    <a:pt x="218" y="191"/>
                  </a:lnTo>
                  <a:lnTo>
                    <a:pt x="218" y="194"/>
                  </a:lnTo>
                  <a:lnTo>
                    <a:pt x="225" y="200"/>
                  </a:lnTo>
                  <a:lnTo>
                    <a:pt x="225" y="205"/>
                  </a:lnTo>
                  <a:lnTo>
                    <a:pt x="224" y="208"/>
                  </a:lnTo>
                  <a:lnTo>
                    <a:pt x="220" y="206"/>
                  </a:lnTo>
                  <a:lnTo>
                    <a:pt x="218" y="203"/>
                  </a:lnTo>
                  <a:lnTo>
                    <a:pt x="215" y="205"/>
                  </a:lnTo>
                  <a:lnTo>
                    <a:pt x="218" y="206"/>
                  </a:lnTo>
                  <a:lnTo>
                    <a:pt x="215" y="208"/>
                  </a:lnTo>
                  <a:lnTo>
                    <a:pt x="215" y="201"/>
                  </a:lnTo>
                  <a:lnTo>
                    <a:pt x="208" y="196"/>
                  </a:lnTo>
                  <a:lnTo>
                    <a:pt x="205" y="194"/>
                  </a:lnTo>
                  <a:lnTo>
                    <a:pt x="203" y="194"/>
                  </a:lnTo>
                  <a:lnTo>
                    <a:pt x="195" y="201"/>
                  </a:lnTo>
                  <a:lnTo>
                    <a:pt x="191" y="201"/>
                  </a:lnTo>
                  <a:lnTo>
                    <a:pt x="191" y="200"/>
                  </a:lnTo>
                  <a:lnTo>
                    <a:pt x="189" y="201"/>
                  </a:lnTo>
                  <a:lnTo>
                    <a:pt x="188" y="200"/>
                  </a:lnTo>
                  <a:lnTo>
                    <a:pt x="188" y="201"/>
                  </a:lnTo>
                  <a:lnTo>
                    <a:pt x="184" y="198"/>
                  </a:lnTo>
                  <a:lnTo>
                    <a:pt x="176" y="205"/>
                  </a:lnTo>
                  <a:lnTo>
                    <a:pt x="166" y="206"/>
                  </a:lnTo>
                  <a:lnTo>
                    <a:pt x="160" y="203"/>
                  </a:lnTo>
                  <a:lnTo>
                    <a:pt x="160" y="205"/>
                  </a:lnTo>
                  <a:lnTo>
                    <a:pt x="154" y="210"/>
                  </a:lnTo>
                  <a:lnTo>
                    <a:pt x="147" y="210"/>
                  </a:lnTo>
                  <a:lnTo>
                    <a:pt x="147" y="212"/>
                  </a:lnTo>
                  <a:lnTo>
                    <a:pt x="145" y="213"/>
                  </a:lnTo>
                  <a:lnTo>
                    <a:pt x="143" y="218"/>
                  </a:lnTo>
                  <a:lnTo>
                    <a:pt x="140" y="224"/>
                  </a:lnTo>
                  <a:lnTo>
                    <a:pt x="137" y="225"/>
                  </a:lnTo>
                  <a:lnTo>
                    <a:pt x="138" y="227"/>
                  </a:lnTo>
                  <a:lnTo>
                    <a:pt x="138" y="234"/>
                  </a:lnTo>
                  <a:lnTo>
                    <a:pt x="140" y="239"/>
                  </a:lnTo>
                  <a:lnTo>
                    <a:pt x="147" y="242"/>
                  </a:lnTo>
                  <a:lnTo>
                    <a:pt x="147" y="244"/>
                  </a:lnTo>
                  <a:lnTo>
                    <a:pt x="148" y="244"/>
                  </a:lnTo>
                  <a:lnTo>
                    <a:pt x="145" y="246"/>
                  </a:lnTo>
                  <a:lnTo>
                    <a:pt x="140" y="251"/>
                  </a:lnTo>
                  <a:lnTo>
                    <a:pt x="138" y="251"/>
                  </a:lnTo>
                  <a:lnTo>
                    <a:pt x="137" y="254"/>
                  </a:lnTo>
                  <a:lnTo>
                    <a:pt x="135" y="254"/>
                  </a:lnTo>
                  <a:lnTo>
                    <a:pt x="135" y="253"/>
                  </a:lnTo>
                  <a:lnTo>
                    <a:pt x="133" y="254"/>
                  </a:lnTo>
                  <a:lnTo>
                    <a:pt x="123" y="253"/>
                  </a:lnTo>
                  <a:lnTo>
                    <a:pt x="118" y="251"/>
                  </a:lnTo>
                  <a:lnTo>
                    <a:pt x="113" y="247"/>
                  </a:lnTo>
                  <a:lnTo>
                    <a:pt x="109" y="247"/>
                  </a:lnTo>
                  <a:lnTo>
                    <a:pt x="102" y="247"/>
                  </a:lnTo>
                  <a:lnTo>
                    <a:pt x="99" y="249"/>
                  </a:lnTo>
                  <a:lnTo>
                    <a:pt x="97" y="249"/>
                  </a:lnTo>
                  <a:lnTo>
                    <a:pt x="94" y="244"/>
                  </a:lnTo>
                  <a:lnTo>
                    <a:pt x="90" y="244"/>
                  </a:lnTo>
                  <a:lnTo>
                    <a:pt x="90" y="241"/>
                  </a:lnTo>
                  <a:lnTo>
                    <a:pt x="89" y="242"/>
                  </a:lnTo>
                  <a:lnTo>
                    <a:pt x="80" y="239"/>
                  </a:lnTo>
                  <a:lnTo>
                    <a:pt x="75" y="235"/>
                  </a:lnTo>
                  <a:lnTo>
                    <a:pt x="75" y="232"/>
                  </a:lnTo>
                  <a:lnTo>
                    <a:pt x="73" y="230"/>
                  </a:lnTo>
                  <a:lnTo>
                    <a:pt x="72" y="229"/>
                  </a:lnTo>
                  <a:lnTo>
                    <a:pt x="72" y="220"/>
                  </a:lnTo>
                  <a:lnTo>
                    <a:pt x="72" y="213"/>
                  </a:lnTo>
                  <a:lnTo>
                    <a:pt x="75" y="208"/>
                  </a:lnTo>
                  <a:lnTo>
                    <a:pt x="77" y="201"/>
                  </a:lnTo>
                  <a:lnTo>
                    <a:pt x="78" y="194"/>
                  </a:lnTo>
                  <a:lnTo>
                    <a:pt x="77" y="188"/>
                  </a:lnTo>
                  <a:lnTo>
                    <a:pt x="78" y="181"/>
                  </a:lnTo>
                  <a:lnTo>
                    <a:pt x="78" y="176"/>
                  </a:lnTo>
                  <a:lnTo>
                    <a:pt x="82" y="176"/>
                  </a:lnTo>
                  <a:lnTo>
                    <a:pt x="80" y="177"/>
                  </a:lnTo>
                  <a:lnTo>
                    <a:pt x="82" y="179"/>
                  </a:lnTo>
                  <a:lnTo>
                    <a:pt x="85" y="176"/>
                  </a:lnTo>
                  <a:lnTo>
                    <a:pt x="87" y="169"/>
                  </a:lnTo>
                  <a:lnTo>
                    <a:pt x="85" y="169"/>
                  </a:lnTo>
                  <a:lnTo>
                    <a:pt x="89" y="169"/>
                  </a:lnTo>
                  <a:lnTo>
                    <a:pt x="89" y="165"/>
                  </a:lnTo>
                  <a:lnTo>
                    <a:pt x="89" y="155"/>
                  </a:lnTo>
                  <a:lnTo>
                    <a:pt x="84" y="152"/>
                  </a:lnTo>
                  <a:lnTo>
                    <a:pt x="77" y="148"/>
                  </a:lnTo>
                  <a:lnTo>
                    <a:pt x="70" y="148"/>
                  </a:lnTo>
                  <a:lnTo>
                    <a:pt x="70" y="150"/>
                  </a:lnTo>
                  <a:lnTo>
                    <a:pt x="65" y="147"/>
                  </a:lnTo>
                  <a:lnTo>
                    <a:pt x="60" y="147"/>
                  </a:lnTo>
                  <a:lnTo>
                    <a:pt x="58" y="145"/>
                  </a:lnTo>
                  <a:lnTo>
                    <a:pt x="53" y="140"/>
                  </a:lnTo>
                  <a:lnTo>
                    <a:pt x="51" y="133"/>
                  </a:lnTo>
                  <a:lnTo>
                    <a:pt x="48" y="133"/>
                  </a:lnTo>
                  <a:lnTo>
                    <a:pt x="46" y="138"/>
                  </a:lnTo>
                  <a:lnTo>
                    <a:pt x="44" y="135"/>
                  </a:lnTo>
                  <a:lnTo>
                    <a:pt x="48" y="133"/>
                  </a:lnTo>
                  <a:lnTo>
                    <a:pt x="44" y="131"/>
                  </a:lnTo>
                  <a:lnTo>
                    <a:pt x="46" y="130"/>
                  </a:lnTo>
                  <a:lnTo>
                    <a:pt x="44" y="126"/>
                  </a:lnTo>
                  <a:lnTo>
                    <a:pt x="36" y="126"/>
                  </a:lnTo>
                  <a:lnTo>
                    <a:pt x="34" y="123"/>
                  </a:lnTo>
                  <a:lnTo>
                    <a:pt x="27" y="116"/>
                  </a:lnTo>
                  <a:lnTo>
                    <a:pt x="26" y="112"/>
                  </a:lnTo>
                  <a:lnTo>
                    <a:pt x="17" y="109"/>
                  </a:lnTo>
                  <a:lnTo>
                    <a:pt x="14" y="104"/>
                  </a:lnTo>
                  <a:lnTo>
                    <a:pt x="8" y="101"/>
                  </a:lnTo>
                  <a:lnTo>
                    <a:pt x="5" y="95"/>
                  </a:lnTo>
                  <a:lnTo>
                    <a:pt x="5" y="94"/>
                  </a:lnTo>
                  <a:lnTo>
                    <a:pt x="2" y="90"/>
                  </a:lnTo>
                  <a:lnTo>
                    <a:pt x="0" y="80"/>
                  </a:lnTo>
                  <a:lnTo>
                    <a:pt x="0" y="78"/>
                  </a:lnTo>
                  <a:lnTo>
                    <a:pt x="2" y="77"/>
                  </a:lnTo>
                  <a:lnTo>
                    <a:pt x="7" y="70"/>
                  </a:lnTo>
                  <a:lnTo>
                    <a:pt x="10" y="66"/>
                  </a:lnTo>
                  <a:lnTo>
                    <a:pt x="10" y="63"/>
                  </a:lnTo>
                  <a:lnTo>
                    <a:pt x="12" y="58"/>
                  </a:lnTo>
                  <a:lnTo>
                    <a:pt x="19" y="56"/>
                  </a:lnTo>
                  <a:lnTo>
                    <a:pt x="20" y="51"/>
                  </a:lnTo>
                  <a:lnTo>
                    <a:pt x="24" y="51"/>
                  </a:lnTo>
                  <a:lnTo>
                    <a:pt x="22" y="49"/>
                  </a:lnTo>
                  <a:lnTo>
                    <a:pt x="22" y="41"/>
                  </a:lnTo>
                  <a:lnTo>
                    <a:pt x="20" y="39"/>
                  </a:lnTo>
                  <a:lnTo>
                    <a:pt x="24" y="36"/>
                  </a:lnTo>
                  <a:lnTo>
                    <a:pt x="20" y="32"/>
                  </a:lnTo>
                  <a:lnTo>
                    <a:pt x="22" y="31"/>
                  </a:lnTo>
                  <a:lnTo>
                    <a:pt x="26" y="31"/>
                  </a:lnTo>
                  <a:lnTo>
                    <a:pt x="26" y="29"/>
                  </a:lnTo>
                  <a:lnTo>
                    <a:pt x="27" y="29"/>
                  </a:lnTo>
                  <a:lnTo>
                    <a:pt x="27" y="27"/>
                  </a:lnTo>
                  <a:lnTo>
                    <a:pt x="26" y="27"/>
                  </a:lnTo>
                  <a:lnTo>
                    <a:pt x="24" y="22"/>
                  </a:lnTo>
                  <a:lnTo>
                    <a:pt x="26" y="24"/>
                  </a:lnTo>
                  <a:lnTo>
                    <a:pt x="27" y="20"/>
                  </a:lnTo>
                  <a:lnTo>
                    <a:pt x="24" y="13"/>
                  </a:lnTo>
                  <a:lnTo>
                    <a:pt x="26" y="10"/>
                  </a:lnTo>
                  <a:lnTo>
                    <a:pt x="24" y="10"/>
                  </a:lnTo>
                  <a:lnTo>
                    <a:pt x="24" y="12"/>
                  </a:lnTo>
                  <a:lnTo>
                    <a:pt x="22" y="10"/>
                  </a:lnTo>
                  <a:lnTo>
                    <a:pt x="20" y="3"/>
                  </a:lnTo>
                  <a:lnTo>
                    <a:pt x="19" y="8"/>
                  </a:lnTo>
                  <a:lnTo>
                    <a:pt x="15" y="8"/>
                  </a:lnTo>
                  <a:lnTo>
                    <a:pt x="17" y="12"/>
                  </a:lnTo>
                  <a:lnTo>
                    <a:pt x="15" y="12"/>
                  </a:lnTo>
                  <a:lnTo>
                    <a:pt x="15" y="7"/>
                  </a:lnTo>
                  <a:lnTo>
                    <a:pt x="19" y="5"/>
                  </a:lnTo>
                  <a:lnTo>
                    <a:pt x="20" y="1"/>
                  </a:lnTo>
                  <a:lnTo>
                    <a:pt x="26" y="0"/>
                  </a:lnTo>
                  <a:lnTo>
                    <a:pt x="34" y="5"/>
                  </a:lnTo>
                  <a:lnTo>
                    <a:pt x="36" y="5"/>
                  </a:lnTo>
                  <a:lnTo>
                    <a:pt x="39" y="10"/>
                  </a:lnTo>
                  <a:lnTo>
                    <a:pt x="43" y="10"/>
                  </a:lnTo>
                  <a:lnTo>
                    <a:pt x="46" y="7"/>
                  </a:lnTo>
                  <a:lnTo>
                    <a:pt x="55" y="5"/>
                  </a:lnTo>
                  <a:lnTo>
                    <a:pt x="56" y="7"/>
                  </a:lnTo>
                  <a:lnTo>
                    <a:pt x="60" y="15"/>
                  </a:lnTo>
                  <a:lnTo>
                    <a:pt x="55" y="20"/>
                  </a:lnTo>
                  <a:lnTo>
                    <a:pt x="60" y="24"/>
                  </a:lnTo>
                  <a:lnTo>
                    <a:pt x="63" y="25"/>
                  </a:lnTo>
                  <a:lnTo>
                    <a:pt x="67" y="29"/>
                  </a:lnTo>
                  <a:lnTo>
                    <a:pt x="72" y="27"/>
                  </a:lnTo>
                  <a:lnTo>
                    <a:pt x="78" y="22"/>
                  </a:lnTo>
                  <a:lnTo>
                    <a:pt x="82" y="17"/>
                  </a:lnTo>
                  <a:lnTo>
                    <a:pt x="87" y="15"/>
                  </a:lnTo>
                  <a:lnTo>
                    <a:pt x="97" y="13"/>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29" name="Freeform 67"/>
            <p:cNvSpPr>
              <a:spLocks noEditPoints="1"/>
            </p:cNvSpPr>
            <p:nvPr/>
          </p:nvSpPr>
          <p:spPr bwMode="gray">
            <a:xfrm>
              <a:off x="5714747" y="3568797"/>
              <a:ext cx="1019718" cy="1245917"/>
            </a:xfrm>
            <a:custGeom>
              <a:avLst/>
              <a:gdLst>
                <a:gd name="T0" fmla="*/ 17 w 559"/>
                <a:gd name="T1" fmla="*/ 676 h 683"/>
                <a:gd name="T2" fmla="*/ 0 w 559"/>
                <a:gd name="T3" fmla="*/ 671 h 683"/>
                <a:gd name="T4" fmla="*/ 84 w 559"/>
                <a:gd name="T5" fmla="*/ 664 h 683"/>
                <a:gd name="T6" fmla="*/ 547 w 559"/>
                <a:gd name="T7" fmla="*/ 659 h 683"/>
                <a:gd name="T8" fmla="*/ 470 w 559"/>
                <a:gd name="T9" fmla="*/ 649 h 683"/>
                <a:gd name="T10" fmla="*/ 460 w 559"/>
                <a:gd name="T11" fmla="*/ 645 h 683"/>
                <a:gd name="T12" fmla="*/ 547 w 559"/>
                <a:gd name="T13" fmla="*/ 639 h 683"/>
                <a:gd name="T14" fmla="*/ 412 w 559"/>
                <a:gd name="T15" fmla="*/ 625 h 683"/>
                <a:gd name="T16" fmla="*/ 427 w 559"/>
                <a:gd name="T17" fmla="*/ 622 h 683"/>
                <a:gd name="T18" fmla="*/ 415 w 559"/>
                <a:gd name="T19" fmla="*/ 625 h 683"/>
                <a:gd name="T20" fmla="*/ 234 w 559"/>
                <a:gd name="T21" fmla="*/ 593 h 683"/>
                <a:gd name="T22" fmla="*/ 434 w 559"/>
                <a:gd name="T23" fmla="*/ 586 h 683"/>
                <a:gd name="T24" fmla="*/ 391 w 559"/>
                <a:gd name="T25" fmla="*/ 562 h 683"/>
                <a:gd name="T26" fmla="*/ 391 w 559"/>
                <a:gd name="T27" fmla="*/ 505 h 683"/>
                <a:gd name="T28" fmla="*/ 400 w 559"/>
                <a:gd name="T29" fmla="*/ 470 h 683"/>
                <a:gd name="T30" fmla="*/ 403 w 559"/>
                <a:gd name="T31" fmla="*/ 519 h 683"/>
                <a:gd name="T32" fmla="*/ 395 w 559"/>
                <a:gd name="T33" fmla="*/ 538 h 683"/>
                <a:gd name="T34" fmla="*/ 396 w 559"/>
                <a:gd name="T35" fmla="*/ 504 h 683"/>
                <a:gd name="T36" fmla="*/ 400 w 559"/>
                <a:gd name="T37" fmla="*/ 463 h 683"/>
                <a:gd name="T38" fmla="*/ 256 w 559"/>
                <a:gd name="T39" fmla="*/ 432 h 683"/>
                <a:gd name="T40" fmla="*/ 255 w 559"/>
                <a:gd name="T41" fmla="*/ 432 h 683"/>
                <a:gd name="T42" fmla="*/ 248 w 559"/>
                <a:gd name="T43" fmla="*/ 425 h 683"/>
                <a:gd name="T44" fmla="*/ 93 w 559"/>
                <a:gd name="T45" fmla="*/ 415 h 683"/>
                <a:gd name="T46" fmla="*/ 120 w 559"/>
                <a:gd name="T47" fmla="*/ 386 h 683"/>
                <a:gd name="T48" fmla="*/ 279 w 559"/>
                <a:gd name="T49" fmla="*/ 215 h 683"/>
                <a:gd name="T50" fmla="*/ 524 w 559"/>
                <a:gd name="T51" fmla="*/ 128 h 683"/>
                <a:gd name="T52" fmla="*/ 489 w 559"/>
                <a:gd name="T53" fmla="*/ 116 h 683"/>
                <a:gd name="T54" fmla="*/ 463 w 559"/>
                <a:gd name="T55" fmla="*/ 109 h 683"/>
                <a:gd name="T56" fmla="*/ 466 w 559"/>
                <a:gd name="T57" fmla="*/ 97 h 683"/>
                <a:gd name="T58" fmla="*/ 441 w 559"/>
                <a:gd name="T59" fmla="*/ 87 h 683"/>
                <a:gd name="T60" fmla="*/ 400 w 559"/>
                <a:gd name="T61" fmla="*/ 107 h 683"/>
                <a:gd name="T62" fmla="*/ 369 w 559"/>
                <a:gd name="T63" fmla="*/ 138 h 683"/>
                <a:gd name="T64" fmla="*/ 393 w 559"/>
                <a:gd name="T65" fmla="*/ 166 h 683"/>
                <a:gd name="T66" fmla="*/ 393 w 559"/>
                <a:gd name="T67" fmla="*/ 207 h 683"/>
                <a:gd name="T68" fmla="*/ 384 w 559"/>
                <a:gd name="T69" fmla="*/ 256 h 683"/>
                <a:gd name="T70" fmla="*/ 390 w 559"/>
                <a:gd name="T71" fmla="*/ 311 h 683"/>
                <a:gd name="T72" fmla="*/ 378 w 559"/>
                <a:gd name="T73" fmla="*/ 359 h 683"/>
                <a:gd name="T74" fmla="*/ 376 w 559"/>
                <a:gd name="T75" fmla="*/ 386 h 683"/>
                <a:gd name="T76" fmla="*/ 395 w 559"/>
                <a:gd name="T77" fmla="*/ 430 h 683"/>
                <a:gd name="T78" fmla="*/ 347 w 559"/>
                <a:gd name="T79" fmla="*/ 442 h 683"/>
                <a:gd name="T80" fmla="*/ 323 w 559"/>
                <a:gd name="T81" fmla="*/ 451 h 683"/>
                <a:gd name="T82" fmla="*/ 287 w 559"/>
                <a:gd name="T83" fmla="*/ 451 h 683"/>
                <a:gd name="T84" fmla="*/ 279 w 559"/>
                <a:gd name="T85" fmla="*/ 446 h 683"/>
                <a:gd name="T86" fmla="*/ 265 w 559"/>
                <a:gd name="T87" fmla="*/ 415 h 683"/>
                <a:gd name="T88" fmla="*/ 275 w 559"/>
                <a:gd name="T89" fmla="*/ 382 h 683"/>
                <a:gd name="T90" fmla="*/ 284 w 559"/>
                <a:gd name="T91" fmla="*/ 338 h 683"/>
                <a:gd name="T92" fmla="*/ 299 w 559"/>
                <a:gd name="T93" fmla="*/ 289 h 683"/>
                <a:gd name="T94" fmla="*/ 297 w 559"/>
                <a:gd name="T95" fmla="*/ 249 h 683"/>
                <a:gd name="T96" fmla="*/ 285 w 559"/>
                <a:gd name="T97" fmla="*/ 241 h 683"/>
                <a:gd name="T98" fmla="*/ 277 w 559"/>
                <a:gd name="T99" fmla="*/ 210 h 683"/>
                <a:gd name="T100" fmla="*/ 275 w 559"/>
                <a:gd name="T101" fmla="*/ 166 h 683"/>
                <a:gd name="T102" fmla="*/ 297 w 559"/>
                <a:gd name="T103" fmla="*/ 142 h 683"/>
                <a:gd name="T104" fmla="*/ 304 w 559"/>
                <a:gd name="T105" fmla="*/ 104 h 683"/>
                <a:gd name="T106" fmla="*/ 304 w 559"/>
                <a:gd name="T107" fmla="*/ 55 h 683"/>
                <a:gd name="T108" fmla="*/ 333 w 559"/>
                <a:gd name="T109" fmla="*/ 17 h 683"/>
                <a:gd name="T110" fmla="*/ 378 w 559"/>
                <a:gd name="T111" fmla="*/ 19 h 683"/>
                <a:gd name="T112" fmla="*/ 408 w 559"/>
                <a:gd name="T113" fmla="*/ 20 h 683"/>
                <a:gd name="T114" fmla="*/ 441 w 559"/>
                <a:gd name="T115" fmla="*/ 39 h 683"/>
                <a:gd name="T116" fmla="*/ 490 w 559"/>
                <a:gd name="T117" fmla="*/ 56 h 683"/>
                <a:gd name="T118" fmla="*/ 540 w 559"/>
                <a:gd name="T119" fmla="*/ 78 h 683"/>
                <a:gd name="T120" fmla="*/ 545 w 559"/>
                <a:gd name="T121" fmla="*/ 118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9" h="683">
                  <a:moveTo>
                    <a:pt x="33" y="681"/>
                  </a:moveTo>
                  <a:lnTo>
                    <a:pt x="35" y="681"/>
                  </a:lnTo>
                  <a:lnTo>
                    <a:pt x="35" y="683"/>
                  </a:lnTo>
                  <a:lnTo>
                    <a:pt x="33" y="683"/>
                  </a:lnTo>
                  <a:lnTo>
                    <a:pt x="33" y="681"/>
                  </a:lnTo>
                  <a:close/>
                  <a:moveTo>
                    <a:pt x="17" y="676"/>
                  </a:moveTo>
                  <a:lnTo>
                    <a:pt x="21" y="676"/>
                  </a:lnTo>
                  <a:lnTo>
                    <a:pt x="17" y="676"/>
                  </a:lnTo>
                  <a:lnTo>
                    <a:pt x="14" y="676"/>
                  </a:lnTo>
                  <a:lnTo>
                    <a:pt x="17" y="676"/>
                  </a:lnTo>
                  <a:close/>
                  <a:moveTo>
                    <a:pt x="31" y="675"/>
                  </a:moveTo>
                  <a:lnTo>
                    <a:pt x="33" y="675"/>
                  </a:lnTo>
                  <a:lnTo>
                    <a:pt x="33" y="676"/>
                  </a:lnTo>
                  <a:lnTo>
                    <a:pt x="31" y="676"/>
                  </a:lnTo>
                  <a:lnTo>
                    <a:pt x="31" y="675"/>
                  </a:lnTo>
                  <a:close/>
                  <a:moveTo>
                    <a:pt x="0" y="671"/>
                  </a:moveTo>
                  <a:lnTo>
                    <a:pt x="4" y="671"/>
                  </a:lnTo>
                  <a:lnTo>
                    <a:pt x="4" y="673"/>
                  </a:lnTo>
                  <a:lnTo>
                    <a:pt x="0" y="673"/>
                  </a:lnTo>
                  <a:lnTo>
                    <a:pt x="0" y="671"/>
                  </a:lnTo>
                  <a:close/>
                  <a:moveTo>
                    <a:pt x="36" y="669"/>
                  </a:moveTo>
                  <a:lnTo>
                    <a:pt x="38" y="669"/>
                  </a:lnTo>
                  <a:lnTo>
                    <a:pt x="38" y="673"/>
                  </a:lnTo>
                  <a:lnTo>
                    <a:pt x="36" y="673"/>
                  </a:lnTo>
                  <a:lnTo>
                    <a:pt x="36" y="669"/>
                  </a:lnTo>
                  <a:close/>
                  <a:moveTo>
                    <a:pt x="555" y="669"/>
                  </a:moveTo>
                  <a:lnTo>
                    <a:pt x="553" y="671"/>
                  </a:lnTo>
                  <a:lnTo>
                    <a:pt x="545" y="671"/>
                  </a:lnTo>
                  <a:lnTo>
                    <a:pt x="555" y="669"/>
                  </a:lnTo>
                  <a:close/>
                  <a:moveTo>
                    <a:pt x="84" y="664"/>
                  </a:moveTo>
                  <a:lnTo>
                    <a:pt x="86" y="664"/>
                  </a:lnTo>
                  <a:lnTo>
                    <a:pt x="86" y="668"/>
                  </a:lnTo>
                  <a:lnTo>
                    <a:pt x="84" y="668"/>
                  </a:lnTo>
                  <a:lnTo>
                    <a:pt x="84" y="664"/>
                  </a:lnTo>
                  <a:close/>
                  <a:moveTo>
                    <a:pt x="557" y="652"/>
                  </a:moveTo>
                  <a:lnTo>
                    <a:pt x="559" y="654"/>
                  </a:lnTo>
                  <a:lnTo>
                    <a:pt x="557" y="659"/>
                  </a:lnTo>
                  <a:lnTo>
                    <a:pt x="552" y="663"/>
                  </a:lnTo>
                  <a:lnTo>
                    <a:pt x="548" y="663"/>
                  </a:lnTo>
                  <a:lnTo>
                    <a:pt x="547" y="659"/>
                  </a:lnTo>
                  <a:lnTo>
                    <a:pt x="548" y="654"/>
                  </a:lnTo>
                  <a:lnTo>
                    <a:pt x="557" y="652"/>
                  </a:lnTo>
                  <a:close/>
                  <a:moveTo>
                    <a:pt x="470" y="649"/>
                  </a:moveTo>
                  <a:lnTo>
                    <a:pt x="478" y="654"/>
                  </a:lnTo>
                  <a:lnTo>
                    <a:pt x="478" y="657"/>
                  </a:lnTo>
                  <a:lnTo>
                    <a:pt x="470" y="661"/>
                  </a:lnTo>
                  <a:lnTo>
                    <a:pt x="466" y="657"/>
                  </a:lnTo>
                  <a:lnTo>
                    <a:pt x="468" y="656"/>
                  </a:lnTo>
                  <a:lnTo>
                    <a:pt x="468" y="649"/>
                  </a:lnTo>
                  <a:lnTo>
                    <a:pt x="470" y="649"/>
                  </a:lnTo>
                  <a:close/>
                  <a:moveTo>
                    <a:pt x="550" y="644"/>
                  </a:moveTo>
                  <a:lnTo>
                    <a:pt x="552" y="645"/>
                  </a:lnTo>
                  <a:lnTo>
                    <a:pt x="552" y="647"/>
                  </a:lnTo>
                  <a:lnTo>
                    <a:pt x="545" y="647"/>
                  </a:lnTo>
                  <a:lnTo>
                    <a:pt x="547" y="645"/>
                  </a:lnTo>
                  <a:lnTo>
                    <a:pt x="550" y="644"/>
                  </a:lnTo>
                  <a:close/>
                  <a:moveTo>
                    <a:pt x="437" y="644"/>
                  </a:moveTo>
                  <a:lnTo>
                    <a:pt x="446" y="645"/>
                  </a:lnTo>
                  <a:lnTo>
                    <a:pt x="449" y="647"/>
                  </a:lnTo>
                  <a:lnTo>
                    <a:pt x="460" y="645"/>
                  </a:lnTo>
                  <a:lnTo>
                    <a:pt x="466" y="649"/>
                  </a:lnTo>
                  <a:lnTo>
                    <a:pt x="465" y="652"/>
                  </a:lnTo>
                  <a:lnTo>
                    <a:pt x="458" y="652"/>
                  </a:lnTo>
                  <a:lnTo>
                    <a:pt x="449" y="649"/>
                  </a:lnTo>
                  <a:lnTo>
                    <a:pt x="446" y="649"/>
                  </a:lnTo>
                  <a:lnTo>
                    <a:pt x="441" y="647"/>
                  </a:lnTo>
                  <a:lnTo>
                    <a:pt x="439" y="649"/>
                  </a:lnTo>
                  <a:lnTo>
                    <a:pt x="434" y="645"/>
                  </a:lnTo>
                  <a:lnTo>
                    <a:pt x="437" y="644"/>
                  </a:lnTo>
                  <a:close/>
                  <a:moveTo>
                    <a:pt x="547" y="639"/>
                  </a:moveTo>
                  <a:lnTo>
                    <a:pt x="548" y="639"/>
                  </a:lnTo>
                  <a:lnTo>
                    <a:pt x="548" y="640"/>
                  </a:lnTo>
                  <a:lnTo>
                    <a:pt x="547" y="640"/>
                  </a:lnTo>
                  <a:lnTo>
                    <a:pt x="547" y="639"/>
                  </a:lnTo>
                  <a:close/>
                  <a:moveTo>
                    <a:pt x="149" y="634"/>
                  </a:moveTo>
                  <a:lnTo>
                    <a:pt x="144" y="637"/>
                  </a:lnTo>
                  <a:lnTo>
                    <a:pt x="149" y="634"/>
                  </a:lnTo>
                  <a:close/>
                  <a:moveTo>
                    <a:pt x="407" y="622"/>
                  </a:moveTo>
                  <a:lnTo>
                    <a:pt x="412" y="623"/>
                  </a:lnTo>
                  <a:lnTo>
                    <a:pt x="412" y="625"/>
                  </a:lnTo>
                  <a:lnTo>
                    <a:pt x="407" y="623"/>
                  </a:lnTo>
                  <a:lnTo>
                    <a:pt x="407" y="622"/>
                  </a:lnTo>
                  <a:close/>
                  <a:moveTo>
                    <a:pt x="118" y="622"/>
                  </a:moveTo>
                  <a:lnTo>
                    <a:pt x="122" y="622"/>
                  </a:lnTo>
                  <a:lnTo>
                    <a:pt x="122" y="623"/>
                  </a:lnTo>
                  <a:lnTo>
                    <a:pt x="118" y="623"/>
                  </a:lnTo>
                  <a:lnTo>
                    <a:pt x="118" y="622"/>
                  </a:lnTo>
                  <a:close/>
                  <a:moveTo>
                    <a:pt x="415" y="613"/>
                  </a:moveTo>
                  <a:lnTo>
                    <a:pt x="420" y="618"/>
                  </a:lnTo>
                  <a:lnTo>
                    <a:pt x="427" y="622"/>
                  </a:lnTo>
                  <a:lnTo>
                    <a:pt x="431" y="622"/>
                  </a:lnTo>
                  <a:lnTo>
                    <a:pt x="434" y="620"/>
                  </a:lnTo>
                  <a:lnTo>
                    <a:pt x="431" y="628"/>
                  </a:lnTo>
                  <a:lnTo>
                    <a:pt x="422" y="628"/>
                  </a:lnTo>
                  <a:lnTo>
                    <a:pt x="419" y="627"/>
                  </a:lnTo>
                  <a:lnTo>
                    <a:pt x="417" y="628"/>
                  </a:lnTo>
                  <a:lnTo>
                    <a:pt x="420" y="630"/>
                  </a:lnTo>
                  <a:lnTo>
                    <a:pt x="419" y="630"/>
                  </a:lnTo>
                  <a:lnTo>
                    <a:pt x="415" y="628"/>
                  </a:lnTo>
                  <a:lnTo>
                    <a:pt x="415" y="625"/>
                  </a:lnTo>
                  <a:lnTo>
                    <a:pt x="414" y="623"/>
                  </a:lnTo>
                  <a:lnTo>
                    <a:pt x="412" y="622"/>
                  </a:lnTo>
                  <a:lnTo>
                    <a:pt x="414" y="618"/>
                  </a:lnTo>
                  <a:lnTo>
                    <a:pt x="414" y="613"/>
                  </a:lnTo>
                  <a:lnTo>
                    <a:pt x="415" y="613"/>
                  </a:lnTo>
                  <a:close/>
                  <a:moveTo>
                    <a:pt x="234" y="593"/>
                  </a:moveTo>
                  <a:lnTo>
                    <a:pt x="234" y="596"/>
                  </a:lnTo>
                  <a:lnTo>
                    <a:pt x="231" y="596"/>
                  </a:lnTo>
                  <a:lnTo>
                    <a:pt x="231" y="594"/>
                  </a:lnTo>
                  <a:lnTo>
                    <a:pt x="234" y="593"/>
                  </a:lnTo>
                  <a:close/>
                  <a:moveTo>
                    <a:pt x="239" y="591"/>
                  </a:moveTo>
                  <a:lnTo>
                    <a:pt x="243" y="591"/>
                  </a:lnTo>
                  <a:lnTo>
                    <a:pt x="243" y="594"/>
                  </a:lnTo>
                  <a:lnTo>
                    <a:pt x="239" y="594"/>
                  </a:lnTo>
                  <a:lnTo>
                    <a:pt x="239" y="591"/>
                  </a:lnTo>
                  <a:close/>
                  <a:moveTo>
                    <a:pt x="436" y="587"/>
                  </a:moveTo>
                  <a:lnTo>
                    <a:pt x="437" y="593"/>
                  </a:lnTo>
                  <a:lnTo>
                    <a:pt x="434" y="596"/>
                  </a:lnTo>
                  <a:lnTo>
                    <a:pt x="432" y="589"/>
                  </a:lnTo>
                  <a:lnTo>
                    <a:pt x="434" y="586"/>
                  </a:lnTo>
                  <a:lnTo>
                    <a:pt x="436" y="587"/>
                  </a:lnTo>
                  <a:close/>
                  <a:moveTo>
                    <a:pt x="391" y="579"/>
                  </a:moveTo>
                  <a:lnTo>
                    <a:pt x="391" y="572"/>
                  </a:lnTo>
                  <a:lnTo>
                    <a:pt x="393" y="574"/>
                  </a:lnTo>
                  <a:lnTo>
                    <a:pt x="391" y="579"/>
                  </a:lnTo>
                  <a:close/>
                  <a:moveTo>
                    <a:pt x="393" y="563"/>
                  </a:moveTo>
                  <a:lnTo>
                    <a:pt x="393" y="569"/>
                  </a:lnTo>
                  <a:lnTo>
                    <a:pt x="391" y="569"/>
                  </a:lnTo>
                  <a:lnTo>
                    <a:pt x="390" y="563"/>
                  </a:lnTo>
                  <a:lnTo>
                    <a:pt x="391" y="562"/>
                  </a:lnTo>
                  <a:lnTo>
                    <a:pt x="393" y="563"/>
                  </a:lnTo>
                  <a:close/>
                  <a:moveTo>
                    <a:pt x="458" y="552"/>
                  </a:moveTo>
                  <a:lnTo>
                    <a:pt x="460" y="552"/>
                  </a:lnTo>
                  <a:lnTo>
                    <a:pt x="460" y="553"/>
                  </a:lnTo>
                  <a:lnTo>
                    <a:pt x="458" y="553"/>
                  </a:lnTo>
                  <a:lnTo>
                    <a:pt x="458" y="552"/>
                  </a:lnTo>
                  <a:close/>
                  <a:moveTo>
                    <a:pt x="391" y="548"/>
                  </a:moveTo>
                  <a:lnTo>
                    <a:pt x="391" y="552"/>
                  </a:lnTo>
                  <a:lnTo>
                    <a:pt x="391" y="548"/>
                  </a:lnTo>
                  <a:close/>
                  <a:moveTo>
                    <a:pt x="391" y="505"/>
                  </a:moveTo>
                  <a:lnTo>
                    <a:pt x="390" y="509"/>
                  </a:lnTo>
                  <a:lnTo>
                    <a:pt x="391" y="516"/>
                  </a:lnTo>
                  <a:lnTo>
                    <a:pt x="390" y="517"/>
                  </a:lnTo>
                  <a:lnTo>
                    <a:pt x="388" y="517"/>
                  </a:lnTo>
                  <a:lnTo>
                    <a:pt x="388" y="514"/>
                  </a:lnTo>
                  <a:lnTo>
                    <a:pt x="390" y="507"/>
                  </a:lnTo>
                  <a:lnTo>
                    <a:pt x="391" y="505"/>
                  </a:lnTo>
                  <a:close/>
                  <a:moveTo>
                    <a:pt x="400" y="464"/>
                  </a:moveTo>
                  <a:lnTo>
                    <a:pt x="402" y="466"/>
                  </a:lnTo>
                  <a:lnTo>
                    <a:pt x="400" y="470"/>
                  </a:lnTo>
                  <a:lnTo>
                    <a:pt x="403" y="473"/>
                  </a:lnTo>
                  <a:lnTo>
                    <a:pt x="405" y="482"/>
                  </a:lnTo>
                  <a:lnTo>
                    <a:pt x="407" y="492"/>
                  </a:lnTo>
                  <a:lnTo>
                    <a:pt x="408" y="499"/>
                  </a:lnTo>
                  <a:lnTo>
                    <a:pt x="407" y="502"/>
                  </a:lnTo>
                  <a:lnTo>
                    <a:pt x="407" y="507"/>
                  </a:lnTo>
                  <a:lnTo>
                    <a:pt x="405" y="507"/>
                  </a:lnTo>
                  <a:lnTo>
                    <a:pt x="407" y="509"/>
                  </a:lnTo>
                  <a:lnTo>
                    <a:pt x="403" y="516"/>
                  </a:lnTo>
                  <a:lnTo>
                    <a:pt x="403" y="519"/>
                  </a:lnTo>
                  <a:lnTo>
                    <a:pt x="405" y="523"/>
                  </a:lnTo>
                  <a:lnTo>
                    <a:pt x="405" y="531"/>
                  </a:lnTo>
                  <a:lnTo>
                    <a:pt x="402" y="533"/>
                  </a:lnTo>
                  <a:lnTo>
                    <a:pt x="400" y="540"/>
                  </a:lnTo>
                  <a:lnTo>
                    <a:pt x="402" y="546"/>
                  </a:lnTo>
                  <a:lnTo>
                    <a:pt x="398" y="552"/>
                  </a:lnTo>
                  <a:lnTo>
                    <a:pt x="396" y="545"/>
                  </a:lnTo>
                  <a:lnTo>
                    <a:pt x="395" y="541"/>
                  </a:lnTo>
                  <a:lnTo>
                    <a:pt x="396" y="541"/>
                  </a:lnTo>
                  <a:lnTo>
                    <a:pt x="395" y="538"/>
                  </a:lnTo>
                  <a:lnTo>
                    <a:pt x="396" y="538"/>
                  </a:lnTo>
                  <a:lnTo>
                    <a:pt x="396" y="528"/>
                  </a:lnTo>
                  <a:lnTo>
                    <a:pt x="398" y="526"/>
                  </a:lnTo>
                  <a:lnTo>
                    <a:pt x="393" y="524"/>
                  </a:lnTo>
                  <a:lnTo>
                    <a:pt x="393" y="517"/>
                  </a:lnTo>
                  <a:lnTo>
                    <a:pt x="391" y="516"/>
                  </a:lnTo>
                  <a:lnTo>
                    <a:pt x="393" y="512"/>
                  </a:lnTo>
                  <a:lnTo>
                    <a:pt x="391" y="514"/>
                  </a:lnTo>
                  <a:lnTo>
                    <a:pt x="393" y="512"/>
                  </a:lnTo>
                  <a:lnTo>
                    <a:pt x="396" y="504"/>
                  </a:lnTo>
                  <a:lnTo>
                    <a:pt x="395" y="500"/>
                  </a:lnTo>
                  <a:lnTo>
                    <a:pt x="395" y="493"/>
                  </a:lnTo>
                  <a:lnTo>
                    <a:pt x="393" y="487"/>
                  </a:lnTo>
                  <a:lnTo>
                    <a:pt x="395" y="480"/>
                  </a:lnTo>
                  <a:lnTo>
                    <a:pt x="395" y="475"/>
                  </a:lnTo>
                  <a:lnTo>
                    <a:pt x="396" y="468"/>
                  </a:lnTo>
                  <a:lnTo>
                    <a:pt x="400" y="464"/>
                  </a:lnTo>
                  <a:close/>
                  <a:moveTo>
                    <a:pt x="396" y="461"/>
                  </a:moveTo>
                  <a:lnTo>
                    <a:pt x="400" y="461"/>
                  </a:lnTo>
                  <a:lnTo>
                    <a:pt x="400" y="463"/>
                  </a:lnTo>
                  <a:lnTo>
                    <a:pt x="396" y="463"/>
                  </a:lnTo>
                  <a:lnTo>
                    <a:pt x="396" y="461"/>
                  </a:lnTo>
                  <a:close/>
                  <a:moveTo>
                    <a:pt x="391" y="449"/>
                  </a:moveTo>
                  <a:lnTo>
                    <a:pt x="393" y="449"/>
                  </a:lnTo>
                  <a:lnTo>
                    <a:pt x="393" y="451"/>
                  </a:lnTo>
                  <a:lnTo>
                    <a:pt x="391" y="451"/>
                  </a:lnTo>
                  <a:lnTo>
                    <a:pt x="391" y="449"/>
                  </a:lnTo>
                  <a:close/>
                  <a:moveTo>
                    <a:pt x="256" y="427"/>
                  </a:moveTo>
                  <a:lnTo>
                    <a:pt x="260" y="430"/>
                  </a:lnTo>
                  <a:lnTo>
                    <a:pt x="256" y="432"/>
                  </a:lnTo>
                  <a:lnTo>
                    <a:pt x="260" y="430"/>
                  </a:lnTo>
                  <a:lnTo>
                    <a:pt x="260" y="434"/>
                  </a:lnTo>
                  <a:lnTo>
                    <a:pt x="256" y="434"/>
                  </a:lnTo>
                  <a:lnTo>
                    <a:pt x="258" y="435"/>
                  </a:lnTo>
                  <a:lnTo>
                    <a:pt x="253" y="437"/>
                  </a:lnTo>
                  <a:lnTo>
                    <a:pt x="253" y="435"/>
                  </a:lnTo>
                  <a:lnTo>
                    <a:pt x="250" y="434"/>
                  </a:lnTo>
                  <a:lnTo>
                    <a:pt x="251" y="430"/>
                  </a:lnTo>
                  <a:lnTo>
                    <a:pt x="251" y="434"/>
                  </a:lnTo>
                  <a:lnTo>
                    <a:pt x="255" y="432"/>
                  </a:lnTo>
                  <a:lnTo>
                    <a:pt x="255" y="430"/>
                  </a:lnTo>
                  <a:lnTo>
                    <a:pt x="256" y="429"/>
                  </a:lnTo>
                  <a:lnTo>
                    <a:pt x="253" y="429"/>
                  </a:lnTo>
                  <a:lnTo>
                    <a:pt x="253" y="427"/>
                  </a:lnTo>
                  <a:lnTo>
                    <a:pt x="256" y="427"/>
                  </a:lnTo>
                  <a:close/>
                  <a:moveTo>
                    <a:pt x="248" y="425"/>
                  </a:moveTo>
                  <a:lnTo>
                    <a:pt x="250" y="425"/>
                  </a:lnTo>
                  <a:lnTo>
                    <a:pt x="250" y="429"/>
                  </a:lnTo>
                  <a:lnTo>
                    <a:pt x="248" y="429"/>
                  </a:lnTo>
                  <a:lnTo>
                    <a:pt x="248" y="425"/>
                  </a:lnTo>
                  <a:close/>
                  <a:moveTo>
                    <a:pt x="152" y="420"/>
                  </a:moveTo>
                  <a:lnTo>
                    <a:pt x="154" y="420"/>
                  </a:lnTo>
                  <a:lnTo>
                    <a:pt x="154" y="423"/>
                  </a:lnTo>
                  <a:lnTo>
                    <a:pt x="152" y="423"/>
                  </a:lnTo>
                  <a:lnTo>
                    <a:pt x="152" y="420"/>
                  </a:lnTo>
                  <a:close/>
                  <a:moveTo>
                    <a:pt x="93" y="415"/>
                  </a:moveTo>
                  <a:lnTo>
                    <a:pt x="96" y="418"/>
                  </a:lnTo>
                  <a:lnTo>
                    <a:pt x="96" y="422"/>
                  </a:lnTo>
                  <a:lnTo>
                    <a:pt x="93" y="420"/>
                  </a:lnTo>
                  <a:lnTo>
                    <a:pt x="93" y="415"/>
                  </a:lnTo>
                  <a:close/>
                  <a:moveTo>
                    <a:pt x="89" y="408"/>
                  </a:moveTo>
                  <a:lnTo>
                    <a:pt x="87" y="401"/>
                  </a:lnTo>
                  <a:lnTo>
                    <a:pt x="89" y="405"/>
                  </a:lnTo>
                  <a:lnTo>
                    <a:pt x="89" y="408"/>
                  </a:lnTo>
                  <a:close/>
                  <a:moveTo>
                    <a:pt x="60" y="400"/>
                  </a:moveTo>
                  <a:lnTo>
                    <a:pt x="62" y="394"/>
                  </a:lnTo>
                  <a:lnTo>
                    <a:pt x="64" y="396"/>
                  </a:lnTo>
                  <a:lnTo>
                    <a:pt x="60" y="400"/>
                  </a:lnTo>
                  <a:close/>
                  <a:moveTo>
                    <a:pt x="118" y="386"/>
                  </a:moveTo>
                  <a:lnTo>
                    <a:pt x="120" y="386"/>
                  </a:lnTo>
                  <a:lnTo>
                    <a:pt x="120" y="389"/>
                  </a:lnTo>
                  <a:lnTo>
                    <a:pt x="118" y="389"/>
                  </a:lnTo>
                  <a:lnTo>
                    <a:pt x="118" y="386"/>
                  </a:lnTo>
                  <a:close/>
                  <a:moveTo>
                    <a:pt x="292" y="294"/>
                  </a:moveTo>
                  <a:lnTo>
                    <a:pt x="294" y="294"/>
                  </a:lnTo>
                  <a:lnTo>
                    <a:pt x="294" y="297"/>
                  </a:lnTo>
                  <a:lnTo>
                    <a:pt x="292" y="297"/>
                  </a:lnTo>
                  <a:lnTo>
                    <a:pt x="292" y="294"/>
                  </a:lnTo>
                  <a:close/>
                  <a:moveTo>
                    <a:pt x="279" y="212"/>
                  </a:moveTo>
                  <a:lnTo>
                    <a:pt x="279" y="215"/>
                  </a:lnTo>
                  <a:lnTo>
                    <a:pt x="282" y="215"/>
                  </a:lnTo>
                  <a:lnTo>
                    <a:pt x="280" y="218"/>
                  </a:lnTo>
                  <a:lnTo>
                    <a:pt x="279" y="215"/>
                  </a:lnTo>
                  <a:lnTo>
                    <a:pt x="275" y="215"/>
                  </a:lnTo>
                  <a:lnTo>
                    <a:pt x="277" y="212"/>
                  </a:lnTo>
                  <a:lnTo>
                    <a:pt x="279" y="212"/>
                  </a:lnTo>
                  <a:close/>
                  <a:moveTo>
                    <a:pt x="543" y="119"/>
                  </a:moveTo>
                  <a:lnTo>
                    <a:pt x="533" y="121"/>
                  </a:lnTo>
                  <a:lnTo>
                    <a:pt x="528" y="123"/>
                  </a:lnTo>
                  <a:lnTo>
                    <a:pt x="524" y="128"/>
                  </a:lnTo>
                  <a:lnTo>
                    <a:pt x="518" y="133"/>
                  </a:lnTo>
                  <a:lnTo>
                    <a:pt x="513" y="135"/>
                  </a:lnTo>
                  <a:lnTo>
                    <a:pt x="509" y="131"/>
                  </a:lnTo>
                  <a:lnTo>
                    <a:pt x="506" y="130"/>
                  </a:lnTo>
                  <a:lnTo>
                    <a:pt x="501" y="126"/>
                  </a:lnTo>
                  <a:lnTo>
                    <a:pt x="506" y="121"/>
                  </a:lnTo>
                  <a:lnTo>
                    <a:pt x="502" y="113"/>
                  </a:lnTo>
                  <a:lnTo>
                    <a:pt x="501" y="111"/>
                  </a:lnTo>
                  <a:lnTo>
                    <a:pt x="492" y="113"/>
                  </a:lnTo>
                  <a:lnTo>
                    <a:pt x="489" y="116"/>
                  </a:lnTo>
                  <a:lnTo>
                    <a:pt x="485" y="116"/>
                  </a:lnTo>
                  <a:lnTo>
                    <a:pt x="482" y="111"/>
                  </a:lnTo>
                  <a:lnTo>
                    <a:pt x="480" y="111"/>
                  </a:lnTo>
                  <a:lnTo>
                    <a:pt x="472" y="106"/>
                  </a:lnTo>
                  <a:lnTo>
                    <a:pt x="466" y="107"/>
                  </a:lnTo>
                  <a:lnTo>
                    <a:pt x="465" y="111"/>
                  </a:lnTo>
                  <a:lnTo>
                    <a:pt x="461" y="113"/>
                  </a:lnTo>
                  <a:lnTo>
                    <a:pt x="460" y="109"/>
                  </a:lnTo>
                  <a:lnTo>
                    <a:pt x="461" y="111"/>
                  </a:lnTo>
                  <a:lnTo>
                    <a:pt x="463" y="109"/>
                  </a:lnTo>
                  <a:lnTo>
                    <a:pt x="465" y="111"/>
                  </a:lnTo>
                  <a:lnTo>
                    <a:pt x="466" y="106"/>
                  </a:lnTo>
                  <a:lnTo>
                    <a:pt x="470" y="106"/>
                  </a:lnTo>
                  <a:lnTo>
                    <a:pt x="470" y="102"/>
                  </a:lnTo>
                  <a:lnTo>
                    <a:pt x="472" y="102"/>
                  </a:lnTo>
                  <a:lnTo>
                    <a:pt x="473" y="99"/>
                  </a:lnTo>
                  <a:lnTo>
                    <a:pt x="472" y="97"/>
                  </a:lnTo>
                  <a:lnTo>
                    <a:pt x="468" y="97"/>
                  </a:lnTo>
                  <a:lnTo>
                    <a:pt x="468" y="96"/>
                  </a:lnTo>
                  <a:lnTo>
                    <a:pt x="466" y="97"/>
                  </a:lnTo>
                  <a:lnTo>
                    <a:pt x="466" y="94"/>
                  </a:lnTo>
                  <a:lnTo>
                    <a:pt x="468" y="92"/>
                  </a:lnTo>
                  <a:lnTo>
                    <a:pt x="465" y="90"/>
                  </a:lnTo>
                  <a:lnTo>
                    <a:pt x="465" y="94"/>
                  </a:lnTo>
                  <a:lnTo>
                    <a:pt x="461" y="94"/>
                  </a:lnTo>
                  <a:lnTo>
                    <a:pt x="460" y="92"/>
                  </a:lnTo>
                  <a:lnTo>
                    <a:pt x="451" y="92"/>
                  </a:lnTo>
                  <a:lnTo>
                    <a:pt x="449" y="90"/>
                  </a:lnTo>
                  <a:lnTo>
                    <a:pt x="444" y="92"/>
                  </a:lnTo>
                  <a:lnTo>
                    <a:pt x="441" y="87"/>
                  </a:lnTo>
                  <a:lnTo>
                    <a:pt x="432" y="87"/>
                  </a:lnTo>
                  <a:lnTo>
                    <a:pt x="432" y="89"/>
                  </a:lnTo>
                  <a:lnTo>
                    <a:pt x="422" y="90"/>
                  </a:lnTo>
                  <a:lnTo>
                    <a:pt x="422" y="92"/>
                  </a:lnTo>
                  <a:lnTo>
                    <a:pt x="419" y="96"/>
                  </a:lnTo>
                  <a:lnTo>
                    <a:pt x="412" y="96"/>
                  </a:lnTo>
                  <a:lnTo>
                    <a:pt x="410" y="96"/>
                  </a:lnTo>
                  <a:lnTo>
                    <a:pt x="412" y="97"/>
                  </a:lnTo>
                  <a:lnTo>
                    <a:pt x="407" y="104"/>
                  </a:lnTo>
                  <a:lnTo>
                    <a:pt x="400" y="107"/>
                  </a:lnTo>
                  <a:lnTo>
                    <a:pt x="396" y="113"/>
                  </a:lnTo>
                  <a:lnTo>
                    <a:pt x="395" y="113"/>
                  </a:lnTo>
                  <a:lnTo>
                    <a:pt x="384" y="118"/>
                  </a:lnTo>
                  <a:lnTo>
                    <a:pt x="381" y="121"/>
                  </a:lnTo>
                  <a:lnTo>
                    <a:pt x="376" y="123"/>
                  </a:lnTo>
                  <a:lnTo>
                    <a:pt x="373" y="126"/>
                  </a:lnTo>
                  <a:lnTo>
                    <a:pt x="366" y="128"/>
                  </a:lnTo>
                  <a:lnTo>
                    <a:pt x="366" y="130"/>
                  </a:lnTo>
                  <a:lnTo>
                    <a:pt x="367" y="131"/>
                  </a:lnTo>
                  <a:lnTo>
                    <a:pt x="369" y="138"/>
                  </a:lnTo>
                  <a:lnTo>
                    <a:pt x="373" y="140"/>
                  </a:lnTo>
                  <a:lnTo>
                    <a:pt x="374" y="143"/>
                  </a:lnTo>
                  <a:lnTo>
                    <a:pt x="373" y="152"/>
                  </a:lnTo>
                  <a:lnTo>
                    <a:pt x="378" y="154"/>
                  </a:lnTo>
                  <a:lnTo>
                    <a:pt x="384" y="157"/>
                  </a:lnTo>
                  <a:lnTo>
                    <a:pt x="388" y="157"/>
                  </a:lnTo>
                  <a:lnTo>
                    <a:pt x="390" y="164"/>
                  </a:lnTo>
                  <a:lnTo>
                    <a:pt x="391" y="164"/>
                  </a:lnTo>
                  <a:lnTo>
                    <a:pt x="391" y="162"/>
                  </a:lnTo>
                  <a:lnTo>
                    <a:pt x="393" y="166"/>
                  </a:lnTo>
                  <a:lnTo>
                    <a:pt x="390" y="167"/>
                  </a:lnTo>
                  <a:lnTo>
                    <a:pt x="391" y="169"/>
                  </a:lnTo>
                  <a:lnTo>
                    <a:pt x="390" y="171"/>
                  </a:lnTo>
                  <a:lnTo>
                    <a:pt x="391" y="174"/>
                  </a:lnTo>
                  <a:lnTo>
                    <a:pt x="390" y="177"/>
                  </a:lnTo>
                  <a:lnTo>
                    <a:pt x="391" y="184"/>
                  </a:lnTo>
                  <a:lnTo>
                    <a:pt x="390" y="186"/>
                  </a:lnTo>
                  <a:lnTo>
                    <a:pt x="388" y="193"/>
                  </a:lnTo>
                  <a:lnTo>
                    <a:pt x="391" y="201"/>
                  </a:lnTo>
                  <a:lnTo>
                    <a:pt x="393" y="207"/>
                  </a:lnTo>
                  <a:lnTo>
                    <a:pt x="391" y="213"/>
                  </a:lnTo>
                  <a:lnTo>
                    <a:pt x="395" y="215"/>
                  </a:lnTo>
                  <a:lnTo>
                    <a:pt x="395" y="222"/>
                  </a:lnTo>
                  <a:lnTo>
                    <a:pt x="390" y="227"/>
                  </a:lnTo>
                  <a:lnTo>
                    <a:pt x="386" y="234"/>
                  </a:lnTo>
                  <a:lnTo>
                    <a:pt x="384" y="236"/>
                  </a:lnTo>
                  <a:lnTo>
                    <a:pt x="383" y="246"/>
                  </a:lnTo>
                  <a:lnTo>
                    <a:pt x="384" y="249"/>
                  </a:lnTo>
                  <a:lnTo>
                    <a:pt x="383" y="253"/>
                  </a:lnTo>
                  <a:lnTo>
                    <a:pt x="384" y="256"/>
                  </a:lnTo>
                  <a:lnTo>
                    <a:pt x="384" y="261"/>
                  </a:lnTo>
                  <a:lnTo>
                    <a:pt x="381" y="265"/>
                  </a:lnTo>
                  <a:lnTo>
                    <a:pt x="388" y="273"/>
                  </a:lnTo>
                  <a:lnTo>
                    <a:pt x="386" y="280"/>
                  </a:lnTo>
                  <a:lnTo>
                    <a:pt x="384" y="289"/>
                  </a:lnTo>
                  <a:lnTo>
                    <a:pt x="388" y="292"/>
                  </a:lnTo>
                  <a:lnTo>
                    <a:pt x="386" y="297"/>
                  </a:lnTo>
                  <a:lnTo>
                    <a:pt x="384" y="297"/>
                  </a:lnTo>
                  <a:lnTo>
                    <a:pt x="383" y="304"/>
                  </a:lnTo>
                  <a:lnTo>
                    <a:pt x="390" y="311"/>
                  </a:lnTo>
                  <a:lnTo>
                    <a:pt x="386" y="314"/>
                  </a:lnTo>
                  <a:lnTo>
                    <a:pt x="388" y="316"/>
                  </a:lnTo>
                  <a:lnTo>
                    <a:pt x="390" y="324"/>
                  </a:lnTo>
                  <a:lnTo>
                    <a:pt x="396" y="331"/>
                  </a:lnTo>
                  <a:lnTo>
                    <a:pt x="390" y="338"/>
                  </a:lnTo>
                  <a:lnTo>
                    <a:pt x="390" y="343"/>
                  </a:lnTo>
                  <a:lnTo>
                    <a:pt x="386" y="350"/>
                  </a:lnTo>
                  <a:lnTo>
                    <a:pt x="388" y="353"/>
                  </a:lnTo>
                  <a:lnTo>
                    <a:pt x="381" y="353"/>
                  </a:lnTo>
                  <a:lnTo>
                    <a:pt x="378" y="359"/>
                  </a:lnTo>
                  <a:lnTo>
                    <a:pt x="378" y="362"/>
                  </a:lnTo>
                  <a:lnTo>
                    <a:pt x="376" y="364"/>
                  </a:lnTo>
                  <a:lnTo>
                    <a:pt x="378" y="365"/>
                  </a:lnTo>
                  <a:lnTo>
                    <a:pt x="376" y="367"/>
                  </a:lnTo>
                  <a:lnTo>
                    <a:pt x="378" y="372"/>
                  </a:lnTo>
                  <a:lnTo>
                    <a:pt x="376" y="377"/>
                  </a:lnTo>
                  <a:lnTo>
                    <a:pt x="378" y="379"/>
                  </a:lnTo>
                  <a:lnTo>
                    <a:pt x="376" y="386"/>
                  </a:lnTo>
                  <a:lnTo>
                    <a:pt x="374" y="386"/>
                  </a:lnTo>
                  <a:lnTo>
                    <a:pt x="376" y="386"/>
                  </a:lnTo>
                  <a:lnTo>
                    <a:pt x="374" y="389"/>
                  </a:lnTo>
                  <a:lnTo>
                    <a:pt x="378" y="398"/>
                  </a:lnTo>
                  <a:lnTo>
                    <a:pt x="381" y="406"/>
                  </a:lnTo>
                  <a:lnTo>
                    <a:pt x="384" y="410"/>
                  </a:lnTo>
                  <a:lnTo>
                    <a:pt x="384" y="411"/>
                  </a:lnTo>
                  <a:lnTo>
                    <a:pt x="390" y="413"/>
                  </a:lnTo>
                  <a:lnTo>
                    <a:pt x="390" y="418"/>
                  </a:lnTo>
                  <a:lnTo>
                    <a:pt x="393" y="427"/>
                  </a:lnTo>
                  <a:lnTo>
                    <a:pt x="391" y="429"/>
                  </a:lnTo>
                  <a:lnTo>
                    <a:pt x="395" y="430"/>
                  </a:lnTo>
                  <a:lnTo>
                    <a:pt x="395" y="439"/>
                  </a:lnTo>
                  <a:lnTo>
                    <a:pt x="396" y="447"/>
                  </a:lnTo>
                  <a:lnTo>
                    <a:pt x="388" y="442"/>
                  </a:lnTo>
                  <a:lnTo>
                    <a:pt x="383" y="435"/>
                  </a:lnTo>
                  <a:lnTo>
                    <a:pt x="379" y="434"/>
                  </a:lnTo>
                  <a:lnTo>
                    <a:pt x="374" y="437"/>
                  </a:lnTo>
                  <a:lnTo>
                    <a:pt x="367" y="437"/>
                  </a:lnTo>
                  <a:lnTo>
                    <a:pt x="364" y="441"/>
                  </a:lnTo>
                  <a:lnTo>
                    <a:pt x="355" y="444"/>
                  </a:lnTo>
                  <a:lnTo>
                    <a:pt x="347" y="442"/>
                  </a:lnTo>
                  <a:lnTo>
                    <a:pt x="342" y="441"/>
                  </a:lnTo>
                  <a:lnTo>
                    <a:pt x="333" y="437"/>
                  </a:lnTo>
                  <a:lnTo>
                    <a:pt x="332" y="439"/>
                  </a:lnTo>
                  <a:lnTo>
                    <a:pt x="325" y="446"/>
                  </a:lnTo>
                  <a:lnTo>
                    <a:pt x="323" y="449"/>
                  </a:lnTo>
                  <a:lnTo>
                    <a:pt x="321" y="449"/>
                  </a:lnTo>
                  <a:lnTo>
                    <a:pt x="321" y="451"/>
                  </a:lnTo>
                  <a:lnTo>
                    <a:pt x="320" y="452"/>
                  </a:lnTo>
                  <a:lnTo>
                    <a:pt x="321" y="452"/>
                  </a:lnTo>
                  <a:lnTo>
                    <a:pt x="323" y="451"/>
                  </a:lnTo>
                  <a:lnTo>
                    <a:pt x="321" y="452"/>
                  </a:lnTo>
                  <a:lnTo>
                    <a:pt x="316" y="456"/>
                  </a:lnTo>
                  <a:lnTo>
                    <a:pt x="306" y="458"/>
                  </a:lnTo>
                  <a:lnTo>
                    <a:pt x="297" y="454"/>
                  </a:lnTo>
                  <a:lnTo>
                    <a:pt x="297" y="452"/>
                  </a:lnTo>
                  <a:lnTo>
                    <a:pt x="299" y="449"/>
                  </a:lnTo>
                  <a:lnTo>
                    <a:pt x="294" y="446"/>
                  </a:lnTo>
                  <a:lnTo>
                    <a:pt x="291" y="446"/>
                  </a:lnTo>
                  <a:lnTo>
                    <a:pt x="291" y="451"/>
                  </a:lnTo>
                  <a:lnTo>
                    <a:pt x="287" y="451"/>
                  </a:lnTo>
                  <a:lnTo>
                    <a:pt x="285" y="449"/>
                  </a:lnTo>
                  <a:lnTo>
                    <a:pt x="287" y="444"/>
                  </a:lnTo>
                  <a:lnTo>
                    <a:pt x="282" y="441"/>
                  </a:lnTo>
                  <a:lnTo>
                    <a:pt x="284" y="437"/>
                  </a:lnTo>
                  <a:lnTo>
                    <a:pt x="282" y="439"/>
                  </a:lnTo>
                  <a:lnTo>
                    <a:pt x="279" y="439"/>
                  </a:lnTo>
                  <a:lnTo>
                    <a:pt x="275" y="442"/>
                  </a:lnTo>
                  <a:lnTo>
                    <a:pt x="279" y="444"/>
                  </a:lnTo>
                  <a:lnTo>
                    <a:pt x="279" y="442"/>
                  </a:lnTo>
                  <a:lnTo>
                    <a:pt x="279" y="446"/>
                  </a:lnTo>
                  <a:lnTo>
                    <a:pt x="277" y="446"/>
                  </a:lnTo>
                  <a:lnTo>
                    <a:pt x="272" y="442"/>
                  </a:lnTo>
                  <a:lnTo>
                    <a:pt x="272" y="439"/>
                  </a:lnTo>
                  <a:lnTo>
                    <a:pt x="274" y="437"/>
                  </a:lnTo>
                  <a:lnTo>
                    <a:pt x="270" y="432"/>
                  </a:lnTo>
                  <a:lnTo>
                    <a:pt x="272" y="430"/>
                  </a:lnTo>
                  <a:lnTo>
                    <a:pt x="272" y="429"/>
                  </a:lnTo>
                  <a:lnTo>
                    <a:pt x="270" y="432"/>
                  </a:lnTo>
                  <a:lnTo>
                    <a:pt x="265" y="423"/>
                  </a:lnTo>
                  <a:lnTo>
                    <a:pt x="265" y="415"/>
                  </a:lnTo>
                  <a:lnTo>
                    <a:pt x="263" y="411"/>
                  </a:lnTo>
                  <a:lnTo>
                    <a:pt x="267" y="405"/>
                  </a:lnTo>
                  <a:lnTo>
                    <a:pt x="267" y="396"/>
                  </a:lnTo>
                  <a:lnTo>
                    <a:pt x="270" y="396"/>
                  </a:lnTo>
                  <a:lnTo>
                    <a:pt x="267" y="396"/>
                  </a:lnTo>
                  <a:lnTo>
                    <a:pt x="268" y="393"/>
                  </a:lnTo>
                  <a:lnTo>
                    <a:pt x="270" y="391"/>
                  </a:lnTo>
                  <a:lnTo>
                    <a:pt x="270" y="386"/>
                  </a:lnTo>
                  <a:lnTo>
                    <a:pt x="275" y="386"/>
                  </a:lnTo>
                  <a:lnTo>
                    <a:pt x="275" y="382"/>
                  </a:lnTo>
                  <a:lnTo>
                    <a:pt x="279" y="379"/>
                  </a:lnTo>
                  <a:lnTo>
                    <a:pt x="277" y="376"/>
                  </a:lnTo>
                  <a:lnTo>
                    <a:pt x="279" y="372"/>
                  </a:lnTo>
                  <a:lnTo>
                    <a:pt x="284" y="364"/>
                  </a:lnTo>
                  <a:lnTo>
                    <a:pt x="282" y="360"/>
                  </a:lnTo>
                  <a:lnTo>
                    <a:pt x="284" y="359"/>
                  </a:lnTo>
                  <a:lnTo>
                    <a:pt x="282" y="355"/>
                  </a:lnTo>
                  <a:lnTo>
                    <a:pt x="280" y="345"/>
                  </a:lnTo>
                  <a:lnTo>
                    <a:pt x="279" y="343"/>
                  </a:lnTo>
                  <a:lnTo>
                    <a:pt x="284" y="338"/>
                  </a:lnTo>
                  <a:lnTo>
                    <a:pt x="284" y="333"/>
                  </a:lnTo>
                  <a:lnTo>
                    <a:pt x="287" y="331"/>
                  </a:lnTo>
                  <a:lnTo>
                    <a:pt x="287" y="330"/>
                  </a:lnTo>
                  <a:lnTo>
                    <a:pt x="294" y="321"/>
                  </a:lnTo>
                  <a:lnTo>
                    <a:pt x="291" y="316"/>
                  </a:lnTo>
                  <a:lnTo>
                    <a:pt x="294" y="307"/>
                  </a:lnTo>
                  <a:lnTo>
                    <a:pt x="294" y="302"/>
                  </a:lnTo>
                  <a:lnTo>
                    <a:pt x="297" y="297"/>
                  </a:lnTo>
                  <a:lnTo>
                    <a:pt x="296" y="294"/>
                  </a:lnTo>
                  <a:lnTo>
                    <a:pt x="299" y="289"/>
                  </a:lnTo>
                  <a:lnTo>
                    <a:pt x="292" y="282"/>
                  </a:lnTo>
                  <a:lnTo>
                    <a:pt x="297" y="282"/>
                  </a:lnTo>
                  <a:lnTo>
                    <a:pt x="296" y="277"/>
                  </a:lnTo>
                  <a:lnTo>
                    <a:pt x="299" y="273"/>
                  </a:lnTo>
                  <a:lnTo>
                    <a:pt x="296" y="270"/>
                  </a:lnTo>
                  <a:lnTo>
                    <a:pt x="296" y="266"/>
                  </a:lnTo>
                  <a:lnTo>
                    <a:pt x="294" y="265"/>
                  </a:lnTo>
                  <a:lnTo>
                    <a:pt x="297" y="258"/>
                  </a:lnTo>
                  <a:lnTo>
                    <a:pt x="296" y="253"/>
                  </a:lnTo>
                  <a:lnTo>
                    <a:pt x="297" y="249"/>
                  </a:lnTo>
                  <a:lnTo>
                    <a:pt x="296" y="251"/>
                  </a:lnTo>
                  <a:lnTo>
                    <a:pt x="292" y="249"/>
                  </a:lnTo>
                  <a:lnTo>
                    <a:pt x="292" y="253"/>
                  </a:lnTo>
                  <a:lnTo>
                    <a:pt x="296" y="253"/>
                  </a:lnTo>
                  <a:lnTo>
                    <a:pt x="292" y="256"/>
                  </a:lnTo>
                  <a:lnTo>
                    <a:pt x="294" y="258"/>
                  </a:lnTo>
                  <a:lnTo>
                    <a:pt x="292" y="258"/>
                  </a:lnTo>
                  <a:lnTo>
                    <a:pt x="292" y="256"/>
                  </a:lnTo>
                  <a:lnTo>
                    <a:pt x="291" y="246"/>
                  </a:lnTo>
                  <a:lnTo>
                    <a:pt x="285" y="241"/>
                  </a:lnTo>
                  <a:lnTo>
                    <a:pt x="282" y="230"/>
                  </a:lnTo>
                  <a:lnTo>
                    <a:pt x="280" y="224"/>
                  </a:lnTo>
                  <a:lnTo>
                    <a:pt x="277" y="218"/>
                  </a:lnTo>
                  <a:lnTo>
                    <a:pt x="277" y="215"/>
                  </a:lnTo>
                  <a:lnTo>
                    <a:pt x="279" y="217"/>
                  </a:lnTo>
                  <a:lnTo>
                    <a:pt x="280" y="218"/>
                  </a:lnTo>
                  <a:lnTo>
                    <a:pt x="282" y="215"/>
                  </a:lnTo>
                  <a:lnTo>
                    <a:pt x="279" y="215"/>
                  </a:lnTo>
                  <a:lnTo>
                    <a:pt x="280" y="212"/>
                  </a:lnTo>
                  <a:lnTo>
                    <a:pt x="277" y="210"/>
                  </a:lnTo>
                  <a:lnTo>
                    <a:pt x="284" y="205"/>
                  </a:lnTo>
                  <a:lnTo>
                    <a:pt x="284" y="201"/>
                  </a:lnTo>
                  <a:lnTo>
                    <a:pt x="279" y="193"/>
                  </a:lnTo>
                  <a:lnTo>
                    <a:pt x="282" y="189"/>
                  </a:lnTo>
                  <a:lnTo>
                    <a:pt x="279" y="188"/>
                  </a:lnTo>
                  <a:lnTo>
                    <a:pt x="279" y="177"/>
                  </a:lnTo>
                  <a:lnTo>
                    <a:pt x="274" y="174"/>
                  </a:lnTo>
                  <a:lnTo>
                    <a:pt x="275" y="172"/>
                  </a:lnTo>
                  <a:lnTo>
                    <a:pt x="275" y="171"/>
                  </a:lnTo>
                  <a:lnTo>
                    <a:pt x="275" y="166"/>
                  </a:lnTo>
                  <a:lnTo>
                    <a:pt x="267" y="159"/>
                  </a:lnTo>
                  <a:lnTo>
                    <a:pt x="267" y="157"/>
                  </a:lnTo>
                  <a:lnTo>
                    <a:pt x="270" y="157"/>
                  </a:lnTo>
                  <a:lnTo>
                    <a:pt x="274" y="154"/>
                  </a:lnTo>
                  <a:lnTo>
                    <a:pt x="279" y="155"/>
                  </a:lnTo>
                  <a:lnTo>
                    <a:pt x="284" y="154"/>
                  </a:lnTo>
                  <a:lnTo>
                    <a:pt x="287" y="150"/>
                  </a:lnTo>
                  <a:lnTo>
                    <a:pt x="296" y="147"/>
                  </a:lnTo>
                  <a:lnTo>
                    <a:pt x="299" y="148"/>
                  </a:lnTo>
                  <a:lnTo>
                    <a:pt x="297" y="142"/>
                  </a:lnTo>
                  <a:lnTo>
                    <a:pt x="292" y="137"/>
                  </a:lnTo>
                  <a:lnTo>
                    <a:pt x="291" y="131"/>
                  </a:lnTo>
                  <a:lnTo>
                    <a:pt x="292" y="128"/>
                  </a:lnTo>
                  <a:lnTo>
                    <a:pt x="289" y="121"/>
                  </a:lnTo>
                  <a:lnTo>
                    <a:pt x="291" y="118"/>
                  </a:lnTo>
                  <a:lnTo>
                    <a:pt x="291" y="111"/>
                  </a:lnTo>
                  <a:lnTo>
                    <a:pt x="292" y="104"/>
                  </a:lnTo>
                  <a:lnTo>
                    <a:pt x="296" y="102"/>
                  </a:lnTo>
                  <a:lnTo>
                    <a:pt x="297" y="104"/>
                  </a:lnTo>
                  <a:lnTo>
                    <a:pt x="304" y="104"/>
                  </a:lnTo>
                  <a:lnTo>
                    <a:pt x="313" y="99"/>
                  </a:lnTo>
                  <a:lnTo>
                    <a:pt x="313" y="94"/>
                  </a:lnTo>
                  <a:lnTo>
                    <a:pt x="318" y="90"/>
                  </a:lnTo>
                  <a:lnTo>
                    <a:pt x="315" y="87"/>
                  </a:lnTo>
                  <a:lnTo>
                    <a:pt x="308" y="82"/>
                  </a:lnTo>
                  <a:lnTo>
                    <a:pt x="311" y="73"/>
                  </a:lnTo>
                  <a:lnTo>
                    <a:pt x="306" y="68"/>
                  </a:lnTo>
                  <a:lnTo>
                    <a:pt x="309" y="61"/>
                  </a:lnTo>
                  <a:lnTo>
                    <a:pt x="306" y="53"/>
                  </a:lnTo>
                  <a:lnTo>
                    <a:pt x="304" y="55"/>
                  </a:lnTo>
                  <a:lnTo>
                    <a:pt x="297" y="49"/>
                  </a:lnTo>
                  <a:lnTo>
                    <a:pt x="297" y="43"/>
                  </a:lnTo>
                  <a:lnTo>
                    <a:pt x="308" y="37"/>
                  </a:lnTo>
                  <a:lnTo>
                    <a:pt x="315" y="31"/>
                  </a:lnTo>
                  <a:lnTo>
                    <a:pt x="315" y="27"/>
                  </a:lnTo>
                  <a:lnTo>
                    <a:pt x="320" y="27"/>
                  </a:lnTo>
                  <a:lnTo>
                    <a:pt x="321" y="20"/>
                  </a:lnTo>
                  <a:lnTo>
                    <a:pt x="326" y="15"/>
                  </a:lnTo>
                  <a:lnTo>
                    <a:pt x="332" y="20"/>
                  </a:lnTo>
                  <a:lnTo>
                    <a:pt x="333" y="17"/>
                  </a:lnTo>
                  <a:lnTo>
                    <a:pt x="337" y="17"/>
                  </a:lnTo>
                  <a:lnTo>
                    <a:pt x="340" y="10"/>
                  </a:lnTo>
                  <a:lnTo>
                    <a:pt x="344" y="8"/>
                  </a:lnTo>
                  <a:lnTo>
                    <a:pt x="349" y="12"/>
                  </a:lnTo>
                  <a:lnTo>
                    <a:pt x="355" y="12"/>
                  </a:lnTo>
                  <a:lnTo>
                    <a:pt x="357" y="15"/>
                  </a:lnTo>
                  <a:lnTo>
                    <a:pt x="362" y="17"/>
                  </a:lnTo>
                  <a:lnTo>
                    <a:pt x="369" y="17"/>
                  </a:lnTo>
                  <a:lnTo>
                    <a:pt x="373" y="15"/>
                  </a:lnTo>
                  <a:lnTo>
                    <a:pt x="378" y="19"/>
                  </a:lnTo>
                  <a:lnTo>
                    <a:pt x="383" y="19"/>
                  </a:lnTo>
                  <a:lnTo>
                    <a:pt x="386" y="17"/>
                  </a:lnTo>
                  <a:lnTo>
                    <a:pt x="386" y="12"/>
                  </a:lnTo>
                  <a:lnTo>
                    <a:pt x="388" y="7"/>
                  </a:lnTo>
                  <a:lnTo>
                    <a:pt x="390" y="0"/>
                  </a:lnTo>
                  <a:lnTo>
                    <a:pt x="391" y="0"/>
                  </a:lnTo>
                  <a:lnTo>
                    <a:pt x="398" y="7"/>
                  </a:lnTo>
                  <a:lnTo>
                    <a:pt x="400" y="14"/>
                  </a:lnTo>
                  <a:lnTo>
                    <a:pt x="405" y="19"/>
                  </a:lnTo>
                  <a:lnTo>
                    <a:pt x="408" y="20"/>
                  </a:lnTo>
                  <a:lnTo>
                    <a:pt x="410" y="24"/>
                  </a:lnTo>
                  <a:lnTo>
                    <a:pt x="414" y="27"/>
                  </a:lnTo>
                  <a:lnTo>
                    <a:pt x="414" y="29"/>
                  </a:lnTo>
                  <a:lnTo>
                    <a:pt x="415" y="29"/>
                  </a:lnTo>
                  <a:lnTo>
                    <a:pt x="417" y="32"/>
                  </a:lnTo>
                  <a:lnTo>
                    <a:pt x="422" y="34"/>
                  </a:lnTo>
                  <a:lnTo>
                    <a:pt x="425" y="37"/>
                  </a:lnTo>
                  <a:lnTo>
                    <a:pt x="429" y="39"/>
                  </a:lnTo>
                  <a:lnTo>
                    <a:pt x="432" y="43"/>
                  </a:lnTo>
                  <a:lnTo>
                    <a:pt x="441" y="39"/>
                  </a:lnTo>
                  <a:lnTo>
                    <a:pt x="446" y="39"/>
                  </a:lnTo>
                  <a:lnTo>
                    <a:pt x="448" y="39"/>
                  </a:lnTo>
                  <a:lnTo>
                    <a:pt x="456" y="41"/>
                  </a:lnTo>
                  <a:lnTo>
                    <a:pt x="460" y="41"/>
                  </a:lnTo>
                  <a:lnTo>
                    <a:pt x="466" y="46"/>
                  </a:lnTo>
                  <a:lnTo>
                    <a:pt x="473" y="44"/>
                  </a:lnTo>
                  <a:lnTo>
                    <a:pt x="480" y="51"/>
                  </a:lnTo>
                  <a:lnTo>
                    <a:pt x="482" y="56"/>
                  </a:lnTo>
                  <a:lnTo>
                    <a:pt x="485" y="58"/>
                  </a:lnTo>
                  <a:lnTo>
                    <a:pt x="490" y="56"/>
                  </a:lnTo>
                  <a:lnTo>
                    <a:pt x="495" y="58"/>
                  </a:lnTo>
                  <a:lnTo>
                    <a:pt x="501" y="60"/>
                  </a:lnTo>
                  <a:lnTo>
                    <a:pt x="509" y="61"/>
                  </a:lnTo>
                  <a:lnTo>
                    <a:pt x="516" y="61"/>
                  </a:lnTo>
                  <a:lnTo>
                    <a:pt x="521" y="65"/>
                  </a:lnTo>
                  <a:lnTo>
                    <a:pt x="523" y="68"/>
                  </a:lnTo>
                  <a:lnTo>
                    <a:pt x="524" y="66"/>
                  </a:lnTo>
                  <a:lnTo>
                    <a:pt x="530" y="72"/>
                  </a:lnTo>
                  <a:lnTo>
                    <a:pt x="536" y="72"/>
                  </a:lnTo>
                  <a:lnTo>
                    <a:pt x="540" y="78"/>
                  </a:lnTo>
                  <a:lnTo>
                    <a:pt x="547" y="77"/>
                  </a:lnTo>
                  <a:lnTo>
                    <a:pt x="550" y="84"/>
                  </a:lnTo>
                  <a:lnTo>
                    <a:pt x="555" y="87"/>
                  </a:lnTo>
                  <a:lnTo>
                    <a:pt x="557" y="94"/>
                  </a:lnTo>
                  <a:lnTo>
                    <a:pt x="553" y="97"/>
                  </a:lnTo>
                  <a:lnTo>
                    <a:pt x="552" y="104"/>
                  </a:lnTo>
                  <a:lnTo>
                    <a:pt x="548" y="104"/>
                  </a:lnTo>
                  <a:lnTo>
                    <a:pt x="548" y="109"/>
                  </a:lnTo>
                  <a:lnTo>
                    <a:pt x="542" y="114"/>
                  </a:lnTo>
                  <a:lnTo>
                    <a:pt x="545" y="118"/>
                  </a:lnTo>
                  <a:lnTo>
                    <a:pt x="543" y="119"/>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0" name="Freeform 68"/>
            <p:cNvSpPr>
              <a:spLocks noEditPoints="1"/>
            </p:cNvSpPr>
            <p:nvPr/>
          </p:nvSpPr>
          <p:spPr bwMode="gray">
            <a:xfrm>
              <a:off x="5101821" y="3441104"/>
              <a:ext cx="485233" cy="793520"/>
            </a:xfrm>
            <a:custGeom>
              <a:avLst/>
              <a:gdLst>
                <a:gd name="T0" fmla="*/ 181 w 266"/>
                <a:gd name="T1" fmla="*/ 417 h 435"/>
                <a:gd name="T2" fmla="*/ 164 w 266"/>
                <a:gd name="T3" fmla="*/ 410 h 435"/>
                <a:gd name="T4" fmla="*/ 220 w 266"/>
                <a:gd name="T5" fmla="*/ 328 h 435"/>
                <a:gd name="T6" fmla="*/ 237 w 266"/>
                <a:gd name="T7" fmla="*/ 302 h 435"/>
                <a:gd name="T8" fmla="*/ 202 w 266"/>
                <a:gd name="T9" fmla="*/ 258 h 435"/>
                <a:gd name="T10" fmla="*/ 248 w 266"/>
                <a:gd name="T11" fmla="*/ 266 h 435"/>
                <a:gd name="T12" fmla="*/ 241 w 266"/>
                <a:gd name="T13" fmla="*/ 271 h 435"/>
                <a:gd name="T14" fmla="*/ 203 w 266"/>
                <a:gd name="T15" fmla="*/ 247 h 435"/>
                <a:gd name="T16" fmla="*/ 232 w 266"/>
                <a:gd name="T17" fmla="*/ 229 h 435"/>
                <a:gd name="T18" fmla="*/ 232 w 266"/>
                <a:gd name="T19" fmla="*/ 266 h 435"/>
                <a:gd name="T20" fmla="*/ 239 w 266"/>
                <a:gd name="T21" fmla="*/ 290 h 435"/>
                <a:gd name="T22" fmla="*/ 236 w 266"/>
                <a:gd name="T23" fmla="*/ 312 h 435"/>
                <a:gd name="T24" fmla="*/ 212 w 266"/>
                <a:gd name="T25" fmla="*/ 328 h 435"/>
                <a:gd name="T26" fmla="*/ 205 w 266"/>
                <a:gd name="T27" fmla="*/ 326 h 435"/>
                <a:gd name="T28" fmla="*/ 208 w 266"/>
                <a:gd name="T29" fmla="*/ 302 h 435"/>
                <a:gd name="T30" fmla="*/ 203 w 266"/>
                <a:gd name="T31" fmla="*/ 261 h 435"/>
                <a:gd name="T32" fmla="*/ 213 w 266"/>
                <a:gd name="T33" fmla="*/ 239 h 435"/>
                <a:gd name="T34" fmla="*/ 266 w 266"/>
                <a:gd name="T35" fmla="*/ 131 h 435"/>
                <a:gd name="T36" fmla="*/ 251 w 266"/>
                <a:gd name="T37" fmla="*/ 143 h 435"/>
                <a:gd name="T38" fmla="*/ 239 w 266"/>
                <a:gd name="T39" fmla="*/ 152 h 435"/>
                <a:gd name="T40" fmla="*/ 243 w 266"/>
                <a:gd name="T41" fmla="*/ 148 h 435"/>
                <a:gd name="T42" fmla="*/ 243 w 266"/>
                <a:gd name="T43" fmla="*/ 188 h 435"/>
                <a:gd name="T44" fmla="*/ 222 w 266"/>
                <a:gd name="T45" fmla="*/ 193 h 435"/>
                <a:gd name="T46" fmla="*/ 219 w 266"/>
                <a:gd name="T47" fmla="*/ 184 h 435"/>
                <a:gd name="T48" fmla="*/ 213 w 266"/>
                <a:gd name="T49" fmla="*/ 188 h 435"/>
                <a:gd name="T50" fmla="*/ 208 w 266"/>
                <a:gd name="T51" fmla="*/ 201 h 435"/>
                <a:gd name="T52" fmla="*/ 215 w 266"/>
                <a:gd name="T53" fmla="*/ 200 h 435"/>
                <a:gd name="T54" fmla="*/ 232 w 266"/>
                <a:gd name="T55" fmla="*/ 218 h 435"/>
                <a:gd name="T56" fmla="*/ 208 w 266"/>
                <a:gd name="T57" fmla="*/ 224 h 435"/>
                <a:gd name="T58" fmla="*/ 208 w 266"/>
                <a:gd name="T59" fmla="*/ 241 h 435"/>
                <a:gd name="T60" fmla="*/ 198 w 266"/>
                <a:gd name="T61" fmla="*/ 271 h 435"/>
                <a:gd name="T62" fmla="*/ 159 w 266"/>
                <a:gd name="T63" fmla="*/ 292 h 435"/>
                <a:gd name="T64" fmla="*/ 111 w 266"/>
                <a:gd name="T65" fmla="*/ 311 h 435"/>
                <a:gd name="T66" fmla="*/ 82 w 266"/>
                <a:gd name="T67" fmla="*/ 324 h 435"/>
                <a:gd name="T68" fmla="*/ 50 w 266"/>
                <a:gd name="T69" fmla="*/ 341 h 435"/>
                <a:gd name="T70" fmla="*/ 33 w 266"/>
                <a:gd name="T71" fmla="*/ 309 h 435"/>
                <a:gd name="T72" fmla="*/ 21 w 266"/>
                <a:gd name="T73" fmla="*/ 268 h 435"/>
                <a:gd name="T74" fmla="*/ 4 w 266"/>
                <a:gd name="T75" fmla="*/ 258 h 435"/>
                <a:gd name="T76" fmla="*/ 12 w 266"/>
                <a:gd name="T77" fmla="*/ 224 h 435"/>
                <a:gd name="T78" fmla="*/ 27 w 266"/>
                <a:gd name="T79" fmla="*/ 188 h 435"/>
                <a:gd name="T80" fmla="*/ 55 w 266"/>
                <a:gd name="T81" fmla="*/ 164 h 435"/>
                <a:gd name="T82" fmla="*/ 84 w 266"/>
                <a:gd name="T83" fmla="*/ 126 h 435"/>
                <a:gd name="T84" fmla="*/ 114 w 266"/>
                <a:gd name="T85" fmla="*/ 111 h 435"/>
                <a:gd name="T86" fmla="*/ 128 w 266"/>
                <a:gd name="T87" fmla="*/ 78 h 435"/>
                <a:gd name="T88" fmla="*/ 130 w 266"/>
                <a:gd name="T89" fmla="*/ 70 h 435"/>
                <a:gd name="T90" fmla="*/ 118 w 266"/>
                <a:gd name="T91" fmla="*/ 63 h 435"/>
                <a:gd name="T92" fmla="*/ 126 w 266"/>
                <a:gd name="T93" fmla="*/ 24 h 435"/>
                <a:gd name="T94" fmla="*/ 149 w 266"/>
                <a:gd name="T95" fmla="*/ 10 h 435"/>
                <a:gd name="T96" fmla="*/ 164 w 266"/>
                <a:gd name="T97" fmla="*/ 14 h 435"/>
                <a:gd name="T98" fmla="*/ 157 w 266"/>
                <a:gd name="T99" fmla="*/ 36 h 435"/>
                <a:gd name="T100" fmla="*/ 167 w 266"/>
                <a:gd name="T101" fmla="*/ 60 h 435"/>
                <a:gd name="T102" fmla="*/ 169 w 266"/>
                <a:gd name="T103" fmla="*/ 82 h 435"/>
                <a:gd name="T104" fmla="*/ 176 w 266"/>
                <a:gd name="T105" fmla="*/ 106 h 435"/>
                <a:gd name="T106" fmla="*/ 186 w 266"/>
                <a:gd name="T107" fmla="*/ 123 h 435"/>
                <a:gd name="T108" fmla="*/ 237 w 266"/>
                <a:gd name="T109" fmla="*/ 12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435">
                  <a:moveTo>
                    <a:pt x="155" y="435"/>
                  </a:moveTo>
                  <a:lnTo>
                    <a:pt x="155" y="434"/>
                  </a:lnTo>
                  <a:lnTo>
                    <a:pt x="161" y="430"/>
                  </a:lnTo>
                  <a:lnTo>
                    <a:pt x="155" y="435"/>
                  </a:lnTo>
                  <a:close/>
                  <a:moveTo>
                    <a:pt x="181" y="413"/>
                  </a:moveTo>
                  <a:lnTo>
                    <a:pt x="179" y="417"/>
                  </a:lnTo>
                  <a:lnTo>
                    <a:pt x="181" y="417"/>
                  </a:lnTo>
                  <a:lnTo>
                    <a:pt x="179" y="418"/>
                  </a:lnTo>
                  <a:lnTo>
                    <a:pt x="174" y="422"/>
                  </a:lnTo>
                  <a:lnTo>
                    <a:pt x="171" y="423"/>
                  </a:lnTo>
                  <a:lnTo>
                    <a:pt x="174" y="418"/>
                  </a:lnTo>
                  <a:lnTo>
                    <a:pt x="181" y="413"/>
                  </a:lnTo>
                  <a:close/>
                  <a:moveTo>
                    <a:pt x="169" y="406"/>
                  </a:moveTo>
                  <a:lnTo>
                    <a:pt x="164" y="410"/>
                  </a:lnTo>
                  <a:lnTo>
                    <a:pt x="164" y="408"/>
                  </a:lnTo>
                  <a:lnTo>
                    <a:pt x="169" y="406"/>
                  </a:lnTo>
                  <a:close/>
                  <a:moveTo>
                    <a:pt x="205" y="331"/>
                  </a:moveTo>
                  <a:lnTo>
                    <a:pt x="205" y="335"/>
                  </a:lnTo>
                  <a:lnTo>
                    <a:pt x="205" y="331"/>
                  </a:lnTo>
                  <a:close/>
                  <a:moveTo>
                    <a:pt x="219" y="328"/>
                  </a:moveTo>
                  <a:lnTo>
                    <a:pt x="220" y="328"/>
                  </a:lnTo>
                  <a:lnTo>
                    <a:pt x="220" y="329"/>
                  </a:lnTo>
                  <a:lnTo>
                    <a:pt x="219" y="329"/>
                  </a:lnTo>
                  <a:lnTo>
                    <a:pt x="219" y="328"/>
                  </a:lnTo>
                  <a:close/>
                  <a:moveTo>
                    <a:pt x="237" y="302"/>
                  </a:moveTo>
                  <a:lnTo>
                    <a:pt x="234" y="304"/>
                  </a:lnTo>
                  <a:lnTo>
                    <a:pt x="237" y="300"/>
                  </a:lnTo>
                  <a:lnTo>
                    <a:pt x="237" y="302"/>
                  </a:lnTo>
                  <a:close/>
                  <a:moveTo>
                    <a:pt x="239" y="273"/>
                  </a:moveTo>
                  <a:lnTo>
                    <a:pt x="241" y="273"/>
                  </a:lnTo>
                  <a:lnTo>
                    <a:pt x="241" y="277"/>
                  </a:lnTo>
                  <a:lnTo>
                    <a:pt x="239" y="277"/>
                  </a:lnTo>
                  <a:lnTo>
                    <a:pt x="239" y="273"/>
                  </a:lnTo>
                  <a:close/>
                  <a:moveTo>
                    <a:pt x="203" y="253"/>
                  </a:moveTo>
                  <a:lnTo>
                    <a:pt x="202" y="258"/>
                  </a:lnTo>
                  <a:lnTo>
                    <a:pt x="202" y="256"/>
                  </a:lnTo>
                  <a:lnTo>
                    <a:pt x="203" y="253"/>
                  </a:lnTo>
                  <a:close/>
                  <a:moveTo>
                    <a:pt x="248" y="246"/>
                  </a:moveTo>
                  <a:lnTo>
                    <a:pt x="251" y="247"/>
                  </a:lnTo>
                  <a:lnTo>
                    <a:pt x="251" y="254"/>
                  </a:lnTo>
                  <a:lnTo>
                    <a:pt x="249" y="258"/>
                  </a:lnTo>
                  <a:lnTo>
                    <a:pt x="248" y="266"/>
                  </a:lnTo>
                  <a:lnTo>
                    <a:pt x="248" y="271"/>
                  </a:lnTo>
                  <a:lnTo>
                    <a:pt x="248" y="278"/>
                  </a:lnTo>
                  <a:lnTo>
                    <a:pt x="246" y="278"/>
                  </a:lnTo>
                  <a:lnTo>
                    <a:pt x="244" y="282"/>
                  </a:lnTo>
                  <a:lnTo>
                    <a:pt x="243" y="282"/>
                  </a:lnTo>
                  <a:lnTo>
                    <a:pt x="241" y="275"/>
                  </a:lnTo>
                  <a:lnTo>
                    <a:pt x="241" y="271"/>
                  </a:lnTo>
                  <a:lnTo>
                    <a:pt x="236" y="270"/>
                  </a:lnTo>
                  <a:lnTo>
                    <a:pt x="239" y="263"/>
                  </a:lnTo>
                  <a:lnTo>
                    <a:pt x="241" y="258"/>
                  </a:lnTo>
                  <a:lnTo>
                    <a:pt x="246" y="253"/>
                  </a:lnTo>
                  <a:lnTo>
                    <a:pt x="248" y="246"/>
                  </a:lnTo>
                  <a:close/>
                  <a:moveTo>
                    <a:pt x="203" y="251"/>
                  </a:moveTo>
                  <a:lnTo>
                    <a:pt x="203" y="247"/>
                  </a:lnTo>
                  <a:lnTo>
                    <a:pt x="205" y="246"/>
                  </a:lnTo>
                  <a:lnTo>
                    <a:pt x="203" y="251"/>
                  </a:lnTo>
                  <a:close/>
                  <a:moveTo>
                    <a:pt x="208" y="246"/>
                  </a:moveTo>
                  <a:lnTo>
                    <a:pt x="207" y="249"/>
                  </a:lnTo>
                  <a:lnTo>
                    <a:pt x="207" y="246"/>
                  </a:lnTo>
                  <a:lnTo>
                    <a:pt x="208" y="246"/>
                  </a:lnTo>
                  <a:close/>
                  <a:moveTo>
                    <a:pt x="232" y="229"/>
                  </a:moveTo>
                  <a:lnTo>
                    <a:pt x="232" y="232"/>
                  </a:lnTo>
                  <a:lnTo>
                    <a:pt x="231" y="242"/>
                  </a:lnTo>
                  <a:lnTo>
                    <a:pt x="229" y="247"/>
                  </a:lnTo>
                  <a:lnTo>
                    <a:pt x="236" y="256"/>
                  </a:lnTo>
                  <a:lnTo>
                    <a:pt x="237" y="259"/>
                  </a:lnTo>
                  <a:lnTo>
                    <a:pt x="236" y="263"/>
                  </a:lnTo>
                  <a:lnTo>
                    <a:pt x="232" y="266"/>
                  </a:lnTo>
                  <a:lnTo>
                    <a:pt x="232" y="270"/>
                  </a:lnTo>
                  <a:lnTo>
                    <a:pt x="236" y="273"/>
                  </a:lnTo>
                  <a:lnTo>
                    <a:pt x="234" y="277"/>
                  </a:lnTo>
                  <a:lnTo>
                    <a:pt x="236" y="280"/>
                  </a:lnTo>
                  <a:lnTo>
                    <a:pt x="236" y="288"/>
                  </a:lnTo>
                  <a:lnTo>
                    <a:pt x="237" y="290"/>
                  </a:lnTo>
                  <a:lnTo>
                    <a:pt x="239" y="290"/>
                  </a:lnTo>
                  <a:lnTo>
                    <a:pt x="237" y="295"/>
                  </a:lnTo>
                  <a:lnTo>
                    <a:pt x="232" y="299"/>
                  </a:lnTo>
                  <a:lnTo>
                    <a:pt x="232" y="300"/>
                  </a:lnTo>
                  <a:lnTo>
                    <a:pt x="234" y="306"/>
                  </a:lnTo>
                  <a:lnTo>
                    <a:pt x="237" y="306"/>
                  </a:lnTo>
                  <a:lnTo>
                    <a:pt x="236" y="309"/>
                  </a:lnTo>
                  <a:lnTo>
                    <a:pt x="236" y="312"/>
                  </a:lnTo>
                  <a:lnTo>
                    <a:pt x="232" y="312"/>
                  </a:lnTo>
                  <a:lnTo>
                    <a:pt x="229" y="316"/>
                  </a:lnTo>
                  <a:lnTo>
                    <a:pt x="224" y="318"/>
                  </a:lnTo>
                  <a:lnTo>
                    <a:pt x="224" y="321"/>
                  </a:lnTo>
                  <a:lnTo>
                    <a:pt x="220" y="323"/>
                  </a:lnTo>
                  <a:lnTo>
                    <a:pt x="215" y="328"/>
                  </a:lnTo>
                  <a:lnTo>
                    <a:pt x="212" y="328"/>
                  </a:lnTo>
                  <a:lnTo>
                    <a:pt x="210" y="333"/>
                  </a:lnTo>
                  <a:lnTo>
                    <a:pt x="210" y="331"/>
                  </a:lnTo>
                  <a:lnTo>
                    <a:pt x="208" y="331"/>
                  </a:lnTo>
                  <a:lnTo>
                    <a:pt x="210" y="329"/>
                  </a:lnTo>
                  <a:lnTo>
                    <a:pt x="207" y="328"/>
                  </a:lnTo>
                  <a:lnTo>
                    <a:pt x="205" y="329"/>
                  </a:lnTo>
                  <a:lnTo>
                    <a:pt x="205" y="326"/>
                  </a:lnTo>
                  <a:lnTo>
                    <a:pt x="203" y="326"/>
                  </a:lnTo>
                  <a:lnTo>
                    <a:pt x="205" y="324"/>
                  </a:lnTo>
                  <a:lnTo>
                    <a:pt x="208" y="314"/>
                  </a:lnTo>
                  <a:lnTo>
                    <a:pt x="208" y="312"/>
                  </a:lnTo>
                  <a:lnTo>
                    <a:pt x="205" y="311"/>
                  </a:lnTo>
                  <a:lnTo>
                    <a:pt x="207" y="306"/>
                  </a:lnTo>
                  <a:lnTo>
                    <a:pt x="208" y="302"/>
                  </a:lnTo>
                  <a:lnTo>
                    <a:pt x="205" y="294"/>
                  </a:lnTo>
                  <a:lnTo>
                    <a:pt x="202" y="290"/>
                  </a:lnTo>
                  <a:lnTo>
                    <a:pt x="200" y="285"/>
                  </a:lnTo>
                  <a:lnTo>
                    <a:pt x="200" y="280"/>
                  </a:lnTo>
                  <a:lnTo>
                    <a:pt x="203" y="273"/>
                  </a:lnTo>
                  <a:lnTo>
                    <a:pt x="205" y="268"/>
                  </a:lnTo>
                  <a:lnTo>
                    <a:pt x="203" y="261"/>
                  </a:lnTo>
                  <a:lnTo>
                    <a:pt x="207" y="256"/>
                  </a:lnTo>
                  <a:lnTo>
                    <a:pt x="208" y="253"/>
                  </a:lnTo>
                  <a:lnTo>
                    <a:pt x="212" y="246"/>
                  </a:lnTo>
                  <a:lnTo>
                    <a:pt x="212" y="244"/>
                  </a:lnTo>
                  <a:lnTo>
                    <a:pt x="213" y="244"/>
                  </a:lnTo>
                  <a:lnTo>
                    <a:pt x="212" y="244"/>
                  </a:lnTo>
                  <a:lnTo>
                    <a:pt x="213" y="239"/>
                  </a:lnTo>
                  <a:lnTo>
                    <a:pt x="215" y="239"/>
                  </a:lnTo>
                  <a:lnTo>
                    <a:pt x="217" y="239"/>
                  </a:lnTo>
                  <a:lnTo>
                    <a:pt x="220" y="236"/>
                  </a:lnTo>
                  <a:lnTo>
                    <a:pt x="227" y="230"/>
                  </a:lnTo>
                  <a:lnTo>
                    <a:pt x="229" y="229"/>
                  </a:lnTo>
                  <a:lnTo>
                    <a:pt x="232" y="229"/>
                  </a:lnTo>
                  <a:close/>
                  <a:moveTo>
                    <a:pt x="266" y="131"/>
                  </a:moveTo>
                  <a:lnTo>
                    <a:pt x="265" y="138"/>
                  </a:lnTo>
                  <a:lnTo>
                    <a:pt x="263" y="145"/>
                  </a:lnTo>
                  <a:lnTo>
                    <a:pt x="263" y="147"/>
                  </a:lnTo>
                  <a:lnTo>
                    <a:pt x="261" y="150"/>
                  </a:lnTo>
                  <a:lnTo>
                    <a:pt x="258" y="152"/>
                  </a:lnTo>
                  <a:lnTo>
                    <a:pt x="256" y="145"/>
                  </a:lnTo>
                  <a:lnTo>
                    <a:pt x="251" y="143"/>
                  </a:lnTo>
                  <a:lnTo>
                    <a:pt x="248" y="147"/>
                  </a:lnTo>
                  <a:lnTo>
                    <a:pt x="243" y="145"/>
                  </a:lnTo>
                  <a:lnTo>
                    <a:pt x="239" y="147"/>
                  </a:lnTo>
                  <a:lnTo>
                    <a:pt x="236" y="145"/>
                  </a:lnTo>
                  <a:lnTo>
                    <a:pt x="232" y="148"/>
                  </a:lnTo>
                  <a:lnTo>
                    <a:pt x="237" y="147"/>
                  </a:lnTo>
                  <a:lnTo>
                    <a:pt x="239" y="152"/>
                  </a:lnTo>
                  <a:lnTo>
                    <a:pt x="234" y="157"/>
                  </a:lnTo>
                  <a:lnTo>
                    <a:pt x="232" y="157"/>
                  </a:lnTo>
                  <a:lnTo>
                    <a:pt x="232" y="160"/>
                  </a:lnTo>
                  <a:lnTo>
                    <a:pt x="229" y="157"/>
                  </a:lnTo>
                  <a:lnTo>
                    <a:pt x="231" y="162"/>
                  </a:lnTo>
                  <a:lnTo>
                    <a:pt x="237" y="157"/>
                  </a:lnTo>
                  <a:lnTo>
                    <a:pt x="243" y="148"/>
                  </a:lnTo>
                  <a:lnTo>
                    <a:pt x="246" y="154"/>
                  </a:lnTo>
                  <a:lnTo>
                    <a:pt x="249" y="152"/>
                  </a:lnTo>
                  <a:lnTo>
                    <a:pt x="246" y="159"/>
                  </a:lnTo>
                  <a:lnTo>
                    <a:pt x="244" y="162"/>
                  </a:lnTo>
                  <a:lnTo>
                    <a:pt x="243" y="172"/>
                  </a:lnTo>
                  <a:lnTo>
                    <a:pt x="244" y="179"/>
                  </a:lnTo>
                  <a:lnTo>
                    <a:pt x="243" y="188"/>
                  </a:lnTo>
                  <a:lnTo>
                    <a:pt x="241" y="191"/>
                  </a:lnTo>
                  <a:lnTo>
                    <a:pt x="237" y="196"/>
                  </a:lnTo>
                  <a:lnTo>
                    <a:pt x="232" y="203"/>
                  </a:lnTo>
                  <a:lnTo>
                    <a:pt x="225" y="203"/>
                  </a:lnTo>
                  <a:lnTo>
                    <a:pt x="224" y="196"/>
                  </a:lnTo>
                  <a:lnTo>
                    <a:pt x="222" y="195"/>
                  </a:lnTo>
                  <a:lnTo>
                    <a:pt x="222" y="193"/>
                  </a:lnTo>
                  <a:lnTo>
                    <a:pt x="220" y="193"/>
                  </a:lnTo>
                  <a:lnTo>
                    <a:pt x="224" y="196"/>
                  </a:lnTo>
                  <a:lnTo>
                    <a:pt x="222" y="196"/>
                  </a:lnTo>
                  <a:lnTo>
                    <a:pt x="217" y="195"/>
                  </a:lnTo>
                  <a:lnTo>
                    <a:pt x="217" y="191"/>
                  </a:lnTo>
                  <a:lnTo>
                    <a:pt x="219" y="191"/>
                  </a:lnTo>
                  <a:lnTo>
                    <a:pt x="219" y="184"/>
                  </a:lnTo>
                  <a:lnTo>
                    <a:pt x="217" y="184"/>
                  </a:lnTo>
                  <a:lnTo>
                    <a:pt x="215" y="183"/>
                  </a:lnTo>
                  <a:lnTo>
                    <a:pt x="217" y="177"/>
                  </a:lnTo>
                  <a:lnTo>
                    <a:pt x="215" y="181"/>
                  </a:lnTo>
                  <a:lnTo>
                    <a:pt x="213" y="181"/>
                  </a:lnTo>
                  <a:lnTo>
                    <a:pt x="215" y="186"/>
                  </a:lnTo>
                  <a:lnTo>
                    <a:pt x="213" y="188"/>
                  </a:lnTo>
                  <a:lnTo>
                    <a:pt x="215" y="189"/>
                  </a:lnTo>
                  <a:lnTo>
                    <a:pt x="212" y="195"/>
                  </a:lnTo>
                  <a:lnTo>
                    <a:pt x="213" y="198"/>
                  </a:lnTo>
                  <a:lnTo>
                    <a:pt x="212" y="198"/>
                  </a:lnTo>
                  <a:lnTo>
                    <a:pt x="213" y="200"/>
                  </a:lnTo>
                  <a:lnTo>
                    <a:pt x="210" y="201"/>
                  </a:lnTo>
                  <a:lnTo>
                    <a:pt x="208" y="201"/>
                  </a:lnTo>
                  <a:lnTo>
                    <a:pt x="210" y="201"/>
                  </a:lnTo>
                  <a:lnTo>
                    <a:pt x="207" y="205"/>
                  </a:lnTo>
                  <a:lnTo>
                    <a:pt x="210" y="203"/>
                  </a:lnTo>
                  <a:lnTo>
                    <a:pt x="207" y="205"/>
                  </a:lnTo>
                  <a:lnTo>
                    <a:pt x="210" y="203"/>
                  </a:lnTo>
                  <a:lnTo>
                    <a:pt x="208" y="205"/>
                  </a:lnTo>
                  <a:lnTo>
                    <a:pt x="215" y="200"/>
                  </a:lnTo>
                  <a:lnTo>
                    <a:pt x="220" y="203"/>
                  </a:lnTo>
                  <a:lnTo>
                    <a:pt x="220" y="207"/>
                  </a:lnTo>
                  <a:lnTo>
                    <a:pt x="222" y="208"/>
                  </a:lnTo>
                  <a:lnTo>
                    <a:pt x="220" y="210"/>
                  </a:lnTo>
                  <a:lnTo>
                    <a:pt x="225" y="213"/>
                  </a:lnTo>
                  <a:lnTo>
                    <a:pt x="231" y="217"/>
                  </a:lnTo>
                  <a:lnTo>
                    <a:pt x="232" y="218"/>
                  </a:lnTo>
                  <a:lnTo>
                    <a:pt x="224" y="218"/>
                  </a:lnTo>
                  <a:lnTo>
                    <a:pt x="220" y="222"/>
                  </a:lnTo>
                  <a:lnTo>
                    <a:pt x="215" y="220"/>
                  </a:lnTo>
                  <a:lnTo>
                    <a:pt x="212" y="220"/>
                  </a:lnTo>
                  <a:lnTo>
                    <a:pt x="212" y="218"/>
                  </a:lnTo>
                  <a:lnTo>
                    <a:pt x="208" y="222"/>
                  </a:lnTo>
                  <a:lnTo>
                    <a:pt x="208" y="224"/>
                  </a:lnTo>
                  <a:lnTo>
                    <a:pt x="212" y="220"/>
                  </a:lnTo>
                  <a:lnTo>
                    <a:pt x="219" y="222"/>
                  </a:lnTo>
                  <a:lnTo>
                    <a:pt x="222" y="230"/>
                  </a:lnTo>
                  <a:lnTo>
                    <a:pt x="220" y="234"/>
                  </a:lnTo>
                  <a:lnTo>
                    <a:pt x="212" y="237"/>
                  </a:lnTo>
                  <a:lnTo>
                    <a:pt x="208" y="236"/>
                  </a:lnTo>
                  <a:lnTo>
                    <a:pt x="208" y="241"/>
                  </a:lnTo>
                  <a:lnTo>
                    <a:pt x="207" y="241"/>
                  </a:lnTo>
                  <a:lnTo>
                    <a:pt x="207" y="242"/>
                  </a:lnTo>
                  <a:lnTo>
                    <a:pt x="203" y="246"/>
                  </a:lnTo>
                  <a:lnTo>
                    <a:pt x="200" y="254"/>
                  </a:lnTo>
                  <a:lnTo>
                    <a:pt x="202" y="261"/>
                  </a:lnTo>
                  <a:lnTo>
                    <a:pt x="198" y="265"/>
                  </a:lnTo>
                  <a:lnTo>
                    <a:pt x="198" y="271"/>
                  </a:lnTo>
                  <a:lnTo>
                    <a:pt x="195" y="277"/>
                  </a:lnTo>
                  <a:lnTo>
                    <a:pt x="190" y="277"/>
                  </a:lnTo>
                  <a:lnTo>
                    <a:pt x="183" y="278"/>
                  </a:lnTo>
                  <a:lnTo>
                    <a:pt x="178" y="280"/>
                  </a:lnTo>
                  <a:lnTo>
                    <a:pt x="174" y="285"/>
                  </a:lnTo>
                  <a:lnTo>
                    <a:pt x="166" y="290"/>
                  </a:lnTo>
                  <a:lnTo>
                    <a:pt x="159" y="292"/>
                  </a:lnTo>
                  <a:lnTo>
                    <a:pt x="152" y="295"/>
                  </a:lnTo>
                  <a:lnTo>
                    <a:pt x="142" y="297"/>
                  </a:lnTo>
                  <a:lnTo>
                    <a:pt x="138" y="300"/>
                  </a:lnTo>
                  <a:lnTo>
                    <a:pt x="135" y="300"/>
                  </a:lnTo>
                  <a:lnTo>
                    <a:pt x="125" y="306"/>
                  </a:lnTo>
                  <a:lnTo>
                    <a:pt x="120" y="309"/>
                  </a:lnTo>
                  <a:lnTo>
                    <a:pt x="111" y="311"/>
                  </a:lnTo>
                  <a:lnTo>
                    <a:pt x="109" y="312"/>
                  </a:lnTo>
                  <a:lnTo>
                    <a:pt x="109" y="311"/>
                  </a:lnTo>
                  <a:lnTo>
                    <a:pt x="109" y="312"/>
                  </a:lnTo>
                  <a:lnTo>
                    <a:pt x="104" y="314"/>
                  </a:lnTo>
                  <a:lnTo>
                    <a:pt x="94" y="319"/>
                  </a:lnTo>
                  <a:lnTo>
                    <a:pt x="89" y="321"/>
                  </a:lnTo>
                  <a:lnTo>
                    <a:pt x="82" y="324"/>
                  </a:lnTo>
                  <a:lnTo>
                    <a:pt x="74" y="328"/>
                  </a:lnTo>
                  <a:lnTo>
                    <a:pt x="72" y="329"/>
                  </a:lnTo>
                  <a:lnTo>
                    <a:pt x="70" y="329"/>
                  </a:lnTo>
                  <a:lnTo>
                    <a:pt x="63" y="333"/>
                  </a:lnTo>
                  <a:lnTo>
                    <a:pt x="60" y="335"/>
                  </a:lnTo>
                  <a:lnTo>
                    <a:pt x="53" y="338"/>
                  </a:lnTo>
                  <a:lnTo>
                    <a:pt x="50" y="341"/>
                  </a:lnTo>
                  <a:lnTo>
                    <a:pt x="43" y="343"/>
                  </a:lnTo>
                  <a:lnTo>
                    <a:pt x="36" y="343"/>
                  </a:lnTo>
                  <a:lnTo>
                    <a:pt x="34" y="341"/>
                  </a:lnTo>
                  <a:lnTo>
                    <a:pt x="34" y="331"/>
                  </a:lnTo>
                  <a:lnTo>
                    <a:pt x="36" y="326"/>
                  </a:lnTo>
                  <a:lnTo>
                    <a:pt x="34" y="319"/>
                  </a:lnTo>
                  <a:lnTo>
                    <a:pt x="33" y="309"/>
                  </a:lnTo>
                  <a:lnTo>
                    <a:pt x="33" y="302"/>
                  </a:lnTo>
                  <a:lnTo>
                    <a:pt x="33" y="292"/>
                  </a:lnTo>
                  <a:lnTo>
                    <a:pt x="34" y="288"/>
                  </a:lnTo>
                  <a:lnTo>
                    <a:pt x="34" y="283"/>
                  </a:lnTo>
                  <a:lnTo>
                    <a:pt x="33" y="278"/>
                  </a:lnTo>
                  <a:lnTo>
                    <a:pt x="27" y="271"/>
                  </a:lnTo>
                  <a:lnTo>
                    <a:pt x="21" y="268"/>
                  </a:lnTo>
                  <a:lnTo>
                    <a:pt x="22" y="258"/>
                  </a:lnTo>
                  <a:lnTo>
                    <a:pt x="21" y="251"/>
                  </a:lnTo>
                  <a:lnTo>
                    <a:pt x="19" y="251"/>
                  </a:lnTo>
                  <a:lnTo>
                    <a:pt x="21" y="256"/>
                  </a:lnTo>
                  <a:lnTo>
                    <a:pt x="17" y="263"/>
                  </a:lnTo>
                  <a:lnTo>
                    <a:pt x="12" y="263"/>
                  </a:lnTo>
                  <a:lnTo>
                    <a:pt x="4" y="258"/>
                  </a:lnTo>
                  <a:lnTo>
                    <a:pt x="0" y="258"/>
                  </a:lnTo>
                  <a:lnTo>
                    <a:pt x="4" y="249"/>
                  </a:lnTo>
                  <a:lnTo>
                    <a:pt x="2" y="246"/>
                  </a:lnTo>
                  <a:lnTo>
                    <a:pt x="4" y="242"/>
                  </a:lnTo>
                  <a:lnTo>
                    <a:pt x="5" y="236"/>
                  </a:lnTo>
                  <a:lnTo>
                    <a:pt x="14" y="229"/>
                  </a:lnTo>
                  <a:lnTo>
                    <a:pt x="12" y="224"/>
                  </a:lnTo>
                  <a:lnTo>
                    <a:pt x="14" y="220"/>
                  </a:lnTo>
                  <a:lnTo>
                    <a:pt x="26" y="212"/>
                  </a:lnTo>
                  <a:lnTo>
                    <a:pt x="19" y="205"/>
                  </a:lnTo>
                  <a:lnTo>
                    <a:pt x="26" y="196"/>
                  </a:lnTo>
                  <a:lnTo>
                    <a:pt x="22" y="195"/>
                  </a:lnTo>
                  <a:lnTo>
                    <a:pt x="24" y="195"/>
                  </a:lnTo>
                  <a:lnTo>
                    <a:pt x="27" y="188"/>
                  </a:lnTo>
                  <a:lnTo>
                    <a:pt x="34" y="189"/>
                  </a:lnTo>
                  <a:lnTo>
                    <a:pt x="33" y="181"/>
                  </a:lnTo>
                  <a:lnTo>
                    <a:pt x="39" y="179"/>
                  </a:lnTo>
                  <a:lnTo>
                    <a:pt x="41" y="171"/>
                  </a:lnTo>
                  <a:lnTo>
                    <a:pt x="46" y="172"/>
                  </a:lnTo>
                  <a:lnTo>
                    <a:pt x="51" y="169"/>
                  </a:lnTo>
                  <a:lnTo>
                    <a:pt x="55" y="164"/>
                  </a:lnTo>
                  <a:lnTo>
                    <a:pt x="55" y="154"/>
                  </a:lnTo>
                  <a:lnTo>
                    <a:pt x="62" y="147"/>
                  </a:lnTo>
                  <a:lnTo>
                    <a:pt x="67" y="143"/>
                  </a:lnTo>
                  <a:lnTo>
                    <a:pt x="68" y="138"/>
                  </a:lnTo>
                  <a:lnTo>
                    <a:pt x="70" y="138"/>
                  </a:lnTo>
                  <a:lnTo>
                    <a:pt x="79" y="133"/>
                  </a:lnTo>
                  <a:lnTo>
                    <a:pt x="84" y="126"/>
                  </a:lnTo>
                  <a:lnTo>
                    <a:pt x="92" y="121"/>
                  </a:lnTo>
                  <a:lnTo>
                    <a:pt x="96" y="118"/>
                  </a:lnTo>
                  <a:lnTo>
                    <a:pt x="101" y="114"/>
                  </a:lnTo>
                  <a:lnTo>
                    <a:pt x="109" y="109"/>
                  </a:lnTo>
                  <a:lnTo>
                    <a:pt x="109" y="107"/>
                  </a:lnTo>
                  <a:lnTo>
                    <a:pt x="111" y="111"/>
                  </a:lnTo>
                  <a:lnTo>
                    <a:pt x="114" y="111"/>
                  </a:lnTo>
                  <a:lnTo>
                    <a:pt x="116" y="101"/>
                  </a:lnTo>
                  <a:lnTo>
                    <a:pt x="118" y="97"/>
                  </a:lnTo>
                  <a:lnTo>
                    <a:pt x="118" y="92"/>
                  </a:lnTo>
                  <a:lnTo>
                    <a:pt x="121" y="94"/>
                  </a:lnTo>
                  <a:lnTo>
                    <a:pt x="128" y="90"/>
                  </a:lnTo>
                  <a:lnTo>
                    <a:pt x="125" y="84"/>
                  </a:lnTo>
                  <a:lnTo>
                    <a:pt x="128" y="78"/>
                  </a:lnTo>
                  <a:lnTo>
                    <a:pt x="128" y="80"/>
                  </a:lnTo>
                  <a:lnTo>
                    <a:pt x="132" y="80"/>
                  </a:lnTo>
                  <a:lnTo>
                    <a:pt x="133" y="77"/>
                  </a:lnTo>
                  <a:lnTo>
                    <a:pt x="130" y="75"/>
                  </a:lnTo>
                  <a:lnTo>
                    <a:pt x="132" y="73"/>
                  </a:lnTo>
                  <a:lnTo>
                    <a:pt x="130" y="73"/>
                  </a:lnTo>
                  <a:lnTo>
                    <a:pt x="130" y="70"/>
                  </a:lnTo>
                  <a:lnTo>
                    <a:pt x="128" y="72"/>
                  </a:lnTo>
                  <a:lnTo>
                    <a:pt x="128" y="70"/>
                  </a:lnTo>
                  <a:lnTo>
                    <a:pt x="128" y="72"/>
                  </a:lnTo>
                  <a:lnTo>
                    <a:pt x="125" y="70"/>
                  </a:lnTo>
                  <a:lnTo>
                    <a:pt x="118" y="70"/>
                  </a:lnTo>
                  <a:lnTo>
                    <a:pt x="116" y="61"/>
                  </a:lnTo>
                  <a:lnTo>
                    <a:pt x="118" y="63"/>
                  </a:lnTo>
                  <a:lnTo>
                    <a:pt x="116" y="60"/>
                  </a:lnTo>
                  <a:lnTo>
                    <a:pt x="120" y="53"/>
                  </a:lnTo>
                  <a:lnTo>
                    <a:pt x="121" y="43"/>
                  </a:lnTo>
                  <a:lnTo>
                    <a:pt x="123" y="43"/>
                  </a:lnTo>
                  <a:lnTo>
                    <a:pt x="121" y="41"/>
                  </a:lnTo>
                  <a:lnTo>
                    <a:pt x="125" y="32"/>
                  </a:lnTo>
                  <a:lnTo>
                    <a:pt x="126" y="24"/>
                  </a:lnTo>
                  <a:lnTo>
                    <a:pt x="126" y="22"/>
                  </a:lnTo>
                  <a:lnTo>
                    <a:pt x="130" y="15"/>
                  </a:lnTo>
                  <a:lnTo>
                    <a:pt x="130" y="14"/>
                  </a:lnTo>
                  <a:lnTo>
                    <a:pt x="133" y="15"/>
                  </a:lnTo>
                  <a:lnTo>
                    <a:pt x="138" y="12"/>
                  </a:lnTo>
                  <a:lnTo>
                    <a:pt x="147" y="10"/>
                  </a:lnTo>
                  <a:lnTo>
                    <a:pt x="149" y="10"/>
                  </a:lnTo>
                  <a:lnTo>
                    <a:pt x="154" y="7"/>
                  </a:lnTo>
                  <a:lnTo>
                    <a:pt x="159" y="3"/>
                  </a:lnTo>
                  <a:lnTo>
                    <a:pt x="161" y="3"/>
                  </a:lnTo>
                  <a:lnTo>
                    <a:pt x="166" y="3"/>
                  </a:lnTo>
                  <a:lnTo>
                    <a:pt x="171" y="0"/>
                  </a:lnTo>
                  <a:lnTo>
                    <a:pt x="169" y="7"/>
                  </a:lnTo>
                  <a:lnTo>
                    <a:pt x="164" y="14"/>
                  </a:lnTo>
                  <a:lnTo>
                    <a:pt x="161" y="19"/>
                  </a:lnTo>
                  <a:lnTo>
                    <a:pt x="159" y="20"/>
                  </a:lnTo>
                  <a:lnTo>
                    <a:pt x="159" y="25"/>
                  </a:lnTo>
                  <a:lnTo>
                    <a:pt x="155" y="27"/>
                  </a:lnTo>
                  <a:lnTo>
                    <a:pt x="157" y="31"/>
                  </a:lnTo>
                  <a:lnTo>
                    <a:pt x="155" y="32"/>
                  </a:lnTo>
                  <a:lnTo>
                    <a:pt x="157" y="36"/>
                  </a:lnTo>
                  <a:lnTo>
                    <a:pt x="161" y="39"/>
                  </a:lnTo>
                  <a:lnTo>
                    <a:pt x="161" y="48"/>
                  </a:lnTo>
                  <a:lnTo>
                    <a:pt x="164" y="51"/>
                  </a:lnTo>
                  <a:lnTo>
                    <a:pt x="162" y="58"/>
                  </a:lnTo>
                  <a:lnTo>
                    <a:pt x="162" y="60"/>
                  </a:lnTo>
                  <a:lnTo>
                    <a:pt x="164" y="58"/>
                  </a:lnTo>
                  <a:lnTo>
                    <a:pt x="167" y="60"/>
                  </a:lnTo>
                  <a:lnTo>
                    <a:pt x="167" y="66"/>
                  </a:lnTo>
                  <a:lnTo>
                    <a:pt x="166" y="73"/>
                  </a:lnTo>
                  <a:lnTo>
                    <a:pt x="167" y="73"/>
                  </a:lnTo>
                  <a:lnTo>
                    <a:pt x="164" y="80"/>
                  </a:lnTo>
                  <a:lnTo>
                    <a:pt x="166" y="82"/>
                  </a:lnTo>
                  <a:lnTo>
                    <a:pt x="166" y="80"/>
                  </a:lnTo>
                  <a:lnTo>
                    <a:pt x="169" y="82"/>
                  </a:lnTo>
                  <a:lnTo>
                    <a:pt x="167" y="87"/>
                  </a:lnTo>
                  <a:lnTo>
                    <a:pt x="171" y="89"/>
                  </a:lnTo>
                  <a:lnTo>
                    <a:pt x="176" y="89"/>
                  </a:lnTo>
                  <a:lnTo>
                    <a:pt x="179" y="90"/>
                  </a:lnTo>
                  <a:lnTo>
                    <a:pt x="178" y="95"/>
                  </a:lnTo>
                  <a:lnTo>
                    <a:pt x="176" y="104"/>
                  </a:lnTo>
                  <a:lnTo>
                    <a:pt x="176" y="106"/>
                  </a:lnTo>
                  <a:lnTo>
                    <a:pt x="179" y="111"/>
                  </a:lnTo>
                  <a:lnTo>
                    <a:pt x="178" y="114"/>
                  </a:lnTo>
                  <a:lnTo>
                    <a:pt x="183" y="118"/>
                  </a:lnTo>
                  <a:lnTo>
                    <a:pt x="179" y="121"/>
                  </a:lnTo>
                  <a:lnTo>
                    <a:pt x="181" y="130"/>
                  </a:lnTo>
                  <a:lnTo>
                    <a:pt x="186" y="128"/>
                  </a:lnTo>
                  <a:lnTo>
                    <a:pt x="186" y="123"/>
                  </a:lnTo>
                  <a:lnTo>
                    <a:pt x="193" y="123"/>
                  </a:lnTo>
                  <a:lnTo>
                    <a:pt x="198" y="121"/>
                  </a:lnTo>
                  <a:lnTo>
                    <a:pt x="200" y="121"/>
                  </a:lnTo>
                  <a:lnTo>
                    <a:pt x="202" y="121"/>
                  </a:lnTo>
                  <a:lnTo>
                    <a:pt x="222" y="121"/>
                  </a:lnTo>
                  <a:lnTo>
                    <a:pt x="229" y="121"/>
                  </a:lnTo>
                  <a:lnTo>
                    <a:pt x="237" y="125"/>
                  </a:lnTo>
                  <a:lnTo>
                    <a:pt x="244" y="126"/>
                  </a:lnTo>
                  <a:lnTo>
                    <a:pt x="248" y="126"/>
                  </a:lnTo>
                  <a:lnTo>
                    <a:pt x="258" y="128"/>
                  </a:lnTo>
                  <a:lnTo>
                    <a:pt x="266" y="13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1" name="Freeform 69"/>
            <p:cNvSpPr>
              <a:spLocks noEditPoints="1"/>
            </p:cNvSpPr>
            <p:nvPr/>
          </p:nvSpPr>
          <p:spPr bwMode="gray">
            <a:xfrm>
              <a:off x="3850431" y="2698662"/>
              <a:ext cx="1224027" cy="1121873"/>
            </a:xfrm>
            <a:custGeom>
              <a:avLst/>
              <a:gdLst>
                <a:gd name="T0" fmla="*/ 177 w 671"/>
                <a:gd name="T1" fmla="*/ 581 h 615"/>
                <a:gd name="T2" fmla="*/ 19 w 671"/>
                <a:gd name="T3" fmla="*/ 439 h 615"/>
                <a:gd name="T4" fmla="*/ 25 w 671"/>
                <a:gd name="T5" fmla="*/ 448 h 615"/>
                <a:gd name="T6" fmla="*/ 61 w 671"/>
                <a:gd name="T7" fmla="*/ 405 h 615"/>
                <a:gd name="T8" fmla="*/ 66 w 671"/>
                <a:gd name="T9" fmla="*/ 403 h 615"/>
                <a:gd name="T10" fmla="*/ 124 w 671"/>
                <a:gd name="T11" fmla="*/ 369 h 615"/>
                <a:gd name="T12" fmla="*/ 130 w 671"/>
                <a:gd name="T13" fmla="*/ 397 h 615"/>
                <a:gd name="T14" fmla="*/ 101 w 671"/>
                <a:gd name="T15" fmla="*/ 374 h 615"/>
                <a:gd name="T16" fmla="*/ 118 w 671"/>
                <a:gd name="T17" fmla="*/ 333 h 615"/>
                <a:gd name="T18" fmla="*/ 90 w 671"/>
                <a:gd name="T19" fmla="*/ 328 h 615"/>
                <a:gd name="T20" fmla="*/ 56 w 671"/>
                <a:gd name="T21" fmla="*/ 282 h 615"/>
                <a:gd name="T22" fmla="*/ 63 w 671"/>
                <a:gd name="T23" fmla="*/ 270 h 615"/>
                <a:gd name="T24" fmla="*/ 65 w 671"/>
                <a:gd name="T25" fmla="*/ 270 h 615"/>
                <a:gd name="T26" fmla="*/ 0 w 671"/>
                <a:gd name="T27" fmla="*/ 236 h 615"/>
                <a:gd name="T28" fmla="*/ 12 w 671"/>
                <a:gd name="T29" fmla="*/ 161 h 615"/>
                <a:gd name="T30" fmla="*/ 666 w 671"/>
                <a:gd name="T31" fmla="*/ 99 h 615"/>
                <a:gd name="T32" fmla="*/ 637 w 671"/>
                <a:gd name="T33" fmla="*/ 132 h 615"/>
                <a:gd name="T34" fmla="*/ 608 w 671"/>
                <a:gd name="T35" fmla="*/ 190 h 615"/>
                <a:gd name="T36" fmla="*/ 573 w 671"/>
                <a:gd name="T37" fmla="*/ 234 h 615"/>
                <a:gd name="T38" fmla="*/ 553 w 671"/>
                <a:gd name="T39" fmla="*/ 287 h 615"/>
                <a:gd name="T40" fmla="*/ 512 w 671"/>
                <a:gd name="T41" fmla="*/ 316 h 615"/>
                <a:gd name="T42" fmla="*/ 464 w 671"/>
                <a:gd name="T43" fmla="*/ 339 h 615"/>
                <a:gd name="T44" fmla="*/ 427 w 671"/>
                <a:gd name="T45" fmla="*/ 337 h 615"/>
                <a:gd name="T46" fmla="*/ 381 w 671"/>
                <a:gd name="T47" fmla="*/ 359 h 615"/>
                <a:gd name="T48" fmla="*/ 357 w 671"/>
                <a:gd name="T49" fmla="*/ 393 h 615"/>
                <a:gd name="T50" fmla="*/ 304 w 671"/>
                <a:gd name="T51" fmla="*/ 426 h 615"/>
                <a:gd name="T52" fmla="*/ 275 w 671"/>
                <a:gd name="T53" fmla="*/ 456 h 615"/>
                <a:gd name="T54" fmla="*/ 293 w 671"/>
                <a:gd name="T55" fmla="*/ 492 h 615"/>
                <a:gd name="T56" fmla="*/ 300 w 671"/>
                <a:gd name="T57" fmla="*/ 555 h 615"/>
                <a:gd name="T58" fmla="*/ 270 w 671"/>
                <a:gd name="T59" fmla="*/ 598 h 615"/>
                <a:gd name="T60" fmla="*/ 229 w 671"/>
                <a:gd name="T61" fmla="*/ 591 h 615"/>
                <a:gd name="T62" fmla="*/ 184 w 671"/>
                <a:gd name="T63" fmla="*/ 564 h 615"/>
                <a:gd name="T64" fmla="*/ 181 w 671"/>
                <a:gd name="T65" fmla="*/ 506 h 615"/>
                <a:gd name="T66" fmla="*/ 160 w 671"/>
                <a:gd name="T67" fmla="*/ 461 h 615"/>
                <a:gd name="T68" fmla="*/ 162 w 671"/>
                <a:gd name="T69" fmla="*/ 403 h 615"/>
                <a:gd name="T70" fmla="*/ 135 w 671"/>
                <a:gd name="T71" fmla="*/ 361 h 615"/>
                <a:gd name="T72" fmla="*/ 101 w 671"/>
                <a:gd name="T73" fmla="*/ 352 h 615"/>
                <a:gd name="T74" fmla="*/ 77 w 671"/>
                <a:gd name="T75" fmla="*/ 333 h 615"/>
                <a:gd name="T76" fmla="*/ 101 w 671"/>
                <a:gd name="T77" fmla="*/ 335 h 615"/>
                <a:gd name="T78" fmla="*/ 94 w 671"/>
                <a:gd name="T79" fmla="*/ 321 h 615"/>
                <a:gd name="T80" fmla="*/ 60 w 671"/>
                <a:gd name="T81" fmla="*/ 294 h 615"/>
                <a:gd name="T82" fmla="*/ 68 w 671"/>
                <a:gd name="T83" fmla="*/ 246 h 615"/>
                <a:gd name="T84" fmla="*/ 41 w 671"/>
                <a:gd name="T85" fmla="*/ 204 h 615"/>
                <a:gd name="T86" fmla="*/ 39 w 671"/>
                <a:gd name="T87" fmla="*/ 146 h 615"/>
                <a:gd name="T88" fmla="*/ 53 w 671"/>
                <a:gd name="T89" fmla="*/ 76 h 615"/>
                <a:gd name="T90" fmla="*/ 89 w 671"/>
                <a:gd name="T91" fmla="*/ 26 h 615"/>
                <a:gd name="T92" fmla="*/ 116 w 671"/>
                <a:gd name="T93" fmla="*/ 19 h 615"/>
                <a:gd name="T94" fmla="*/ 142 w 671"/>
                <a:gd name="T95" fmla="*/ 69 h 615"/>
                <a:gd name="T96" fmla="*/ 174 w 671"/>
                <a:gd name="T97" fmla="*/ 106 h 615"/>
                <a:gd name="T98" fmla="*/ 208 w 671"/>
                <a:gd name="T99" fmla="*/ 130 h 615"/>
                <a:gd name="T100" fmla="*/ 258 w 671"/>
                <a:gd name="T101" fmla="*/ 142 h 615"/>
                <a:gd name="T102" fmla="*/ 317 w 671"/>
                <a:gd name="T103" fmla="*/ 123 h 615"/>
                <a:gd name="T104" fmla="*/ 365 w 671"/>
                <a:gd name="T105" fmla="*/ 125 h 615"/>
                <a:gd name="T106" fmla="*/ 423 w 671"/>
                <a:gd name="T107" fmla="*/ 115 h 615"/>
                <a:gd name="T108" fmla="*/ 440 w 671"/>
                <a:gd name="T109" fmla="*/ 74 h 615"/>
                <a:gd name="T110" fmla="*/ 500 w 671"/>
                <a:gd name="T111" fmla="*/ 64 h 615"/>
                <a:gd name="T112" fmla="*/ 529 w 671"/>
                <a:gd name="T113" fmla="*/ 82 h 615"/>
                <a:gd name="T114" fmla="*/ 592 w 671"/>
                <a:gd name="T115" fmla="*/ 93 h 615"/>
                <a:gd name="T116" fmla="*/ 628 w 671"/>
                <a:gd name="T117" fmla="*/ 8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615">
                  <a:moveTo>
                    <a:pt x="191" y="596"/>
                  </a:moveTo>
                  <a:lnTo>
                    <a:pt x="189" y="600"/>
                  </a:lnTo>
                  <a:lnTo>
                    <a:pt x="188" y="600"/>
                  </a:lnTo>
                  <a:lnTo>
                    <a:pt x="183" y="596"/>
                  </a:lnTo>
                  <a:lnTo>
                    <a:pt x="186" y="596"/>
                  </a:lnTo>
                  <a:lnTo>
                    <a:pt x="188" y="593"/>
                  </a:lnTo>
                  <a:lnTo>
                    <a:pt x="191" y="596"/>
                  </a:lnTo>
                  <a:close/>
                  <a:moveTo>
                    <a:pt x="181" y="571"/>
                  </a:moveTo>
                  <a:lnTo>
                    <a:pt x="183" y="574"/>
                  </a:lnTo>
                  <a:lnTo>
                    <a:pt x="181" y="576"/>
                  </a:lnTo>
                  <a:lnTo>
                    <a:pt x="183" y="579"/>
                  </a:lnTo>
                  <a:lnTo>
                    <a:pt x="177" y="581"/>
                  </a:lnTo>
                  <a:lnTo>
                    <a:pt x="172" y="579"/>
                  </a:lnTo>
                  <a:lnTo>
                    <a:pt x="176" y="578"/>
                  </a:lnTo>
                  <a:lnTo>
                    <a:pt x="179" y="571"/>
                  </a:lnTo>
                  <a:lnTo>
                    <a:pt x="181" y="571"/>
                  </a:lnTo>
                  <a:close/>
                  <a:moveTo>
                    <a:pt x="17" y="455"/>
                  </a:moveTo>
                  <a:lnTo>
                    <a:pt x="20" y="455"/>
                  </a:lnTo>
                  <a:lnTo>
                    <a:pt x="22" y="456"/>
                  </a:lnTo>
                  <a:lnTo>
                    <a:pt x="14" y="458"/>
                  </a:lnTo>
                  <a:lnTo>
                    <a:pt x="8" y="456"/>
                  </a:lnTo>
                  <a:lnTo>
                    <a:pt x="10" y="455"/>
                  </a:lnTo>
                  <a:lnTo>
                    <a:pt x="17" y="455"/>
                  </a:lnTo>
                  <a:close/>
                  <a:moveTo>
                    <a:pt x="19" y="439"/>
                  </a:moveTo>
                  <a:lnTo>
                    <a:pt x="20" y="439"/>
                  </a:lnTo>
                  <a:lnTo>
                    <a:pt x="20" y="441"/>
                  </a:lnTo>
                  <a:lnTo>
                    <a:pt x="19" y="441"/>
                  </a:lnTo>
                  <a:lnTo>
                    <a:pt x="19" y="439"/>
                  </a:lnTo>
                  <a:close/>
                  <a:moveTo>
                    <a:pt x="36" y="436"/>
                  </a:moveTo>
                  <a:lnTo>
                    <a:pt x="43" y="438"/>
                  </a:lnTo>
                  <a:lnTo>
                    <a:pt x="46" y="443"/>
                  </a:lnTo>
                  <a:lnTo>
                    <a:pt x="44" y="446"/>
                  </a:lnTo>
                  <a:lnTo>
                    <a:pt x="39" y="450"/>
                  </a:lnTo>
                  <a:lnTo>
                    <a:pt x="32" y="451"/>
                  </a:lnTo>
                  <a:lnTo>
                    <a:pt x="27" y="450"/>
                  </a:lnTo>
                  <a:lnTo>
                    <a:pt x="25" y="448"/>
                  </a:lnTo>
                  <a:lnTo>
                    <a:pt x="29" y="446"/>
                  </a:lnTo>
                  <a:lnTo>
                    <a:pt x="27" y="441"/>
                  </a:lnTo>
                  <a:lnTo>
                    <a:pt x="29" y="441"/>
                  </a:lnTo>
                  <a:lnTo>
                    <a:pt x="24" y="441"/>
                  </a:lnTo>
                  <a:lnTo>
                    <a:pt x="22" y="439"/>
                  </a:lnTo>
                  <a:lnTo>
                    <a:pt x="25" y="439"/>
                  </a:lnTo>
                  <a:lnTo>
                    <a:pt x="27" y="436"/>
                  </a:lnTo>
                  <a:lnTo>
                    <a:pt x="29" y="439"/>
                  </a:lnTo>
                  <a:lnTo>
                    <a:pt x="32" y="438"/>
                  </a:lnTo>
                  <a:lnTo>
                    <a:pt x="34" y="434"/>
                  </a:lnTo>
                  <a:lnTo>
                    <a:pt x="36" y="436"/>
                  </a:lnTo>
                  <a:close/>
                  <a:moveTo>
                    <a:pt x="61" y="405"/>
                  </a:moveTo>
                  <a:lnTo>
                    <a:pt x="63" y="405"/>
                  </a:lnTo>
                  <a:lnTo>
                    <a:pt x="63" y="409"/>
                  </a:lnTo>
                  <a:lnTo>
                    <a:pt x="61" y="409"/>
                  </a:lnTo>
                  <a:lnTo>
                    <a:pt x="61" y="405"/>
                  </a:lnTo>
                  <a:close/>
                  <a:moveTo>
                    <a:pt x="65" y="405"/>
                  </a:moveTo>
                  <a:lnTo>
                    <a:pt x="66" y="405"/>
                  </a:lnTo>
                  <a:lnTo>
                    <a:pt x="63" y="410"/>
                  </a:lnTo>
                  <a:lnTo>
                    <a:pt x="65" y="405"/>
                  </a:lnTo>
                  <a:close/>
                  <a:moveTo>
                    <a:pt x="66" y="402"/>
                  </a:moveTo>
                  <a:lnTo>
                    <a:pt x="68" y="403"/>
                  </a:lnTo>
                  <a:lnTo>
                    <a:pt x="68" y="405"/>
                  </a:lnTo>
                  <a:lnTo>
                    <a:pt x="66" y="403"/>
                  </a:lnTo>
                  <a:lnTo>
                    <a:pt x="66" y="402"/>
                  </a:lnTo>
                  <a:close/>
                  <a:moveTo>
                    <a:pt x="80" y="395"/>
                  </a:moveTo>
                  <a:lnTo>
                    <a:pt x="80" y="397"/>
                  </a:lnTo>
                  <a:lnTo>
                    <a:pt x="77" y="400"/>
                  </a:lnTo>
                  <a:lnTo>
                    <a:pt x="73" y="398"/>
                  </a:lnTo>
                  <a:lnTo>
                    <a:pt x="75" y="395"/>
                  </a:lnTo>
                  <a:lnTo>
                    <a:pt x="78" y="391"/>
                  </a:lnTo>
                  <a:lnTo>
                    <a:pt x="80" y="395"/>
                  </a:lnTo>
                  <a:close/>
                  <a:moveTo>
                    <a:pt x="109" y="369"/>
                  </a:moveTo>
                  <a:lnTo>
                    <a:pt x="114" y="371"/>
                  </a:lnTo>
                  <a:lnTo>
                    <a:pt x="119" y="368"/>
                  </a:lnTo>
                  <a:lnTo>
                    <a:pt x="124" y="369"/>
                  </a:lnTo>
                  <a:lnTo>
                    <a:pt x="124" y="371"/>
                  </a:lnTo>
                  <a:lnTo>
                    <a:pt x="128" y="373"/>
                  </a:lnTo>
                  <a:lnTo>
                    <a:pt x="133" y="369"/>
                  </a:lnTo>
                  <a:lnTo>
                    <a:pt x="138" y="371"/>
                  </a:lnTo>
                  <a:lnTo>
                    <a:pt x="138" y="373"/>
                  </a:lnTo>
                  <a:lnTo>
                    <a:pt x="140" y="380"/>
                  </a:lnTo>
                  <a:lnTo>
                    <a:pt x="140" y="383"/>
                  </a:lnTo>
                  <a:lnTo>
                    <a:pt x="142" y="388"/>
                  </a:lnTo>
                  <a:lnTo>
                    <a:pt x="140" y="388"/>
                  </a:lnTo>
                  <a:lnTo>
                    <a:pt x="138" y="390"/>
                  </a:lnTo>
                  <a:lnTo>
                    <a:pt x="130" y="393"/>
                  </a:lnTo>
                  <a:lnTo>
                    <a:pt x="130" y="397"/>
                  </a:lnTo>
                  <a:lnTo>
                    <a:pt x="126" y="397"/>
                  </a:lnTo>
                  <a:lnTo>
                    <a:pt x="118" y="400"/>
                  </a:lnTo>
                  <a:lnTo>
                    <a:pt x="111" y="403"/>
                  </a:lnTo>
                  <a:lnTo>
                    <a:pt x="107" y="407"/>
                  </a:lnTo>
                  <a:lnTo>
                    <a:pt x="106" y="407"/>
                  </a:lnTo>
                  <a:lnTo>
                    <a:pt x="99" y="405"/>
                  </a:lnTo>
                  <a:lnTo>
                    <a:pt x="92" y="402"/>
                  </a:lnTo>
                  <a:lnTo>
                    <a:pt x="95" y="400"/>
                  </a:lnTo>
                  <a:lnTo>
                    <a:pt x="99" y="395"/>
                  </a:lnTo>
                  <a:lnTo>
                    <a:pt x="99" y="388"/>
                  </a:lnTo>
                  <a:lnTo>
                    <a:pt x="101" y="383"/>
                  </a:lnTo>
                  <a:lnTo>
                    <a:pt x="101" y="374"/>
                  </a:lnTo>
                  <a:lnTo>
                    <a:pt x="102" y="371"/>
                  </a:lnTo>
                  <a:lnTo>
                    <a:pt x="106" y="368"/>
                  </a:lnTo>
                  <a:lnTo>
                    <a:pt x="109" y="369"/>
                  </a:lnTo>
                  <a:close/>
                  <a:moveTo>
                    <a:pt x="94" y="330"/>
                  </a:moveTo>
                  <a:lnTo>
                    <a:pt x="95" y="332"/>
                  </a:lnTo>
                  <a:lnTo>
                    <a:pt x="92" y="332"/>
                  </a:lnTo>
                  <a:lnTo>
                    <a:pt x="89" y="328"/>
                  </a:lnTo>
                  <a:lnTo>
                    <a:pt x="94" y="330"/>
                  </a:lnTo>
                  <a:close/>
                  <a:moveTo>
                    <a:pt x="106" y="327"/>
                  </a:moveTo>
                  <a:lnTo>
                    <a:pt x="113" y="328"/>
                  </a:lnTo>
                  <a:lnTo>
                    <a:pt x="118" y="328"/>
                  </a:lnTo>
                  <a:lnTo>
                    <a:pt x="118" y="333"/>
                  </a:lnTo>
                  <a:lnTo>
                    <a:pt x="113" y="335"/>
                  </a:lnTo>
                  <a:lnTo>
                    <a:pt x="106" y="333"/>
                  </a:lnTo>
                  <a:lnTo>
                    <a:pt x="104" y="330"/>
                  </a:lnTo>
                  <a:lnTo>
                    <a:pt x="99" y="328"/>
                  </a:lnTo>
                  <a:lnTo>
                    <a:pt x="106" y="327"/>
                  </a:lnTo>
                  <a:close/>
                  <a:moveTo>
                    <a:pt x="94" y="325"/>
                  </a:moveTo>
                  <a:lnTo>
                    <a:pt x="101" y="330"/>
                  </a:lnTo>
                  <a:lnTo>
                    <a:pt x="104" y="333"/>
                  </a:lnTo>
                  <a:lnTo>
                    <a:pt x="101" y="330"/>
                  </a:lnTo>
                  <a:lnTo>
                    <a:pt x="95" y="332"/>
                  </a:lnTo>
                  <a:lnTo>
                    <a:pt x="92" y="328"/>
                  </a:lnTo>
                  <a:lnTo>
                    <a:pt x="90" y="328"/>
                  </a:lnTo>
                  <a:lnTo>
                    <a:pt x="90" y="325"/>
                  </a:lnTo>
                  <a:lnTo>
                    <a:pt x="94" y="325"/>
                  </a:lnTo>
                  <a:close/>
                  <a:moveTo>
                    <a:pt x="82" y="321"/>
                  </a:moveTo>
                  <a:lnTo>
                    <a:pt x="84" y="321"/>
                  </a:lnTo>
                  <a:lnTo>
                    <a:pt x="84" y="323"/>
                  </a:lnTo>
                  <a:lnTo>
                    <a:pt x="82" y="323"/>
                  </a:lnTo>
                  <a:lnTo>
                    <a:pt x="82" y="321"/>
                  </a:lnTo>
                  <a:close/>
                  <a:moveTo>
                    <a:pt x="65" y="275"/>
                  </a:moveTo>
                  <a:lnTo>
                    <a:pt x="70" y="277"/>
                  </a:lnTo>
                  <a:lnTo>
                    <a:pt x="63" y="279"/>
                  </a:lnTo>
                  <a:lnTo>
                    <a:pt x="61" y="282"/>
                  </a:lnTo>
                  <a:lnTo>
                    <a:pt x="56" y="282"/>
                  </a:lnTo>
                  <a:lnTo>
                    <a:pt x="60" y="287"/>
                  </a:lnTo>
                  <a:lnTo>
                    <a:pt x="60" y="291"/>
                  </a:lnTo>
                  <a:lnTo>
                    <a:pt x="54" y="284"/>
                  </a:lnTo>
                  <a:lnTo>
                    <a:pt x="54" y="277"/>
                  </a:lnTo>
                  <a:lnTo>
                    <a:pt x="65" y="275"/>
                  </a:lnTo>
                  <a:close/>
                  <a:moveTo>
                    <a:pt x="61" y="270"/>
                  </a:moveTo>
                  <a:lnTo>
                    <a:pt x="68" y="275"/>
                  </a:lnTo>
                  <a:lnTo>
                    <a:pt x="58" y="274"/>
                  </a:lnTo>
                  <a:lnTo>
                    <a:pt x="58" y="272"/>
                  </a:lnTo>
                  <a:lnTo>
                    <a:pt x="61" y="270"/>
                  </a:lnTo>
                  <a:close/>
                  <a:moveTo>
                    <a:pt x="66" y="272"/>
                  </a:moveTo>
                  <a:lnTo>
                    <a:pt x="63" y="270"/>
                  </a:lnTo>
                  <a:lnTo>
                    <a:pt x="63" y="269"/>
                  </a:lnTo>
                  <a:lnTo>
                    <a:pt x="66" y="272"/>
                  </a:lnTo>
                  <a:close/>
                  <a:moveTo>
                    <a:pt x="63" y="269"/>
                  </a:moveTo>
                  <a:lnTo>
                    <a:pt x="63" y="270"/>
                  </a:lnTo>
                  <a:lnTo>
                    <a:pt x="60" y="269"/>
                  </a:lnTo>
                  <a:lnTo>
                    <a:pt x="58" y="269"/>
                  </a:lnTo>
                  <a:lnTo>
                    <a:pt x="61" y="265"/>
                  </a:lnTo>
                  <a:lnTo>
                    <a:pt x="63" y="269"/>
                  </a:lnTo>
                  <a:close/>
                  <a:moveTo>
                    <a:pt x="68" y="265"/>
                  </a:moveTo>
                  <a:lnTo>
                    <a:pt x="70" y="267"/>
                  </a:lnTo>
                  <a:lnTo>
                    <a:pt x="68" y="274"/>
                  </a:lnTo>
                  <a:lnTo>
                    <a:pt x="65" y="270"/>
                  </a:lnTo>
                  <a:lnTo>
                    <a:pt x="63" y="265"/>
                  </a:lnTo>
                  <a:lnTo>
                    <a:pt x="66" y="258"/>
                  </a:lnTo>
                  <a:lnTo>
                    <a:pt x="68" y="265"/>
                  </a:lnTo>
                  <a:close/>
                  <a:moveTo>
                    <a:pt x="72" y="245"/>
                  </a:moveTo>
                  <a:lnTo>
                    <a:pt x="77" y="248"/>
                  </a:lnTo>
                  <a:lnTo>
                    <a:pt x="68" y="246"/>
                  </a:lnTo>
                  <a:lnTo>
                    <a:pt x="68" y="245"/>
                  </a:lnTo>
                  <a:lnTo>
                    <a:pt x="72" y="245"/>
                  </a:lnTo>
                  <a:close/>
                  <a:moveTo>
                    <a:pt x="0" y="234"/>
                  </a:moveTo>
                  <a:lnTo>
                    <a:pt x="2" y="234"/>
                  </a:lnTo>
                  <a:lnTo>
                    <a:pt x="2" y="236"/>
                  </a:lnTo>
                  <a:lnTo>
                    <a:pt x="0" y="236"/>
                  </a:lnTo>
                  <a:lnTo>
                    <a:pt x="0" y="234"/>
                  </a:lnTo>
                  <a:close/>
                  <a:moveTo>
                    <a:pt x="31" y="188"/>
                  </a:moveTo>
                  <a:lnTo>
                    <a:pt x="31" y="193"/>
                  </a:lnTo>
                  <a:lnTo>
                    <a:pt x="27" y="190"/>
                  </a:lnTo>
                  <a:lnTo>
                    <a:pt x="31" y="188"/>
                  </a:lnTo>
                  <a:close/>
                  <a:moveTo>
                    <a:pt x="20" y="163"/>
                  </a:moveTo>
                  <a:lnTo>
                    <a:pt x="19" y="163"/>
                  </a:lnTo>
                  <a:lnTo>
                    <a:pt x="19" y="159"/>
                  </a:lnTo>
                  <a:lnTo>
                    <a:pt x="20" y="163"/>
                  </a:lnTo>
                  <a:close/>
                  <a:moveTo>
                    <a:pt x="14" y="157"/>
                  </a:moveTo>
                  <a:lnTo>
                    <a:pt x="15" y="163"/>
                  </a:lnTo>
                  <a:lnTo>
                    <a:pt x="12" y="161"/>
                  </a:lnTo>
                  <a:lnTo>
                    <a:pt x="10" y="156"/>
                  </a:lnTo>
                  <a:lnTo>
                    <a:pt x="14" y="154"/>
                  </a:lnTo>
                  <a:lnTo>
                    <a:pt x="14" y="157"/>
                  </a:lnTo>
                  <a:close/>
                  <a:moveTo>
                    <a:pt x="20" y="149"/>
                  </a:moveTo>
                  <a:lnTo>
                    <a:pt x="22" y="149"/>
                  </a:lnTo>
                  <a:lnTo>
                    <a:pt x="22" y="152"/>
                  </a:lnTo>
                  <a:lnTo>
                    <a:pt x="20" y="152"/>
                  </a:lnTo>
                  <a:lnTo>
                    <a:pt x="20" y="149"/>
                  </a:lnTo>
                  <a:close/>
                  <a:moveTo>
                    <a:pt x="671" y="81"/>
                  </a:moveTo>
                  <a:lnTo>
                    <a:pt x="664" y="87"/>
                  </a:lnTo>
                  <a:lnTo>
                    <a:pt x="664" y="96"/>
                  </a:lnTo>
                  <a:lnTo>
                    <a:pt x="666" y="99"/>
                  </a:lnTo>
                  <a:lnTo>
                    <a:pt x="662" y="101"/>
                  </a:lnTo>
                  <a:lnTo>
                    <a:pt x="664" y="108"/>
                  </a:lnTo>
                  <a:lnTo>
                    <a:pt x="661" y="113"/>
                  </a:lnTo>
                  <a:lnTo>
                    <a:pt x="659" y="113"/>
                  </a:lnTo>
                  <a:lnTo>
                    <a:pt x="657" y="110"/>
                  </a:lnTo>
                  <a:lnTo>
                    <a:pt x="652" y="115"/>
                  </a:lnTo>
                  <a:lnTo>
                    <a:pt x="645" y="113"/>
                  </a:lnTo>
                  <a:lnTo>
                    <a:pt x="642" y="116"/>
                  </a:lnTo>
                  <a:lnTo>
                    <a:pt x="640" y="122"/>
                  </a:lnTo>
                  <a:lnTo>
                    <a:pt x="633" y="125"/>
                  </a:lnTo>
                  <a:lnTo>
                    <a:pt x="633" y="127"/>
                  </a:lnTo>
                  <a:lnTo>
                    <a:pt x="637" y="132"/>
                  </a:lnTo>
                  <a:lnTo>
                    <a:pt x="631" y="139"/>
                  </a:lnTo>
                  <a:lnTo>
                    <a:pt x="631" y="144"/>
                  </a:lnTo>
                  <a:lnTo>
                    <a:pt x="637" y="149"/>
                  </a:lnTo>
                  <a:lnTo>
                    <a:pt x="633" y="156"/>
                  </a:lnTo>
                  <a:lnTo>
                    <a:pt x="633" y="164"/>
                  </a:lnTo>
                  <a:lnTo>
                    <a:pt x="626" y="168"/>
                  </a:lnTo>
                  <a:lnTo>
                    <a:pt x="628" y="171"/>
                  </a:lnTo>
                  <a:lnTo>
                    <a:pt x="625" y="175"/>
                  </a:lnTo>
                  <a:lnTo>
                    <a:pt x="620" y="183"/>
                  </a:lnTo>
                  <a:lnTo>
                    <a:pt x="616" y="183"/>
                  </a:lnTo>
                  <a:lnTo>
                    <a:pt x="614" y="187"/>
                  </a:lnTo>
                  <a:lnTo>
                    <a:pt x="608" y="190"/>
                  </a:lnTo>
                  <a:lnTo>
                    <a:pt x="606" y="197"/>
                  </a:lnTo>
                  <a:lnTo>
                    <a:pt x="597" y="202"/>
                  </a:lnTo>
                  <a:lnTo>
                    <a:pt x="596" y="204"/>
                  </a:lnTo>
                  <a:lnTo>
                    <a:pt x="589" y="210"/>
                  </a:lnTo>
                  <a:lnTo>
                    <a:pt x="589" y="212"/>
                  </a:lnTo>
                  <a:lnTo>
                    <a:pt x="580" y="217"/>
                  </a:lnTo>
                  <a:lnTo>
                    <a:pt x="579" y="219"/>
                  </a:lnTo>
                  <a:lnTo>
                    <a:pt x="568" y="217"/>
                  </a:lnTo>
                  <a:lnTo>
                    <a:pt x="560" y="222"/>
                  </a:lnTo>
                  <a:lnTo>
                    <a:pt x="563" y="229"/>
                  </a:lnTo>
                  <a:lnTo>
                    <a:pt x="572" y="233"/>
                  </a:lnTo>
                  <a:lnTo>
                    <a:pt x="573" y="234"/>
                  </a:lnTo>
                  <a:lnTo>
                    <a:pt x="575" y="236"/>
                  </a:lnTo>
                  <a:lnTo>
                    <a:pt x="573" y="243"/>
                  </a:lnTo>
                  <a:lnTo>
                    <a:pt x="579" y="250"/>
                  </a:lnTo>
                  <a:lnTo>
                    <a:pt x="577" y="257"/>
                  </a:lnTo>
                  <a:lnTo>
                    <a:pt x="580" y="258"/>
                  </a:lnTo>
                  <a:lnTo>
                    <a:pt x="575" y="265"/>
                  </a:lnTo>
                  <a:lnTo>
                    <a:pt x="577" y="269"/>
                  </a:lnTo>
                  <a:lnTo>
                    <a:pt x="573" y="274"/>
                  </a:lnTo>
                  <a:lnTo>
                    <a:pt x="568" y="277"/>
                  </a:lnTo>
                  <a:lnTo>
                    <a:pt x="561" y="279"/>
                  </a:lnTo>
                  <a:lnTo>
                    <a:pt x="558" y="284"/>
                  </a:lnTo>
                  <a:lnTo>
                    <a:pt x="553" y="287"/>
                  </a:lnTo>
                  <a:lnTo>
                    <a:pt x="553" y="292"/>
                  </a:lnTo>
                  <a:lnTo>
                    <a:pt x="558" y="298"/>
                  </a:lnTo>
                  <a:lnTo>
                    <a:pt x="558" y="301"/>
                  </a:lnTo>
                  <a:lnTo>
                    <a:pt x="553" y="311"/>
                  </a:lnTo>
                  <a:lnTo>
                    <a:pt x="551" y="311"/>
                  </a:lnTo>
                  <a:lnTo>
                    <a:pt x="550" y="306"/>
                  </a:lnTo>
                  <a:lnTo>
                    <a:pt x="543" y="304"/>
                  </a:lnTo>
                  <a:lnTo>
                    <a:pt x="536" y="309"/>
                  </a:lnTo>
                  <a:lnTo>
                    <a:pt x="527" y="309"/>
                  </a:lnTo>
                  <a:lnTo>
                    <a:pt x="522" y="311"/>
                  </a:lnTo>
                  <a:lnTo>
                    <a:pt x="514" y="315"/>
                  </a:lnTo>
                  <a:lnTo>
                    <a:pt x="512" y="316"/>
                  </a:lnTo>
                  <a:lnTo>
                    <a:pt x="507" y="320"/>
                  </a:lnTo>
                  <a:lnTo>
                    <a:pt x="497" y="318"/>
                  </a:lnTo>
                  <a:lnTo>
                    <a:pt x="495" y="320"/>
                  </a:lnTo>
                  <a:lnTo>
                    <a:pt x="497" y="325"/>
                  </a:lnTo>
                  <a:lnTo>
                    <a:pt x="492" y="325"/>
                  </a:lnTo>
                  <a:lnTo>
                    <a:pt x="490" y="328"/>
                  </a:lnTo>
                  <a:lnTo>
                    <a:pt x="480" y="330"/>
                  </a:lnTo>
                  <a:lnTo>
                    <a:pt x="478" y="333"/>
                  </a:lnTo>
                  <a:lnTo>
                    <a:pt x="471" y="333"/>
                  </a:lnTo>
                  <a:lnTo>
                    <a:pt x="466" y="333"/>
                  </a:lnTo>
                  <a:lnTo>
                    <a:pt x="466" y="337"/>
                  </a:lnTo>
                  <a:lnTo>
                    <a:pt x="464" y="339"/>
                  </a:lnTo>
                  <a:lnTo>
                    <a:pt x="459" y="332"/>
                  </a:lnTo>
                  <a:lnTo>
                    <a:pt x="452" y="335"/>
                  </a:lnTo>
                  <a:lnTo>
                    <a:pt x="449" y="337"/>
                  </a:lnTo>
                  <a:lnTo>
                    <a:pt x="447" y="335"/>
                  </a:lnTo>
                  <a:lnTo>
                    <a:pt x="444" y="339"/>
                  </a:lnTo>
                  <a:lnTo>
                    <a:pt x="442" y="339"/>
                  </a:lnTo>
                  <a:lnTo>
                    <a:pt x="442" y="333"/>
                  </a:lnTo>
                  <a:lnTo>
                    <a:pt x="437" y="327"/>
                  </a:lnTo>
                  <a:lnTo>
                    <a:pt x="432" y="323"/>
                  </a:lnTo>
                  <a:lnTo>
                    <a:pt x="427" y="328"/>
                  </a:lnTo>
                  <a:lnTo>
                    <a:pt x="425" y="333"/>
                  </a:lnTo>
                  <a:lnTo>
                    <a:pt x="427" y="337"/>
                  </a:lnTo>
                  <a:lnTo>
                    <a:pt x="422" y="337"/>
                  </a:lnTo>
                  <a:lnTo>
                    <a:pt x="416" y="335"/>
                  </a:lnTo>
                  <a:lnTo>
                    <a:pt x="410" y="335"/>
                  </a:lnTo>
                  <a:lnTo>
                    <a:pt x="411" y="345"/>
                  </a:lnTo>
                  <a:lnTo>
                    <a:pt x="410" y="347"/>
                  </a:lnTo>
                  <a:lnTo>
                    <a:pt x="401" y="349"/>
                  </a:lnTo>
                  <a:lnTo>
                    <a:pt x="396" y="344"/>
                  </a:lnTo>
                  <a:lnTo>
                    <a:pt x="394" y="349"/>
                  </a:lnTo>
                  <a:lnTo>
                    <a:pt x="396" y="356"/>
                  </a:lnTo>
                  <a:lnTo>
                    <a:pt x="392" y="354"/>
                  </a:lnTo>
                  <a:lnTo>
                    <a:pt x="387" y="361"/>
                  </a:lnTo>
                  <a:lnTo>
                    <a:pt x="381" y="359"/>
                  </a:lnTo>
                  <a:lnTo>
                    <a:pt x="375" y="361"/>
                  </a:lnTo>
                  <a:lnTo>
                    <a:pt x="374" y="362"/>
                  </a:lnTo>
                  <a:lnTo>
                    <a:pt x="370" y="364"/>
                  </a:lnTo>
                  <a:lnTo>
                    <a:pt x="362" y="369"/>
                  </a:lnTo>
                  <a:lnTo>
                    <a:pt x="362" y="373"/>
                  </a:lnTo>
                  <a:lnTo>
                    <a:pt x="362" y="374"/>
                  </a:lnTo>
                  <a:lnTo>
                    <a:pt x="358" y="380"/>
                  </a:lnTo>
                  <a:lnTo>
                    <a:pt x="355" y="380"/>
                  </a:lnTo>
                  <a:lnTo>
                    <a:pt x="353" y="383"/>
                  </a:lnTo>
                  <a:lnTo>
                    <a:pt x="355" y="388"/>
                  </a:lnTo>
                  <a:lnTo>
                    <a:pt x="353" y="390"/>
                  </a:lnTo>
                  <a:lnTo>
                    <a:pt x="357" y="393"/>
                  </a:lnTo>
                  <a:lnTo>
                    <a:pt x="355" y="395"/>
                  </a:lnTo>
                  <a:lnTo>
                    <a:pt x="346" y="398"/>
                  </a:lnTo>
                  <a:lnTo>
                    <a:pt x="336" y="400"/>
                  </a:lnTo>
                  <a:lnTo>
                    <a:pt x="334" y="403"/>
                  </a:lnTo>
                  <a:lnTo>
                    <a:pt x="333" y="403"/>
                  </a:lnTo>
                  <a:lnTo>
                    <a:pt x="329" y="409"/>
                  </a:lnTo>
                  <a:lnTo>
                    <a:pt x="328" y="410"/>
                  </a:lnTo>
                  <a:lnTo>
                    <a:pt x="322" y="417"/>
                  </a:lnTo>
                  <a:lnTo>
                    <a:pt x="314" y="421"/>
                  </a:lnTo>
                  <a:lnTo>
                    <a:pt x="311" y="422"/>
                  </a:lnTo>
                  <a:lnTo>
                    <a:pt x="305" y="422"/>
                  </a:lnTo>
                  <a:lnTo>
                    <a:pt x="304" y="426"/>
                  </a:lnTo>
                  <a:lnTo>
                    <a:pt x="300" y="432"/>
                  </a:lnTo>
                  <a:lnTo>
                    <a:pt x="300" y="436"/>
                  </a:lnTo>
                  <a:lnTo>
                    <a:pt x="295" y="438"/>
                  </a:lnTo>
                  <a:lnTo>
                    <a:pt x="293" y="434"/>
                  </a:lnTo>
                  <a:lnTo>
                    <a:pt x="288" y="438"/>
                  </a:lnTo>
                  <a:lnTo>
                    <a:pt x="285" y="434"/>
                  </a:lnTo>
                  <a:lnTo>
                    <a:pt x="282" y="439"/>
                  </a:lnTo>
                  <a:lnTo>
                    <a:pt x="276" y="441"/>
                  </a:lnTo>
                  <a:lnTo>
                    <a:pt x="270" y="446"/>
                  </a:lnTo>
                  <a:lnTo>
                    <a:pt x="270" y="451"/>
                  </a:lnTo>
                  <a:lnTo>
                    <a:pt x="273" y="451"/>
                  </a:lnTo>
                  <a:lnTo>
                    <a:pt x="275" y="456"/>
                  </a:lnTo>
                  <a:lnTo>
                    <a:pt x="280" y="455"/>
                  </a:lnTo>
                  <a:lnTo>
                    <a:pt x="283" y="451"/>
                  </a:lnTo>
                  <a:lnTo>
                    <a:pt x="285" y="451"/>
                  </a:lnTo>
                  <a:lnTo>
                    <a:pt x="288" y="455"/>
                  </a:lnTo>
                  <a:lnTo>
                    <a:pt x="288" y="463"/>
                  </a:lnTo>
                  <a:lnTo>
                    <a:pt x="285" y="472"/>
                  </a:lnTo>
                  <a:lnTo>
                    <a:pt x="283" y="475"/>
                  </a:lnTo>
                  <a:lnTo>
                    <a:pt x="287" y="479"/>
                  </a:lnTo>
                  <a:lnTo>
                    <a:pt x="285" y="484"/>
                  </a:lnTo>
                  <a:lnTo>
                    <a:pt x="288" y="485"/>
                  </a:lnTo>
                  <a:lnTo>
                    <a:pt x="293" y="489"/>
                  </a:lnTo>
                  <a:lnTo>
                    <a:pt x="293" y="492"/>
                  </a:lnTo>
                  <a:lnTo>
                    <a:pt x="297" y="492"/>
                  </a:lnTo>
                  <a:lnTo>
                    <a:pt x="297" y="496"/>
                  </a:lnTo>
                  <a:lnTo>
                    <a:pt x="293" y="497"/>
                  </a:lnTo>
                  <a:lnTo>
                    <a:pt x="293" y="502"/>
                  </a:lnTo>
                  <a:lnTo>
                    <a:pt x="297" y="509"/>
                  </a:lnTo>
                  <a:lnTo>
                    <a:pt x="295" y="513"/>
                  </a:lnTo>
                  <a:lnTo>
                    <a:pt x="290" y="520"/>
                  </a:lnTo>
                  <a:lnTo>
                    <a:pt x="293" y="523"/>
                  </a:lnTo>
                  <a:lnTo>
                    <a:pt x="297" y="532"/>
                  </a:lnTo>
                  <a:lnTo>
                    <a:pt x="297" y="537"/>
                  </a:lnTo>
                  <a:lnTo>
                    <a:pt x="299" y="545"/>
                  </a:lnTo>
                  <a:lnTo>
                    <a:pt x="300" y="555"/>
                  </a:lnTo>
                  <a:lnTo>
                    <a:pt x="304" y="562"/>
                  </a:lnTo>
                  <a:lnTo>
                    <a:pt x="300" y="569"/>
                  </a:lnTo>
                  <a:lnTo>
                    <a:pt x="304" y="571"/>
                  </a:lnTo>
                  <a:lnTo>
                    <a:pt x="307" y="571"/>
                  </a:lnTo>
                  <a:lnTo>
                    <a:pt x="307" y="574"/>
                  </a:lnTo>
                  <a:lnTo>
                    <a:pt x="302" y="581"/>
                  </a:lnTo>
                  <a:lnTo>
                    <a:pt x="299" y="583"/>
                  </a:lnTo>
                  <a:lnTo>
                    <a:pt x="292" y="584"/>
                  </a:lnTo>
                  <a:lnTo>
                    <a:pt x="288" y="584"/>
                  </a:lnTo>
                  <a:lnTo>
                    <a:pt x="283" y="593"/>
                  </a:lnTo>
                  <a:lnTo>
                    <a:pt x="273" y="595"/>
                  </a:lnTo>
                  <a:lnTo>
                    <a:pt x="270" y="598"/>
                  </a:lnTo>
                  <a:lnTo>
                    <a:pt x="261" y="600"/>
                  </a:lnTo>
                  <a:lnTo>
                    <a:pt x="258" y="603"/>
                  </a:lnTo>
                  <a:lnTo>
                    <a:pt x="254" y="608"/>
                  </a:lnTo>
                  <a:lnTo>
                    <a:pt x="254" y="610"/>
                  </a:lnTo>
                  <a:lnTo>
                    <a:pt x="244" y="615"/>
                  </a:lnTo>
                  <a:lnTo>
                    <a:pt x="241" y="608"/>
                  </a:lnTo>
                  <a:lnTo>
                    <a:pt x="244" y="608"/>
                  </a:lnTo>
                  <a:lnTo>
                    <a:pt x="242" y="602"/>
                  </a:lnTo>
                  <a:lnTo>
                    <a:pt x="242" y="596"/>
                  </a:lnTo>
                  <a:lnTo>
                    <a:pt x="239" y="593"/>
                  </a:lnTo>
                  <a:lnTo>
                    <a:pt x="234" y="591"/>
                  </a:lnTo>
                  <a:lnTo>
                    <a:pt x="229" y="591"/>
                  </a:lnTo>
                  <a:lnTo>
                    <a:pt x="223" y="595"/>
                  </a:lnTo>
                  <a:lnTo>
                    <a:pt x="217" y="598"/>
                  </a:lnTo>
                  <a:lnTo>
                    <a:pt x="210" y="603"/>
                  </a:lnTo>
                  <a:lnTo>
                    <a:pt x="203" y="610"/>
                  </a:lnTo>
                  <a:lnTo>
                    <a:pt x="198" y="605"/>
                  </a:lnTo>
                  <a:lnTo>
                    <a:pt x="194" y="596"/>
                  </a:lnTo>
                  <a:lnTo>
                    <a:pt x="198" y="590"/>
                  </a:lnTo>
                  <a:lnTo>
                    <a:pt x="198" y="581"/>
                  </a:lnTo>
                  <a:lnTo>
                    <a:pt x="193" y="579"/>
                  </a:lnTo>
                  <a:lnTo>
                    <a:pt x="194" y="574"/>
                  </a:lnTo>
                  <a:lnTo>
                    <a:pt x="193" y="567"/>
                  </a:lnTo>
                  <a:lnTo>
                    <a:pt x="184" y="564"/>
                  </a:lnTo>
                  <a:lnTo>
                    <a:pt x="189" y="559"/>
                  </a:lnTo>
                  <a:lnTo>
                    <a:pt x="191" y="554"/>
                  </a:lnTo>
                  <a:lnTo>
                    <a:pt x="189" y="545"/>
                  </a:lnTo>
                  <a:lnTo>
                    <a:pt x="184" y="542"/>
                  </a:lnTo>
                  <a:lnTo>
                    <a:pt x="186" y="540"/>
                  </a:lnTo>
                  <a:lnTo>
                    <a:pt x="184" y="530"/>
                  </a:lnTo>
                  <a:lnTo>
                    <a:pt x="183" y="523"/>
                  </a:lnTo>
                  <a:lnTo>
                    <a:pt x="177" y="520"/>
                  </a:lnTo>
                  <a:lnTo>
                    <a:pt x="174" y="520"/>
                  </a:lnTo>
                  <a:lnTo>
                    <a:pt x="177" y="518"/>
                  </a:lnTo>
                  <a:lnTo>
                    <a:pt x="177" y="511"/>
                  </a:lnTo>
                  <a:lnTo>
                    <a:pt x="181" y="506"/>
                  </a:lnTo>
                  <a:lnTo>
                    <a:pt x="181" y="499"/>
                  </a:lnTo>
                  <a:lnTo>
                    <a:pt x="181" y="496"/>
                  </a:lnTo>
                  <a:lnTo>
                    <a:pt x="179" y="487"/>
                  </a:lnTo>
                  <a:lnTo>
                    <a:pt x="174" y="482"/>
                  </a:lnTo>
                  <a:lnTo>
                    <a:pt x="167" y="479"/>
                  </a:lnTo>
                  <a:lnTo>
                    <a:pt x="157" y="473"/>
                  </a:lnTo>
                  <a:lnTo>
                    <a:pt x="155" y="470"/>
                  </a:lnTo>
                  <a:lnTo>
                    <a:pt x="159" y="470"/>
                  </a:lnTo>
                  <a:lnTo>
                    <a:pt x="157" y="467"/>
                  </a:lnTo>
                  <a:lnTo>
                    <a:pt x="157" y="463"/>
                  </a:lnTo>
                  <a:lnTo>
                    <a:pt x="160" y="463"/>
                  </a:lnTo>
                  <a:lnTo>
                    <a:pt x="160" y="461"/>
                  </a:lnTo>
                  <a:lnTo>
                    <a:pt x="164" y="460"/>
                  </a:lnTo>
                  <a:lnTo>
                    <a:pt x="171" y="451"/>
                  </a:lnTo>
                  <a:lnTo>
                    <a:pt x="171" y="448"/>
                  </a:lnTo>
                  <a:lnTo>
                    <a:pt x="172" y="439"/>
                  </a:lnTo>
                  <a:lnTo>
                    <a:pt x="171" y="432"/>
                  </a:lnTo>
                  <a:lnTo>
                    <a:pt x="174" y="426"/>
                  </a:lnTo>
                  <a:lnTo>
                    <a:pt x="174" y="422"/>
                  </a:lnTo>
                  <a:lnTo>
                    <a:pt x="176" y="419"/>
                  </a:lnTo>
                  <a:lnTo>
                    <a:pt x="174" y="412"/>
                  </a:lnTo>
                  <a:lnTo>
                    <a:pt x="169" y="405"/>
                  </a:lnTo>
                  <a:lnTo>
                    <a:pt x="167" y="403"/>
                  </a:lnTo>
                  <a:lnTo>
                    <a:pt x="162" y="403"/>
                  </a:lnTo>
                  <a:lnTo>
                    <a:pt x="160" y="400"/>
                  </a:lnTo>
                  <a:lnTo>
                    <a:pt x="160" y="398"/>
                  </a:lnTo>
                  <a:lnTo>
                    <a:pt x="159" y="397"/>
                  </a:lnTo>
                  <a:lnTo>
                    <a:pt x="155" y="395"/>
                  </a:lnTo>
                  <a:lnTo>
                    <a:pt x="160" y="385"/>
                  </a:lnTo>
                  <a:lnTo>
                    <a:pt x="150" y="381"/>
                  </a:lnTo>
                  <a:lnTo>
                    <a:pt x="145" y="381"/>
                  </a:lnTo>
                  <a:lnTo>
                    <a:pt x="143" y="376"/>
                  </a:lnTo>
                  <a:lnTo>
                    <a:pt x="140" y="376"/>
                  </a:lnTo>
                  <a:lnTo>
                    <a:pt x="138" y="369"/>
                  </a:lnTo>
                  <a:lnTo>
                    <a:pt x="135" y="369"/>
                  </a:lnTo>
                  <a:lnTo>
                    <a:pt x="135" y="361"/>
                  </a:lnTo>
                  <a:lnTo>
                    <a:pt x="135" y="368"/>
                  </a:lnTo>
                  <a:lnTo>
                    <a:pt x="130" y="373"/>
                  </a:lnTo>
                  <a:lnTo>
                    <a:pt x="128" y="369"/>
                  </a:lnTo>
                  <a:lnTo>
                    <a:pt x="124" y="371"/>
                  </a:lnTo>
                  <a:lnTo>
                    <a:pt x="123" y="366"/>
                  </a:lnTo>
                  <a:lnTo>
                    <a:pt x="123" y="368"/>
                  </a:lnTo>
                  <a:lnTo>
                    <a:pt x="121" y="368"/>
                  </a:lnTo>
                  <a:lnTo>
                    <a:pt x="118" y="359"/>
                  </a:lnTo>
                  <a:lnTo>
                    <a:pt x="114" y="357"/>
                  </a:lnTo>
                  <a:lnTo>
                    <a:pt x="111" y="357"/>
                  </a:lnTo>
                  <a:lnTo>
                    <a:pt x="102" y="354"/>
                  </a:lnTo>
                  <a:lnTo>
                    <a:pt x="101" y="352"/>
                  </a:lnTo>
                  <a:lnTo>
                    <a:pt x="97" y="356"/>
                  </a:lnTo>
                  <a:lnTo>
                    <a:pt x="99" y="357"/>
                  </a:lnTo>
                  <a:lnTo>
                    <a:pt x="97" y="361"/>
                  </a:lnTo>
                  <a:lnTo>
                    <a:pt x="95" y="357"/>
                  </a:lnTo>
                  <a:lnTo>
                    <a:pt x="97" y="361"/>
                  </a:lnTo>
                  <a:lnTo>
                    <a:pt x="95" y="362"/>
                  </a:lnTo>
                  <a:lnTo>
                    <a:pt x="90" y="361"/>
                  </a:lnTo>
                  <a:lnTo>
                    <a:pt x="85" y="359"/>
                  </a:lnTo>
                  <a:lnTo>
                    <a:pt x="78" y="352"/>
                  </a:lnTo>
                  <a:lnTo>
                    <a:pt x="75" y="347"/>
                  </a:lnTo>
                  <a:lnTo>
                    <a:pt x="77" y="342"/>
                  </a:lnTo>
                  <a:lnTo>
                    <a:pt x="77" y="333"/>
                  </a:lnTo>
                  <a:lnTo>
                    <a:pt x="77" y="330"/>
                  </a:lnTo>
                  <a:lnTo>
                    <a:pt x="85" y="335"/>
                  </a:lnTo>
                  <a:lnTo>
                    <a:pt x="94" y="335"/>
                  </a:lnTo>
                  <a:lnTo>
                    <a:pt x="104" y="340"/>
                  </a:lnTo>
                  <a:lnTo>
                    <a:pt x="111" y="339"/>
                  </a:lnTo>
                  <a:lnTo>
                    <a:pt x="116" y="342"/>
                  </a:lnTo>
                  <a:lnTo>
                    <a:pt x="116" y="340"/>
                  </a:lnTo>
                  <a:lnTo>
                    <a:pt x="113" y="339"/>
                  </a:lnTo>
                  <a:lnTo>
                    <a:pt x="114" y="337"/>
                  </a:lnTo>
                  <a:lnTo>
                    <a:pt x="113" y="339"/>
                  </a:lnTo>
                  <a:lnTo>
                    <a:pt x="102" y="339"/>
                  </a:lnTo>
                  <a:lnTo>
                    <a:pt x="101" y="335"/>
                  </a:lnTo>
                  <a:lnTo>
                    <a:pt x="102" y="335"/>
                  </a:lnTo>
                  <a:lnTo>
                    <a:pt x="97" y="332"/>
                  </a:lnTo>
                  <a:lnTo>
                    <a:pt x="101" y="330"/>
                  </a:lnTo>
                  <a:lnTo>
                    <a:pt x="107" y="335"/>
                  </a:lnTo>
                  <a:lnTo>
                    <a:pt x="113" y="335"/>
                  </a:lnTo>
                  <a:lnTo>
                    <a:pt x="118" y="333"/>
                  </a:lnTo>
                  <a:lnTo>
                    <a:pt x="118" y="328"/>
                  </a:lnTo>
                  <a:lnTo>
                    <a:pt x="113" y="328"/>
                  </a:lnTo>
                  <a:lnTo>
                    <a:pt x="104" y="325"/>
                  </a:lnTo>
                  <a:lnTo>
                    <a:pt x="97" y="327"/>
                  </a:lnTo>
                  <a:lnTo>
                    <a:pt x="94" y="323"/>
                  </a:lnTo>
                  <a:lnTo>
                    <a:pt x="94" y="321"/>
                  </a:lnTo>
                  <a:lnTo>
                    <a:pt x="95" y="320"/>
                  </a:lnTo>
                  <a:lnTo>
                    <a:pt x="94" y="320"/>
                  </a:lnTo>
                  <a:lnTo>
                    <a:pt x="92" y="321"/>
                  </a:lnTo>
                  <a:lnTo>
                    <a:pt x="84" y="321"/>
                  </a:lnTo>
                  <a:lnTo>
                    <a:pt x="77" y="323"/>
                  </a:lnTo>
                  <a:lnTo>
                    <a:pt x="72" y="316"/>
                  </a:lnTo>
                  <a:lnTo>
                    <a:pt x="70" y="316"/>
                  </a:lnTo>
                  <a:lnTo>
                    <a:pt x="70" y="318"/>
                  </a:lnTo>
                  <a:lnTo>
                    <a:pt x="65" y="318"/>
                  </a:lnTo>
                  <a:lnTo>
                    <a:pt x="61" y="311"/>
                  </a:lnTo>
                  <a:lnTo>
                    <a:pt x="61" y="303"/>
                  </a:lnTo>
                  <a:lnTo>
                    <a:pt x="60" y="294"/>
                  </a:lnTo>
                  <a:lnTo>
                    <a:pt x="60" y="292"/>
                  </a:lnTo>
                  <a:lnTo>
                    <a:pt x="66" y="294"/>
                  </a:lnTo>
                  <a:lnTo>
                    <a:pt x="61" y="292"/>
                  </a:lnTo>
                  <a:lnTo>
                    <a:pt x="58" y="284"/>
                  </a:lnTo>
                  <a:lnTo>
                    <a:pt x="61" y="282"/>
                  </a:lnTo>
                  <a:lnTo>
                    <a:pt x="63" y="279"/>
                  </a:lnTo>
                  <a:lnTo>
                    <a:pt x="72" y="277"/>
                  </a:lnTo>
                  <a:lnTo>
                    <a:pt x="70" y="274"/>
                  </a:lnTo>
                  <a:lnTo>
                    <a:pt x="70" y="267"/>
                  </a:lnTo>
                  <a:lnTo>
                    <a:pt x="70" y="262"/>
                  </a:lnTo>
                  <a:lnTo>
                    <a:pt x="66" y="255"/>
                  </a:lnTo>
                  <a:lnTo>
                    <a:pt x="68" y="246"/>
                  </a:lnTo>
                  <a:lnTo>
                    <a:pt x="73" y="248"/>
                  </a:lnTo>
                  <a:lnTo>
                    <a:pt x="77" y="248"/>
                  </a:lnTo>
                  <a:lnTo>
                    <a:pt x="78" y="248"/>
                  </a:lnTo>
                  <a:lnTo>
                    <a:pt x="75" y="246"/>
                  </a:lnTo>
                  <a:lnTo>
                    <a:pt x="68" y="241"/>
                  </a:lnTo>
                  <a:lnTo>
                    <a:pt x="63" y="234"/>
                  </a:lnTo>
                  <a:lnTo>
                    <a:pt x="61" y="226"/>
                  </a:lnTo>
                  <a:lnTo>
                    <a:pt x="58" y="221"/>
                  </a:lnTo>
                  <a:lnTo>
                    <a:pt x="49" y="216"/>
                  </a:lnTo>
                  <a:lnTo>
                    <a:pt x="43" y="212"/>
                  </a:lnTo>
                  <a:lnTo>
                    <a:pt x="37" y="212"/>
                  </a:lnTo>
                  <a:lnTo>
                    <a:pt x="41" y="204"/>
                  </a:lnTo>
                  <a:lnTo>
                    <a:pt x="41" y="197"/>
                  </a:lnTo>
                  <a:lnTo>
                    <a:pt x="36" y="193"/>
                  </a:lnTo>
                  <a:lnTo>
                    <a:pt x="39" y="183"/>
                  </a:lnTo>
                  <a:lnTo>
                    <a:pt x="39" y="176"/>
                  </a:lnTo>
                  <a:lnTo>
                    <a:pt x="36" y="169"/>
                  </a:lnTo>
                  <a:lnTo>
                    <a:pt x="32" y="166"/>
                  </a:lnTo>
                  <a:lnTo>
                    <a:pt x="32" y="157"/>
                  </a:lnTo>
                  <a:lnTo>
                    <a:pt x="31" y="156"/>
                  </a:lnTo>
                  <a:lnTo>
                    <a:pt x="29" y="152"/>
                  </a:lnTo>
                  <a:lnTo>
                    <a:pt x="36" y="146"/>
                  </a:lnTo>
                  <a:lnTo>
                    <a:pt x="37" y="147"/>
                  </a:lnTo>
                  <a:lnTo>
                    <a:pt x="39" y="146"/>
                  </a:lnTo>
                  <a:lnTo>
                    <a:pt x="44" y="137"/>
                  </a:lnTo>
                  <a:lnTo>
                    <a:pt x="44" y="127"/>
                  </a:lnTo>
                  <a:lnTo>
                    <a:pt x="39" y="118"/>
                  </a:lnTo>
                  <a:lnTo>
                    <a:pt x="39" y="116"/>
                  </a:lnTo>
                  <a:lnTo>
                    <a:pt x="36" y="111"/>
                  </a:lnTo>
                  <a:lnTo>
                    <a:pt x="44" y="110"/>
                  </a:lnTo>
                  <a:lnTo>
                    <a:pt x="43" y="105"/>
                  </a:lnTo>
                  <a:lnTo>
                    <a:pt x="46" y="98"/>
                  </a:lnTo>
                  <a:lnTo>
                    <a:pt x="53" y="91"/>
                  </a:lnTo>
                  <a:lnTo>
                    <a:pt x="53" y="86"/>
                  </a:lnTo>
                  <a:lnTo>
                    <a:pt x="51" y="81"/>
                  </a:lnTo>
                  <a:lnTo>
                    <a:pt x="53" y="76"/>
                  </a:lnTo>
                  <a:lnTo>
                    <a:pt x="53" y="70"/>
                  </a:lnTo>
                  <a:lnTo>
                    <a:pt x="54" y="67"/>
                  </a:lnTo>
                  <a:lnTo>
                    <a:pt x="63" y="60"/>
                  </a:lnTo>
                  <a:lnTo>
                    <a:pt x="65" y="58"/>
                  </a:lnTo>
                  <a:lnTo>
                    <a:pt x="73" y="55"/>
                  </a:lnTo>
                  <a:lnTo>
                    <a:pt x="78" y="52"/>
                  </a:lnTo>
                  <a:lnTo>
                    <a:pt x="80" y="45"/>
                  </a:lnTo>
                  <a:lnTo>
                    <a:pt x="84" y="36"/>
                  </a:lnTo>
                  <a:lnTo>
                    <a:pt x="87" y="36"/>
                  </a:lnTo>
                  <a:lnTo>
                    <a:pt x="82" y="38"/>
                  </a:lnTo>
                  <a:lnTo>
                    <a:pt x="87" y="31"/>
                  </a:lnTo>
                  <a:lnTo>
                    <a:pt x="89" y="26"/>
                  </a:lnTo>
                  <a:lnTo>
                    <a:pt x="85" y="19"/>
                  </a:lnTo>
                  <a:lnTo>
                    <a:pt x="89" y="17"/>
                  </a:lnTo>
                  <a:lnTo>
                    <a:pt x="99" y="17"/>
                  </a:lnTo>
                  <a:lnTo>
                    <a:pt x="104" y="12"/>
                  </a:lnTo>
                  <a:lnTo>
                    <a:pt x="111" y="12"/>
                  </a:lnTo>
                  <a:lnTo>
                    <a:pt x="118" y="12"/>
                  </a:lnTo>
                  <a:lnTo>
                    <a:pt x="123" y="2"/>
                  </a:lnTo>
                  <a:lnTo>
                    <a:pt x="124" y="0"/>
                  </a:lnTo>
                  <a:lnTo>
                    <a:pt x="124" y="7"/>
                  </a:lnTo>
                  <a:lnTo>
                    <a:pt x="121" y="12"/>
                  </a:lnTo>
                  <a:lnTo>
                    <a:pt x="118" y="14"/>
                  </a:lnTo>
                  <a:lnTo>
                    <a:pt x="116" y="19"/>
                  </a:lnTo>
                  <a:lnTo>
                    <a:pt x="111" y="21"/>
                  </a:lnTo>
                  <a:lnTo>
                    <a:pt x="114" y="28"/>
                  </a:lnTo>
                  <a:lnTo>
                    <a:pt x="116" y="29"/>
                  </a:lnTo>
                  <a:lnTo>
                    <a:pt x="118" y="35"/>
                  </a:lnTo>
                  <a:lnTo>
                    <a:pt x="126" y="35"/>
                  </a:lnTo>
                  <a:lnTo>
                    <a:pt x="130" y="36"/>
                  </a:lnTo>
                  <a:lnTo>
                    <a:pt x="128" y="43"/>
                  </a:lnTo>
                  <a:lnTo>
                    <a:pt x="126" y="48"/>
                  </a:lnTo>
                  <a:lnTo>
                    <a:pt x="126" y="57"/>
                  </a:lnTo>
                  <a:lnTo>
                    <a:pt x="130" y="58"/>
                  </a:lnTo>
                  <a:lnTo>
                    <a:pt x="133" y="64"/>
                  </a:lnTo>
                  <a:lnTo>
                    <a:pt x="142" y="69"/>
                  </a:lnTo>
                  <a:lnTo>
                    <a:pt x="143" y="70"/>
                  </a:lnTo>
                  <a:lnTo>
                    <a:pt x="143" y="76"/>
                  </a:lnTo>
                  <a:lnTo>
                    <a:pt x="147" y="72"/>
                  </a:lnTo>
                  <a:lnTo>
                    <a:pt x="148" y="81"/>
                  </a:lnTo>
                  <a:lnTo>
                    <a:pt x="155" y="81"/>
                  </a:lnTo>
                  <a:lnTo>
                    <a:pt x="159" y="81"/>
                  </a:lnTo>
                  <a:lnTo>
                    <a:pt x="162" y="82"/>
                  </a:lnTo>
                  <a:lnTo>
                    <a:pt x="164" y="84"/>
                  </a:lnTo>
                  <a:lnTo>
                    <a:pt x="165" y="94"/>
                  </a:lnTo>
                  <a:lnTo>
                    <a:pt x="174" y="99"/>
                  </a:lnTo>
                  <a:lnTo>
                    <a:pt x="176" y="103"/>
                  </a:lnTo>
                  <a:lnTo>
                    <a:pt x="174" y="106"/>
                  </a:lnTo>
                  <a:lnTo>
                    <a:pt x="177" y="105"/>
                  </a:lnTo>
                  <a:lnTo>
                    <a:pt x="179" y="106"/>
                  </a:lnTo>
                  <a:lnTo>
                    <a:pt x="186" y="106"/>
                  </a:lnTo>
                  <a:lnTo>
                    <a:pt x="191" y="110"/>
                  </a:lnTo>
                  <a:lnTo>
                    <a:pt x="193" y="113"/>
                  </a:lnTo>
                  <a:lnTo>
                    <a:pt x="193" y="116"/>
                  </a:lnTo>
                  <a:lnTo>
                    <a:pt x="196" y="116"/>
                  </a:lnTo>
                  <a:lnTo>
                    <a:pt x="200" y="125"/>
                  </a:lnTo>
                  <a:lnTo>
                    <a:pt x="201" y="125"/>
                  </a:lnTo>
                  <a:lnTo>
                    <a:pt x="200" y="132"/>
                  </a:lnTo>
                  <a:lnTo>
                    <a:pt x="206" y="132"/>
                  </a:lnTo>
                  <a:lnTo>
                    <a:pt x="208" y="130"/>
                  </a:lnTo>
                  <a:lnTo>
                    <a:pt x="210" y="132"/>
                  </a:lnTo>
                  <a:lnTo>
                    <a:pt x="215" y="130"/>
                  </a:lnTo>
                  <a:lnTo>
                    <a:pt x="217" y="137"/>
                  </a:lnTo>
                  <a:lnTo>
                    <a:pt x="220" y="137"/>
                  </a:lnTo>
                  <a:lnTo>
                    <a:pt x="220" y="142"/>
                  </a:lnTo>
                  <a:lnTo>
                    <a:pt x="227" y="146"/>
                  </a:lnTo>
                  <a:lnTo>
                    <a:pt x="237" y="147"/>
                  </a:lnTo>
                  <a:lnTo>
                    <a:pt x="242" y="146"/>
                  </a:lnTo>
                  <a:lnTo>
                    <a:pt x="242" y="144"/>
                  </a:lnTo>
                  <a:lnTo>
                    <a:pt x="247" y="146"/>
                  </a:lnTo>
                  <a:lnTo>
                    <a:pt x="253" y="142"/>
                  </a:lnTo>
                  <a:lnTo>
                    <a:pt x="258" y="142"/>
                  </a:lnTo>
                  <a:lnTo>
                    <a:pt x="259" y="139"/>
                  </a:lnTo>
                  <a:lnTo>
                    <a:pt x="264" y="142"/>
                  </a:lnTo>
                  <a:lnTo>
                    <a:pt x="264" y="137"/>
                  </a:lnTo>
                  <a:lnTo>
                    <a:pt x="270" y="137"/>
                  </a:lnTo>
                  <a:lnTo>
                    <a:pt x="273" y="134"/>
                  </a:lnTo>
                  <a:lnTo>
                    <a:pt x="276" y="127"/>
                  </a:lnTo>
                  <a:lnTo>
                    <a:pt x="280" y="127"/>
                  </a:lnTo>
                  <a:lnTo>
                    <a:pt x="287" y="127"/>
                  </a:lnTo>
                  <a:lnTo>
                    <a:pt x="295" y="125"/>
                  </a:lnTo>
                  <a:lnTo>
                    <a:pt x="305" y="125"/>
                  </a:lnTo>
                  <a:lnTo>
                    <a:pt x="314" y="120"/>
                  </a:lnTo>
                  <a:lnTo>
                    <a:pt x="317" y="123"/>
                  </a:lnTo>
                  <a:lnTo>
                    <a:pt x="319" y="123"/>
                  </a:lnTo>
                  <a:lnTo>
                    <a:pt x="328" y="127"/>
                  </a:lnTo>
                  <a:lnTo>
                    <a:pt x="333" y="128"/>
                  </a:lnTo>
                  <a:lnTo>
                    <a:pt x="338" y="130"/>
                  </a:lnTo>
                  <a:lnTo>
                    <a:pt x="343" y="127"/>
                  </a:lnTo>
                  <a:lnTo>
                    <a:pt x="345" y="127"/>
                  </a:lnTo>
                  <a:lnTo>
                    <a:pt x="348" y="130"/>
                  </a:lnTo>
                  <a:lnTo>
                    <a:pt x="350" y="135"/>
                  </a:lnTo>
                  <a:lnTo>
                    <a:pt x="353" y="137"/>
                  </a:lnTo>
                  <a:lnTo>
                    <a:pt x="353" y="132"/>
                  </a:lnTo>
                  <a:lnTo>
                    <a:pt x="357" y="132"/>
                  </a:lnTo>
                  <a:lnTo>
                    <a:pt x="365" y="125"/>
                  </a:lnTo>
                  <a:lnTo>
                    <a:pt x="374" y="130"/>
                  </a:lnTo>
                  <a:lnTo>
                    <a:pt x="379" y="128"/>
                  </a:lnTo>
                  <a:lnTo>
                    <a:pt x="381" y="130"/>
                  </a:lnTo>
                  <a:lnTo>
                    <a:pt x="386" y="132"/>
                  </a:lnTo>
                  <a:lnTo>
                    <a:pt x="391" y="130"/>
                  </a:lnTo>
                  <a:lnTo>
                    <a:pt x="392" y="123"/>
                  </a:lnTo>
                  <a:lnTo>
                    <a:pt x="398" y="120"/>
                  </a:lnTo>
                  <a:lnTo>
                    <a:pt x="399" y="116"/>
                  </a:lnTo>
                  <a:lnTo>
                    <a:pt x="406" y="115"/>
                  </a:lnTo>
                  <a:lnTo>
                    <a:pt x="410" y="115"/>
                  </a:lnTo>
                  <a:lnTo>
                    <a:pt x="413" y="115"/>
                  </a:lnTo>
                  <a:lnTo>
                    <a:pt x="423" y="115"/>
                  </a:lnTo>
                  <a:lnTo>
                    <a:pt x="425" y="111"/>
                  </a:lnTo>
                  <a:lnTo>
                    <a:pt x="423" y="110"/>
                  </a:lnTo>
                  <a:lnTo>
                    <a:pt x="427" y="105"/>
                  </a:lnTo>
                  <a:lnTo>
                    <a:pt x="425" y="101"/>
                  </a:lnTo>
                  <a:lnTo>
                    <a:pt x="427" y="101"/>
                  </a:lnTo>
                  <a:lnTo>
                    <a:pt x="428" y="94"/>
                  </a:lnTo>
                  <a:lnTo>
                    <a:pt x="432" y="93"/>
                  </a:lnTo>
                  <a:lnTo>
                    <a:pt x="435" y="86"/>
                  </a:lnTo>
                  <a:lnTo>
                    <a:pt x="435" y="82"/>
                  </a:lnTo>
                  <a:lnTo>
                    <a:pt x="430" y="82"/>
                  </a:lnTo>
                  <a:lnTo>
                    <a:pt x="432" y="77"/>
                  </a:lnTo>
                  <a:lnTo>
                    <a:pt x="440" y="74"/>
                  </a:lnTo>
                  <a:lnTo>
                    <a:pt x="445" y="70"/>
                  </a:lnTo>
                  <a:lnTo>
                    <a:pt x="451" y="70"/>
                  </a:lnTo>
                  <a:lnTo>
                    <a:pt x="459" y="67"/>
                  </a:lnTo>
                  <a:lnTo>
                    <a:pt x="461" y="64"/>
                  </a:lnTo>
                  <a:lnTo>
                    <a:pt x="466" y="60"/>
                  </a:lnTo>
                  <a:lnTo>
                    <a:pt x="468" y="62"/>
                  </a:lnTo>
                  <a:lnTo>
                    <a:pt x="476" y="62"/>
                  </a:lnTo>
                  <a:lnTo>
                    <a:pt x="481" y="64"/>
                  </a:lnTo>
                  <a:lnTo>
                    <a:pt x="485" y="62"/>
                  </a:lnTo>
                  <a:lnTo>
                    <a:pt x="486" y="64"/>
                  </a:lnTo>
                  <a:lnTo>
                    <a:pt x="493" y="64"/>
                  </a:lnTo>
                  <a:lnTo>
                    <a:pt x="500" y="64"/>
                  </a:lnTo>
                  <a:lnTo>
                    <a:pt x="507" y="67"/>
                  </a:lnTo>
                  <a:lnTo>
                    <a:pt x="512" y="60"/>
                  </a:lnTo>
                  <a:lnTo>
                    <a:pt x="521" y="62"/>
                  </a:lnTo>
                  <a:lnTo>
                    <a:pt x="524" y="64"/>
                  </a:lnTo>
                  <a:lnTo>
                    <a:pt x="526" y="62"/>
                  </a:lnTo>
                  <a:lnTo>
                    <a:pt x="534" y="64"/>
                  </a:lnTo>
                  <a:lnTo>
                    <a:pt x="534" y="67"/>
                  </a:lnTo>
                  <a:lnTo>
                    <a:pt x="531" y="72"/>
                  </a:lnTo>
                  <a:lnTo>
                    <a:pt x="531" y="74"/>
                  </a:lnTo>
                  <a:lnTo>
                    <a:pt x="524" y="77"/>
                  </a:lnTo>
                  <a:lnTo>
                    <a:pt x="524" y="82"/>
                  </a:lnTo>
                  <a:lnTo>
                    <a:pt x="529" y="82"/>
                  </a:lnTo>
                  <a:lnTo>
                    <a:pt x="532" y="81"/>
                  </a:lnTo>
                  <a:lnTo>
                    <a:pt x="538" y="79"/>
                  </a:lnTo>
                  <a:lnTo>
                    <a:pt x="539" y="77"/>
                  </a:lnTo>
                  <a:lnTo>
                    <a:pt x="544" y="84"/>
                  </a:lnTo>
                  <a:lnTo>
                    <a:pt x="548" y="86"/>
                  </a:lnTo>
                  <a:lnTo>
                    <a:pt x="555" y="82"/>
                  </a:lnTo>
                  <a:lnTo>
                    <a:pt x="565" y="86"/>
                  </a:lnTo>
                  <a:lnTo>
                    <a:pt x="570" y="89"/>
                  </a:lnTo>
                  <a:lnTo>
                    <a:pt x="572" y="93"/>
                  </a:lnTo>
                  <a:lnTo>
                    <a:pt x="579" y="96"/>
                  </a:lnTo>
                  <a:lnTo>
                    <a:pt x="585" y="93"/>
                  </a:lnTo>
                  <a:lnTo>
                    <a:pt x="592" y="93"/>
                  </a:lnTo>
                  <a:lnTo>
                    <a:pt x="596" y="94"/>
                  </a:lnTo>
                  <a:lnTo>
                    <a:pt x="597" y="99"/>
                  </a:lnTo>
                  <a:lnTo>
                    <a:pt x="601" y="101"/>
                  </a:lnTo>
                  <a:lnTo>
                    <a:pt x="601" y="105"/>
                  </a:lnTo>
                  <a:lnTo>
                    <a:pt x="602" y="105"/>
                  </a:lnTo>
                  <a:lnTo>
                    <a:pt x="606" y="105"/>
                  </a:lnTo>
                  <a:lnTo>
                    <a:pt x="611" y="99"/>
                  </a:lnTo>
                  <a:lnTo>
                    <a:pt x="616" y="98"/>
                  </a:lnTo>
                  <a:lnTo>
                    <a:pt x="623" y="94"/>
                  </a:lnTo>
                  <a:lnTo>
                    <a:pt x="626" y="91"/>
                  </a:lnTo>
                  <a:lnTo>
                    <a:pt x="625" y="86"/>
                  </a:lnTo>
                  <a:lnTo>
                    <a:pt x="628" y="84"/>
                  </a:lnTo>
                  <a:lnTo>
                    <a:pt x="637" y="81"/>
                  </a:lnTo>
                  <a:lnTo>
                    <a:pt x="640" y="77"/>
                  </a:lnTo>
                  <a:lnTo>
                    <a:pt x="652" y="77"/>
                  </a:lnTo>
                  <a:lnTo>
                    <a:pt x="655" y="76"/>
                  </a:lnTo>
                  <a:lnTo>
                    <a:pt x="659" y="76"/>
                  </a:lnTo>
                  <a:lnTo>
                    <a:pt x="662" y="76"/>
                  </a:lnTo>
                  <a:lnTo>
                    <a:pt x="671" y="8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2" name="Freeform 70"/>
            <p:cNvSpPr>
              <a:spLocks noEditPoints="1"/>
            </p:cNvSpPr>
            <p:nvPr/>
          </p:nvSpPr>
          <p:spPr bwMode="gray">
            <a:xfrm>
              <a:off x="3087922" y="3406445"/>
              <a:ext cx="749739" cy="470639"/>
            </a:xfrm>
            <a:custGeom>
              <a:avLst/>
              <a:gdLst>
                <a:gd name="T0" fmla="*/ 392 w 411"/>
                <a:gd name="T1" fmla="*/ 251 h 258"/>
                <a:gd name="T2" fmla="*/ 379 w 411"/>
                <a:gd name="T3" fmla="*/ 249 h 258"/>
                <a:gd name="T4" fmla="*/ 290 w 411"/>
                <a:gd name="T5" fmla="*/ 246 h 258"/>
                <a:gd name="T6" fmla="*/ 329 w 411"/>
                <a:gd name="T7" fmla="*/ 234 h 258"/>
                <a:gd name="T8" fmla="*/ 373 w 411"/>
                <a:gd name="T9" fmla="*/ 229 h 258"/>
                <a:gd name="T10" fmla="*/ 285 w 411"/>
                <a:gd name="T11" fmla="*/ 222 h 258"/>
                <a:gd name="T12" fmla="*/ 191 w 411"/>
                <a:gd name="T13" fmla="*/ 220 h 258"/>
                <a:gd name="T14" fmla="*/ 288 w 411"/>
                <a:gd name="T15" fmla="*/ 219 h 258"/>
                <a:gd name="T16" fmla="*/ 286 w 411"/>
                <a:gd name="T17" fmla="*/ 214 h 258"/>
                <a:gd name="T18" fmla="*/ 285 w 411"/>
                <a:gd name="T19" fmla="*/ 212 h 258"/>
                <a:gd name="T20" fmla="*/ 211 w 411"/>
                <a:gd name="T21" fmla="*/ 224 h 258"/>
                <a:gd name="T22" fmla="*/ 204 w 411"/>
                <a:gd name="T23" fmla="*/ 210 h 258"/>
                <a:gd name="T24" fmla="*/ 286 w 411"/>
                <a:gd name="T25" fmla="*/ 203 h 258"/>
                <a:gd name="T26" fmla="*/ 204 w 411"/>
                <a:gd name="T27" fmla="*/ 205 h 258"/>
                <a:gd name="T28" fmla="*/ 278 w 411"/>
                <a:gd name="T29" fmla="*/ 212 h 258"/>
                <a:gd name="T30" fmla="*/ 269 w 411"/>
                <a:gd name="T31" fmla="*/ 208 h 258"/>
                <a:gd name="T32" fmla="*/ 283 w 411"/>
                <a:gd name="T33" fmla="*/ 203 h 258"/>
                <a:gd name="T34" fmla="*/ 228 w 411"/>
                <a:gd name="T35" fmla="*/ 207 h 258"/>
                <a:gd name="T36" fmla="*/ 274 w 411"/>
                <a:gd name="T37" fmla="*/ 200 h 258"/>
                <a:gd name="T38" fmla="*/ 334 w 411"/>
                <a:gd name="T39" fmla="*/ 171 h 258"/>
                <a:gd name="T40" fmla="*/ 350 w 411"/>
                <a:gd name="T41" fmla="*/ 174 h 258"/>
                <a:gd name="T42" fmla="*/ 375 w 411"/>
                <a:gd name="T43" fmla="*/ 191 h 258"/>
                <a:gd name="T44" fmla="*/ 375 w 411"/>
                <a:gd name="T45" fmla="*/ 217 h 258"/>
                <a:gd name="T46" fmla="*/ 355 w 411"/>
                <a:gd name="T47" fmla="*/ 243 h 258"/>
                <a:gd name="T48" fmla="*/ 343 w 411"/>
                <a:gd name="T49" fmla="*/ 246 h 258"/>
                <a:gd name="T50" fmla="*/ 322 w 411"/>
                <a:gd name="T51" fmla="*/ 232 h 258"/>
                <a:gd name="T52" fmla="*/ 295 w 411"/>
                <a:gd name="T53" fmla="*/ 246 h 258"/>
                <a:gd name="T54" fmla="*/ 292 w 411"/>
                <a:gd name="T55" fmla="*/ 214 h 258"/>
                <a:gd name="T56" fmla="*/ 298 w 411"/>
                <a:gd name="T57" fmla="*/ 196 h 258"/>
                <a:gd name="T58" fmla="*/ 302 w 411"/>
                <a:gd name="T59" fmla="*/ 174 h 258"/>
                <a:gd name="T60" fmla="*/ 411 w 411"/>
                <a:gd name="T61" fmla="*/ 162 h 258"/>
                <a:gd name="T62" fmla="*/ 80 w 411"/>
                <a:gd name="T63" fmla="*/ 152 h 258"/>
                <a:gd name="T64" fmla="*/ 112 w 411"/>
                <a:gd name="T65" fmla="*/ 55 h 258"/>
                <a:gd name="T66" fmla="*/ 117 w 411"/>
                <a:gd name="T67" fmla="*/ 73 h 258"/>
                <a:gd name="T68" fmla="*/ 124 w 411"/>
                <a:gd name="T69" fmla="*/ 99 h 258"/>
                <a:gd name="T70" fmla="*/ 134 w 411"/>
                <a:gd name="T71" fmla="*/ 142 h 258"/>
                <a:gd name="T72" fmla="*/ 174 w 411"/>
                <a:gd name="T73" fmla="*/ 164 h 258"/>
                <a:gd name="T74" fmla="*/ 203 w 411"/>
                <a:gd name="T75" fmla="*/ 171 h 258"/>
                <a:gd name="T76" fmla="*/ 181 w 411"/>
                <a:gd name="T77" fmla="*/ 202 h 258"/>
                <a:gd name="T78" fmla="*/ 193 w 411"/>
                <a:gd name="T79" fmla="*/ 226 h 258"/>
                <a:gd name="T80" fmla="*/ 172 w 411"/>
                <a:gd name="T81" fmla="*/ 232 h 258"/>
                <a:gd name="T82" fmla="*/ 157 w 411"/>
                <a:gd name="T83" fmla="*/ 219 h 258"/>
                <a:gd name="T84" fmla="*/ 117 w 411"/>
                <a:gd name="T85" fmla="*/ 203 h 258"/>
                <a:gd name="T86" fmla="*/ 92 w 411"/>
                <a:gd name="T87" fmla="*/ 179 h 258"/>
                <a:gd name="T88" fmla="*/ 82 w 411"/>
                <a:gd name="T89" fmla="*/ 145 h 258"/>
                <a:gd name="T90" fmla="*/ 58 w 411"/>
                <a:gd name="T91" fmla="*/ 116 h 258"/>
                <a:gd name="T92" fmla="*/ 32 w 411"/>
                <a:gd name="T93" fmla="*/ 118 h 258"/>
                <a:gd name="T94" fmla="*/ 1 w 411"/>
                <a:gd name="T95" fmla="*/ 111 h 258"/>
                <a:gd name="T96" fmla="*/ 22 w 411"/>
                <a:gd name="T97" fmla="*/ 87 h 258"/>
                <a:gd name="T98" fmla="*/ 25 w 411"/>
                <a:gd name="T99" fmla="*/ 67 h 258"/>
                <a:gd name="T100" fmla="*/ 42 w 411"/>
                <a:gd name="T101" fmla="*/ 50 h 258"/>
                <a:gd name="T102" fmla="*/ 63 w 411"/>
                <a:gd name="T103" fmla="*/ 60 h 258"/>
                <a:gd name="T104" fmla="*/ 75 w 411"/>
                <a:gd name="T105" fmla="*/ 77 h 258"/>
                <a:gd name="T106" fmla="*/ 78 w 411"/>
                <a:gd name="T107" fmla="*/ 70 h 258"/>
                <a:gd name="T108" fmla="*/ 75 w 411"/>
                <a:gd name="T109" fmla="*/ 56 h 258"/>
                <a:gd name="T110" fmla="*/ 92 w 411"/>
                <a:gd name="T111" fmla="*/ 43 h 258"/>
                <a:gd name="T112" fmla="*/ 20 w 411"/>
                <a:gd name="T11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258">
                  <a:moveTo>
                    <a:pt x="391" y="256"/>
                  </a:moveTo>
                  <a:lnTo>
                    <a:pt x="392" y="256"/>
                  </a:lnTo>
                  <a:lnTo>
                    <a:pt x="392" y="258"/>
                  </a:lnTo>
                  <a:lnTo>
                    <a:pt x="391" y="258"/>
                  </a:lnTo>
                  <a:lnTo>
                    <a:pt x="391" y="256"/>
                  </a:lnTo>
                  <a:close/>
                  <a:moveTo>
                    <a:pt x="391" y="251"/>
                  </a:moveTo>
                  <a:lnTo>
                    <a:pt x="392" y="251"/>
                  </a:lnTo>
                  <a:lnTo>
                    <a:pt x="392" y="253"/>
                  </a:lnTo>
                  <a:lnTo>
                    <a:pt x="391" y="253"/>
                  </a:lnTo>
                  <a:lnTo>
                    <a:pt x="391" y="251"/>
                  </a:lnTo>
                  <a:close/>
                  <a:moveTo>
                    <a:pt x="379" y="248"/>
                  </a:moveTo>
                  <a:lnTo>
                    <a:pt x="380" y="248"/>
                  </a:lnTo>
                  <a:lnTo>
                    <a:pt x="380" y="249"/>
                  </a:lnTo>
                  <a:lnTo>
                    <a:pt x="379" y="249"/>
                  </a:lnTo>
                  <a:lnTo>
                    <a:pt x="379" y="248"/>
                  </a:lnTo>
                  <a:close/>
                  <a:moveTo>
                    <a:pt x="368" y="246"/>
                  </a:moveTo>
                  <a:lnTo>
                    <a:pt x="370" y="246"/>
                  </a:lnTo>
                  <a:lnTo>
                    <a:pt x="370" y="248"/>
                  </a:lnTo>
                  <a:lnTo>
                    <a:pt x="368" y="248"/>
                  </a:lnTo>
                  <a:lnTo>
                    <a:pt x="368" y="246"/>
                  </a:lnTo>
                  <a:close/>
                  <a:moveTo>
                    <a:pt x="290" y="246"/>
                  </a:moveTo>
                  <a:lnTo>
                    <a:pt x="292" y="246"/>
                  </a:lnTo>
                  <a:lnTo>
                    <a:pt x="292" y="248"/>
                  </a:lnTo>
                  <a:lnTo>
                    <a:pt x="288" y="253"/>
                  </a:lnTo>
                  <a:lnTo>
                    <a:pt x="288" y="246"/>
                  </a:lnTo>
                  <a:lnTo>
                    <a:pt x="290" y="246"/>
                  </a:lnTo>
                  <a:close/>
                  <a:moveTo>
                    <a:pt x="326" y="234"/>
                  </a:moveTo>
                  <a:lnTo>
                    <a:pt x="329" y="234"/>
                  </a:lnTo>
                  <a:lnTo>
                    <a:pt x="329" y="237"/>
                  </a:lnTo>
                  <a:lnTo>
                    <a:pt x="326" y="237"/>
                  </a:lnTo>
                  <a:lnTo>
                    <a:pt x="326" y="234"/>
                  </a:lnTo>
                  <a:close/>
                  <a:moveTo>
                    <a:pt x="377" y="227"/>
                  </a:moveTo>
                  <a:lnTo>
                    <a:pt x="379" y="229"/>
                  </a:lnTo>
                  <a:lnTo>
                    <a:pt x="375" y="231"/>
                  </a:lnTo>
                  <a:lnTo>
                    <a:pt x="373" y="229"/>
                  </a:lnTo>
                  <a:lnTo>
                    <a:pt x="377" y="227"/>
                  </a:lnTo>
                  <a:close/>
                  <a:moveTo>
                    <a:pt x="285" y="226"/>
                  </a:moveTo>
                  <a:lnTo>
                    <a:pt x="286" y="226"/>
                  </a:lnTo>
                  <a:lnTo>
                    <a:pt x="286" y="229"/>
                  </a:lnTo>
                  <a:lnTo>
                    <a:pt x="285" y="229"/>
                  </a:lnTo>
                  <a:lnTo>
                    <a:pt x="285" y="226"/>
                  </a:lnTo>
                  <a:close/>
                  <a:moveTo>
                    <a:pt x="285" y="222"/>
                  </a:moveTo>
                  <a:lnTo>
                    <a:pt x="286" y="222"/>
                  </a:lnTo>
                  <a:lnTo>
                    <a:pt x="286" y="224"/>
                  </a:lnTo>
                  <a:lnTo>
                    <a:pt x="285" y="224"/>
                  </a:lnTo>
                  <a:lnTo>
                    <a:pt x="285" y="222"/>
                  </a:lnTo>
                  <a:close/>
                  <a:moveTo>
                    <a:pt x="189" y="219"/>
                  </a:moveTo>
                  <a:lnTo>
                    <a:pt x="191" y="219"/>
                  </a:lnTo>
                  <a:lnTo>
                    <a:pt x="191" y="220"/>
                  </a:lnTo>
                  <a:lnTo>
                    <a:pt x="189" y="220"/>
                  </a:lnTo>
                  <a:lnTo>
                    <a:pt x="189" y="219"/>
                  </a:lnTo>
                  <a:close/>
                  <a:moveTo>
                    <a:pt x="286" y="219"/>
                  </a:moveTo>
                  <a:lnTo>
                    <a:pt x="286" y="222"/>
                  </a:lnTo>
                  <a:lnTo>
                    <a:pt x="286" y="219"/>
                  </a:lnTo>
                  <a:close/>
                  <a:moveTo>
                    <a:pt x="288" y="222"/>
                  </a:moveTo>
                  <a:lnTo>
                    <a:pt x="288" y="219"/>
                  </a:lnTo>
                  <a:lnTo>
                    <a:pt x="290" y="219"/>
                  </a:lnTo>
                  <a:lnTo>
                    <a:pt x="288" y="222"/>
                  </a:lnTo>
                  <a:close/>
                  <a:moveTo>
                    <a:pt x="286" y="214"/>
                  </a:moveTo>
                  <a:lnTo>
                    <a:pt x="288" y="214"/>
                  </a:lnTo>
                  <a:lnTo>
                    <a:pt x="288" y="217"/>
                  </a:lnTo>
                  <a:lnTo>
                    <a:pt x="286" y="217"/>
                  </a:lnTo>
                  <a:lnTo>
                    <a:pt x="286" y="214"/>
                  </a:lnTo>
                  <a:close/>
                  <a:moveTo>
                    <a:pt x="281" y="214"/>
                  </a:moveTo>
                  <a:lnTo>
                    <a:pt x="281" y="219"/>
                  </a:lnTo>
                  <a:lnTo>
                    <a:pt x="278" y="220"/>
                  </a:lnTo>
                  <a:lnTo>
                    <a:pt x="276" y="215"/>
                  </a:lnTo>
                  <a:lnTo>
                    <a:pt x="281" y="214"/>
                  </a:lnTo>
                  <a:close/>
                  <a:moveTo>
                    <a:pt x="283" y="212"/>
                  </a:moveTo>
                  <a:lnTo>
                    <a:pt x="285" y="212"/>
                  </a:lnTo>
                  <a:lnTo>
                    <a:pt x="285" y="215"/>
                  </a:lnTo>
                  <a:lnTo>
                    <a:pt x="283" y="215"/>
                  </a:lnTo>
                  <a:lnTo>
                    <a:pt x="283" y="212"/>
                  </a:lnTo>
                  <a:close/>
                  <a:moveTo>
                    <a:pt x="204" y="210"/>
                  </a:moveTo>
                  <a:lnTo>
                    <a:pt x="208" y="212"/>
                  </a:lnTo>
                  <a:lnTo>
                    <a:pt x="215" y="215"/>
                  </a:lnTo>
                  <a:lnTo>
                    <a:pt x="211" y="224"/>
                  </a:lnTo>
                  <a:lnTo>
                    <a:pt x="213" y="226"/>
                  </a:lnTo>
                  <a:lnTo>
                    <a:pt x="204" y="226"/>
                  </a:lnTo>
                  <a:lnTo>
                    <a:pt x="198" y="222"/>
                  </a:lnTo>
                  <a:lnTo>
                    <a:pt x="191" y="219"/>
                  </a:lnTo>
                  <a:lnTo>
                    <a:pt x="194" y="214"/>
                  </a:lnTo>
                  <a:lnTo>
                    <a:pt x="201" y="208"/>
                  </a:lnTo>
                  <a:lnTo>
                    <a:pt x="204" y="210"/>
                  </a:lnTo>
                  <a:close/>
                  <a:moveTo>
                    <a:pt x="194" y="207"/>
                  </a:moveTo>
                  <a:lnTo>
                    <a:pt x="196" y="208"/>
                  </a:lnTo>
                  <a:lnTo>
                    <a:pt x="193" y="210"/>
                  </a:lnTo>
                  <a:lnTo>
                    <a:pt x="193" y="208"/>
                  </a:lnTo>
                  <a:lnTo>
                    <a:pt x="194" y="205"/>
                  </a:lnTo>
                  <a:lnTo>
                    <a:pt x="194" y="207"/>
                  </a:lnTo>
                  <a:close/>
                  <a:moveTo>
                    <a:pt x="286" y="203"/>
                  </a:moveTo>
                  <a:lnTo>
                    <a:pt x="285" y="207"/>
                  </a:lnTo>
                  <a:lnTo>
                    <a:pt x="283" y="205"/>
                  </a:lnTo>
                  <a:lnTo>
                    <a:pt x="286" y="203"/>
                  </a:lnTo>
                  <a:close/>
                  <a:moveTo>
                    <a:pt x="204" y="203"/>
                  </a:moveTo>
                  <a:lnTo>
                    <a:pt x="208" y="203"/>
                  </a:lnTo>
                  <a:lnTo>
                    <a:pt x="208" y="205"/>
                  </a:lnTo>
                  <a:lnTo>
                    <a:pt x="204" y="205"/>
                  </a:lnTo>
                  <a:lnTo>
                    <a:pt x="204" y="203"/>
                  </a:lnTo>
                  <a:close/>
                  <a:moveTo>
                    <a:pt x="281" y="200"/>
                  </a:moveTo>
                  <a:lnTo>
                    <a:pt x="283" y="203"/>
                  </a:lnTo>
                  <a:lnTo>
                    <a:pt x="281" y="203"/>
                  </a:lnTo>
                  <a:lnTo>
                    <a:pt x="285" y="203"/>
                  </a:lnTo>
                  <a:lnTo>
                    <a:pt x="281" y="210"/>
                  </a:lnTo>
                  <a:lnTo>
                    <a:pt x="278" y="212"/>
                  </a:lnTo>
                  <a:lnTo>
                    <a:pt x="278" y="214"/>
                  </a:lnTo>
                  <a:lnTo>
                    <a:pt x="274" y="212"/>
                  </a:lnTo>
                  <a:lnTo>
                    <a:pt x="276" y="214"/>
                  </a:lnTo>
                  <a:lnTo>
                    <a:pt x="274" y="215"/>
                  </a:lnTo>
                  <a:lnTo>
                    <a:pt x="268" y="208"/>
                  </a:lnTo>
                  <a:lnTo>
                    <a:pt x="266" y="208"/>
                  </a:lnTo>
                  <a:lnTo>
                    <a:pt x="269" y="208"/>
                  </a:lnTo>
                  <a:lnTo>
                    <a:pt x="269" y="207"/>
                  </a:lnTo>
                  <a:lnTo>
                    <a:pt x="271" y="203"/>
                  </a:lnTo>
                  <a:lnTo>
                    <a:pt x="281" y="200"/>
                  </a:lnTo>
                  <a:close/>
                  <a:moveTo>
                    <a:pt x="283" y="200"/>
                  </a:moveTo>
                  <a:lnTo>
                    <a:pt x="286" y="200"/>
                  </a:lnTo>
                  <a:lnTo>
                    <a:pt x="286" y="203"/>
                  </a:lnTo>
                  <a:lnTo>
                    <a:pt x="283" y="203"/>
                  </a:lnTo>
                  <a:lnTo>
                    <a:pt x="283" y="200"/>
                  </a:lnTo>
                  <a:close/>
                  <a:moveTo>
                    <a:pt x="233" y="203"/>
                  </a:moveTo>
                  <a:lnTo>
                    <a:pt x="235" y="203"/>
                  </a:lnTo>
                  <a:lnTo>
                    <a:pt x="237" y="205"/>
                  </a:lnTo>
                  <a:lnTo>
                    <a:pt x="235" y="212"/>
                  </a:lnTo>
                  <a:lnTo>
                    <a:pt x="232" y="210"/>
                  </a:lnTo>
                  <a:lnTo>
                    <a:pt x="228" y="207"/>
                  </a:lnTo>
                  <a:lnTo>
                    <a:pt x="232" y="200"/>
                  </a:lnTo>
                  <a:lnTo>
                    <a:pt x="233" y="203"/>
                  </a:lnTo>
                  <a:close/>
                  <a:moveTo>
                    <a:pt x="276" y="196"/>
                  </a:moveTo>
                  <a:lnTo>
                    <a:pt x="278" y="200"/>
                  </a:lnTo>
                  <a:lnTo>
                    <a:pt x="274" y="202"/>
                  </a:lnTo>
                  <a:lnTo>
                    <a:pt x="269" y="200"/>
                  </a:lnTo>
                  <a:lnTo>
                    <a:pt x="274" y="200"/>
                  </a:lnTo>
                  <a:lnTo>
                    <a:pt x="271" y="198"/>
                  </a:lnTo>
                  <a:lnTo>
                    <a:pt x="276" y="196"/>
                  </a:lnTo>
                  <a:close/>
                  <a:moveTo>
                    <a:pt x="324" y="166"/>
                  </a:moveTo>
                  <a:lnTo>
                    <a:pt x="326" y="166"/>
                  </a:lnTo>
                  <a:lnTo>
                    <a:pt x="326" y="169"/>
                  </a:lnTo>
                  <a:lnTo>
                    <a:pt x="333" y="171"/>
                  </a:lnTo>
                  <a:lnTo>
                    <a:pt x="334" y="171"/>
                  </a:lnTo>
                  <a:lnTo>
                    <a:pt x="336" y="169"/>
                  </a:lnTo>
                  <a:lnTo>
                    <a:pt x="346" y="171"/>
                  </a:lnTo>
                  <a:lnTo>
                    <a:pt x="348" y="174"/>
                  </a:lnTo>
                  <a:lnTo>
                    <a:pt x="346" y="176"/>
                  </a:lnTo>
                  <a:lnTo>
                    <a:pt x="350" y="178"/>
                  </a:lnTo>
                  <a:lnTo>
                    <a:pt x="348" y="181"/>
                  </a:lnTo>
                  <a:lnTo>
                    <a:pt x="350" y="174"/>
                  </a:lnTo>
                  <a:lnTo>
                    <a:pt x="356" y="174"/>
                  </a:lnTo>
                  <a:lnTo>
                    <a:pt x="363" y="181"/>
                  </a:lnTo>
                  <a:lnTo>
                    <a:pt x="363" y="183"/>
                  </a:lnTo>
                  <a:lnTo>
                    <a:pt x="365" y="185"/>
                  </a:lnTo>
                  <a:lnTo>
                    <a:pt x="367" y="183"/>
                  </a:lnTo>
                  <a:lnTo>
                    <a:pt x="368" y="183"/>
                  </a:lnTo>
                  <a:lnTo>
                    <a:pt x="375" y="191"/>
                  </a:lnTo>
                  <a:lnTo>
                    <a:pt x="377" y="191"/>
                  </a:lnTo>
                  <a:lnTo>
                    <a:pt x="377" y="195"/>
                  </a:lnTo>
                  <a:lnTo>
                    <a:pt x="380" y="203"/>
                  </a:lnTo>
                  <a:lnTo>
                    <a:pt x="380" y="205"/>
                  </a:lnTo>
                  <a:lnTo>
                    <a:pt x="380" y="207"/>
                  </a:lnTo>
                  <a:lnTo>
                    <a:pt x="375" y="212"/>
                  </a:lnTo>
                  <a:lnTo>
                    <a:pt x="375" y="217"/>
                  </a:lnTo>
                  <a:lnTo>
                    <a:pt x="370" y="224"/>
                  </a:lnTo>
                  <a:lnTo>
                    <a:pt x="372" y="231"/>
                  </a:lnTo>
                  <a:lnTo>
                    <a:pt x="367" y="236"/>
                  </a:lnTo>
                  <a:lnTo>
                    <a:pt x="370" y="239"/>
                  </a:lnTo>
                  <a:lnTo>
                    <a:pt x="368" y="239"/>
                  </a:lnTo>
                  <a:lnTo>
                    <a:pt x="363" y="243"/>
                  </a:lnTo>
                  <a:lnTo>
                    <a:pt x="355" y="243"/>
                  </a:lnTo>
                  <a:lnTo>
                    <a:pt x="353" y="244"/>
                  </a:lnTo>
                  <a:lnTo>
                    <a:pt x="356" y="248"/>
                  </a:lnTo>
                  <a:lnTo>
                    <a:pt x="355" y="251"/>
                  </a:lnTo>
                  <a:lnTo>
                    <a:pt x="348" y="251"/>
                  </a:lnTo>
                  <a:lnTo>
                    <a:pt x="344" y="255"/>
                  </a:lnTo>
                  <a:lnTo>
                    <a:pt x="341" y="251"/>
                  </a:lnTo>
                  <a:lnTo>
                    <a:pt x="343" y="246"/>
                  </a:lnTo>
                  <a:lnTo>
                    <a:pt x="341" y="243"/>
                  </a:lnTo>
                  <a:lnTo>
                    <a:pt x="338" y="241"/>
                  </a:lnTo>
                  <a:lnTo>
                    <a:pt x="338" y="237"/>
                  </a:lnTo>
                  <a:lnTo>
                    <a:pt x="333" y="236"/>
                  </a:lnTo>
                  <a:lnTo>
                    <a:pt x="333" y="234"/>
                  </a:lnTo>
                  <a:lnTo>
                    <a:pt x="329" y="229"/>
                  </a:lnTo>
                  <a:lnTo>
                    <a:pt x="322" y="232"/>
                  </a:lnTo>
                  <a:lnTo>
                    <a:pt x="327" y="236"/>
                  </a:lnTo>
                  <a:lnTo>
                    <a:pt x="326" y="243"/>
                  </a:lnTo>
                  <a:lnTo>
                    <a:pt x="315" y="246"/>
                  </a:lnTo>
                  <a:lnTo>
                    <a:pt x="310" y="246"/>
                  </a:lnTo>
                  <a:lnTo>
                    <a:pt x="302" y="251"/>
                  </a:lnTo>
                  <a:lnTo>
                    <a:pt x="298" y="251"/>
                  </a:lnTo>
                  <a:lnTo>
                    <a:pt x="295" y="246"/>
                  </a:lnTo>
                  <a:lnTo>
                    <a:pt x="302" y="239"/>
                  </a:lnTo>
                  <a:lnTo>
                    <a:pt x="295" y="232"/>
                  </a:lnTo>
                  <a:lnTo>
                    <a:pt x="295" y="227"/>
                  </a:lnTo>
                  <a:lnTo>
                    <a:pt x="293" y="222"/>
                  </a:lnTo>
                  <a:lnTo>
                    <a:pt x="297" y="219"/>
                  </a:lnTo>
                  <a:lnTo>
                    <a:pt x="300" y="212"/>
                  </a:lnTo>
                  <a:lnTo>
                    <a:pt x="292" y="214"/>
                  </a:lnTo>
                  <a:lnTo>
                    <a:pt x="290" y="214"/>
                  </a:lnTo>
                  <a:lnTo>
                    <a:pt x="288" y="212"/>
                  </a:lnTo>
                  <a:lnTo>
                    <a:pt x="295" y="208"/>
                  </a:lnTo>
                  <a:lnTo>
                    <a:pt x="297" y="205"/>
                  </a:lnTo>
                  <a:lnTo>
                    <a:pt x="297" y="200"/>
                  </a:lnTo>
                  <a:lnTo>
                    <a:pt x="295" y="198"/>
                  </a:lnTo>
                  <a:lnTo>
                    <a:pt x="298" y="196"/>
                  </a:lnTo>
                  <a:lnTo>
                    <a:pt x="298" y="195"/>
                  </a:lnTo>
                  <a:lnTo>
                    <a:pt x="298" y="193"/>
                  </a:lnTo>
                  <a:lnTo>
                    <a:pt x="302" y="191"/>
                  </a:lnTo>
                  <a:lnTo>
                    <a:pt x="300" y="188"/>
                  </a:lnTo>
                  <a:lnTo>
                    <a:pt x="298" y="186"/>
                  </a:lnTo>
                  <a:lnTo>
                    <a:pt x="303" y="178"/>
                  </a:lnTo>
                  <a:lnTo>
                    <a:pt x="302" y="174"/>
                  </a:lnTo>
                  <a:lnTo>
                    <a:pt x="305" y="169"/>
                  </a:lnTo>
                  <a:lnTo>
                    <a:pt x="309" y="169"/>
                  </a:lnTo>
                  <a:lnTo>
                    <a:pt x="312" y="167"/>
                  </a:lnTo>
                  <a:lnTo>
                    <a:pt x="317" y="169"/>
                  </a:lnTo>
                  <a:lnTo>
                    <a:pt x="324" y="166"/>
                  </a:lnTo>
                  <a:close/>
                  <a:moveTo>
                    <a:pt x="409" y="162"/>
                  </a:moveTo>
                  <a:lnTo>
                    <a:pt x="411" y="162"/>
                  </a:lnTo>
                  <a:lnTo>
                    <a:pt x="411" y="164"/>
                  </a:lnTo>
                  <a:lnTo>
                    <a:pt x="409" y="164"/>
                  </a:lnTo>
                  <a:lnTo>
                    <a:pt x="409" y="162"/>
                  </a:lnTo>
                  <a:close/>
                  <a:moveTo>
                    <a:pt x="80" y="150"/>
                  </a:moveTo>
                  <a:lnTo>
                    <a:pt x="83" y="150"/>
                  </a:lnTo>
                  <a:lnTo>
                    <a:pt x="83" y="152"/>
                  </a:lnTo>
                  <a:lnTo>
                    <a:pt x="80" y="152"/>
                  </a:lnTo>
                  <a:lnTo>
                    <a:pt x="80" y="150"/>
                  </a:lnTo>
                  <a:close/>
                  <a:moveTo>
                    <a:pt x="97" y="43"/>
                  </a:moveTo>
                  <a:lnTo>
                    <a:pt x="95" y="46"/>
                  </a:lnTo>
                  <a:lnTo>
                    <a:pt x="97" y="48"/>
                  </a:lnTo>
                  <a:lnTo>
                    <a:pt x="100" y="50"/>
                  </a:lnTo>
                  <a:lnTo>
                    <a:pt x="104" y="48"/>
                  </a:lnTo>
                  <a:lnTo>
                    <a:pt x="112" y="55"/>
                  </a:lnTo>
                  <a:lnTo>
                    <a:pt x="112" y="56"/>
                  </a:lnTo>
                  <a:lnTo>
                    <a:pt x="111" y="56"/>
                  </a:lnTo>
                  <a:lnTo>
                    <a:pt x="109" y="58"/>
                  </a:lnTo>
                  <a:lnTo>
                    <a:pt x="109" y="63"/>
                  </a:lnTo>
                  <a:lnTo>
                    <a:pt x="114" y="68"/>
                  </a:lnTo>
                  <a:lnTo>
                    <a:pt x="116" y="72"/>
                  </a:lnTo>
                  <a:lnTo>
                    <a:pt x="117" y="73"/>
                  </a:lnTo>
                  <a:lnTo>
                    <a:pt x="119" y="77"/>
                  </a:lnTo>
                  <a:lnTo>
                    <a:pt x="123" y="79"/>
                  </a:lnTo>
                  <a:lnTo>
                    <a:pt x="121" y="80"/>
                  </a:lnTo>
                  <a:lnTo>
                    <a:pt x="123" y="85"/>
                  </a:lnTo>
                  <a:lnTo>
                    <a:pt x="128" y="89"/>
                  </a:lnTo>
                  <a:lnTo>
                    <a:pt x="126" y="94"/>
                  </a:lnTo>
                  <a:lnTo>
                    <a:pt x="124" y="99"/>
                  </a:lnTo>
                  <a:lnTo>
                    <a:pt x="126" y="111"/>
                  </a:lnTo>
                  <a:lnTo>
                    <a:pt x="124" y="113"/>
                  </a:lnTo>
                  <a:lnTo>
                    <a:pt x="128" y="118"/>
                  </a:lnTo>
                  <a:lnTo>
                    <a:pt x="128" y="120"/>
                  </a:lnTo>
                  <a:lnTo>
                    <a:pt x="131" y="125"/>
                  </a:lnTo>
                  <a:lnTo>
                    <a:pt x="133" y="133"/>
                  </a:lnTo>
                  <a:lnTo>
                    <a:pt x="134" y="142"/>
                  </a:lnTo>
                  <a:lnTo>
                    <a:pt x="136" y="144"/>
                  </a:lnTo>
                  <a:lnTo>
                    <a:pt x="141" y="152"/>
                  </a:lnTo>
                  <a:lnTo>
                    <a:pt x="146" y="157"/>
                  </a:lnTo>
                  <a:lnTo>
                    <a:pt x="152" y="159"/>
                  </a:lnTo>
                  <a:lnTo>
                    <a:pt x="160" y="159"/>
                  </a:lnTo>
                  <a:lnTo>
                    <a:pt x="165" y="162"/>
                  </a:lnTo>
                  <a:lnTo>
                    <a:pt x="174" y="164"/>
                  </a:lnTo>
                  <a:lnTo>
                    <a:pt x="181" y="166"/>
                  </a:lnTo>
                  <a:lnTo>
                    <a:pt x="189" y="167"/>
                  </a:lnTo>
                  <a:lnTo>
                    <a:pt x="196" y="169"/>
                  </a:lnTo>
                  <a:lnTo>
                    <a:pt x="206" y="171"/>
                  </a:lnTo>
                  <a:lnTo>
                    <a:pt x="208" y="171"/>
                  </a:lnTo>
                  <a:lnTo>
                    <a:pt x="206" y="173"/>
                  </a:lnTo>
                  <a:lnTo>
                    <a:pt x="203" y="171"/>
                  </a:lnTo>
                  <a:lnTo>
                    <a:pt x="198" y="174"/>
                  </a:lnTo>
                  <a:lnTo>
                    <a:pt x="196" y="174"/>
                  </a:lnTo>
                  <a:lnTo>
                    <a:pt x="191" y="179"/>
                  </a:lnTo>
                  <a:lnTo>
                    <a:pt x="189" y="183"/>
                  </a:lnTo>
                  <a:lnTo>
                    <a:pt x="186" y="188"/>
                  </a:lnTo>
                  <a:lnTo>
                    <a:pt x="182" y="196"/>
                  </a:lnTo>
                  <a:lnTo>
                    <a:pt x="181" y="202"/>
                  </a:lnTo>
                  <a:lnTo>
                    <a:pt x="179" y="205"/>
                  </a:lnTo>
                  <a:lnTo>
                    <a:pt x="177" y="210"/>
                  </a:lnTo>
                  <a:lnTo>
                    <a:pt x="179" y="217"/>
                  </a:lnTo>
                  <a:lnTo>
                    <a:pt x="187" y="219"/>
                  </a:lnTo>
                  <a:lnTo>
                    <a:pt x="189" y="222"/>
                  </a:lnTo>
                  <a:lnTo>
                    <a:pt x="194" y="222"/>
                  </a:lnTo>
                  <a:lnTo>
                    <a:pt x="193" y="226"/>
                  </a:lnTo>
                  <a:lnTo>
                    <a:pt x="194" y="229"/>
                  </a:lnTo>
                  <a:lnTo>
                    <a:pt x="194" y="232"/>
                  </a:lnTo>
                  <a:lnTo>
                    <a:pt x="184" y="234"/>
                  </a:lnTo>
                  <a:lnTo>
                    <a:pt x="184" y="232"/>
                  </a:lnTo>
                  <a:lnTo>
                    <a:pt x="179" y="232"/>
                  </a:lnTo>
                  <a:lnTo>
                    <a:pt x="175" y="231"/>
                  </a:lnTo>
                  <a:lnTo>
                    <a:pt x="172" y="232"/>
                  </a:lnTo>
                  <a:lnTo>
                    <a:pt x="172" y="236"/>
                  </a:lnTo>
                  <a:lnTo>
                    <a:pt x="170" y="234"/>
                  </a:lnTo>
                  <a:lnTo>
                    <a:pt x="167" y="236"/>
                  </a:lnTo>
                  <a:lnTo>
                    <a:pt x="165" y="232"/>
                  </a:lnTo>
                  <a:lnTo>
                    <a:pt x="165" y="229"/>
                  </a:lnTo>
                  <a:lnTo>
                    <a:pt x="158" y="224"/>
                  </a:lnTo>
                  <a:lnTo>
                    <a:pt x="157" y="219"/>
                  </a:lnTo>
                  <a:lnTo>
                    <a:pt x="146" y="219"/>
                  </a:lnTo>
                  <a:lnTo>
                    <a:pt x="145" y="214"/>
                  </a:lnTo>
                  <a:lnTo>
                    <a:pt x="140" y="210"/>
                  </a:lnTo>
                  <a:lnTo>
                    <a:pt x="134" y="210"/>
                  </a:lnTo>
                  <a:lnTo>
                    <a:pt x="128" y="207"/>
                  </a:lnTo>
                  <a:lnTo>
                    <a:pt x="123" y="207"/>
                  </a:lnTo>
                  <a:lnTo>
                    <a:pt x="117" y="203"/>
                  </a:lnTo>
                  <a:lnTo>
                    <a:pt x="111" y="202"/>
                  </a:lnTo>
                  <a:lnTo>
                    <a:pt x="104" y="200"/>
                  </a:lnTo>
                  <a:lnTo>
                    <a:pt x="100" y="200"/>
                  </a:lnTo>
                  <a:lnTo>
                    <a:pt x="100" y="196"/>
                  </a:lnTo>
                  <a:lnTo>
                    <a:pt x="97" y="191"/>
                  </a:lnTo>
                  <a:lnTo>
                    <a:pt x="94" y="181"/>
                  </a:lnTo>
                  <a:lnTo>
                    <a:pt x="92" y="179"/>
                  </a:lnTo>
                  <a:lnTo>
                    <a:pt x="94" y="174"/>
                  </a:lnTo>
                  <a:lnTo>
                    <a:pt x="94" y="173"/>
                  </a:lnTo>
                  <a:lnTo>
                    <a:pt x="99" y="166"/>
                  </a:lnTo>
                  <a:lnTo>
                    <a:pt x="99" y="159"/>
                  </a:lnTo>
                  <a:lnTo>
                    <a:pt x="92" y="154"/>
                  </a:lnTo>
                  <a:lnTo>
                    <a:pt x="87" y="152"/>
                  </a:lnTo>
                  <a:lnTo>
                    <a:pt x="82" y="145"/>
                  </a:lnTo>
                  <a:lnTo>
                    <a:pt x="85" y="138"/>
                  </a:lnTo>
                  <a:lnTo>
                    <a:pt x="80" y="132"/>
                  </a:lnTo>
                  <a:lnTo>
                    <a:pt x="82" y="123"/>
                  </a:lnTo>
                  <a:lnTo>
                    <a:pt x="76" y="118"/>
                  </a:lnTo>
                  <a:lnTo>
                    <a:pt x="66" y="118"/>
                  </a:lnTo>
                  <a:lnTo>
                    <a:pt x="64" y="116"/>
                  </a:lnTo>
                  <a:lnTo>
                    <a:pt x="58" y="116"/>
                  </a:lnTo>
                  <a:lnTo>
                    <a:pt x="53" y="113"/>
                  </a:lnTo>
                  <a:lnTo>
                    <a:pt x="54" y="109"/>
                  </a:lnTo>
                  <a:lnTo>
                    <a:pt x="49" y="113"/>
                  </a:lnTo>
                  <a:lnTo>
                    <a:pt x="44" y="113"/>
                  </a:lnTo>
                  <a:lnTo>
                    <a:pt x="41" y="118"/>
                  </a:lnTo>
                  <a:lnTo>
                    <a:pt x="37" y="116"/>
                  </a:lnTo>
                  <a:lnTo>
                    <a:pt x="32" y="118"/>
                  </a:lnTo>
                  <a:lnTo>
                    <a:pt x="29" y="116"/>
                  </a:lnTo>
                  <a:lnTo>
                    <a:pt x="22" y="121"/>
                  </a:lnTo>
                  <a:lnTo>
                    <a:pt x="17" y="113"/>
                  </a:lnTo>
                  <a:lnTo>
                    <a:pt x="15" y="111"/>
                  </a:lnTo>
                  <a:lnTo>
                    <a:pt x="5" y="111"/>
                  </a:lnTo>
                  <a:lnTo>
                    <a:pt x="1" y="113"/>
                  </a:lnTo>
                  <a:lnTo>
                    <a:pt x="1" y="111"/>
                  </a:lnTo>
                  <a:lnTo>
                    <a:pt x="0" y="104"/>
                  </a:lnTo>
                  <a:lnTo>
                    <a:pt x="1" y="99"/>
                  </a:lnTo>
                  <a:lnTo>
                    <a:pt x="1" y="97"/>
                  </a:lnTo>
                  <a:lnTo>
                    <a:pt x="6" y="94"/>
                  </a:lnTo>
                  <a:lnTo>
                    <a:pt x="15" y="91"/>
                  </a:lnTo>
                  <a:lnTo>
                    <a:pt x="18" y="91"/>
                  </a:lnTo>
                  <a:lnTo>
                    <a:pt x="22" y="87"/>
                  </a:lnTo>
                  <a:lnTo>
                    <a:pt x="29" y="84"/>
                  </a:lnTo>
                  <a:lnTo>
                    <a:pt x="32" y="79"/>
                  </a:lnTo>
                  <a:lnTo>
                    <a:pt x="34" y="72"/>
                  </a:lnTo>
                  <a:lnTo>
                    <a:pt x="35" y="72"/>
                  </a:lnTo>
                  <a:lnTo>
                    <a:pt x="32" y="72"/>
                  </a:lnTo>
                  <a:lnTo>
                    <a:pt x="34" y="70"/>
                  </a:lnTo>
                  <a:lnTo>
                    <a:pt x="25" y="67"/>
                  </a:lnTo>
                  <a:lnTo>
                    <a:pt x="30" y="63"/>
                  </a:lnTo>
                  <a:lnTo>
                    <a:pt x="27" y="63"/>
                  </a:lnTo>
                  <a:lnTo>
                    <a:pt x="27" y="60"/>
                  </a:lnTo>
                  <a:lnTo>
                    <a:pt x="32" y="60"/>
                  </a:lnTo>
                  <a:lnTo>
                    <a:pt x="34" y="55"/>
                  </a:lnTo>
                  <a:lnTo>
                    <a:pt x="37" y="55"/>
                  </a:lnTo>
                  <a:lnTo>
                    <a:pt x="42" y="50"/>
                  </a:lnTo>
                  <a:lnTo>
                    <a:pt x="51" y="50"/>
                  </a:lnTo>
                  <a:lnTo>
                    <a:pt x="53" y="48"/>
                  </a:lnTo>
                  <a:lnTo>
                    <a:pt x="54" y="46"/>
                  </a:lnTo>
                  <a:lnTo>
                    <a:pt x="58" y="46"/>
                  </a:lnTo>
                  <a:lnTo>
                    <a:pt x="58" y="48"/>
                  </a:lnTo>
                  <a:lnTo>
                    <a:pt x="61" y="56"/>
                  </a:lnTo>
                  <a:lnTo>
                    <a:pt x="63" y="60"/>
                  </a:lnTo>
                  <a:lnTo>
                    <a:pt x="68" y="62"/>
                  </a:lnTo>
                  <a:lnTo>
                    <a:pt x="73" y="60"/>
                  </a:lnTo>
                  <a:lnTo>
                    <a:pt x="70" y="63"/>
                  </a:lnTo>
                  <a:lnTo>
                    <a:pt x="64" y="68"/>
                  </a:lnTo>
                  <a:lnTo>
                    <a:pt x="64" y="72"/>
                  </a:lnTo>
                  <a:lnTo>
                    <a:pt x="70" y="77"/>
                  </a:lnTo>
                  <a:lnTo>
                    <a:pt x="75" y="77"/>
                  </a:lnTo>
                  <a:lnTo>
                    <a:pt x="80" y="73"/>
                  </a:lnTo>
                  <a:lnTo>
                    <a:pt x="80" y="79"/>
                  </a:lnTo>
                  <a:lnTo>
                    <a:pt x="83" y="80"/>
                  </a:lnTo>
                  <a:lnTo>
                    <a:pt x="85" y="79"/>
                  </a:lnTo>
                  <a:lnTo>
                    <a:pt x="82" y="75"/>
                  </a:lnTo>
                  <a:lnTo>
                    <a:pt x="80" y="73"/>
                  </a:lnTo>
                  <a:lnTo>
                    <a:pt x="78" y="70"/>
                  </a:lnTo>
                  <a:lnTo>
                    <a:pt x="76" y="70"/>
                  </a:lnTo>
                  <a:lnTo>
                    <a:pt x="75" y="65"/>
                  </a:lnTo>
                  <a:lnTo>
                    <a:pt x="78" y="63"/>
                  </a:lnTo>
                  <a:lnTo>
                    <a:pt x="76" y="60"/>
                  </a:lnTo>
                  <a:lnTo>
                    <a:pt x="78" y="60"/>
                  </a:lnTo>
                  <a:lnTo>
                    <a:pt x="75" y="58"/>
                  </a:lnTo>
                  <a:lnTo>
                    <a:pt x="75" y="56"/>
                  </a:lnTo>
                  <a:lnTo>
                    <a:pt x="73" y="53"/>
                  </a:lnTo>
                  <a:lnTo>
                    <a:pt x="73" y="48"/>
                  </a:lnTo>
                  <a:lnTo>
                    <a:pt x="71" y="46"/>
                  </a:lnTo>
                  <a:lnTo>
                    <a:pt x="76" y="46"/>
                  </a:lnTo>
                  <a:lnTo>
                    <a:pt x="82" y="46"/>
                  </a:lnTo>
                  <a:lnTo>
                    <a:pt x="92" y="44"/>
                  </a:lnTo>
                  <a:lnTo>
                    <a:pt x="92" y="43"/>
                  </a:lnTo>
                  <a:lnTo>
                    <a:pt x="97" y="43"/>
                  </a:lnTo>
                  <a:close/>
                  <a:moveTo>
                    <a:pt x="17" y="7"/>
                  </a:moveTo>
                  <a:lnTo>
                    <a:pt x="18" y="7"/>
                  </a:lnTo>
                  <a:lnTo>
                    <a:pt x="18" y="9"/>
                  </a:lnTo>
                  <a:lnTo>
                    <a:pt x="17" y="9"/>
                  </a:lnTo>
                  <a:lnTo>
                    <a:pt x="17" y="7"/>
                  </a:lnTo>
                  <a:close/>
                  <a:moveTo>
                    <a:pt x="20" y="0"/>
                  </a:moveTo>
                  <a:lnTo>
                    <a:pt x="24" y="0"/>
                  </a:lnTo>
                  <a:lnTo>
                    <a:pt x="24" y="3"/>
                  </a:lnTo>
                  <a:lnTo>
                    <a:pt x="20" y="3"/>
                  </a:lnTo>
                  <a:lnTo>
                    <a:pt x="2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3" name="Freeform 71"/>
            <p:cNvSpPr>
              <a:spLocks noEditPoints="1"/>
            </p:cNvSpPr>
            <p:nvPr/>
          </p:nvSpPr>
          <p:spPr bwMode="gray">
            <a:xfrm>
              <a:off x="2692074" y="2107627"/>
              <a:ext cx="1269632" cy="2307592"/>
            </a:xfrm>
            <a:custGeom>
              <a:avLst/>
              <a:gdLst>
                <a:gd name="T0" fmla="*/ 116 w 696"/>
                <a:gd name="T1" fmla="*/ 618 h 1265"/>
                <a:gd name="T2" fmla="*/ 126 w 696"/>
                <a:gd name="T3" fmla="*/ 656 h 1265"/>
                <a:gd name="T4" fmla="*/ 111 w 696"/>
                <a:gd name="T5" fmla="*/ 615 h 1265"/>
                <a:gd name="T6" fmla="*/ 186 w 696"/>
                <a:gd name="T7" fmla="*/ 582 h 1265"/>
                <a:gd name="T8" fmla="*/ 162 w 696"/>
                <a:gd name="T9" fmla="*/ 586 h 1265"/>
                <a:gd name="T10" fmla="*/ 174 w 696"/>
                <a:gd name="T11" fmla="*/ 604 h 1265"/>
                <a:gd name="T12" fmla="*/ 150 w 696"/>
                <a:gd name="T13" fmla="*/ 574 h 1265"/>
                <a:gd name="T14" fmla="*/ 176 w 696"/>
                <a:gd name="T15" fmla="*/ 567 h 1265"/>
                <a:gd name="T16" fmla="*/ 468 w 696"/>
                <a:gd name="T17" fmla="*/ 558 h 1265"/>
                <a:gd name="T18" fmla="*/ 130 w 696"/>
                <a:gd name="T19" fmla="*/ 560 h 1265"/>
                <a:gd name="T20" fmla="*/ 138 w 696"/>
                <a:gd name="T21" fmla="*/ 553 h 1265"/>
                <a:gd name="T22" fmla="*/ 142 w 696"/>
                <a:gd name="T23" fmla="*/ 548 h 1265"/>
                <a:gd name="T24" fmla="*/ 143 w 696"/>
                <a:gd name="T25" fmla="*/ 552 h 1265"/>
                <a:gd name="T26" fmla="*/ 130 w 696"/>
                <a:gd name="T27" fmla="*/ 541 h 1265"/>
                <a:gd name="T28" fmla="*/ 130 w 696"/>
                <a:gd name="T29" fmla="*/ 538 h 1265"/>
                <a:gd name="T30" fmla="*/ 147 w 696"/>
                <a:gd name="T31" fmla="*/ 531 h 1265"/>
                <a:gd name="T32" fmla="*/ 130 w 696"/>
                <a:gd name="T33" fmla="*/ 516 h 1265"/>
                <a:gd name="T34" fmla="*/ 36 w 696"/>
                <a:gd name="T35" fmla="*/ 511 h 1265"/>
                <a:gd name="T36" fmla="*/ 94 w 696"/>
                <a:gd name="T37" fmla="*/ 497 h 1265"/>
                <a:gd name="T38" fmla="*/ 119 w 696"/>
                <a:gd name="T39" fmla="*/ 492 h 1265"/>
                <a:gd name="T40" fmla="*/ 109 w 696"/>
                <a:gd name="T41" fmla="*/ 488 h 1265"/>
                <a:gd name="T42" fmla="*/ 49 w 696"/>
                <a:gd name="T43" fmla="*/ 485 h 1265"/>
                <a:gd name="T44" fmla="*/ 66 w 696"/>
                <a:gd name="T45" fmla="*/ 480 h 1265"/>
                <a:gd name="T46" fmla="*/ 145 w 696"/>
                <a:gd name="T47" fmla="*/ 481 h 1265"/>
                <a:gd name="T48" fmla="*/ 48 w 696"/>
                <a:gd name="T49" fmla="*/ 483 h 1265"/>
                <a:gd name="T50" fmla="*/ 164 w 696"/>
                <a:gd name="T51" fmla="*/ 473 h 1265"/>
                <a:gd name="T52" fmla="*/ 49 w 696"/>
                <a:gd name="T53" fmla="*/ 473 h 1265"/>
                <a:gd name="T54" fmla="*/ 10 w 696"/>
                <a:gd name="T55" fmla="*/ 468 h 1265"/>
                <a:gd name="T56" fmla="*/ 73 w 696"/>
                <a:gd name="T57" fmla="*/ 481 h 1265"/>
                <a:gd name="T58" fmla="*/ 107 w 696"/>
                <a:gd name="T59" fmla="*/ 466 h 1265"/>
                <a:gd name="T60" fmla="*/ 102 w 696"/>
                <a:gd name="T61" fmla="*/ 463 h 1265"/>
                <a:gd name="T62" fmla="*/ 112 w 696"/>
                <a:gd name="T63" fmla="*/ 471 h 1265"/>
                <a:gd name="T64" fmla="*/ 493 w 696"/>
                <a:gd name="T65" fmla="*/ 461 h 1265"/>
                <a:gd name="T66" fmla="*/ 498 w 696"/>
                <a:gd name="T67" fmla="*/ 464 h 1265"/>
                <a:gd name="T68" fmla="*/ 490 w 696"/>
                <a:gd name="T69" fmla="*/ 454 h 1265"/>
                <a:gd name="T70" fmla="*/ 507 w 696"/>
                <a:gd name="T71" fmla="*/ 451 h 1265"/>
                <a:gd name="T72" fmla="*/ 73 w 696"/>
                <a:gd name="T73" fmla="*/ 463 h 1265"/>
                <a:gd name="T74" fmla="*/ 106 w 696"/>
                <a:gd name="T75" fmla="*/ 451 h 1265"/>
                <a:gd name="T76" fmla="*/ 490 w 696"/>
                <a:gd name="T77" fmla="*/ 444 h 1265"/>
                <a:gd name="T78" fmla="*/ 68 w 696"/>
                <a:gd name="T79" fmla="*/ 437 h 1265"/>
                <a:gd name="T80" fmla="*/ 92 w 696"/>
                <a:gd name="T81" fmla="*/ 449 h 1265"/>
                <a:gd name="T82" fmla="*/ 82 w 696"/>
                <a:gd name="T83" fmla="*/ 437 h 1265"/>
                <a:gd name="T84" fmla="*/ 155 w 696"/>
                <a:gd name="T85" fmla="*/ 478 h 1265"/>
                <a:gd name="T86" fmla="*/ 138 w 696"/>
                <a:gd name="T87" fmla="*/ 447 h 1265"/>
                <a:gd name="T88" fmla="*/ 143 w 696"/>
                <a:gd name="T89" fmla="*/ 434 h 1265"/>
                <a:gd name="T90" fmla="*/ 684 w 696"/>
                <a:gd name="T91" fmla="*/ 277 h 1265"/>
                <a:gd name="T92" fmla="*/ 353 w 696"/>
                <a:gd name="T93" fmla="*/ 242 h 1265"/>
                <a:gd name="T94" fmla="*/ 666 w 696"/>
                <a:gd name="T95" fmla="*/ 213 h 1265"/>
                <a:gd name="T96" fmla="*/ 664 w 696"/>
                <a:gd name="T97" fmla="*/ 208 h 1265"/>
                <a:gd name="T98" fmla="*/ 293 w 696"/>
                <a:gd name="T99" fmla="*/ 232 h 1265"/>
                <a:gd name="T100" fmla="*/ 316 w 696"/>
                <a:gd name="T101" fmla="*/ 205 h 1265"/>
                <a:gd name="T102" fmla="*/ 370 w 696"/>
                <a:gd name="T103" fmla="*/ 200 h 1265"/>
                <a:gd name="T104" fmla="*/ 363 w 696"/>
                <a:gd name="T105" fmla="*/ 196 h 1265"/>
                <a:gd name="T106" fmla="*/ 360 w 696"/>
                <a:gd name="T107" fmla="*/ 191 h 1265"/>
                <a:gd name="T108" fmla="*/ 346 w 696"/>
                <a:gd name="T109" fmla="*/ 188 h 1265"/>
                <a:gd name="T110" fmla="*/ 372 w 696"/>
                <a:gd name="T111" fmla="*/ 181 h 1265"/>
                <a:gd name="T112" fmla="*/ 355 w 696"/>
                <a:gd name="T113" fmla="*/ 169 h 1265"/>
                <a:gd name="T114" fmla="*/ 363 w 696"/>
                <a:gd name="T115" fmla="*/ 166 h 1265"/>
                <a:gd name="T116" fmla="*/ 572 w 696"/>
                <a:gd name="T117" fmla="*/ 131 h 1265"/>
                <a:gd name="T118" fmla="*/ 597 w 696"/>
                <a:gd name="T119" fmla="*/ 89 h 1265"/>
                <a:gd name="T120" fmla="*/ 577 w 696"/>
                <a:gd name="T121" fmla="*/ 135 h 1265"/>
                <a:gd name="T122" fmla="*/ 563 w 696"/>
                <a:gd name="T123" fmla="*/ 106 h 1265"/>
                <a:gd name="T124" fmla="*/ 553 w 696"/>
                <a:gd name="T125" fmla="*/ 12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6" h="1265">
                  <a:moveTo>
                    <a:pt x="273" y="1262"/>
                  </a:moveTo>
                  <a:lnTo>
                    <a:pt x="273" y="1265"/>
                  </a:lnTo>
                  <a:lnTo>
                    <a:pt x="273" y="1262"/>
                  </a:lnTo>
                  <a:close/>
                  <a:moveTo>
                    <a:pt x="107" y="622"/>
                  </a:moveTo>
                  <a:lnTo>
                    <a:pt x="111" y="622"/>
                  </a:lnTo>
                  <a:lnTo>
                    <a:pt x="111" y="627"/>
                  </a:lnTo>
                  <a:lnTo>
                    <a:pt x="107" y="625"/>
                  </a:lnTo>
                  <a:lnTo>
                    <a:pt x="107" y="622"/>
                  </a:lnTo>
                  <a:close/>
                  <a:moveTo>
                    <a:pt x="102" y="618"/>
                  </a:moveTo>
                  <a:lnTo>
                    <a:pt x="104" y="618"/>
                  </a:lnTo>
                  <a:lnTo>
                    <a:pt x="104" y="622"/>
                  </a:lnTo>
                  <a:lnTo>
                    <a:pt x="102" y="622"/>
                  </a:lnTo>
                  <a:lnTo>
                    <a:pt x="102" y="618"/>
                  </a:lnTo>
                  <a:close/>
                  <a:moveTo>
                    <a:pt x="106" y="618"/>
                  </a:moveTo>
                  <a:lnTo>
                    <a:pt x="107" y="620"/>
                  </a:lnTo>
                  <a:lnTo>
                    <a:pt x="111" y="618"/>
                  </a:lnTo>
                  <a:lnTo>
                    <a:pt x="111" y="622"/>
                  </a:lnTo>
                  <a:lnTo>
                    <a:pt x="106" y="622"/>
                  </a:lnTo>
                  <a:lnTo>
                    <a:pt x="104" y="620"/>
                  </a:lnTo>
                  <a:lnTo>
                    <a:pt x="106" y="618"/>
                  </a:lnTo>
                  <a:close/>
                  <a:moveTo>
                    <a:pt x="114" y="615"/>
                  </a:moveTo>
                  <a:lnTo>
                    <a:pt x="116" y="615"/>
                  </a:lnTo>
                  <a:lnTo>
                    <a:pt x="116" y="618"/>
                  </a:lnTo>
                  <a:lnTo>
                    <a:pt x="114" y="618"/>
                  </a:lnTo>
                  <a:lnTo>
                    <a:pt x="114" y="615"/>
                  </a:lnTo>
                  <a:close/>
                  <a:moveTo>
                    <a:pt x="102" y="615"/>
                  </a:moveTo>
                  <a:lnTo>
                    <a:pt x="106" y="616"/>
                  </a:lnTo>
                  <a:lnTo>
                    <a:pt x="102" y="616"/>
                  </a:lnTo>
                  <a:lnTo>
                    <a:pt x="102" y="618"/>
                  </a:lnTo>
                  <a:lnTo>
                    <a:pt x="101" y="616"/>
                  </a:lnTo>
                  <a:lnTo>
                    <a:pt x="102" y="615"/>
                  </a:lnTo>
                  <a:close/>
                  <a:moveTo>
                    <a:pt x="142" y="615"/>
                  </a:moveTo>
                  <a:lnTo>
                    <a:pt x="143" y="618"/>
                  </a:lnTo>
                  <a:lnTo>
                    <a:pt x="148" y="620"/>
                  </a:lnTo>
                  <a:lnTo>
                    <a:pt x="152" y="627"/>
                  </a:lnTo>
                  <a:lnTo>
                    <a:pt x="155" y="630"/>
                  </a:lnTo>
                  <a:lnTo>
                    <a:pt x="155" y="633"/>
                  </a:lnTo>
                  <a:lnTo>
                    <a:pt x="152" y="633"/>
                  </a:lnTo>
                  <a:lnTo>
                    <a:pt x="148" y="639"/>
                  </a:lnTo>
                  <a:lnTo>
                    <a:pt x="145" y="645"/>
                  </a:lnTo>
                  <a:lnTo>
                    <a:pt x="143" y="652"/>
                  </a:lnTo>
                  <a:lnTo>
                    <a:pt x="138" y="649"/>
                  </a:lnTo>
                  <a:lnTo>
                    <a:pt x="135" y="644"/>
                  </a:lnTo>
                  <a:lnTo>
                    <a:pt x="131" y="647"/>
                  </a:lnTo>
                  <a:lnTo>
                    <a:pt x="130" y="654"/>
                  </a:lnTo>
                  <a:lnTo>
                    <a:pt x="126" y="656"/>
                  </a:lnTo>
                  <a:lnTo>
                    <a:pt x="124" y="652"/>
                  </a:lnTo>
                  <a:lnTo>
                    <a:pt x="124" y="649"/>
                  </a:lnTo>
                  <a:lnTo>
                    <a:pt x="121" y="640"/>
                  </a:lnTo>
                  <a:lnTo>
                    <a:pt x="123" y="637"/>
                  </a:lnTo>
                  <a:lnTo>
                    <a:pt x="121" y="639"/>
                  </a:lnTo>
                  <a:lnTo>
                    <a:pt x="112" y="633"/>
                  </a:lnTo>
                  <a:lnTo>
                    <a:pt x="114" y="632"/>
                  </a:lnTo>
                  <a:lnTo>
                    <a:pt x="116" y="622"/>
                  </a:lnTo>
                  <a:lnTo>
                    <a:pt x="121" y="622"/>
                  </a:lnTo>
                  <a:lnTo>
                    <a:pt x="123" y="615"/>
                  </a:lnTo>
                  <a:lnTo>
                    <a:pt x="124" y="622"/>
                  </a:lnTo>
                  <a:lnTo>
                    <a:pt x="121" y="625"/>
                  </a:lnTo>
                  <a:lnTo>
                    <a:pt x="124" y="628"/>
                  </a:lnTo>
                  <a:lnTo>
                    <a:pt x="124" y="625"/>
                  </a:lnTo>
                  <a:lnTo>
                    <a:pt x="124" y="622"/>
                  </a:lnTo>
                  <a:lnTo>
                    <a:pt x="130" y="623"/>
                  </a:lnTo>
                  <a:lnTo>
                    <a:pt x="135" y="620"/>
                  </a:lnTo>
                  <a:lnTo>
                    <a:pt x="135" y="618"/>
                  </a:lnTo>
                  <a:lnTo>
                    <a:pt x="136" y="615"/>
                  </a:lnTo>
                  <a:lnTo>
                    <a:pt x="142" y="615"/>
                  </a:lnTo>
                  <a:close/>
                  <a:moveTo>
                    <a:pt x="111" y="615"/>
                  </a:moveTo>
                  <a:lnTo>
                    <a:pt x="111" y="616"/>
                  </a:lnTo>
                  <a:lnTo>
                    <a:pt x="111" y="615"/>
                  </a:lnTo>
                  <a:close/>
                  <a:moveTo>
                    <a:pt x="140" y="608"/>
                  </a:moveTo>
                  <a:lnTo>
                    <a:pt x="143" y="611"/>
                  </a:lnTo>
                  <a:lnTo>
                    <a:pt x="140" y="611"/>
                  </a:lnTo>
                  <a:lnTo>
                    <a:pt x="138" y="613"/>
                  </a:lnTo>
                  <a:lnTo>
                    <a:pt x="133" y="613"/>
                  </a:lnTo>
                  <a:lnTo>
                    <a:pt x="130" y="610"/>
                  </a:lnTo>
                  <a:lnTo>
                    <a:pt x="133" y="608"/>
                  </a:lnTo>
                  <a:lnTo>
                    <a:pt x="135" y="610"/>
                  </a:lnTo>
                  <a:lnTo>
                    <a:pt x="140" y="608"/>
                  </a:lnTo>
                  <a:close/>
                  <a:moveTo>
                    <a:pt x="174" y="593"/>
                  </a:moveTo>
                  <a:lnTo>
                    <a:pt x="171" y="586"/>
                  </a:lnTo>
                  <a:lnTo>
                    <a:pt x="176" y="593"/>
                  </a:lnTo>
                  <a:lnTo>
                    <a:pt x="174" y="593"/>
                  </a:lnTo>
                  <a:close/>
                  <a:moveTo>
                    <a:pt x="184" y="581"/>
                  </a:moveTo>
                  <a:lnTo>
                    <a:pt x="184" y="582"/>
                  </a:lnTo>
                  <a:lnTo>
                    <a:pt x="184" y="581"/>
                  </a:lnTo>
                  <a:close/>
                  <a:moveTo>
                    <a:pt x="167" y="581"/>
                  </a:moveTo>
                  <a:lnTo>
                    <a:pt x="171" y="586"/>
                  </a:lnTo>
                  <a:lnTo>
                    <a:pt x="167" y="582"/>
                  </a:lnTo>
                  <a:lnTo>
                    <a:pt x="167" y="581"/>
                  </a:lnTo>
                  <a:close/>
                  <a:moveTo>
                    <a:pt x="184" y="579"/>
                  </a:moveTo>
                  <a:lnTo>
                    <a:pt x="189" y="584"/>
                  </a:lnTo>
                  <a:lnTo>
                    <a:pt x="186" y="582"/>
                  </a:lnTo>
                  <a:lnTo>
                    <a:pt x="184" y="581"/>
                  </a:lnTo>
                  <a:lnTo>
                    <a:pt x="184" y="579"/>
                  </a:lnTo>
                  <a:close/>
                  <a:moveTo>
                    <a:pt x="162" y="575"/>
                  </a:moveTo>
                  <a:lnTo>
                    <a:pt x="164" y="575"/>
                  </a:lnTo>
                  <a:lnTo>
                    <a:pt x="164" y="579"/>
                  </a:lnTo>
                  <a:lnTo>
                    <a:pt x="162" y="579"/>
                  </a:lnTo>
                  <a:lnTo>
                    <a:pt x="162" y="575"/>
                  </a:lnTo>
                  <a:close/>
                  <a:moveTo>
                    <a:pt x="148" y="572"/>
                  </a:moveTo>
                  <a:lnTo>
                    <a:pt x="148" y="574"/>
                  </a:lnTo>
                  <a:lnTo>
                    <a:pt x="147" y="575"/>
                  </a:lnTo>
                  <a:lnTo>
                    <a:pt x="145" y="572"/>
                  </a:lnTo>
                  <a:lnTo>
                    <a:pt x="148" y="572"/>
                  </a:lnTo>
                  <a:close/>
                  <a:moveTo>
                    <a:pt x="150" y="570"/>
                  </a:moveTo>
                  <a:lnTo>
                    <a:pt x="155" y="575"/>
                  </a:lnTo>
                  <a:lnTo>
                    <a:pt x="159" y="579"/>
                  </a:lnTo>
                  <a:lnTo>
                    <a:pt x="160" y="579"/>
                  </a:lnTo>
                  <a:lnTo>
                    <a:pt x="162" y="581"/>
                  </a:lnTo>
                  <a:lnTo>
                    <a:pt x="164" y="584"/>
                  </a:lnTo>
                  <a:lnTo>
                    <a:pt x="162" y="584"/>
                  </a:lnTo>
                  <a:lnTo>
                    <a:pt x="159" y="584"/>
                  </a:lnTo>
                  <a:lnTo>
                    <a:pt x="160" y="587"/>
                  </a:lnTo>
                  <a:lnTo>
                    <a:pt x="164" y="589"/>
                  </a:lnTo>
                  <a:lnTo>
                    <a:pt x="162" y="586"/>
                  </a:lnTo>
                  <a:lnTo>
                    <a:pt x="165" y="584"/>
                  </a:lnTo>
                  <a:lnTo>
                    <a:pt x="172" y="591"/>
                  </a:lnTo>
                  <a:lnTo>
                    <a:pt x="174" y="598"/>
                  </a:lnTo>
                  <a:lnTo>
                    <a:pt x="177" y="599"/>
                  </a:lnTo>
                  <a:lnTo>
                    <a:pt x="182" y="598"/>
                  </a:lnTo>
                  <a:lnTo>
                    <a:pt x="181" y="593"/>
                  </a:lnTo>
                  <a:lnTo>
                    <a:pt x="182" y="591"/>
                  </a:lnTo>
                  <a:lnTo>
                    <a:pt x="189" y="598"/>
                  </a:lnTo>
                  <a:lnTo>
                    <a:pt x="191" y="603"/>
                  </a:lnTo>
                  <a:lnTo>
                    <a:pt x="198" y="608"/>
                  </a:lnTo>
                  <a:lnTo>
                    <a:pt x="203" y="608"/>
                  </a:lnTo>
                  <a:lnTo>
                    <a:pt x="203" y="611"/>
                  </a:lnTo>
                  <a:lnTo>
                    <a:pt x="201" y="611"/>
                  </a:lnTo>
                  <a:lnTo>
                    <a:pt x="194" y="608"/>
                  </a:lnTo>
                  <a:lnTo>
                    <a:pt x="191" y="610"/>
                  </a:lnTo>
                  <a:lnTo>
                    <a:pt x="194" y="613"/>
                  </a:lnTo>
                  <a:lnTo>
                    <a:pt x="193" y="615"/>
                  </a:lnTo>
                  <a:lnTo>
                    <a:pt x="188" y="611"/>
                  </a:lnTo>
                  <a:lnTo>
                    <a:pt x="186" y="613"/>
                  </a:lnTo>
                  <a:lnTo>
                    <a:pt x="182" y="610"/>
                  </a:lnTo>
                  <a:lnTo>
                    <a:pt x="177" y="608"/>
                  </a:lnTo>
                  <a:lnTo>
                    <a:pt x="177" y="606"/>
                  </a:lnTo>
                  <a:lnTo>
                    <a:pt x="174" y="604"/>
                  </a:lnTo>
                  <a:lnTo>
                    <a:pt x="174" y="603"/>
                  </a:lnTo>
                  <a:lnTo>
                    <a:pt x="167" y="599"/>
                  </a:lnTo>
                  <a:lnTo>
                    <a:pt x="162" y="601"/>
                  </a:lnTo>
                  <a:lnTo>
                    <a:pt x="155" y="604"/>
                  </a:lnTo>
                  <a:lnTo>
                    <a:pt x="152" y="603"/>
                  </a:lnTo>
                  <a:lnTo>
                    <a:pt x="147" y="608"/>
                  </a:lnTo>
                  <a:lnTo>
                    <a:pt x="143" y="606"/>
                  </a:lnTo>
                  <a:lnTo>
                    <a:pt x="143" y="603"/>
                  </a:lnTo>
                  <a:lnTo>
                    <a:pt x="135" y="603"/>
                  </a:lnTo>
                  <a:lnTo>
                    <a:pt x="135" y="596"/>
                  </a:lnTo>
                  <a:lnTo>
                    <a:pt x="138" y="596"/>
                  </a:lnTo>
                  <a:lnTo>
                    <a:pt x="138" y="594"/>
                  </a:lnTo>
                  <a:lnTo>
                    <a:pt x="140" y="594"/>
                  </a:lnTo>
                  <a:lnTo>
                    <a:pt x="140" y="591"/>
                  </a:lnTo>
                  <a:lnTo>
                    <a:pt x="143" y="591"/>
                  </a:lnTo>
                  <a:lnTo>
                    <a:pt x="145" y="582"/>
                  </a:lnTo>
                  <a:lnTo>
                    <a:pt x="143" y="581"/>
                  </a:lnTo>
                  <a:lnTo>
                    <a:pt x="143" y="575"/>
                  </a:lnTo>
                  <a:lnTo>
                    <a:pt x="143" y="574"/>
                  </a:lnTo>
                  <a:lnTo>
                    <a:pt x="145" y="575"/>
                  </a:lnTo>
                  <a:lnTo>
                    <a:pt x="148" y="575"/>
                  </a:lnTo>
                  <a:lnTo>
                    <a:pt x="147" y="577"/>
                  </a:lnTo>
                  <a:lnTo>
                    <a:pt x="150" y="574"/>
                  </a:lnTo>
                  <a:lnTo>
                    <a:pt x="152" y="575"/>
                  </a:lnTo>
                  <a:lnTo>
                    <a:pt x="150" y="570"/>
                  </a:lnTo>
                  <a:close/>
                  <a:moveTo>
                    <a:pt x="160" y="569"/>
                  </a:moveTo>
                  <a:lnTo>
                    <a:pt x="162" y="569"/>
                  </a:lnTo>
                  <a:lnTo>
                    <a:pt x="162" y="570"/>
                  </a:lnTo>
                  <a:lnTo>
                    <a:pt x="160" y="570"/>
                  </a:lnTo>
                  <a:lnTo>
                    <a:pt x="160" y="569"/>
                  </a:lnTo>
                  <a:close/>
                  <a:moveTo>
                    <a:pt x="143" y="569"/>
                  </a:moveTo>
                  <a:lnTo>
                    <a:pt x="145" y="569"/>
                  </a:lnTo>
                  <a:lnTo>
                    <a:pt x="145" y="570"/>
                  </a:lnTo>
                  <a:lnTo>
                    <a:pt x="143" y="570"/>
                  </a:lnTo>
                  <a:lnTo>
                    <a:pt x="143" y="569"/>
                  </a:lnTo>
                  <a:close/>
                  <a:moveTo>
                    <a:pt x="147" y="569"/>
                  </a:moveTo>
                  <a:lnTo>
                    <a:pt x="148" y="569"/>
                  </a:lnTo>
                  <a:lnTo>
                    <a:pt x="148" y="570"/>
                  </a:lnTo>
                  <a:lnTo>
                    <a:pt x="147" y="570"/>
                  </a:lnTo>
                  <a:lnTo>
                    <a:pt x="147" y="569"/>
                  </a:lnTo>
                  <a:close/>
                  <a:moveTo>
                    <a:pt x="176" y="567"/>
                  </a:moveTo>
                  <a:lnTo>
                    <a:pt x="177" y="570"/>
                  </a:lnTo>
                  <a:lnTo>
                    <a:pt x="172" y="570"/>
                  </a:lnTo>
                  <a:lnTo>
                    <a:pt x="172" y="569"/>
                  </a:lnTo>
                  <a:lnTo>
                    <a:pt x="174" y="569"/>
                  </a:lnTo>
                  <a:lnTo>
                    <a:pt x="176" y="567"/>
                  </a:lnTo>
                  <a:close/>
                  <a:moveTo>
                    <a:pt x="145" y="567"/>
                  </a:moveTo>
                  <a:lnTo>
                    <a:pt x="147" y="567"/>
                  </a:lnTo>
                  <a:lnTo>
                    <a:pt x="147" y="569"/>
                  </a:lnTo>
                  <a:lnTo>
                    <a:pt x="145" y="569"/>
                  </a:lnTo>
                  <a:lnTo>
                    <a:pt x="145" y="567"/>
                  </a:lnTo>
                  <a:close/>
                  <a:moveTo>
                    <a:pt x="142" y="563"/>
                  </a:moveTo>
                  <a:lnTo>
                    <a:pt x="143" y="563"/>
                  </a:lnTo>
                  <a:lnTo>
                    <a:pt x="143" y="565"/>
                  </a:lnTo>
                  <a:lnTo>
                    <a:pt x="142" y="565"/>
                  </a:lnTo>
                  <a:lnTo>
                    <a:pt x="142" y="563"/>
                  </a:lnTo>
                  <a:close/>
                  <a:moveTo>
                    <a:pt x="148" y="562"/>
                  </a:moveTo>
                  <a:lnTo>
                    <a:pt x="150" y="565"/>
                  </a:lnTo>
                  <a:lnTo>
                    <a:pt x="148" y="563"/>
                  </a:lnTo>
                  <a:lnTo>
                    <a:pt x="148" y="562"/>
                  </a:lnTo>
                  <a:close/>
                  <a:moveTo>
                    <a:pt x="138" y="558"/>
                  </a:moveTo>
                  <a:lnTo>
                    <a:pt x="142" y="563"/>
                  </a:lnTo>
                  <a:lnTo>
                    <a:pt x="136" y="560"/>
                  </a:lnTo>
                  <a:lnTo>
                    <a:pt x="138" y="558"/>
                  </a:lnTo>
                  <a:close/>
                  <a:moveTo>
                    <a:pt x="473" y="557"/>
                  </a:moveTo>
                  <a:lnTo>
                    <a:pt x="471" y="560"/>
                  </a:lnTo>
                  <a:lnTo>
                    <a:pt x="471" y="562"/>
                  </a:lnTo>
                  <a:lnTo>
                    <a:pt x="469" y="562"/>
                  </a:lnTo>
                  <a:lnTo>
                    <a:pt x="468" y="558"/>
                  </a:lnTo>
                  <a:lnTo>
                    <a:pt x="473" y="557"/>
                  </a:lnTo>
                  <a:close/>
                  <a:moveTo>
                    <a:pt x="143" y="557"/>
                  </a:moveTo>
                  <a:lnTo>
                    <a:pt x="145" y="558"/>
                  </a:lnTo>
                  <a:lnTo>
                    <a:pt x="145" y="562"/>
                  </a:lnTo>
                  <a:lnTo>
                    <a:pt x="142" y="558"/>
                  </a:lnTo>
                  <a:lnTo>
                    <a:pt x="143" y="557"/>
                  </a:lnTo>
                  <a:close/>
                  <a:moveTo>
                    <a:pt x="135" y="555"/>
                  </a:moveTo>
                  <a:lnTo>
                    <a:pt x="136" y="555"/>
                  </a:lnTo>
                  <a:lnTo>
                    <a:pt x="136" y="557"/>
                  </a:lnTo>
                  <a:lnTo>
                    <a:pt x="135" y="557"/>
                  </a:lnTo>
                  <a:lnTo>
                    <a:pt x="135" y="555"/>
                  </a:lnTo>
                  <a:close/>
                  <a:moveTo>
                    <a:pt x="133" y="557"/>
                  </a:moveTo>
                  <a:lnTo>
                    <a:pt x="138" y="562"/>
                  </a:lnTo>
                  <a:lnTo>
                    <a:pt x="140" y="562"/>
                  </a:lnTo>
                  <a:lnTo>
                    <a:pt x="142" y="565"/>
                  </a:lnTo>
                  <a:lnTo>
                    <a:pt x="143" y="565"/>
                  </a:lnTo>
                  <a:lnTo>
                    <a:pt x="142" y="569"/>
                  </a:lnTo>
                  <a:lnTo>
                    <a:pt x="140" y="567"/>
                  </a:lnTo>
                  <a:lnTo>
                    <a:pt x="143" y="572"/>
                  </a:lnTo>
                  <a:lnTo>
                    <a:pt x="140" y="572"/>
                  </a:lnTo>
                  <a:lnTo>
                    <a:pt x="133" y="563"/>
                  </a:lnTo>
                  <a:lnTo>
                    <a:pt x="131" y="563"/>
                  </a:lnTo>
                  <a:lnTo>
                    <a:pt x="130" y="560"/>
                  </a:lnTo>
                  <a:lnTo>
                    <a:pt x="135" y="563"/>
                  </a:lnTo>
                  <a:lnTo>
                    <a:pt x="133" y="560"/>
                  </a:lnTo>
                  <a:lnTo>
                    <a:pt x="135" y="560"/>
                  </a:lnTo>
                  <a:lnTo>
                    <a:pt x="131" y="557"/>
                  </a:lnTo>
                  <a:lnTo>
                    <a:pt x="131" y="555"/>
                  </a:lnTo>
                  <a:lnTo>
                    <a:pt x="133" y="557"/>
                  </a:lnTo>
                  <a:close/>
                  <a:moveTo>
                    <a:pt x="116" y="555"/>
                  </a:moveTo>
                  <a:lnTo>
                    <a:pt x="119" y="555"/>
                  </a:lnTo>
                  <a:lnTo>
                    <a:pt x="119" y="557"/>
                  </a:lnTo>
                  <a:lnTo>
                    <a:pt x="116" y="557"/>
                  </a:lnTo>
                  <a:lnTo>
                    <a:pt x="116" y="555"/>
                  </a:lnTo>
                  <a:close/>
                  <a:moveTo>
                    <a:pt x="119" y="555"/>
                  </a:moveTo>
                  <a:lnTo>
                    <a:pt x="124" y="558"/>
                  </a:lnTo>
                  <a:lnTo>
                    <a:pt x="124" y="562"/>
                  </a:lnTo>
                  <a:lnTo>
                    <a:pt x="123" y="562"/>
                  </a:lnTo>
                  <a:lnTo>
                    <a:pt x="121" y="558"/>
                  </a:lnTo>
                  <a:lnTo>
                    <a:pt x="119" y="558"/>
                  </a:lnTo>
                  <a:lnTo>
                    <a:pt x="119" y="555"/>
                  </a:lnTo>
                  <a:close/>
                  <a:moveTo>
                    <a:pt x="138" y="553"/>
                  </a:moveTo>
                  <a:lnTo>
                    <a:pt x="142" y="553"/>
                  </a:lnTo>
                  <a:lnTo>
                    <a:pt x="142" y="555"/>
                  </a:lnTo>
                  <a:lnTo>
                    <a:pt x="138" y="555"/>
                  </a:lnTo>
                  <a:lnTo>
                    <a:pt x="138" y="553"/>
                  </a:lnTo>
                  <a:close/>
                  <a:moveTo>
                    <a:pt x="131" y="553"/>
                  </a:moveTo>
                  <a:lnTo>
                    <a:pt x="135" y="553"/>
                  </a:lnTo>
                  <a:lnTo>
                    <a:pt x="135" y="555"/>
                  </a:lnTo>
                  <a:lnTo>
                    <a:pt x="131" y="555"/>
                  </a:lnTo>
                  <a:lnTo>
                    <a:pt x="131" y="553"/>
                  </a:lnTo>
                  <a:close/>
                  <a:moveTo>
                    <a:pt x="126" y="552"/>
                  </a:moveTo>
                  <a:lnTo>
                    <a:pt x="128" y="555"/>
                  </a:lnTo>
                  <a:lnTo>
                    <a:pt x="130" y="557"/>
                  </a:lnTo>
                  <a:lnTo>
                    <a:pt x="128" y="555"/>
                  </a:lnTo>
                  <a:lnTo>
                    <a:pt x="130" y="557"/>
                  </a:lnTo>
                  <a:lnTo>
                    <a:pt x="131" y="560"/>
                  </a:lnTo>
                  <a:lnTo>
                    <a:pt x="126" y="555"/>
                  </a:lnTo>
                  <a:lnTo>
                    <a:pt x="126" y="552"/>
                  </a:lnTo>
                  <a:close/>
                  <a:moveTo>
                    <a:pt x="111" y="550"/>
                  </a:moveTo>
                  <a:lnTo>
                    <a:pt x="112" y="553"/>
                  </a:lnTo>
                  <a:lnTo>
                    <a:pt x="111" y="557"/>
                  </a:lnTo>
                  <a:lnTo>
                    <a:pt x="107" y="553"/>
                  </a:lnTo>
                  <a:lnTo>
                    <a:pt x="111" y="550"/>
                  </a:lnTo>
                  <a:close/>
                  <a:moveTo>
                    <a:pt x="124" y="553"/>
                  </a:moveTo>
                  <a:lnTo>
                    <a:pt x="123" y="550"/>
                  </a:lnTo>
                  <a:lnTo>
                    <a:pt x="124" y="552"/>
                  </a:lnTo>
                  <a:lnTo>
                    <a:pt x="124" y="553"/>
                  </a:lnTo>
                  <a:close/>
                  <a:moveTo>
                    <a:pt x="142" y="548"/>
                  </a:moveTo>
                  <a:lnTo>
                    <a:pt x="143" y="548"/>
                  </a:lnTo>
                  <a:lnTo>
                    <a:pt x="143" y="552"/>
                  </a:lnTo>
                  <a:lnTo>
                    <a:pt x="142" y="552"/>
                  </a:lnTo>
                  <a:lnTo>
                    <a:pt x="142" y="548"/>
                  </a:lnTo>
                  <a:close/>
                  <a:moveTo>
                    <a:pt x="150" y="550"/>
                  </a:moveTo>
                  <a:lnTo>
                    <a:pt x="153" y="555"/>
                  </a:lnTo>
                  <a:lnTo>
                    <a:pt x="159" y="560"/>
                  </a:lnTo>
                  <a:lnTo>
                    <a:pt x="164" y="565"/>
                  </a:lnTo>
                  <a:lnTo>
                    <a:pt x="167" y="569"/>
                  </a:lnTo>
                  <a:lnTo>
                    <a:pt x="167" y="572"/>
                  </a:lnTo>
                  <a:lnTo>
                    <a:pt x="165" y="572"/>
                  </a:lnTo>
                  <a:lnTo>
                    <a:pt x="159" y="565"/>
                  </a:lnTo>
                  <a:lnTo>
                    <a:pt x="160" y="565"/>
                  </a:lnTo>
                  <a:lnTo>
                    <a:pt x="159" y="563"/>
                  </a:lnTo>
                  <a:lnTo>
                    <a:pt x="157" y="563"/>
                  </a:lnTo>
                  <a:lnTo>
                    <a:pt x="157" y="565"/>
                  </a:lnTo>
                  <a:lnTo>
                    <a:pt x="150" y="560"/>
                  </a:lnTo>
                  <a:lnTo>
                    <a:pt x="150" y="557"/>
                  </a:lnTo>
                  <a:lnTo>
                    <a:pt x="152" y="557"/>
                  </a:lnTo>
                  <a:lnTo>
                    <a:pt x="148" y="555"/>
                  </a:lnTo>
                  <a:lnTo>
                    <a:pt x="150" y="557"/>
                  </a:lnTo>
                  <a:lnTo>
                    <a:pt x="148" y="557"/>
                  </a:lnTo>
                  <a:lnTo>
                    <a:pt x="143" y="552"/>
                  </a:lnTo>
                  <a:lnTo>
                    <a:pt x="147" y="552"/>
                  </a:lnTo>
                  <a:lnTo>
                    <a:pt x="140" y="545"/>
                  </a:lnTo>
                  <a:lnTo>
                    <a:pt x="143" y="545"/>
                  </a:lnTo>
                  <a:lnTo>
                    <a:pt x="147" y="550"/>
                  </a:lnTo>
                  <a:lnTo>
                    <a:pt x="145" y="545"/>
                  </a:lnTo>
                  <a:lnTo>
                    <a:pt x="150" y="550"/>
                  </a:lnTo>
                  <a:close/>
                  <a:moveTo>
                    <a:pt x="136" y="545"/>
                  </a:moveTo>
                  <a:lnTo>
                    <a:pt x="140" y="546"/>
                  </a:lnTo>
                  <a:lnTo>
                    <a:pt x="136" y="546"/>
                  </a:lnTo>
                  <a:lnTo>
                    <a:pt x="136" y="545"/>
                  </a:lnTo>
                  <a:close/>
                  <a:moveTo>
                    <a:pt x="123" y="541"/>
                  </a:moveTo>
                  <a:lnTo>
                    <a:pt x="126" y="541"/>
                  </a:lnTo>
                  <a:lnTo>
                    <a:pt x="126" y="543"/>
                  </a:lnTo>
                  <a:lnTo>
                    <a:pt x="123" y="543"/>
                  </a:lnTo>
                  <a:lnTo>
                    <a:pt x="123" y="541"/>
                  </a:lnTo>
                  <a:close/>
                  <a:moveTo>
                    <a:pt x="123" y="540"/>
                  </a:moveTo>
                  <a:lnTo>
                    <a:pt x="124" y="540"/>
                  </a:lnTo>
                  <a:lnTo>
                    <a:pt x="124" y="541"/>
                  </a:lnTo>
                  <a:lnTo>
                    <a:pt x="123" y="541"/>
                  </a:lnTo>
                  <a:lnTo>
                    <a:pt x="123" y="540"/>
                  </a:lnTo>
                  <a:close/>
                  <a:moveTo>
                    <a:pt x="123" y="536"/>
                  </a:moveTo>
                  <a:lnTo>
                    <a:pt x="128" y="538"/>
                  </a:lnTo>
                  <a:lnTo>
                    <a:pt x="130" y="541"/>
                  </a:lnTo>
                  <a:lnTo>
                    <a:pt x="126" y="541"/>
                  </a:lnTo>
                  <a:lnTo>
                    <a:pt x="126" y="540"/>
                  </a:lnTo>
                  <a:lnTo>
                    <a:pt x="123" y="538"/>
                  </a:lnTo>
                  <a:lnTo>
                    <a:pt x="123" y="536"/>
                  </a:lnTo>
                  <a:close/>
                  <a:moveTo>
                    <a:pt x="119" y="533"/>
                  </a:moveTo>
                  <a:lnTo>
                    <a:pt x="123" y="534"/>
                  </a:lnTo>
                  <a:lnTo>
                    <a:pt x="121" y="538"/>
                  </a:lnTo>
                  <a:lnTo>
                    <a:pt x="119" y="538"/>
                  </a:lnTo>
                  <a:lnTo>
                    <a:pt x="119" y="533"/>
                  </a:lnTo>
                  <a:close/>
                  <a:moveTo>
                    <a:pt x="140" y="531"/>
                  </a:moveTo>
                  <a:lnTo>
                    <a:pt x="142" y="533"/>
                  </a:lnTo>
                  <a:lnTo>
                    <a:pt x="138" y="533"/>
                  </a:lnTo>
                  <a:lnTo>
                    <a:pt x="140" y="531"/>
                  </a:lnTo>
                  <a:close/>
                  <a:moveTo>
                    <a:pt x="124" y="529"/>
                  </a:moveTo>
                  <a:lnTo>
                    <a:pt x="128" y="533"/>
                  </a:lnTo>
                  <a:lnTo>
                    <a:pt x="135" y="536"/>
                  </a:lnTo>
                  <a:lnTo>
                    <a:pt x="136" y="538"/>
                  </a:lnTo>
                  <a:lnTo>
                    <a:pt x="131" y="536"/>
                  </a:lnTo>
                  <a:lnTo>
                    <a:pt x="135" y="540"/>
                  </a:lnTo>
                  <a:lnTo>
                    <a:pt x="131" y="540"/>
                  </a:lnTo>
                  <a:lnTo>
                    <a:pt x="130" y="538"/>
                  </a:lnTo>
                  <a:lnTo>
                    <a:pt x="130" y="540"/>
                  </a:lnTo>
                  <a:lnTo>
                    <a:pt x="130" y="538"/>
                  </a:lnTo>
                  <a:lnTo>
                    <a:pt x="124" y="534"/>
                  </a:lnTo>
                  <a:lnTo>
                    <a:pt x="126" y="533"/>
                  </a:lnTo>
                  <a:lnTo>
                    <a:pt x="123" y="531"/>
                  </a:lnTo>
                  <a:lnTo>
                    <a:pt x="124" y="529"/>
                  </a:lnTo>
                  <a:close/>
                  <a:moveTo>
                    <a:pt x="140" y="529"/>
                  </a:moveTo>
                  <a:lnTo>
                    <a:pt x="142" y="529"/>
                  </a:lnTo>
                  <a:lnTo>
                    <a:pt x="142" y="531"/>
                  </a:lnTo>
                  <a:lnTo>
                    <a:pt x="140" y="531"/>
                  </a:lnTo>
                  <a:lnTo>
                    <a:pt x="140" y="529"/>
                  </a:lnTo>
                  <a:close/>
                  <a:moveTo>
                    <a:pt x="133" y="528"/>
                  </a:moveTo>
                  <a:lnTo>
                    <a:pt x="135" y="528"/>
                  </a:lnTo>
                  <a:lnTo>
                    <a:pt x="135" y="529"/>
                  </a:lnTo>
                  <a:lnTo>
                    <a:pt x="133" y="529"/>
                  </a:lnTo>
                  <a:lnTo>
                    <a:pt x="133" y="528"/>
                  </a:lnTo>
                  <a:close/>
                  <a:moveTo>
                    <a:pt x="136" y="526"/>
                  </a:moveTo>
                  <a:lnTo>
                    <a:pt x="138" y="526"/>
                  </a:lnTo>
                  <a:lnTo>
                    <a:pt x="138" y="528"/>
                  </a:lnTo>
                  <a:lnTo>
                    <a:pt x="136" y="528"/>
                  </a:lnTo>
                  <a:lnTo>
                    <a:pt x="136" y="526"/>
                  </a:lnTo>
                  <a:close/>
                  <a:moveTo>
                    <a:pt x="147" y="524"/>
                  </a:moveTo>
                  <a:lnTo>
                    <a:pt x="152" y="526"/>
                  </a:lnTo>
                  <a:lnTo>
                    <a:pt x="147" y="526"/>
                  </a:lnTo>
                  <a:lnTo>
                    <a:pt x="147" y="531"/>
                  </a:lnTo>
                  <a:lnTo>
                    <a:pt x="145" y="522"/>
                  </a:lnTo>
                  <a:lnTo>
                    <a:pt x="147" y="524"/>
                  </a:lnTo>
                  <a:close/>
                  <a:moveTo>
                    <a:pt x="133" y="521"/>
                  </a:moveTo>
                  <a:lnTo>
                    <a:pt x="131" y="522"/>
                  </a:lnTo>
                  <a:lnTo>
                    <a:pt x="130" y="522"/>
                  </a:lnTo>
                  <a:lnTo>
                    <a:pt x="133" y="521"/>
                  </a:lnTo>
                  <a:close/>
                  <a:moveTo>
                    <a:pt x="130" y="521"/>
                  </a:moveTo>
                  <a:lnTo>
                    <a:pt x="131" y="521"/>
                  </a:lnTo>
                  <a:lnTo>
                    <a:pt x="131" y="522"/>
                  </a:lnTo>
                  <a:lnTo>
                    <a:pt x="130" y="522"/>
                  </a:lnTo>
                  <a:lnTo>
                    <a:pt x="130" y="521"/>
                  </a:lnTo>
                  <a:close/>
                  <a:moveTo>
                    <a:pt x="131" y="517"/>
                  </a:moveTo>
                  <a:lnTo>
                    <a:pt x="135" y="517"/>
                  </a:lnTo>
                  <a:lnTo>
                    <a:pt x="135" y="519"/>
                  </a:lnTo>
                  <a:lnTo>
                    <a:pt x="131" y="519"/>
                  </a:lnTo>
                  <a:lnTo>
                    <a:pt x="131" y="517"/>
                  </a:lnTo>
                  <a:close/>
                  <a:moveTo>
                    <a:pt x="136" y="517"/>
                  </a:moveTo>
                  <a:lnTo>
                    <a:pt x="138" y="517"/>
                  </a:lnTo>
                  <a:lnTo>
                    <a:pt x="138" y="521"/>
                  </a:lnTo>
                  <a:lnTo>
                    <a:pt x="136" y="521"/>
                  </a:lnTo>
                  <a:lnTo>
                    <a:pt x="136" y="517"/>
                  </a:lnTo>
                  <a:close/>
                  <a:moveTo>
                    <a:pt x="128" y="516"/>
                  </a:moveTo>
                  <a:lnTo>
                    <a:pt x="130" y="516"/>
                  </a:lnTo>
                  <a:lnTo>
                    <a:pt x="130" y="517"/>
                  </a:lnTo>
                  <a:lnTo>
                    <a:pt x="128" y="517"/>
                  </a:lnTo>
                  <a:lnTo>
                    <a:pt x="128" y="516"/>
                  </a:lnTo>
                  <a:close/>
                  <a:moveTo>
                    <a:pt x="114" y="514"/>
                  </a:moveTo>
                  <a:lnTo>
                    <a:pt x="116" y="514"/>
                  </a:lnTo>
                  <a:lnTo>
                    <a:pt x="116" y="517"/>
                  </a:lnTo>
                  <a:lnTo>
                    <a:pt x="114" y="517"/>
                  </a:lnTo>
                  <a:lnTo>
                    <a:pt x="114" y="514"/>
                  </a:lnTo>
                  <a:close/>
                  <a:moveTo>
                    <a:pt x="118" y="512"/>
                  </a:moveTo>
                  <a:lnTo>
                    <a:pt x="119" y="517"/>
                  </a:lnTo>
                  <a:lnTo>
                    <a:pt x="118" y="512"/>
                  </a:lnTo>
                  <a:close/>
                  <a:moveTo>
                    <a:pt x="111" y="507"/>
                  </a:moveTo>
                  <a:lnTo>
                    <a:pt x="112" y="507"/>
                  </a:lnTo>
                  <a:lnTo>
                    <a:pt x="112" y="511"/>
                  </a:lnTo>
                  <a:lnTo>
                    <a:pt x="111" y="511"/>
                  </a:lnTo>
                  <a:lnTo>
                    <a:pt x="111" y="507"/>
                  </a:lnTo>
                  <a:close/>
                  <a:moveTo>
                    <a:pt x="36" y="511"/>
                  </a:moveTo>
                  <a:lnTo>
                    <a:pt x="39" y="514"/>
                  </a:lnTo>
                  <a:lnTo>
                    <a:pt x="37" y="516"/>
                  </a:lnTo>
                  <a:lnTo>
                    <a:pt x="36" y="516"/>
                  </a:lnTo>
                  <a:lnTo>
                    <a:pt x="32" y="509"/>
                  </a:lnTo>
                  <a:lnTo>
                    <a:pt x="32" y="507"/>
                  </a:lnTo>
                  <a:lnTo>
                    <a:pt x="36" y="511"/>
                  </a:lnTo>
                  <a:close/>
                  <a:moveTo>
                    <a:pt x="43" y="505"/>
                  </a:moveTo>
                  <a:lnTo>
                    <a:pt x="44" y="505"/>
                  </a:lnTo>
                  <a:lnTo>
                    <a:pt x="44" y="509"/>
                  </a:lnTo>
                  <a:lnTo>
                    <a:pt x="43" y="509"/>
                  </a:lnTo>
                  <a:lnTo>
                    <a:pt x="43" y="505"/>
                  </a:lnTo>
                  <a:close/>
                  <a:moveTo>
                    <a:pt x="107" y="502"/>
                  </a:moveTo>
                  <a:lnTo>
                    <a:pt x="111" y="505"/>
                  </a:lnTo>
                  <a:lnTo>
                    <a:pt x="107" y="505"/>
                  </a:lnTo>
                  <a:lnTo>
                    <a:pt x="107" y="509"/>
                  </a:lnTo>
                  <a:lnTo>
                    <a:pt x="106" y="504"/>
                  </a:lnTo>
                  <a:lnTo>
                    <a:pt x="107" y="502"/>
                  </a:lnTo>
                  <a:close/>
                  <a:moveTo>
                    <a:pt x="41" y="500"/>
                  </a:moveTo>
                  <a:lnTo>
                    <a:pt x="43" y="500"/>
                  </a:lnTo>
                  <a:lnTo>
                    <a:pt x="41" y="500"/>
                  </a:lnTo>
                  <a:lnTo>
                    <a:pt x="39" y="500"/>
                  </a:lnTo>
                  <a:lnTo>
                    <a:pt x="41" y="500"/>
                  </a:lnTo>
                  <a:close/>
                  <a:moveTo>
                    <a:pt x="46" y="499"/>
                  </a:moveTo>
                  <a:lnTo>
                    <a:pt x="48" y="500"/>
                  </a:lnTo>
                  <a:lnTo>
                    <a:pt x="46" y="502"/>
                  </a:lnTo>
                  <a:lnTo>
                    <a:pt x="44" y="500"/>
                  </a:lnTo>
                  <a:lnTo>
                    <a:pt x="44" y="499"/>
                  </a:lnTo>
                  <a:lnTo>
                    <a:pt x="46" y="499"/>
                  </a:lnTo>
                  <a:close/>
                  <a:moveTo>
                    <a:pt x="94" y="497"/>
                  </a:moveTo>
                  <a:lnTo>
                    <a:pt x="95" y="500"/>
                  </a:lnTo>
                  <a:lnTo>
                    <a:pt x="94" y="502"/>
                  </a:lnTo>
                  <a:lnTo>
                    <a:pt x="92" y="499"/>
                  </a:lnTo>
                  <a:lnTo>
                    <a:pt x="94" y="497"/>
                  </a:lnTo>
                  <a:close/>
                  <a:moveTo>
                    <a:pt x="444" y="497"/>
                  </a:moveTo>
                  <a:lnTo>
                    <a:pt x="445" y="497"/>
                  </a:lnTo>
                  <a:lnTo>
                    <a:pt x="445" y="500"/>
                  </a:lnTo>
                  <a:lnTo>
                    <a:pt x="444" y="500"/>
                  </a:lnTo>
                  <a:lnTo>
                    <a:pt x="444" y="497"/>
                  </a:lnTo>
                  <a:close/>
                  <a:moveTo>
                    <a:pt x="111" y="495"/>
                  </a:moveTo>
                  <a:lnTo>
                    <a:pt x="114" y="495"/>
                  </a:lnTo>
                  <a:lnTo>
                    <a:pt x="114" y="499"/>
                  </a:lnTo>
                  <a:lnTo>
                    <a:pt x="111" y="499"/>
                  </a:lnTo>
                  <a:lnTo>
                    <a:pt x="111" y="495"/>
                  </a:lnTo>
                  <a:close/>
                  <a:moveTo>
                    <a:pt x="121" y="492"/>
                  </a:moveTo>
                  <a:lnTo>
                    <a:pt x="123" y="492"/>
                  </a:lnTo>
                  <a:lnTo>
                    <a:pt x="123" y="495"/>
                  </a:lnTo>
                  <a:lnTo>
                    <a:pt x="121" y="495"/>
                  </a:lnTo>
                  <a:lnTo>
                    <a:pt x="121" y="492"/>
                  </a:lnTo>
                  <a:close/>
                  <a:moveTo>
                    <a:pt x="119" y="492"/>
                  </a:moveTo>
                  <a:lnTo>
                    <a:pt x="119" y="493"/>
                  </a:lnTo>
                  <a:lnTo>
                    <a:pt x="116" y="493"/>
                  </a:lnTo>
                  <a:lnTo>
                    <a:pt x="119" y="492"/>
                  </a:lnTo>
                  <a:close/>
                  <a:moveTo>
                    <a:pt x="25" y="492"/>
                  </a:moveTo>
                  <a:lnTo>
                    <a:pt x="22" y="500"/>
                  </a:lnTo>
                  <a:lnTo>
                    <a:pt x="19" y="500"/>
                  </a:lnTo>
                  <a:lnTo>
                    <a:pt x="22" y="493"/>
                  </a:lnTo>
                  <a:lnTo>
                    <a:pt x="25" y="492"/>
                  </a:lnTo>
                  <a:close/>
                  <a:moveTo>
                    <a:pt x="32" y="490"/>
                  </a:moveTo>
                  <a:lnTo>
                    <a:pt x="34" y="490"/>
                  </a:lnTo>
                  <a:lnTo>
                    <a:pt x="34" y="493"/>
                  </a:lnTo>
                  <a:lnTo>
                    <a:pt x="32" y="493"/>
                  </a:lnTo>
                  <a:lnTo>
                    <a:pt x="32" y="490"/>
                  </a:lnTo>
                  <a:close/>
                  <a:moveTo>
                    <a:pt x="121" y="490"/>
                  </a:moveTo>
                  <a:lnTo>
                    <a:pt x="124" y="490"/>
                  </a:lnTo>
                  <a:lnTo>
                    <a:pt x="124" y="493"/>
                  </a:lnTo>
                  <a:lnTo>
                    <a:pt x="121" y="493"/>
                  </a:lnTo>
                  <a:lnTo>
                    <a:pt x="121" y="490"/>
                  </a:lnTo>
                  <a:close/>
                  <a:moveTo>
                    <a:pt x="111" y="490"/>
                  </a:moveTo>
                  <a:lnTo>
                    <a:pt x="118" y="495"/>
                  </a:lnTo>
                  <a:lnTo>
                    <a:pt x="118" y="502"/>
                  </a:lnTo>
                  <a:lnTo>
                    <a:pt x="116" y="500"/>
                  </a:lnTo>
                  <a:lnTo>
                    <a:pt x="116" y="499"/>
                  </a:lnTo>
                  <a:lnTo>
                    <a:pt x="112" y="495"/>
                  </a:lnTo>
                  <a:lnTo>
                    <a:pt x="111" y="492"/>
                  </a:lnTo>
                  <a:lnTo>
                    <a:pt x="109" y="488"/>
                  </a:lnTo>
                  <a:lnTo>
                    <a:pt x="111" y="490"/>
                  </a:lnTo>
                  <a:close/>
                  <a:moveTo>
                    <a:pt x="53" y="487"/>
                  </a:moveTo>
                  <a:lnTo>
                    <a:pt x="51" y="488"/>
                  </a:lnTo>
                  <a:lnTo>
                    <a:pt x="53" y="492"/>
                  </a:lnTo>
                  <a:lnTo>
                    <a:pt x="48" y="490"/>
                  </a:lnTo>
                  <a:lnTo>
                    <a:pt x="46" y="487"/>
                  </a:lnTo>
                  <a:lnTo>
                    <a:pt x="53" y="487"/>
                  </a:lnTo>
                  <a:close/>
                  <a:moveTo>
                    <a:pt x="43" y="485"/>
                  </a:moveTo>
                  <a:lnTo>
                    <a:pt x="46" y="488"/>
                  </a:lnTo>
                  <a:lnTo>
                    <a:pt x="44" y="488"/>
                  </a:lnTo>
                  <a:lnTo>
                    <a:pt x="43" y="485"/>
                  </a:lnTo>
                  <a:close/>
                  <a:moveTo>
                    <a:pt x="31" y="485"/>
                  </a:moveTo>
                  <a:lnTo>
                    <a:pt x="32" y="485"/>
                  </a:lnTo>
                  <a:lnTo>
                    <a:pt x="32" y="488"/>
                  </a:lnTo>
                  <a:lnTo>
                    <a:pt x="31" y="488"/>
                  </a:lnTo>
                  <a:lnTo>
                    <a:pt x="31" y="485"/>
                  </a:lnTo>
                  <a:close/>
                  <a:moveTo>
                    <a:pt x="162" y="485"/>
                  </a:moveTo>
                  <a:lnTo>
                    <a:pt x="159" y="488"/>
                  </a:lnTo>
                  <a:lnTo>
                    <a:pt x="159" y="492"/>
                  </a:lnTo>
                  <a:lnTo>
                    <a:pt x="155" y="490"/>
                  </a:lnTo>
                  <a:lnTo>
                    <a:pt x="157" y="487"/>
                  </a:lnTo>
                  <a:lnTo>
                    <a:pt x="162" y="485"/>
                  </a:lnTo>
                  <a:close/>
                  <a:moveTo>
                    <a:pt x="49" y="485"/>
                  </a:moveTo>
                  <a:lnTo>
                    <a:pt x="53" y="485"/>
                  </a:lnTo>
                  <a:lnTo>
                    <a:pt x="49" y="485"/>
                  </a:lnTo>
                  <a:close/>
                  <a:moveTo>
                    <a:pt x="123" y="483"/>
                  </a:moveTo>
                  <a:lnTo>
                    <a:pt x="126" y="485"/>
                  </a:lnTo>
                  <a:lnTo>
                    <a:pt x="119" y="483"/>
                  </a:lnTo>
                  <a:lnTo>
                    <a:pt x="123" y="483"/>
                  </a:lnTo>
                  <a:close/>
                  <a:moveTo>
                    <a:pt x="167" y="483"/>
                  </a:moveTo>
                  <a:lnTo>
                    <a:pt x="174" y="485"/>
                  </a:lnTo>
                  <a:lnTo>
                    <a:pt x="176" y="487"/>
                  </a:lnTo>
                  <a:lnTo>
                    <a:pt x="172" y="488"/>
                  </a:lnTo>
                  <a:lnTo>
                    <a:pt x="169" y="485"/>
                  </a:lnTo>
                  <a:lnTo>
                    <a:pt x="167" y="487"/>
                  </a:lnTo>
                  <a:lnTo>
                    <a:pt x="167" y="483"/>
                  </a:lnTo>
                  <a:close/>
                  <a:moveTo>
                    <a:pt x="78" y="481"/>
                  </a:moveTo>
                  <a:lnTo>
                    <a:pt x="80" y="481"/>
                  </a:lnTo>
                  <a:lnTo>
                    <a:pt x="80" y="483"/>
                  </a:lnTo>
                  <a:lnTo>
                    <a:pt x="78" y="483"/>
                  </a:lnTo>
                  <a:lnTo>
                    <a:pt x="78" y="481"/>
                  </a:lnTo>
                  <a:close/>
                  <a:moveTo>
                    <a:pt x="66" y="480"/>
                  </a:moveTo>
                  <a:lnTo>
                    <a:pt x="68" y="480"/>
                  </a:lnTo>
                  <a:lnTo>
                    <a:pt x="68" y="481"/>
                  </a:lnTo>
                  <a:lnTo>
                    <a:pt x="66" y="481"/>
                  </a:lnTo>
                  <a:lnTo>
                    <a:pt x="66" y="480"/>
                  </a:lnTo>
                  <a:close/>
                  <a:moveTo>
                    <a:pt x="169" y="480"/>
                  </a:moveTo>
                  <a:lnTo>
                    <a:pt x="172" y="480"/>
                  </a:lnTo>
                  <a:lnTo>
                    <a:pt x="174" y="485"/>
                  </a:lnTo>
                  <a:lnTo>
                    <a:pt x="165" y="481"/>
                  </a:lnTo>
                  <a:lnTo>
                    <a:pt x="169" y="480"/>
                  </a:lnTo>
                  <a:close/>
                  <a:moveTo>
                    <a:pt x="155" y="480"/>
                  </a:moveTo>
                  <a:lnTo>
                    <a:pt x="160" y="480"/>
                  </a:lnTo>
                  <a:lnTo>
                    <a:pt x="153" y="485"/>
                  </a:lnTo>
                  <a:lnTo>
                    <a:pt x="153" y="483"/>
                  </a:lnTo>
                  <a:lnTo>
                    <a:pt x="153" y="481"/>
                  </a:lnTo>
                  <a:lnTo>
                    <a:pt x="153" y="480"/>
                  </a:lnTo>
                  <a:lnTo>
                    <a:pt x="155" y="480"/>
                  </a:lnTo>
                  <a:close/>
                  <a:moveTo>
                    <a:pt x="29" y="480"/>
                  </a:moveTo>
                  <a:lnTo>
                    <a:pt x="31" y="481"/>
                  </a:lnTo>
                  <a:lnTo>
                    <a:pt x="29" y="483"/>
                  </a:lnTo>
                  <a:lnTo>
                    <a:pt x="27" y="481"/>
                  </a:lnTo>
                  <a:lnTo>
                    <a:pt x="29" y="480"/>
                  </a:lnTo>
                  <a:close/>
                  <a:moveTo>
                    <a:pt x="150" y="480"/>
                  </a:moveTo>
                  <a:lnTo>
                    <a:pt x="152" y="480"/>
                  </a:lnTo>
                  <a:lnTo>
                    <a:pt x="153" y="481"/>
                  </a:lnTo>
                  <a:lnTo>
                    <a:pt x="148" y="481"/>
                  </a:lnTo>
                  <a:lnTo>
                    <a:pt x="145" y="485"/>
                  </a:lnTo>
                  <a:lnTo>
                    <a:pt x="145" y="481"/>
                  </a:lnTo>
                  <a:lnTo>
                    <a:pt x="150" y="480"/>
                  </a:lnTo>
                  <a:close/>
                  <a:moveTo>
                    <a:pt x="114" y="478"/>
                  </a:moveTo>
                  <a:lnTo>
                    <a:pt x="118" y="480"/>
                  </a:lnTo>
                  <a:lnTo>
                    <a:pt x="114" y="481"/>
                  </a:lnTo>
                  <a:lnTo>
                    <a:pt x="116" y="485"/>
                  </a:lnTo>
                  <a:lnTo>
                    <a:pt x="121" y="490"/>
                  </a:lnTo>
                  <a:lnTo>
                    <a:pt x="114" y="490"/>
                  </a:lnTo>
                  <a:lnTo>
                    <a:pt x="114" y="488"/>
                  </a:lnTo>
                  <a:lnTo>
                    <a:pt x="114" y="492"/>
                  </a:lnTo>
                  <a:lnTo>
                    <a:pt x="109" y="488"/>
                  </a:lnTo>
                  <a:lnTo>
                    <a:pt x="107" y="488"/>
                  </a:lnTo>
                  <a:lnTo>
                    <a:pt x="104" y="481"/>
                  </a:lnTo>
                  <a:lnTo>
                    <a:pt x="104" y="480"/>
                  </a:lnTo>
                  <a:lnTo>
                    <a:pt x="106" y="481"/>
                  </a:lnTo>
                  <a:lnTo>
                    <a:pt x="107" y="480"/>
                  </a:lnTo>
                  <a:lnTo>
                    <a:pt x="109" y="481"/>
                  </a:lnTo>
                  <a:lnTo>
                    <a:pt x="114" y="478"/>
                  </a:lnTo>
                  <a:close/>
                  <a:moveTo>
                    <a:pt x="102" y="480"/>
                  </a:moveTo>
                  <a:lnTo>
                    <a:pt x="101" y="476"/>
                  </a:lnTo>
                  <a:lnTo>
                    <a:pt x="101" y="478"/>
                  </a:lnTo>
                  <a:lnTo>
                    <a:pt x="102" y="480"/>
                  </a:lnTo>
                  <a:close/>
                  <a:moveTo>
                    <a:pt x="51" y="483"/>
                  </a:moveTo>
                  <a:lnTo>
                    <a:pt x="48" y="483"/>
                  </a:lnTo>
                  <a:lnTo>
                    <a:pt x="44" y="475"/>
                  </a:lnTo>
                  <a:lnTo>
                    <a:pt x="48" y="478"/>
                  </a:lnTo>
                  <a:lnTo>
                    <a:pt x="51" y="483"/>
                  </a:lnTo>
                  <a:close/>
                  <a:moveTo>
                    <a:pt x="157" y="475"/>
                  </a:moveTo>
                  <a:lnTo>
                    <a:pt x="159" y="475"/>
                  </a:lnTo>
                  <a:lnTo>
                    <a:pt x="159" y="476"/>
                  </a:lnTo>
                  <a:lnTo>
                    <a:pt x="157" y="476"/>
                  </a:lnTo>
                  <a:lnTo>
                    <a:pt x="157" y="475"/>
                  </a:lnTo>
                  <a:close/>
                  <a:moveTo>
                    <a:pt x="128" y="473"/>
                  </a:moveTo>
                  <a:lnTo>
                    <a:pt x="126" y="476"/>
                  </a:lnTo>
                  <a:lnTo>
                    <a:pt x="126" y="473"/>
                  </a:lnTo>
                  <a:lnTo>
                    <a:pt x="128" y="473"/>
                  </a:lnTo>
                  <a:close/>
                  <a:moveTo>
                    <a:pt x="48" y="471"/>
                  </a:moveTo>
                  <a:lnTo>
                    <a:pt x="48" y="475"/>
                  </a:lnTo>
                  <a:lnTo>
                    <a:pt x="48" y="471"/>
                  </a:lnTo>
                  <a:close/>
                  <a:moveTo>
                    <a:pt x="13" y="471"/>
                  </a:moveTo>
                  <a:lnTo>
                    <a:pt x="13" y="473"/>
                  </a:lnTo>
                  <a:lnTo>
                    <a:pt x="13" y="471"/>
                  </a:lnTo>
                  <a:close/>
                  <a:moveTo>
                    <a:pt x="164" y="476"/>
                  </a:moveTo>
                  <a:lnTo>
                    <a:pt x="159" y="478"/>
                  </a:lnTo>
                  <a:lnTo>
                    <a:pt x="160" y="476"/>
                  </a:lnTo>
                  <a:lnTo>
                    <a:pt x="160" y="470"/>
                  </a:lnTo>
                  <a:lnTo>
                    <a:pt x="164" y="473"/>
                  </a:lnTo>
                  <a:lnTo>
                    <a:pt x="164" y="476"/>
                  </a:lnTo>
                  <a:close/>
                  <a:moveTo>
                    <a:pt x="46" y="476"/>
                  </a:moveTo>
                  <a:lnTo>
                    <a:pt x="43" y="470"/>
                  </a:lnTo>
                  <a:lnTo>
                    <a:pt x="44" y="471"/>
                  </a:lnTo>
                  <a:lnTo>
                    <a:pt x="46" y="476"/>
                  </a:lnTo>
                  <a:close/>
                  <a:moveTo>
                    <a:pt x="19" y="471"/>
                  </a:moveTo>
                  <a:lnTo>
                    <a:pt x="24" y="473"/>
                  </a:lnTo>
                  <a:lnTo>
                    <a:pt x="27" y="478"/>
                  </a:lnTo>
                  <a:lnTo>
                    <a:pt x="27" y="483"/>
                  </a:lnTo>
                  <a:lnTo>
                    <a:pt x="20" y="476"/>
                  </a:lnTo>
                  <a:lnTo>
                    <a:pt x="13" y="473"/>
                  </a:lnTo>
                  <a:lnTo>
                    <a:pt x="13" y="468"/>
                  </a:lnTo>
                  <a:lnTo>
                    <a:pt x="19" y="471"/>
                  </a:lnTo>
                  <a:close/>
                  <a:moveTo>
                    <a:pt x="54" y="470"/>
                  </a:moveTo>
                  <a:lnTo>
                    <a:pt x="58" y="470"/>
                  </a:lnTo>
                  <a:lnTo>
                    <a:pt x="63" y="476"/>
                  </a:lnTo>
                  <a:lnTo>
                    <a:pt x="65" y="481"/>
                  </a:lnTo>
                  <a:lnTo>
                    <a:pt x="63" y="480"/>
                  </a:lnTo>
                  <a:lnTo>
                    <a:pt x="63" y="485"/>
                  </a:lnTo>
                  <a:lnTo>
                    <a:pt x="61" y="485"/>
                  </a:lnTo>
                  <a:lnTo>
                    <a:pt x="61" y="481"/>
                  </a:lnTo>
                  <a:lnTo>
                    <a:pt x="54" y="478"/>
                  </a:lnTo>
                  <a:lnTo>
                    <a:pt x="49" y="473"/>
                  </a:lnTo>
                  <a:lnTo>
                    <a:pt x="51" y="470"/>
                  </a:lnTo>
                  <a:lnTo>
                    <a:pt x="54" y="470"/>
                  </a:lnTo>
                  <a:close/>
                  <a:moveTo>
                    <a:pt x="138" y="470"/>
                  </a:moveTo>
                  <a:lnTo>
                    <a:pt x="142" y="470"/>
                  </a:lnTo>
                  <a:lnTo>
                    <a:pt x="140" y="471"/>
                  </a:lnTo>
                  <a:lnTo>
                    <a:pt x="133" y="470"/>
                  </a:lnTo>
                  <a:lnTo>
                    <a:pt x="138" y="470"/>
                  </a:lnTo>
                  <a:close/>
                  <a:moveTo>
                    <a:pt x="165" y="468"/>
                  </a:moveTo>
                  <a:lnTo>
                    <a:pt x="167" y="468"/>
                  </a:lnTo>
                  <a:lnTo>
                    <a:pt x="167" y="473"/>
                  </a:lnTo>
                  <a:lnTo>
                    <a:pt x="165" y="473"/>
                  </a:lnTo>
                  <a:lnTo>
                    <a:pt x="162" y="471"/>
                  </a:lnTo>
                  <a:lnTo>
                    <a:pt x="165" y="468"/>
                  </a:lnTo>
                  <a:close/>
                  <a:moveTo>
                    <a:pt x="509" y="471"/>
                  </a:moveTo>
                  <a:lnTo>
                    <a:pt x="509" y="468"/>
                  </a:lnTo>
                  <a:lnTo>
                    <a:pt x="509" y="471"/>
                  </a:lnTo>
                  <a:close/>
                  <a:moveTo>
                    <a:pt x="159" y="468"/>
                  </a:moveTo>
                  <a:lnTo>
                    <a:pt x="162" y="468"/>
                  </a:lnTo>
                  <a:lnTo>
                    <a:pt x="162" y="470"/>
                  </a:lnTo>
                  <a:lnTo>
                    <a:pt x="159" y="471"/>
                  </a:lnTo>
                  <a:lnTo>
                    <a:pt x="157" y="470"/>
                  </a:lnTo>
                  <a:lnTo>
                    <a:pt x="159" y="468"/>
                  </a:lnTo>
                  <a:close/>
                  <a:moveTo>
                    <a:pt x="10" y="468"/>
                  </a:moveTo>
                  <a:lnTo>
                    <a:pt x="12" y="470"/>
                  </a:lnTo>
                  <a:lnTo>
                    <a:pt x="12" y="471"/>
                  </a:lnTo>
                  <a:lnTo>
                    <a:pt x="13" y="473"/>
                  </a:lnTo>
                  <a:lnTo>
                    <a:pt x="20" y="478"/>
                  </a:lnTo>
                  <a:lnTo>
                    <a:pt x="25" y="483"/>
                  </a:lnTo>
                  <a:lnTo>
                    <a:pt x="24" y="488"/>
                  </a:lnTo>
                  <a:lnTo>
                    <a:pt x="20" y="493"/>
                  </a:lnTo>
                  <a:lnTo>
                    <a:pt x="19" y="499"/>
                  </a:lnTo>
                  <a:lnTo>
                    <a:pt x="12" y="497"/>
                  </a:lnTo>
                  <a:lnTo>
                    <a:pt x="12" y="493"/>
                  </a:lnTo>
                  <a:lnTo>
                    <a:pt x="7" y="485"/>
                  </a:lnTo>
                  <a:lnTo>
                    <a:pt x="5" y="478"/>
                  </a:lnTo>
                  <a:lnTo>
                    <a:pt x="5" y="475"/>
                  </a:lnTo>
                  <a:lnTo>
                    <a:pt x="8" y="471"/>
                  </a:lnTo>
                  <a:lnTo>
                    <a:pt x="8" y="468"/>
                  </a:lnTo>
                  <a:lnTo>
                    <a:pt x="10" y="468"/>
                  </a:lnTo>
                  <a:close/>
                  <a:moveTo>
                    <a:pt x="65" y="468"/>
                  </a:moveTo>
                  <a:lnTo>
                    <a:pt x="72" y="471"/>
                  </a:lnTo>
                  <a:lnTo>
                    <a:pt x="72" y="476"/>
                  </a:lnTo>
                  <a:lnTo>
                    <a:pt x="75" y="478"/>
                  </a:lnTo>
                  <a:lnTo>
                    <a:pt x="77" y="481"/>
                  </a:lnTo>
                  <a:lnTo>
                    <a:pt x="75" y="483"/>
                  </a:lnTo>
                  <a:lnTo>
                    <a:pt x="73" y="481"/>
                  </a:lnTo>
                  <a:lnTo>
                    <a:pt x="70" y="480"/>
                  </a:lnTo>
                  <a:lnTo>
                    <a:pt x="63" y="473"/>
                  </a:lnTo>
                  <a:lnTo>
                    <a:pt x="61" y="468"/>
                  </a:lnTo>
                  <a:lnTo>
                    <a:pt x="65" y="468"/>
                  </a:lnTo>
                  <a:close/>
                  <a:moveTo>
                    <a:pt x="53" y="466"/>
                  </a:moveTo>
                  <a:lnTo>
                    <a:pt x="56" y="466"/>
                  </a:lnTo>
                  <a:lnTo>
                    <a:pt x="56" y="470"/>
                  </a:lnTo>
                  <a:lnTo>
                    <a:pt x="53" y="470"/>
                  </a:lnTo>
                  <a:lnTo>
                    <a:pt x="53" y="466"/>
                  </a:lnTo>
                  <a:close/>
                  <a:moveTo>
                    <a:pt x="3" y="464"/>
                  </a:moveTo>
                  <a:lnTo>
                    <a:pt x="5" y="464"/>
                  </a:lnTo>
                  <a:lnTo>
                    <a:pt x="5" y="468"/>
                  </a:lnTo>
                  <a:lnTo>
                    <a:pt x="3" y="468"/>
                  </a:lnTo>
                  <a:lnTo>
                    <a:pt x="3" y="464"/>
                  </a:lnTo>
                  <a:close/>
                  <a:moveTo>
                    <a:pt x="89" y="464"/>
                  </a:moveTo>
                  <a:lnTo>
                    <a:pt x="90" y="464"/>
                  </a:lnTo>
                  <a:lnTo>
                    <a:pt x="90" y="468"/>
                  </a:lnTo>
                  <a:lnTo>
                    <a:pt x="89" y="468"/>
                  </a:lnTo>
                  <a:lnTo>
                    <a:pt x="89" y="464"/>
                  </a:lnTo>
                  <a:close/>
                  <a:moveTo>
                    <a:pt x="107" y="464"/>
                  </a:moveTo>
                  <a:lnTo>
                    <a:pt x="109" y="464"/>
                  </a:lnTo>
                  <a:lnTo>
                    <a:pt x="109" y="466"/>
                  </a:lnTo>
                  <a:lnTo>
                    <a:pt x="107" y="466"/>
                  </a:lnTo>
                  <a:lnTo>
                    <a:pt x="107" y="464"/>
                  </a:lnTo>
                  <a:close/>
                  <a:moveTo>
                    <a:pt x="77" y="464"/>
                  </a:moveTo>
                  <a:lnTo>
                    <a:pt x="80" y="464"/>
                  </a:lnTo>
                  <a:lnTo>
                    <a:pt x="80" y="466"/>
                  </a:lnTo>
                  <a:lnTo>
                    <a:pt x="77" y="466"/>
                  </a:lnTo>
                  <a:lnTo>
                    <a:pt x="77" y="464"/>
                  </a:lnTo>
                  <a:close/>
                  <a:moveTo>
                    <a:pt x="19" y="464"/>
                  </a:moveTo>
                  <a:lnTo>
                    <a:pt x="20" y="466"/>
                  </a:lnTo>
                  <a:lnTo>
                    <a:pt x="22" y="471"/>
                  </a:lnTo>
                  <a:lnTo>
                    <a:pt x="19" y="471"/>
                  </a:lnTo>
                  <a:lnTo>
                    <a:pt x="13" y="468"/>
                  </a:lnTo>
                  <a:lnTo>
                    <a:pt x="12" y="466"/>
                  </a:lnTo>
                  <a:lnTo>
                    <a:pt x="19" y="464"/>
                  </a:lnTo>
                  <a:close/>
                  <a:moveTo>
                    <a:pt x="27" y="471"/>
                  </a:moveTo>
                  <a:lnTo>
                    <a:pt x="24" y="471"/>
                  </a:lnTo>
                  <a:lnTo>
                    <a:pt x="22" y="463"/>
                  </a:lnTo>
                  <a:lnTo>
                    <a:pt x="25" y="464"/>
                  </a:lnTo>
                  <a:lnTo>
                    <a:pt x="27" y="471"/>
                  </a:lnTo>
                  <a:close/>
                  <a:moveTo>
                    <a:pt x="102" y="463"/>
                  </a:moveTo>
                  <a:lnTo>
                    <a:pt x="106" y="463"/>
                  </a:lnTo>
                  <a:lnTo>
                    <a:pt x="106" y="466"/>
                  </a:lnTo>
                  <a:lnTo>
                    <a:pt x="102" y="466"/>
                  </a:lnTo>
                  <a:lnTo>
                    <a:pt x="102" y="463"/>
                  </a:lnTo>
                  <a:close/>
                  <a:moveTo>
                    <a:pt x="171" y="461"/>
                  </a:moveTo>
                  <a:lnTo>
                    <a:pt x="174" y="461"/>
                  </a:lnTo>
                  <a:lnTo>
                    <a:pt x="174" y="464"/>
                  </a:lnTo>
                  <a:lnTo>
                    <a:pt x="171" y="464"/>
                  </a:lnTo>
                  <a:lnTo>
                    <a:pt x="171" y="461"/>
                  </a:lnTo>
                  <a:close/>
                  <a:moveTo>
                    <a:pt x="15" y="461"/>
                  </a:moveTo>
                  <a:lnTo>
                    <a:pt x="17" y="463"/>
                  </a:lnTo>
                  <a:lnTo>
                    <a:pt x="13" y="464"/>
                  </a:lnTo>
                  <a:lnTo>
                    <a:pt x="12" y="461"/>
                  </a:lnTo>
                  <a:lnTo>
                    <a:pt x="13" y="461"/>
                  </a:lnTo>
                  <a:lnTo>
                    <a:pt x="15" y="461"/>
                  </a:lnTo>
                  <a:close/>
                  <a:moveTo>
                    <a:pt x="97" y="459"/>
                  </a:moveTo>
                  <a:lnTo>
                    <a:pt x="99" y="463"/>
                  </a:lnTo>
                  <a:lnTo>
                    <a:pt x="101" y="461"/>
                  </a:lnTo>
                  <a:lnTo>
                    <a:pt x="102" y="464"/>
                  </a:lnTo>
                  <a:lnTo>
                    <a:pt x="102" y="468"/>
                  </a:lnTo>
                  <a:lnTo>
                    <a:pt x="104" y="466"/>
                  </a:lnTo>
                  <a:lnTo>
                    <a:pt x="104" y="471"/>
                  </a:lnTo>
                  <a:lnTo>
                    <a:pt x="106" y="468"/>
                  </a:lnTo>
                  <a:lnTo>
                    <a:pt x="106" y="471"/>
                  </a:lnTo>
                  <a:lnTo>
                    <a:pt x="109" y="470"/>
                  </a:lnTo>
                  <a:lnTo>
                    <a:pt x="112" y="470"/>
                  </a:lnTo>
                  <a:lnTo>
                    <a:pt x="112" y="471"/>
                  </a:lnTo>
                  <a:lnTo>
                    <a:pt x="116" y="471"/>
                  </a:lnTo>
                  <a:lnTo>
                    <a:pt x="112" y="476"/>
                  </a:lnTo>
                  <a:lnTo>
                    <a:pt x="107" y="478"/>
                  </a:lnTo>
                  <a:lnTo>
                    <a:pt x="106" y="481"/>
                  </a:lnTo>
                  <a:lnTo>
                    <a:pt x="101" y="471"/>
                  </a:lnTo>
                  <a:lnTo>
                    <a:pt x="99" y="471"/>
                  </a:lnTo>
                  <a:lnTo>
                    <a:pt x="97" y="470"/>
                  </a:lnTo>
                  <a:lnTo>
                    <a:pt x="95" y="470"/>
                  </a:lnTo>
                  <a:lnTo>
                    <a:pt x="95" y="463"/>
                  </a:lnTo>
                  <a:lnTo>
                    <a:pt x="94" y="459"/>
                  </a:lnTo>
                  <a:lnTo>
                    <a:pt x="95" y="461"/>
                  </a:lnTo>
                  <a:lnTo>
                    <a:pt x="97" y="459"/>
                  </a:lnTo>
                  <a:close/>
                  <a:moveTo>
                    <a:pt x="17" y="459"/>
                  </a:moveTo>
                  <a:lnTo>
                    <a:pt x="20" y="461"/>
                  </a:lnTo>
                  <a:lnTo>
                    <a:pt x="20" y="464"/>
                  </a:lnTo>
                  <a:lnTo>
                    <a:pt x="15" y="459"/>
                  </a:lnTo>
                  <a:lnTo>
                    <a:pt x="17" y="459"/>
                  </a:lnTo>
                  <a:close/>
                  <a:moveTo>
                    <a:pt x="500" y="459"/>
                  </a:moveTo>
                  <a:lnTo>
                    <a:pt x="500" y="461"/>
                  </a:lnTo>
                  <a:lnTo>
                    <a:pt x="500" y="459"/>
                  </a:lnTo>
                  <a:close/>
                  <a:moveTo>
                    <a:pt x="491" y="458"/>
                  </a:moveTo>
                  <a:lnTo>
                    <a:pt x="493" y="458"/>
                  </a:lnTo>
                  <a:lnTo>
                    <a:pt x="493" y="461"/>
                  </a:lnTo>
                  <a:lnTo>
                    <a:pt x="491" y="461"/>
                  </a:lnTo>
                  <a:lnTo>
                    <a:pt x="491" y="458"/>
                  </a:lnTo>
                  <a:close/>
                  <a:moveTo>
                    <a:pt x="90" y="459"/>
                  </a:moveTo>
                  <a:lnTo>
                    <a:pt x="94" y="461"/>
                  </a:lnTo>
                  <a:lnTo>
                    <a:pt x="92" y="464"/>
                  </a:lnTo>
                  <a:lnTo>
                    <a:pt x="89" y="463"/>
                  </a:lnTo>
                  <a:lnTo>
                    <a:pt x="89" y="459"/>
                  </a:lnTo>
                  <a:lnTo>
                    <a:pt x="90" y="459"/>
                  </a:lnTo>
                  <a:close/>
                  <a:moveTo>
                    <a:pt x="102" y="458"/>
                  </a:moveTo>
                  <a:lnTo>
                    <a:pt x="104" y="458"/>
                  </a:lnTo>
                  <a:lnTo>
                    <a:pt x="104" y="459"/>
                  </a:lnTo>
                  <a:lnTo>
                    <a:pt x="107" y="461"/>
                  </a:lnTo>
                  <a:lnTo>
                    <a:pt x="102" y="463"/>
                  </a:lnTo>
                  <a:lnTo>
                    <a:pt x="101" y="461"/>
                  </a:lnTo>
                  <a:lnTo>
                    <a:pt x="101" y="458"/>
                  </a:lnTo>
                  <a:lnTo>
                    <a:pt x="102" y="458"/>
                  </a:lnTo>
                  <a:close/>
                  <a:moveTo>
                    <a:pt x="83" y="461"/>
                  </a:moveTo>
                  <a:lnTo>
                    <a:pt x="82" y="461"/>
                  </a:lnTo>
                  <a:lnTo>
                    <a:pt x="82" y="458"/>
                  </a:lnTo>
                  <a:lnTo>
                    <a:pt x="83" y="461"/>
                  </a:lnTo>
                  <a:close/>
                  <a:moveTo>
                    <a:pt x="495" y="458"/>
                  </a:moveTo>
                  <a:lnTo>
                    <a:pt x="500" y="458"/>
                  </a:lnTo>
                  <a:lnTo>
                    <a:pt x="498" y="464"/>
                  </a:lnTo>
                  <a:lnTo>
                    <a:pt x="495" y="463"/>
                  </a:lnTo>
                  <a:lnTo>
                    <a:pt x="495" y="458"/>
                  </a:lnTo>
                  <a:close/>
                  <a:moveTo>
                    <a:pt x="95" y="456"/>
                  </a:moveTo>
                  <a:lnTo>
                    <a:pt x="99" y="456"/>
                  </a:lnTo>
                  <a:lnTo>
                    <a:pt x="99" y="459"/>
                  </a:lnTo>
                  <a:lnTo>
                    <a:pt x="95" y="459"/>
                  </a:lnTo>
                  <a:lnTo>
                    <a:pt x="95" y="456"/>
                  </a:lnTo>
                  <a:close/>
                  <a:moveTo>
                    <a:pt x="8" y="456"/>
                  </a:moveTo>
                  <a:lnTo>
                    <a:pt x="10" y="456"/>
                  </a:lnTo>
                  <a:lnTo>
                    <a:pt x="8" y="456"/>
                  </a:lnTo>
                  <a:close/>
                  <a:moveTo>
                    <a:pt x="112" y="454"/>
                  </a:moveTo>
                  <a:lnTo>
                    <a:pt x="114" y="456"/>
                  </a:lnTo>
                  <a:lnTo>
                    <a:pt x="114" y="458"/>
                  </a:lnTo>
                  <a:lnTo>
                    <a:pt x="111" y="458"/>
                  </a:lnTo>
                  <a:lnTo>
                    <a:pt x="112" y="454"/>
                  </a:lnTo>
                  <a:close/>
                  <a:moveTo>
                    <a:pt x="77" y="454"/>
                  </a:moveTo>
                  <a:lnTo>
                    <a:pt x="80" y="454"/>
                  </a:lnTo>
                  <a:lnTo>
                    <a:pt x="80" y="458"/>
                  </a:lnTo>
                  <a:lnTo>
                    <a:pt x="77" y="458"/>
                  </a:lnTo>
                  <a:lnTo>
                    <a:pt x="77" y="454"/>
                  </a:lnTo>
                  <a:close/>
                  <a:moveTo>
                    <a:pt x="490" y="454"/>
                  </a:moveTo>
                  <a:lnTo>
                    <a:pt x="490" y="456"/>
                  </a:lnTo>
                  <a:lnTo>
                    <a:pt x="490" y="454"/>
                  </a:lnTo>
                  <a:close/>
                  <a:moveTo>
                    <a:pt x="131" y="452"/>
                  </a:moveTo>
                  <a:lnTo>
                    <a:pt x="131" y="456"/>
                  </a:lnTo>
                  <a:lnTo>
                    <a:pt x="128" y="456"/>
                  </a:lnTo>
                  <a:lnTo>
                    <a:pt x="131" y="452"/>
                  </a:lnTo>
                  <a:close/>
                  <a:moveTo>
                    <a:pt x="95" y="452"/>
                  </a:moveTo>
                  <a:lnTo>
                    <a:pt x="97" y="452"/>
                  </a:lnTo>
                  <a:lnTo>
                    <a:pt x="97" y="454"/>
                  </a:lnTo>
                  <a:lnTo>
                    <a:pt x="95" y="454"/>
                  </a:lnTo>
                  <a:lnTo>
                    <a:pt x="95" y="452"/>
                  </a:lnTo>
                  <a:close/>
                  <a:moveTo>
                    <a:pt x="95" y="452"/>
                  </a:moveTo>
                  <a:lnTo>
                    <a:pt x="95" y="454"/>
                  </a:lnTo>
                  <a:lnTo>
                    <a:pt x="95" y="452"/>
                  </a:lnTo>
                  <a:close/>
                  <a:moveTo>
                    <a:pt x="507" y="451"/>
                  </a:moveTo>
                  <a:lnTo>
                    <a:pt x="515" y="454"/>
                  </a:lnTo>
                  <a:lnTo>
                    <a:pt x="509" y="461"/>
                  </a:lnTo>
                  <a:lnTo>
                    <a:pt x="509" y="458"/>
                  </a:lnTo>
                  <a:lnTo>
                    <a:pt x="512" y="456"/>
                  </a:lnTo>
                  <a:lnTo>
                    <a:pt x="510" y="456"/>
                  </a:lnTo>
                  <a:lnTo>
                    <a:pt x="512" y="454"/>
                  </a:lnTo>
                  <a:lnTo>
                    <a:pt x="509" y="458"/>
                  </a:lnTo>
                  <a:lnTo>
                    <a:pt x="509" y="456"/>
                  </a:lnTo>
                  <a:lnTo>
                    <a:pt x="507" y="456"/>
                  </a:lnTo>
                  <a:lnTo>
                    <a:pt x="507" y="451"/>
                  </a:lnTo>
                  <a:close/>
                  <a:moveTo>
                    <a:pt x="106" y="452"/>
                  </a:moveTo>
                  <a:lnTo>
                    <a:pt x="104" y="456"/>
                  </a:lnTo>
                  <a:lnTo>
                    <a:pt x="102" y="454"/>
                  </a:lnTo>
                  <a:lnTo>
                    <a:pt x="102" y="452"/>
                  </a:lnTo>
                  <a:lnTo>
                    <a:pt x="106" y="452"/>
                  </a:lnTo>
                  <a:close/>
                  <a:moveTo>
                    <a:pt x="177" y="451"/>
                  </a:moveTo>
                  <a:lnTo>
                    <a:pt x="186" y="452"/>
                  </a:lnTo>
                  <a:lnTo>
                    <a:pt x="186" y="458"/>
                  </a:lnTo>
                  <a:lnTo>
                    <a:pt x="184" y="459"/>
                  </a:lnTo>
                  <a:lnTo>
                    <a:pt x="181" y="459"/>
                  </a:lnTo>
                  <a:lnTo>
                    <a:pt x="182" y="458"/>
                  </a:lnTo>
                  <a:lnTo>
                    <a:pt x="179" y="454"/>
                  </a:lnTo>
                  <a:lnTo>
                    <a:pt x="177" y="451"/>
                  </a:lnTo>
                  <a:close/>
                  <a:moveTo>
                    <a:pt x="68" y="451"/>
                  </a:moveTo>
                  <a:lnTo>
                    <a:pt x="70" y="451"/>
                  </a:lnTo>
                  <a:lnTo>
                    <a:pt x="68" y="452"/>
                  </a:lnTo>
                  <a:lnTo>
                    <a:pt x="72" y="454"/>
                  </a:lnTo>
                  <a:lnTo>
                    <a:pt x="75" y="454"/>
                  </a:lnTo>
                  <a:lnTo>
                    <a:pt x="80" y="459"/>
                  </a:lnTo>
                  <a:lnTo>
                    <a:pt x="78" y="463"/>
                  </a:lnTo>
                  <a:lnTo>
                    <a:pt x="77" y="464"/>
                  </a:lnTo>
                  <a:lnTo>
                    <a:pt x="77" y="466"/>
                  </a:lnTo>
                  <a:lnTo>
                    <a:pt x="73" y="463"/>
                  </a:lnTo>
                  <a:lnTo>
                    <a:pt x="72" y="463"/>
                  </a:lnTo>
                  <a:lnTo>
                    <a:pt x="63" y="458"/>
                  </a:lnTo>
                  <a:lnTo>
                    <a:pt x="63" y="452"/>
                  </a:lnTo>
                  <a:lnTo>
                    <a:pt x="66" y="454"/>
                  </a:lnTo>
                  <a:lnTo>
                    <a:pt x="65" y="452"/>
                  </a:lnTo>
                  <a:lnTo>
                    <a:pt x="68" y="451"/>
                  </a:lnTo>
                  <a:close/>
                  <a:moveTo>
                    <a:pt x="72" y="451"/>
                  </a:moveTo>
                  <a:lnTo>
                    <a:pt x="73" y="452"/>
                  </a:lnTo>
                  <a:lnTo>
                    <a:pt x="72" y="454"/>
                  </a:lnTo>
                  <a:lnTo>
                    <a:pt x="70" y="451"/>
                  </a:lnTo>
                  <a:lnTo>
                    <a:pt x="72" y="451"/>
                  </a:lnTo>
                  <a:close/>
                  <a:moveTo>
                    <a:pt x="58" y="449"/>
                  </a:moveTo>
                  <a:lnTo>
                    <a:pt x="60" y="451"/>
                  </a:lnTo>
                  <a:lnTo>
                    <a:pt x="60" y="459"/>
                  </a:lnTo>
                  <a:lnTo>
                    <a:pt x="53" y="451"/>
                  </a:lnTo>
                  <a:lnTo>
                    <a:pt x="56" y="451"/>
                  </a:lnTo>
                  <a:lnTo>
                    <a:pt x="56" y="449"/>
                  </a:lnTo>
                  <a:lnTo>
                    <a:pt x="58" y="449"/>
                  </a:lnTo>
                  <a:close/>
                  <a:moveTo>
                    <a:pt x="72" y="447"/>
                  </a:moveTo>
                  <a:lnTo>
                    <a:pt x="72" y="451"/>
                  </a:lnTo>
                  <a:lnTo>
                    <a:pt x="72" y="447"/>
                  </a:lnTo>
                  <a:close/>
                  <a:moveTo>
                    <a:pt x="106" y="446"/>
                  </a:moveTo>
                  <a:lnTo>
                    <a:pt x="106" y="451"/>
                  </a:lnTo>
                  <a:lnTo>
                    <a:pt x="104" y="452"/>
                  </a:lnTo>
                  <a:lnTo>
                    <a:pt x="102" y="449"/>
                  </a:lnTo>
                  <a:lnTo>
                    <a:pt x="104" y="447"/>
                  </a:lnTo>
                  <a:lnTo>
                    <a:pt x="106" y="446"/>
                  </a:lnTo>
                  <a:close/>
                  <a:moveTo>
                    <a:pt x="65" y="446"/>
                  </a:moveTo>
                  <a:lnTo>
                    <a:pt x="70" y="449"/>
                  </a:lnTo>
                  <a:lnTo>
                    <a:pt x="65" y="451"/>
                  </a:lnTo>
                  <a:lnTo>
                    <a:pt x="63" y="447"/>
                  </a:lnTo>
                  <a:lnTo>
                    <a:pt x="65" y="446"/>
                  </a:lnTo>
                  <a:close/>
                  <a:moveTo>
                    <a:pt x="66" y="444"/>
                  </a:moveTo>
                  <a:lnTo>
                    <a:pt x="68" y="444"/>
                  </a:lnTo>
                  <a:lnTo>
                    <a:pt x="68" y="447"/>
                  </a:lnTo>
                  <a:lnTo>
                    <a:pt x="66" y="447"/>
                  </a:lnTo>
                  <a:lnTo>
                    <a:pt x="66" y="444"/>
                  </a:lnTo>
                  <a:close/>
                  <a:moveTo>
                    <a:pt x="58" y="442"/>
                  </a:moveTo>
                  <a:lnTo>
                    <a:pt x="61" y="442"/>
                  </a:lnTo>
                  <a:lnTo>
                    <a:pt x="61" y="444"/>
                  </a:lnTo>
                  <a:lnTo>
                    <a:pt x="58" y="444"/>
                  </a:lnTo>
                  <a:lnTo>
                    <a:pt x="58" y="442"/>
                  </a:lnTo>
                  <a:close/>
                  <a:moveTo>
                    <a:pt x="490" y="440"/>
                  </a:moveTo>
                  <a:lnTo>
                    <a:pt x="491" y="440"/>
                  </a:lnTo>
                  <a:lnTo>
                    <a:pt x="491" y="444"/>
                  </a:lnTo>
                  <a:lnTo>
                    <a:pt x="490" y="444"/>
                  </a:lnTo>
                  <a:lnTo>
                    <a:pt x="490" y="440"/>
                  </a:lnTo>
                  <a:close/>
                  <a:moveTo>
                    <a:pt x="10" y="440"/>
                  </a:moveTo>
                  <a:lnTo>
                    <a:pt x="10" y="444"/>
                  </a:lnTo>
                  <a:lnTo>
                    <a:pt x="12" y="447"/>
                  </a:lnTo>
                  <a:lnTo>
                    <a:pt x="15" y="449"/>
                  </a:lnTo>
                  <a:lnTo>
                    <a:pt x="17" y="456"/>
                  </a:lnTo>
                  <a:lnTo>
                    <a:pt x="12" y="456"/>
                  </a:lnTo>
                  <a:lnTo>
                    <a:pt x="8" y="454"/>
                  </a:lnTo>
                  <a:lnTo>
                    <a:pt x="5" y="454"/>
                  </a:lnTo>
                  <a:lnTo>
                    <a:pt x="2" y="449"/>
                  </a:lnTo>
                  <a:lnTo>
                    <a:pt x="2" y="447"/>
                  </a:lnTo>
                  <a:lnTo>
                    <a:pt x="2" y="444"/>
                  </a:lnTo>
                  <a:lnTo>
                    <a:pt x="3" y="440"/>
                  </a:lnTo>
                  <a:lnTo>
                    <a:pt x="7" y="439"/>
                  </a:lnTo>
                  <a:lnTo>
                    <a:pt x="8" y="440"/>
                  </a:lnTo>
                  <a:lnTo>
                    <a:pt x="8" y="439"/>
                  </a:lnTo>
                  <a:lnTo>
                    <a:pt x="10" y="440"/>
                  </a:lnTo>
                  <a:close/>
                  <a:moveTo>
                    <a:pt x="0" y="439"/>
                  </a:moveTo>
                  <a:lnTo>
                    <a:pt x="2" y="439"/>
                  </a:lnTo>
                  <a:lnTo>
                    <a:pt x="2" y="440"/>
                  </a:lnTo>
                  <a:lnTo>
                    <a:pt x="0" y="440"/>
                  </a:lnTo>
                  <a:lnTo>
                    <a:pt x="0" y="439"/>
                  </a:lnTo>
                  <a:close/>
                  <a:moveTo>
                    <a:pt x="68" y="437"/>
                  </a:moveTo>
                  <a:lnTo>
                    <a:pt x="72" y="437"/>
                  </a:lnTo>
                  <a:lnTo>
                    <a:pt x="68" y="437"/>
                  </a:lnTo>
                  <a:close/>
                  <a:moveTo>
                    <a:pt x="10" y="435"/>
                  </a:moveTo>
                  <a:lnTo>
                    <a:pt x="13" y="439"/>
                  </a:lnTo>
                  <a:lnTo>
                    <a:pt x="8" y="437"/>
                  </a:lnTo>
                  <a:lnTo>
                    <a:pt x="10" y="435"/>
                  </a:lnTo>
                  <a:close/>
                  <a:moveTo>
                    <a:pt x="95" y="432"/>
                  </a:moveTo>
                  <a:lnTo>
                    <a:pt x="102" y="437"/>
                  </a:lnTo>
                  <a:lnTo>
                    <a:pt x="101" y="444"/>
                  </a:lnTo>
                  <a:lnTo>
                    <a:pt x="101" y="451"/>
                  </a:lnTo>
                  <a:lnTo>
                    <a:pt x="97" y="451"/>
                  </a:lnTo>
                  <a:lnTo>
                    <a:pt x="95" y="444"/>
                  </a:lnTo>
                  <a:lnTo>
                    <a:pt x="95" y="447"/>
                  </a:lnTo>
                  <a:lnTo>
                    <a:pt x="92" y="447"/>
                  </a:lnTo>
                  <a:lnTo>
                    <a:pt x="94" y="444"/>
                  </a:lnTo>
                  <a:lnTo>
                    <a:pt x="92" y="446"/>
                  </a:lnTo>
                  <a:lnTo>
                    <a:pt x="89" y="444"/>
                  </a:lnTo>
                  <a:lnTo>
                    <a:pt x="87" y="446"/>
                  </a:lnTo>
                  <a:lnTo>
                    <a:pt x="89" y="447"/>
                  </a:lnTo>
                  <a:lnTo>
                    <a:pt x="92" y="447"/>
                  </a:lnTo>
                  <a:lnTo>
                    <a:pt x="90" y="447"/>
                  </a:lnTo>
                  <a:lnTo>
                    <a:pt x="90" y="451"/>
                  </a:lnTo>
                  <a:lnTo>
                    <a:pt x="92" y="449"/>
                  </a:lnTo>
                  <a:lnTo>
                    <a:pt x="95" y="449"/>
                  </a:lnTo>
                  <a:lnTo>
                    <a:pt x="95" y="451"/>
                  </a:lnTo>
                  <a:lnTo>
                    <a:pt x="94" y="452"/>
                  </a:lnTo>
                  <a:lnTo>
                    <a:pt x="95" y="458"/>
                  </a:lnTo>
                  <a:lnTo>
                    <a:pt x="92" y="454"/>
                  </a:lnTo>
                  <a:lnTo>
                    <a:pt x="92" y="456"/>
                  </a:lnTo>
                  <a:lnTo>
                    <a:pt x="89" y="454"/>
                  </a:lnTo>
                  <a:lnTo>
                    <a:pt x="87" y="454"/>
                  </a:lnTo>
                  <a:lnTo>
                    <a:pt x="89" y="454"/>
                  </a:lnTo>
                  <a:lnTo>
                    <a:pt x="89" y="458"/>
                  </a:lnTo>
                  <a:lnTo>
                    <a:pt x="85" y="456"/>
                  </a:lnTo>
                  <a:lnTo>
                    <a:pt x="82" y="452"/>
                  </a:lnTo>
                  <a:lnTo>
                    <a:pt x="77" y="454"/>
                  </a:lnTo>
                  <a:lnTo>
                    <a:pt x="73" y="451"/>
                  </a:lnTo>
                  <a:lnTo>
                    <a:pt x="70" y="444"/>
                  </a:lnTo>
                  <a:lnTo>
                    <a:pt x="73" y="442"/>
                  </a:lnTo>
                  <a:lnTo>
                    <a:pt x="75" y="446"/>
                  </a:lnTo>
                  <a:lnTo>
                    <a:pt x="77" y="444"/>
                  </a:lnTo>
                  <a:lnTo>
                    <a:pt x="73" y="437"/>
                  </a:lnTo>
                  <a:lnTo>
                    <a:pt x="78" y="437"/>
                  </a:lnTo>
                  <a:lnTo>
                    <a:pt x="80" y="439"/>
                  </a:lnTo>
                  <a:lnTo>
                    <a:pt x="83" y="440"/>
                  </a:lnTo>
                  <a:lnTo>
                    <a:pt x="82" y="437"/>
                  </a:lnTo>
                  <a:lnTo>
                    <a:pt x="83" y="437"/>
                  </a:lnTo>
                  <a:lnTo>
                    <a:pt x="83" y="434"/>
                  </a:lnTo>
                  <a:lnTo>
                    <a:pt x="85" y="432"/>
                  </a:lnTo>
                  <a:lnTo>
                    <a:pt x="87" y="434"/>
                  </a:lnTo>
                  <a:lnTo>
                    <a:pt x="90" y="435"/>
                  </a:lnTo>
                  <a:lnTo>
                    <a:pt x="89" y="439"/>
                  </a:lnTo>
                  <a:lnTo>
                    <a:pt x="92" y="440"/>
                  </a:lnTo>
                  <a:lnTo>
                    <a:pt x="94" y="437"/>
                  </a:lnTo>
                  <a:lnTo>
                    <a:pt x="95" y="437"/>
                  </a:lnTo>
                  <a:lnTo>
                    <a:pt x="92" y="435"/>
                  </a:lnTo>
                  <a:lnTo>
                    <a:pt x="92" y="432"/>
                  </a:lnTo>
                  <a:lnTo>
                    <a:pt x="95" y="432"/>
                  </a:lnTo>
                  <a:close/>
                  <a:moveTo>
                    <a:pt x="152" y="427"/>
                  </a:moveTo>
                  <a:lnTo>
                    <a:pt x="153" y="430"/>
                  </a:lnTo>
                  <a:lnTo>
                    <a:pt x="153" y="435"/>
                  </a:lnTo>
                  <a:lnTo>
                    <a:pt x="155" y="439"/>
                  </a:lnTo>
                  <a:lnTo>
                    <a:pt x="159" y="442"/>
                  </a:lnTo>
                  <a:lnTo>
                    <a:pt x="162" y="449"/>
                  </a:lnTo>
                  <a:lnTo>
                    <a:pt x="160" y="456"/>
                  </a:lnTo>
                  <a:lnTo>
                    <a:pt x="162" y="464"/>
                  </a:lnTo>
                  <a:lnTo>
                    <a:pt x="159" y="466"/>
                  </a:lnTo>
                  <a:lnTo>
                    <a:pt x="157" y="475"/>
                  </a:lnTo>
                  <a:lnTo>
                    <a:pt x="155" y="478"/>
                  </a:lnTo>
                  <a:lnTo>
                    <a:pt x="147" y="476"/>
                  </a:lnTo>
                  <a:lnTo>
                    <a:pt x="145" y="473"/>
                  </a:lnTo>
                  <a:lnTo>
                    <a:pt x="140" y="473"/>
                  </a:lnTo>
                  <a:lnTo>
                    <a:pt x="143" y="470"/>
                  </a:lnTo>
                  <a:lnTo>
                    <a:pt x="136" y="466"/>
                  </a:lnTo>
                  <a:lnTo>
                    <a:pt x="136" y="463"/>
                  </a:lnTo>
                  <a:lnTo>
                    <a:pt x="140" y="463"/>
                  </a:lnTo>
                  <a:lnTo>
                    <a:pt x="142" y="464"/>
                  </a:lnTo>
                  <a:lnTo>
                    <a:pt x="143" y="463"/>
                  </a:lnTo>
                  <a:lnTo>
                    <a:pt x="142" y="463"/>
                  </a:lnTo>
                  <a:lnTo>
                    <a:pt x="142" y="461"/>
                  </a:lnTo>
                  <a:lnTo>
                    <a:pt x="136" y="463"/>
                  </a:lnTo>
                  <a:lnTo>
                    <a:pt x="133" y="459"/>
                  </a:lnTo>
                  <a:lnTo>
                    <a:pt x="133" y="458"/>
                  </a:lnTo>
                  <a:lnTo>
                    <a:pt x="142" y="458"/>
                  </a:lnTo>
                  <a:lnTo>
                    <a:pt x="143" y="458"/>
                  </a:lnTo>
                  <a:lnTo>
                    <a:pt x="142" y="458"/>
                  </a:lnTo>
                  <a:lnTo>
                    <a:pt x="136" y="454"/>
                  </a:lnTo>
                  <a:lnTo>
                    <a:pt x="136" y="452"/>
                  </a:lnTo>
                  <a:lnTo>
                    <a:pt x="142" y="452"/>
                  </a:lnTo>
                  <a:lnTo>
                    <a:pt x="143" y="451"/>
                  </a:lnTo>
                  <a:lnTo>
                    <a:pt x="140" y="451"/>
                  </a:lnTo>
                  <a:lnTo>
                    <a:pt x="138" y="447"/>
                  </a:lnTo>
                  <a:lnTo>
                    <a:pt x="133" y="449"/>
                  </a:lnTo>
                  <a:lnTo>
                    <a:pt x="133" y="447"/>
                  </a:lnTo>
                  <a:lnTo>
                    <a:pt x="130" y="454"/>
                  </a:lnTo>
                  <a:lnTo>
                    <a:pt x="124" y="452"/>
                  </a:lnTo>
                  <a:lnTo>
                    <a:pt x="124" y="451"/>
                  </a:lnTo>
                  <a:lnTo>
                    <a:pt x="123" y="449"/>
                  </a:lnTo>
                  <a:lnTo>
                    <a:pt x="123" y="452"/>
                  </a:lnTo>
                  <a:lnTo>
                    <a:pt x="124" y="452"/>
                  </a:lnTo>
                  <a:lnTo>
                    <a:pt x="123" y="456"/>
                  </a:lnTo>
                  <a:lnTo>
                    <a:pt x="114" y="454"/>
                  </a:lnTo>
                  <a:lnTo>
                    <a:pt x="111" y="452"/>
                  </a:lnTo>
                  <a:lnTo>
                    <a:pt x="112" y="451"/>
                  </a:lnTo>
                  <a:lnTo>
                    <a:pt x="109" y="446"/>
                  </a:lnTo>
                  <a:lnTo>
                    <a:pt x="112" y="440"/>
                  </a:lnTo>
                  <a:lnTo>
                    <a:pt x="116" y="440"/>
                  </a:lnTo>
                  <a:lnTo>
                    <a:pt x="124" y="437"/>
                  </a:lnTo>
                  <a:lnTo>
                    <a:pt x="121" y="432"/>
                  </a:lnTo>
                  <a:lnTo>
                    <a:pt x="123" y="434"/>
                  </a:lnTo>
                  <a:lnTo>
                    <a:pt x="124" y="432"/>
                  </a:lnTo>
                  <a:lnTo>
                    <a:pt x="128" y="434"/>
                  </a:lnTo>
                  <a:lnTo>
                    <a:pt x="131" y="430"/>
                  </a:lnTo>
                  <a:lnTo>
                    <a:pt x="140" y="432"/>
                  </a:lnTo>
                  <a:lnTo>
                    <a:pt x="143" y="434"/>
                  </a:lnTo>
                  <a:lnTo>
                    <a:pt x="147" y="434"/>
                  </a:lnTo>
                  <a:lnTo>
                    <a:pt x="148" y="430"/>
                  </a:lnTo>
                  <a:lnTo>
                    <a:pt x="150" y="432"/>
                  </a:lnTo>
                  <a:lnTo>
                    <a:pt x="148" y="429"/>
                  </a:lnTo>
                  <a:lnTo>
                    <a:pt x="152" y="427"/>
                  </a:lnTo>
                  <a:close/>
                  <a:moveTo>
                    <a:pt x="693" y="324"/>
                  </a:moveTo>
                  <a:lnTo>
                    <a:pt x="695" y="324"/>
                  </a:lnTo>
                  <a:lnTo>
                    <a:pt x="695" y="328"/>
                  </a:lnTo>
                  <a:lnTo>
                    <a:pt x="693" y="328"/>
                  </a:lnTo>
                  <a:lnTo>
                    <a:pt x="693" y="324"/>
                  </a:lnTo>
                  <a:close/>
                  <a:moveTo>
                    <a:pt x="676" y="275"/>
                  </a:moveTo>
                  <a:lnTo>
                    <a:pt x="678" y="275"/>
                  </a:lnTo>
                  <a:lnTo>
                    <a:pt x="678" y="277"/>
                  </a:lnTo>
                  <a:lnTo>
                    <a:pt x="676" y="277"/>
                  </a:lnTo>
                  <a:lnTo>
                    <a:pt x="676" y="275"/>
                  </a:lnTo>
                  <a:close/>
                  <a:moveTo>
                    <a:pt x="683" y="268"/>
                  </a:moveTo>
                  <a:lnTo>
                    <a:pt x="689" y="271"/>
                  </a:lnTo>
                  <a:lnTo>
                    <a:pt x="696" y="271"/>
                  </a:lnTo>
                  <a:lnTo>
                    <a:pt x="696" y="275"/>
                  </a:lnTo>
                  <a:lnTo>
                    <a:pt x="693" y="277"/>
                  </a:lnTo>
                  <a:lnTo>
                    <a:pt x="688" y="275"/>
                  </a:lnTo>
                  <a:lnTo>
                    <a:pt x="688" y="277"/>
                  </a:lnTo>
                  <a:lnTo>
                    <a:pt x="684" y="277"/>
                  </a:lnTo>
                  <a:lnTo>
                    <a:pt x="683" y="275"/>
                  </a:lnTo>
                  <a:lnTo>
                    <a:pt x="686" y="273"/>
                  </a:lnTo>
                  <a:lnTo>
                    <a:pt x="683" y="271"/>
                  </a:lnTo>
                  <a:lnTo>
                    <a:pt x="679" y="273"/>
                  </a:lnTo>
                  <a:lnTo>
                    <a:pt x="679" y="271"/>
                  </a:lnTo>
                  <a:lnTo>
                    <a:pt x="679" y="268"/>
                  </a:lnTo>
                  <a:lnTo>
                    <a:pt x="683" y="268"/>
                  </a:lnTo>
                  <a:close/>
                  <a:moveTo>
                    <a:pt x="633" y="251"/>
                  </a:moveTo>
                  <a:lnTo>
                    <a:pt x="630" y="256"/>
                  </a:lnTo>
                  <a:lnTo>
                    <a:pt x="631" y="253"/>
                  </a:lnTo>
                  <a:lnTo>
                    <a:pt x="633" y="251"/>
                  </a:lnTo>
                  <a:close/>
                  <a:moveTo>
                    <a:pt x="345" y="244"/>
                  </a:moveTo>
                  <a:lnTo>
                    <a:pt x="346" y="244"/>
                  </a:lnTo>
                  <a:lnTo>
                    <a:pt x="346" y="246"/>
                  </a:lnTo>
                  <a:lnTo>
                    <a:pt x="345" y="246"/>
                  </a:lnTo>
                  <a:lnTo>
                    <a:pt x="345" y="244"/>
                  </a:lnTo>
                  <a:close/>
                  <a:moveTo>
                    <a:pt x="672" y="242"/>
                  </a:moveTo>
                  <a:lnTo>
                    <a:pt x="672" y="244"/>
                  </a:lnTo>
                  <a:lnTo>
                    <a:pt x="669" y="247"/>
                  </a:lnTo>
                  <a:lnTo>
                    <a:pt x="672" y="242"/>
                  </a:lnTo>
                  <a:close/>
                  <a:moveTo>
                    <a:pt x="348" y="237"/>
                  </a:moveTo>
                  <a:lnTo>
                    <a:pt x="350" y="239"/>
                  </a:lnTo>
                  <a:lnTo>
                    <a:pt x="353" y="242"/>
                  </a:lnTo>
                  <a:lnTo>
                    <a:pt x="351" y="244"/>
                  </a:lnTo>
                  <a:lnTo>
                    <a:pt x="353" y="244"/>
                  </a:lnTo>
                  <a:lnTo>
                    <a:pt x="351" y="246"/>
                  </a:lnTo>
                  <a:lnTo>
                    <a:pt x="353" y="247"/>
                  </a:lnTo>
                  <a:lnTo>
                    <a:pt x="346" y="244"/>
                  </a:lnTo>
                  <a:lnTo>
                    <a:pt x="350" y="242"/>
                  </a:lnTo>
                  <a:lnTo>
                    <a:pt x="346" y="239"/>
                  </a:lnTo>
                  <a:lnTo>
                    <a:pt x="348" y="237"/>
                  </a:lnTo>
                  <a:close/>
                  <a:moveTo>
                    <a:pt x="338" y="222"/>
                  </a:moveTo>
                  <a:lnTo>
                    <a:pt x="341" y="225"/>
                  </a:lnTo>
                  <a:lnTo>
                    <a:pt x="336" y="224"/>
                  </a:lnTo>
                  <a:lnTo>
                    <a:pt x="338" y="222"/>
                  </a:lnTo>
                  <a:close/>
                  <a:moveTo>
                    <a:pt x="666" y="213"/>
                  </a:moveTo>
                  <a:lnTo>
                    <a:pt x="669" y="215"/>
                  </a:lnTo>
                  <a:lnTo>
                    <a:pt x="667" y="222"/>
                  </a:lnTo>
                  <a:lnTo>
                    <a:pt x="669" y="222"/>
                  </a:lnTo>
                  <a:lnTo>
                    <a:pt x="669" y="229"/>
                  </a:lnTo>
                  <a:lnTo>
                    <a:pt x="660" y="234"/>
                  </a:lnTo>
                  <a:lnTo>
                    <a:pt x="657" y="230"/>
                  </a:lnTo>
                  <a:lnTo>
                    <a:pt x="655" y="229"/>
                  </a:lnTo>
                  <a:lnTo>
                    <a:pt x="662" y="222"/>
                  </a:lnTo>
                  <a:lnTo>
                    <a:pt x="664" y="215"/>
                  </a:lnTo>
                  <a:lnTo>
                    <a:pt x="666" y="213"/>
                  </a:lnTo>
                  <a:close/>
                  <a:moveTo>
                    <a:pt x="538" y="213"/>
                  </a:moveTo>
                  <a:lnTo>
                    <a:pt x="539" y="213"/>
                  </a:lnTo>
                  <a:lnTo>
                    <a:pt x="539" y="217"/>
                  </a:lnTo>
                  <a:lnTo>
                    <a:pt x="534" y="218"/>
                  </a:lnTo>
                  <a:lnTo>
                    <a:pt x="532" y="215"/>
                  </a:lnTo>
                  <a:lnTo>
                    <a:pt x="538" y="213"/>
                  </a:lnTo>
                  <a:close/>
                  <a:moveTo>
                    <a:pt x="370" y="210"/>
                  </a:moveTo>
                  <a:lnTo>
                    <a:pt x="372" y="210"/>
                  </a:lnTo>
                  <a:lnTo>
                    <a:pt x="372" y="213"/>
                  </a:lnTo>
                  <a:lnTo>
                    <a:pt x="370" y="213"/>
                  </a:lnTo>
                  <a:lnTo>
                    <a:pt x="370" y="210"/>
                  </a:lnTo>
                  <a:close/>
                  <a:moveTo>
                    <a:pt x="316" y="210"/>
                  </a:moveTo>
                  <a:lnTo>
                    <a:pt x="317" y="210"/>
                  </a:lnTo>
                  <a:lnTo>
                    <a:pt x="317" y="213"/>
                  </a:lnTo>
                  <a:lnTo>
                    <a:pt x="316" y="213"/>
                  </a:lnTo>
                  <a:lnTo>
                    <a:pt x="316" y="210"/>
                  </a:lnTo>
                  <a:close/>
                  <a:moveTo>
                    <a:pt x="664" y="208"/>
                  </a:moveTo>
                  <a:lnTo>
                    <a:pt x="666" y="210"/>
                  </a:lnTo>
                  <a:lnTo>
                    <a:pt x="666" y="213"/>
                  </a:lnTo>
                  <a:lnTo>
                    <a:pt x="664" y="213"/>
                  </a:lnTo>
                  <a:lnTo>
                    <a:pt x="664" y="212"/>
                  </a:lnTo>
                  <a:lnTo>
                    <a:pt x="662" y="210"/>
                  </a:lnTo>
                  <a:lnTo>
                    <a:pt x="664" y="208"/>
                  </a:lnTo>
                  <a:close/>
                  <a:moveTo>
                    <a:pt x="287" y="208"/>
                  </a:moveTo>
                  <a:lnTo>
                    <a:pt x="290" y="212"/>
                  </a:lnTo>
                  <a:lnTo>
                    <a:pt x="292" y="208"/>
                  </a:lnTo>
                  <a:lnTo>
                    <a:pt x="290" y="215"/>
                  </a:lnTo>
                  <a:lnTo>
                    <a:pt x="292" y="218"/>
                  </a:lnTo>
                  <a:lnTo>
                    <a:pt x="295" y="217"/>
                  </a:lnTo>
                  <a:lnTo>
                    <a:pt x="297" y="218"/>
                  </a:lnTo>
                  <a:lnTo>
                    <a:pt x="299" y="215"/>
                  </a:lnTo>
                  <a:lnTo>
                    <a:pt x="305" y="217"/>
                  </a:lnTo>
                  <a:lnTo>
                    <a:pt x="304" y="217"/>
                  </a:lnTo>
                  <a:lnTo>
                    <a:pt x="305" y="220"/>
                  </a:lnTo>
                  <a:lnTo>
                    <a:pt x="302" y="218"/>
                  </a:lnTo>
                  <a:lnTo>
                    <a:pt x="300" y="222"/>
                  </a:lnTo>
                  <a:lnTo>
                    <a:pt x="302" y="225"/>
                  </a:lnTo>
                  <a:lnTo>
                    <a:pt x="299" y="225"/>
                  </a:lnTo>
                  <a:lnTo>
                    <a:pt x="302" y="229"/>
                  </a:lnTo>
                  <a:lnTo>
                    <a:pt x="299" y="229"/>
                  </a:lnTo>
                  <a:lnTo>
                    <a:pt x="297" y="225"/>
                  </a:lnTo>
                  <a:lnTo>
                    <a:pt x="295" y="227"/>
                  </a:lnTo>
                  <a:lnTo>
                    <a:pt x="295" y="230"/>
                  </a:lnTo>
                  <a:lnTo>
                    <a:pt x="290" y="230"/>
                  </a:lnTo>
                  <a:lnTo>
                    <a:pt x="292" y="232"/>
                  </a:lnTo>
                  <a:lnTo>
                    <a:pt x="293" y="232"/>
                  </a:lnTo>
                  <a:lnTo>
                    <a:pt x="295" y="234"/>
                  </a:lnTo>
                  <a:lnTo>
                    <a:pt x="292" y="237"/>
                  </a:lnTo>
                  <a:lnTo>
                    <a:pt x="292" y="236"/>
                  </a:lnTo>
                  <a:lnTo>
                    <a:pt x="292" y="237"/>
                  </a:lnTo>
                  <a:lnTo>
                    <a:pt x="287" y="232"/>
                  </a:lnTo>
                  <a:lnTo>
                    <a:pt x="288" y="224"/>
                  </a:lnTo>
                  <a:lnTo>
                    <a:pt x="287" y="224"/>
                  </a:lnTo>
                  <a:lnTo>
                    <a:pt x="288" y="222"/>
                  </a:lnTo>
                  <a:lnTo>
                    <a:pt x="288" y="217"/>
                  </a:lnTo>
                  <a:lnTo>
                    <a:pt x="283" y="213"/>
                  </a:lnTo>
                  <a:lnTo>
                    <a:pt x="287" y="215"/>
                  </a:lnTo>
                  <a:lnTo>
                    <a:pt x="288" y="212"/>
                  </a:lnTo>
                  <a:lnTo>
                    <a:pt x="287" y="208"/>
                  </a:lnTo>
                  <a:close/>
                  <a:moveTo>
                    <a:pt x="321" y="205"/>
                  </a:moveTo>
                  <a:lnTo>
                    <a:pt x="322" y="207"/>
                  </a:lnTo>
                  <a:lnTo>
                    <a:pt x="321" y="213"/>
                  </a:lnTo>
                  <a:lnTo>
                    <a:pt x="319" y="210"/>
                  </a:lnTo>
                  <a:lnTo>
                    <a:pt x="321" y="205"/>
                  </a:lnTo>
                  <a:close/>
                  <a:moveTo>
                    <a:pt x="316" y="205"/>
                  </a:moveTo>
                  <a:lnTo>
                    <a:pt x="317" y="205"/>
                  </a:lnTo>
                  <a:lnTo>
                    <a:pt x="317" y="207"/>
                  </a:lnTo>
                  <a:lnTo>
                    <a:pt x="316" y="207"/>
                  </a:lnTo>
                  <a:lnTo>
                    <a:pt x="316" y="205"/>
                  </a:lnTo>
                  <a:close/>
                  <a:moveTo>
                    <a:pt x="273" y="203"/>
                  </a:moveTo>
                  <a:lnTo>
                    <a:pt x="276" y="203"/>
                  </a:lnTo>
                  <a:lnTo>
                    <a:pt x="276" y="205"/>
                  </a:lnTo>
                  <a:lnTo>
                    <a:pt x="273" y="205"/>
                  </a:lnTo>
                  <a:lnTo>
                    <a:pt x="273" y="203"/>
                  </a:lnTo>
                  <a:close/>
                  <a:moveTo>
                    <a:pt x="365" y="205"/>
                  </a:moveTo>
                  <a:lnTo>
                    <a:pt x="365" y="210"/>
                  </a:lnTo>
                  <a:lnTo>
                    <a:pt x="363" y="208"/>
                  </a:lnTo>
                  <a:lnTo>
                    <a:pt x="363" y="205"/>
                  </a:lnTo>
                  <a:lnTo>
                    <a:pt x="365" y="203"/>
                  </a:lnTo>
                  <a:lnTo>
                    <a:pt x="365" y="205"/>
                  </a:lnTo>
                  <a:close/>
                  <a:moveTo>
                    <a:pt x="287" y="203"/>
                  </a:moveTo>
                  <a:lnTo>
                    <a:pt x="292" y="205"/>
                  </a:lnTo>
                  <a:lnTo>
                    <a:pt x="288" y="207"/>
                  </a:lnTo>
                  <a:lnTo>
                    <a:pt x="287" y="203"/>
                  </a:lnTo>
                  <a:close/>
                  <a:moveTo>
                    <a:pt x="281" y="201"/>
                  </a:moveTo>
                  <a:lnTo>
                    <a:pt x="283" y="205"/>
                  </a:lnTo>
                  <a:lnTo>
                    <a:pt x="280" y="205"/>
                  </a:lnTo>
                  <a:lnTo>
                    <a:pt x="280" y="201"/>
                  </a:lnTo>
                  <a:lnTo>
                    <a:pt x="281" y="201"/>
                  </a:lnTo>
                  <a:close/>
                  <a:moveTo>
                    <a:pt x="370" y="200"/>
                  </a:moveTo>
                  <a:lnTo>
                    <a:pt x="370" y="203"/>
                  </a:lnTo>
                  <a:lnTo>
                    <a:pt x="370" y="200"/>
                  </a:lnTo>
                  <a:close/>
                  <a:moveTo>
                    <a:pt x="336" y="198"/>
                  </a:moveTo>
                  <a:lnTo>
                    <a:pt x="338" y="198"/>
                  </a:lnTo>
                  <a:lnTo>
                    <a:pt x="338" y="201"/>
                  </a:lnTo>
                  <a:lnTo>
                    <a:pt x="336" y="201"/>
                  </a:lnTo>
                  <a:lnTo>
                    <a:pt x="336" y="198"/>
                  </a:lnTo>
                  <a:close/>
                  <a:moveTo>
                    <a:pt x="369" y="196"/>
                  </a:moveTo>
                  <a:lnTo>
                    <a:pt x="370" y="196"/>
                  </a:lnTo>
                  <a:lnTo>
                    <a:pt x="370" y="198"/>
                  </a:lnTo>
                  <a:lnTo>
                    <a:pt x="369" y="198"/>
                  </a:lnTo>
                  <a:lnTo>
                    <a:pt x="369" y="196"/>
                  </a:lnTo>
                  <a:close/>
                  <a:moveTo>
                    <a:pt x="374" y="198"/>
                  </a:moveTo>
                  <a:lnTo>
                    <a:pt x="374" y="196"/>
                  </a:lnTo>
                  <a:lnTo>
                    <a:pt x="375" y="200"/>
                  </a:lnTo>
                  <a:lnTo>
                    <a:pt x="372" y="200"/>
                  </a:lnTo>
                  <a:lnTo>
                    <a:pt x="374" y="198"/>
                  </a:lnTo>
                  <a:close/>
                  <a:moveTo>
                    <a:pt x="333" y="196"/>
                  </a:moveTo>
                  <a:lnTo>
                    <a:pt x="334" y="198"/>
                  </a:lnTo>
                  <a:lnTo>
                    <a:pt x="333" y="200"/>
                  </a:lnTo>
                  <a:lnTo>
                    <a:pt x="331" y="198"/>
                  </a:lnTo>
                  <a:lnTo>
                    <a:pt x="333" y="196"/>
                  </a:lnTo>
                  <a:close/>
                  <a:moveTo>
                    <a:pt x="360" y="196"/>
                  </a:moveTo>
                  <a:lnTo>
                    <a:pt x="360" y="200"/>
                  </a:lnTo>
                  <a:lnTo>
                    <a:pt x="363" y="196"/>
                  </a:lnTo>
                  <a:lnTo>
                    <a:pt x="362" y="198"/>
                  </a:lnTo>
                  <a:lnTo>
                    <a:pt x="363" y="196"/>
                  </a:lnTo>
                  <a:lnTo>
                    <a:pt x="363" y="200"/>
                  </a:lnTo>
                  <a:lnTo>
                    <a:pt x="362" y="201"/>
                  </a:lnTo>
                  <a:lnTo>
                    <a:pt x="362" y="200"/>
                  </a:lnTo>
                  <a:lnTo>
                    <a:pt x="360" y="205"/>
                  </a:lnTo>
                  <a:lnTo>
                    <a:pt x="360" y="201"/>
                  </a:lnTo>
                  <a:lnTo>
                    <a:pt x="358" y="200"/>
                  </a:lnTo>
                  <a:lnTo>
                    <a:pt x="358" y="203"/>
                  </a:lnTo>
                  <a:lnTo>
                    <a:pt x="357" y="200"/>
                  </a:lnTo>
                  <a:lnTo>
                    <a:pt x="360" y="195"/>
                  </a:lnTo>
                  <a:lnTo>
                    <a:pt x="360" y="196"/>
                  </a:lnTo>
                  <a:close/>
                  <a:moveTo>
                    <a:pt x="367" y="196"/>
                  </a:moveTo>
                  <a:lnTo>
                    <a:pt x="367" y="195"/>
                  </a:lnTo>
                  <a:lnTo>
                    <a:pt x="367" y="193"/>
                  </a:lnTo>
                  <a:lnTo>
                    <a:pt x="367" y="196"/>
                  </a:lnTo>
                  <a:close/>
                  <a:moveTo>
                    <a:pt x="375" y="191"/>
                  </a:moveTo>
                  <a:lnTo>
                    <a:pt x="377" y="191"/>
                  </a:lnTo>
                  <a:lnTo>
                    <a:pt x="377" y="195"/>
                  </a:lnTo>
                  <a:lnTo>
                    <a:pt x="375" y="195"/>
                  </a:lnTo>
                  <a:lnTo>
                    <a:pt x="375" y="191"/>
                  </a:lnTo>
                  <a:close/>
                  <a:moveTo>
                    <a:pt x="358" y="191"/>
                  </a:moveTo>
                  <a:lnTo>
                    <a:pt x="360" y="191"/>
                  </a:lnTo>
                  <a:lnTo>
                    <a:pt x="360" y="193"/>
                  </a:lnTo>
                  <a:lnTo>
                    <a:pt x="358" y="193"/>
                  </a:lnTo>
                  <a:lnTo>
                    <a:pt x="358" y="191"/>
                  </a:lnTo>
                  <a:close/>
                  <a:moveTo>
                    <a:pt x="381" y="189"/>
                  </a:moveTo>
                  <a:lnTo>
                    <a:pt x="382" y="189"/>
                  </a:lnTo>
                  <a:lnTo>
                    <a:pt x="382" y="193"/>
                  </a:lnTo>
                  <a:lnTo>
                    <a:pt x="381" y="193"/>
                  </a:lnTo>
                  <a:lnTo>
                    <a:pt x="381" y="189"/>
                  </a:lnTo>
                  <a:close/>
                  <a:moveTo>
                    <a:pt x="351" y="188"/>
                  </a:moveTo>
                  <a:lnTo>
                    <a:pt x="357" y="191"/>
                  </a:lnTo>
                  <a:lnTo>
                    <a:pt x="357" y="195"/>
                  </a:lnTo>
                  <a:lnTo>
                    <a:pt x="357" y="193"/>
                  </a:lnTo>
                  <a:lnTo>
                    <a:pt x="355" y="201"/>
                  </a:lnTo>
                  <a:lnTo>
                    <a:pt x="357" y="201"/>
                  </a:lnTo>
                  <a:lnTo>
                    <a:pt x="358" y="203"/>
                  </a:lnTo>
                  <a:lnTo>
                    <a:pt x="357" y="207"/>
                  </a:lnTo>
                  <a:lnTo>
                    <a:pt x="353" y="201"/>
                  </a:lnTo>
                  <a:lnTo>
                    <a:pt x="351" y="203"/>
                  </a:lnTo>
                  <a:lnTo>
                    <a:pt x="350" y="200"/>
                  </a:lnTo>
                  <a:lnTo>
                    <a:pt x="348" y="201"/>
                  </a:lnTo>
                  <a:lnTo>
                    <a:pt x="348" y="198"/>
                  </a:lnTo>
                  <a:lnTo>
                    <a:pt x="348" y="193"/>
                  </a:lnTo>
                  <a:lnTo>
                    <a:pt x="346" y="188"/>
                  </a:lnTo>
                  <a:lnTo>
                    <a:pt x="350" y="189"/>
                  </a:lnTo>
                  <a:lnTo>
                    <a:pt x="350" y="186"/>
                  </a:lnTo>
                  <a:lnTo>
                    <a:pt x="351" y="188"/>
                  </a:lnTo>
                  <a:close/>
                  <a:moveTo>
                    <a:pt x="375" y="184"/>
                  </a:moveTo>
                  <a:lnTo>
                    <a:pt x="377" y="184"/>
                  </a:lnTo>
                  <a:lnTo>
                    <a:pt x="377" y="188"/>
                  </a:lnTo>
                  <a:lnTo>
                    <a:pt x="375" y="188"/>
                  </a:lnTo>
                  <a:lnTo>
                    <a:pt x="375" y="184"/>
                  </a:lnTo>
                  <a:close/>
                  <a:moveTo>
                    <a:pt x="358" y="186"/>
                  </a:moveTo>
                  <a:lnTo>
                    <a:pt x="358" y="181"/>
                  </a:lnTo>
                  <a:lnTo>
                    <a:pt x="360" y="184"/>
                  </a:lnTo>
                  <a:lnTo>
                    <a:pt x="358" y="186"/>
                  </a:lnTo>
                  <a:close/>
                  <a:moveTo>
                    <a:pt x="358" y="181"/>
                  </a:moveTo>
                  <a:lnTo>
                    <a:pt x="360" y="181"/>
                  </a:lnTo>
                  <a:lnTo>
                    <a:pt x="360" y="183"/>
                  </a:lnTo>
                  <a:lnTo>
                    <a:pt x="358" y="183"/>
                  </a:lnTo>
                  <a:lnTo>
                    <a:pt x="358" y="181"/>
                  </a:lnTo>
                  <a:close/>
                  <a:moveTo>
                    <a:pt x="372" y="179"/>
                  </a:moveTo>
                  <a:lnTo>
                    <a:pt x="372" y="183"/>
                  </a:lnTo>
                  <a:lnTo>
                    <a:pt x="372" y="179"/>
                  </a:lnTo>
                  <a:close/>
                  <a:moveTo>
                    <a:pt x="370" y="177"/>
                  </a:moveTo>
                  <a:lnTo>
                    <a:pt x="372" y="177"/>
                  </a:lnTo>
                  <a:lnTo>
                    <a:pt x="372" y="181"/>
                  </a:lnTo>
                  <a:lnTo>
                    <a:pt x="370" y="181"/>
                  </a:lnTo>
                  <a:lnTo>
                    <a:pt x="370" y="177"/>
                  </a:lnTo>
                  <a:close/>
                  <a:moveTo>
                    <a:pt x="358" y="172"/>
                  </a:moveTo>
                  <a:lnTo>
                    <a:pt x="360" y="172"/>
                  </a:lnTo>
                  <a:lnTo>
                    <a:pt x="360" y="174"/>
                  </a:lnTo>
                  <a:lnTo>
                    <a:pt x="358" y="174"/>
                  </a:lnTo>
                  <a:lnTo>
                    <a:pt x="358" y="172"/>
                  </a:lnTo>
                  <a:close/>
                  <a:moveTo>
                    <a:pt x="357" y="169"/>
                  </a:moveTo>
                  <a:lnTo>
                    <a:pt x="360" y="171"/>
                  </a:lnTo>
                  <a:lnTo>
                    <a:pt x="358" y="174"/>
                  </a:lnTo>
                  <a:lnTo>
                    <a:pt x="358" y="184"/>
                  </a:lnTo>
                  <a:lnTo>
                    <a:pt x="357" y="184"/>
                  </a:lnTo>
                  <a:lnTo>
                    <a:pt x="357" y="183"/>
                  </a:lnTo>
                  <a:lnTo>
                    <a:pt x="355" y="179"/>
                  </a:lnTo>
                  <a:lnTo>
                    <a:pt x="355" y="181"/>
                  </a:lnTo>
                  <a:lnTo>
                    <a:pt x="357" y="188"/>
                  </a:lnTo>
                  <a:lnTo>
                    <a:pt x="350" y="184"/>
                  </a:lnTo>
                  <a:lnTo>
                    <a:pt x="353" y="181"/>
                  </a:lnTo>
                  <a:lnTo>
                    <a:pt x="351" y="179"/>
                  </a:lnTo>
                  <a:lnTo>
                    <a:pt x="351" y="174"/>
                  </a:lnTo>
                  <a:lnTo>
                    <a:pt x="353" y="172"/>
                  </a:lnTo>
                  <a:lnTo>
                    <a:pt x="355" y="174"/>
                  </a:lnTo>
                  <a:lnTo>
                    <a:pt x="355" y="169"/>
                  </a:lnTo>
                  <a:lnTo>
                    <a:pt x="357" y="169"/>
                  </a:lnTo>
                  <a:close/>
                  <a:moveTo>
                    <a:pt x="350" y="171"/>
                  </a:moveTo>
                  <a:lnTo>
                    <a:pt x="350" y="174"/>
                  </a:lnTo>
                  <a:lnTo>
                    <a:pt x="351" y="174"/>
                  </a:lnTo>
                  <a:lnTo>
                    <a:pt x="348" y="179"/>
                  </a:lnTo>
                  <a:lnTo>
                    <a:pt x="346" y="176"/>
                  </a:lnTo>
                  <a:lnTo>
                    <a:pt x="346" y="181"/>
                  </a:lnTo>
                  <a:lnTo>
                    <a:pt x="343" y="176"/>
                  </a:lnTo>
                  <a:lnTo>
                    <a:pt x="346" y="174"/>
                  </a:lnTo>
                  <a:lnTo>
                    <a:pt x="346" y="171"/>
                  </a:lnTo>
                  <a:lnTo>
                    <a:pt x="348" y="169"/>
                  </a:lnTo>
                  <a:lnTo>
                    <a:pt x="350" y="167"/>
                  </a:lnTo>
                  <a:lnTo>
                    <a:pt x="350" y="171"/>
                  </a:lnTo>
                  <a:close/>
                  <a:moveTo>
                    <a:pt x="374" y="167"/>
                  </a:moveTo>
                  <a:lnTo>
                    <a:pt x="375" y="167"/>
                  </a:lnTo>
                  <a:lnTo>
                    <a:pt x="375" y="171"/>
                  </a:lnTo>
                  <a:lnTo>
                    <a:pt x="374" y="171"/>
                  </a:lnTo>
                  <a:lnTo>
                    <a:pt x="374" y="167"/>
                  </a:lnTo>
                  <a:close/>
                  <a:moveTo>
                    <a:pt x="363" y="166"/>
                  </a:moveTo>
                  <a:lnTo>
                    <a:pt x="363" y="172"/>
                  </a:lnTo>
                  <a:lnTo>
                    <a:pt x="362" y="176"/>
                  </a:lnTo>
                  <a:lnTo>
                    <a:pt x="362" y="167"/>
                  </a:lnTo>
                  <a:lnTo>
                    <a:pt x="363" y="166"/>
                  </a:lnTo>
                  <a:close/>
                  <a:moveTo>
                    <a:pt x="568" y="145"/>
                  </a:moveTo>
                  <a:lnTo>
                    <a:pt x="568" y="148"/>
                  </a:lnTo>
                  <a:lnTo>
                    <a:pt x="567" y="147"/>
                  </a:lnTo>
                  <a:lnTo>
                    <a:pt x="568" y="145"/>
                  </a:lnTo>
                  <a:close/>
                  <a:moveTo>
                    <a:pt x="575" y="138"/>
                  </a:moveTo>
                  <a:lnTo>
                    <a:pt x="577" y="140"/>
                  </a:lnTo>
                  <a:lnTo>
                    <a:pt x="577" y="142"/>
                  </a:lnTo>
                  <a:lnTo>
                    <a:pt x="575" y="143"/>
                  </a:lnTo>
                  <a:lnTo>
                    <a:pt x="575" y="145"/>
                  </a:lnTo>
                  <a:lnTo>
                    <a:pt x="573" y="143"/>
                  </a:lnTo>
                  <a:lnTo>
                    <a:pt x="570" y="145"/>
                  </a:lnTo>
                  <a:lnTo>
                    <a:pt x="572" y="142"/>
                  </a:lnTo>
                  <a:lnTo>
                    <a:pt x="575" y="138"/>
                  </a:lnTo>
                  <a:close/>
                  <a:moveTo>
                    <a:pt x="570" y="135"/>
                  </a:moveTo>
                  <a:lnTo>
                    <a:pt x="573" y="138"/>
                  </a:lnTo>
                  <a:lnTo>
                    <a:pt x="568" y="140"/>
                  </a:lnTo>
                  <a:lnTo>
                    <a:pt x="568" y="135"/>
                  </a:lnTo>
                  <a:lnTo>
                    <a:pt x="570" y="135"/>
                  </a:lnTo>
                  <a:close/>
                  <a:moveTo>
                    <a:pt x="572" y="131"/>
                  </a:moveTo>
                  <a:lnTo>
                    <a:pt x="573" y="131"/>
                  </a:lnTo>
                  <a:lnTo>
                    <a:pt x="573" y="133"/>
                  </a:lnTo>
                  <a:lnTo>
                    <a:pt x="572" y="133"/>
                  </a:lnTo>
                  <a:lnTo>
                    <a:pt x="572" y="131"/>
                  </a:lnTo>
                  <a:close/>
                  <a:moveTo>
                    <a:pt x="563" y="118"/>
                  </a:moveTo>
                  <a:lnTo>
                    <a:pt x="567" y="119"/>
                  </a:lnTo>
                  <a:lnTo>
                    <a:pt x="567" y="123"/>
                  </a:lnTo>
                  <a:lnTo>
                    <a:pt x="563" y="121"/>
                  </a:lnTo>
                  <a:lnTo>
                    <a:pt x="563" y="119"/>
                  </a:lnTo>
                  <a:lnTo>
                    <a:pt x="561" y="118"/>
                  </a:lnTo>
                  <a:lnTo>
                    <a:pt x="563" y="118"/>
                  </a:lnTo>
                  <a:close/>
                  <a:moveTo>
                    <a:pt x="550" y="106"/>
                  </a:moveTo>
                  <a:lnTo>
                    <a:pt x="553" y="107"/>
                  </a:lnTo>
                  <a:lnTo>
                    <a:pt x="551" y="109"/>
                  </a:lnTo>
                  <a:lnTo>
                    <a:pt x="550" y="107"/>
                  </a:lnTo>
                  <a:lnTo>
                    <a:pt x="550" y="106"/>
                  </a:lnTo>
                  <a:close/>
                  <a:moveTo>
                    <a:pt x="546" y="77"/>
                  </a:moveTo>
                  <a:lnTo>
                    <a:pt x="546" y="80"/>
                  </a:lnTo>
                  <a:lnTo>
                    <a:pt x="543" y="82"/>
                  </a:lnTo>
                  <a:lnTo>
                    <a:pt x="546" y="77"/>
                  </a:lnTo>
                  <a:close/>
                  <a:moveTo>
                    <a:pt x="589" y="70"/>
                  </a:moveTo>
                  <a:lnTo>
                    <a:pt x="590" y="70"/>
                  </a:lnTo>
                  <a:lnTo>
                    <a:pt x="589" y="73"/>
                  </a:lnTo>
                  <a:lnTo>
                    <a:pt x="590" y="80"/>
                  </a:lnTo>
                  <a:lnTo>
                    <a:pt x="594" y="84"/>
                  </a:lnTo>
                  <a:lnTo>
                    <a:pt x="597" y="85"/>
                  </a:lnTo>
                  <a:lnTo>
                    <a:pt x="597" y="89"/>
                  </a:lnTo>
                  <a:lnTo>
                    <a:pt x="604" y="94"/>
                  </a:lnTo>
                  <a:lnTo>
                    <a:pt x="604" y="95"/>
                  </a:lnTo>
                  <a:lnTo>
                    <a:pt x="611" y="99"/>
                  </a:lnTo>
                  <a:lnTo>
                    <a:pt x="608" y="104"/>
                  </a:lnTo>
                  <a:lnTo>
                    <a:pt x="609" y="106"/>
                  </a:lnTo>
                  <a:lnTo>
                    <a:pt x="609" y="107"/>
                  </a:lnTo>
                  <a:lnTo>
                    <a:pt x="606" y="107"/>
                  </a:lnTo>
                  <a:lnTo>
                    <a:pt x="604" y="109"/>
                  </a:lnTo>
                  <a:lnTo>
                    <a:pt x="606" y="111"/>
                  </a:lnTo>
                  <a:lnTo>
                    <a:pt x="606" y="107"/>
                  </a:lnTo>
                  <a:lnTo>
                    <a:pt x="608" y="113"/>
                  </a:lnTo>
                  <a:lnTo>
                    <a:pt x="611" y="109"/>
                  </a:lnTo>
                  <a:lnTo>
                    <a:pt x="609" y="113"/>
                  </a:lnTo>
                  <a:lnTo>
                    <a:pt x="611" y="113"/>
                  </a:lnTo>
                  <a:lnTo>
                    <a:pt x="609" y="114"/>
                  </a:lnTo>
                  <a:lnTo>
                    <a:pt x="609" y="119"/>
                  </a:lnTo>
                  <a:lnTo>
                    <a:pt x="604" y="123"/>
                  </a:lnTo>
                  <a:lnTo>
                    <a:pt x="602" y="123"/>
                  </a:lnTo>
                  <a:lnTo>
                    <a:pt x="599" y="128"/>
                  </a:lnTo>
                  <a:lnTo>
                    <a:pt x="597" y="136"/>
                  </a:lnTo>
                  <a:lnTo>
                    <a:pt x="589" y="135"/>
                  </a:lnTo>
                  <a:lnTo>
                    <a:pt x="580" y="140"/>
                  </a:lnTo>
                  <a:lnTo>
                    <a:pt x="577" y="135"/>
                  </a:lnTo>
                  <a:lnTo>
                    <a:pt x="573" y="133"/>
                  </a:lnTo>
                  <a:lnTo>
                    <a:pt x="577" y="126"/>
                  </a:lnTo>
                  <a:lnTo>
                    <a:pt x="579" y="125"/>
                  </a:lnTo>
                  <a:lnTo>
                    <a:pt x="580" y="126"/>
                  </a:lnTo>
                  <a:lnTo>
                    <a:pt x="580" y="123"/>
                  </a:lnTo>
                  <a:lnTo>
                    <a:pt x="585" y="121"/>
                  </a:lnTo>
                  <a:lnTo>
                    <a:pt x="594" y="128"/>
                  </a:lnTo>
                  <a:lnTo>
                    <a:pt x="596" y="130"/>
                  </a:lnTo>
                  <a:lnTo>
                    <a:pt x="592" y="125"/>
                  </a:lnTo>
                  <a:lnTo>
                    <a:pt x="589" y="121"/>
                  </a:lnTo>
                  <a:lnTo>
                    <a:pt x="590" y="118"/>
                  </a:lnTo>
                  <a:lnTo>
                    <a:pt x="590" y="116"/>
                  </a:lnTo>
                  <a:lnTo>
                    <a:pt x="585" y="113"/>
                  </a:lnTo>
                  <a:lnTo>
                    <a:pt x="590" y="118"/>
                  </a:lnTo>
                  <a:lnTo>
                    <a:pt x="589" y="121"/>
                  </a:lnTo>
                  <a:lnTo>
                    <a:pt x="584" y="118"/>
                  </a:lnTo>
                  <a:lnTo>
                    <a:pt x="582" y="119"/>
                  </a:lnTo>
                  <a:lnTo>
                    <a:pt x="577" y="116"/>
                  </a:lnTo>
                  <a:lnTo>
                    <a:pt x="570" y="114"/>
                  </a:lnTo>
                  <a:lnTo>
                    <a:pt x="568" y="111"/>
                  </a:lnTo>
                  <a:lnTo>
                    <a:pt x="565" y="109"/>
                  </a:lnTo>
                  <a:lnTo>
                    <a:pt x="567" y="107"/>
                  </a:lnTo>
                  <a:lnTo>
                    <a:pt x="563" y="106"/>
                  </a:lnTo>
                  <a:lnTo>
                    <a:pt x="567" y="104"/>
                  </a:lnTo>
                  <a:lnTo>
                    <a:pt x="563" y="106"/>
                  </a:lnTo>
                  <a:lnTo>
                    <a:pt x="561" y="104"/>
                  </a:lnTo>
                  <a:lnTo>
                    <a:pt x="561" y="97"/>
                  </a:lnTo>
                  <a:lnTo>
                    <a:pt x="558" y="95"/>
                  </a:lnTo>
                  <a:lnTo>
                    <a:pt x="563" y="92"/>
                  </a:lnTo>
                  <a:lnTo>
                    <a:pt x="565" y="89"/>
                  </a:lnTo>
                  <a:lnTo>
                    <a:pt x="572" y="87"/>
                  </a:lnTo>
                  <a:lnTo>
                    <a:pt x="573" y="82"/>
                  </a:lnTo>
                  <a:lnTo>
                    <a:pt x="580" y="78"/>
                  </a:lnTo>
                  <a:lnTo>
                    <a:pt x="584" y="75"/>
                  </a:lnTo>
                  <a:lnTo>
                    <a:pt x="587" y="68"/>
                  </a:lnTo>
                  <a:lnTo>
                    <a:pt x="589" y="70"/>
                  </a:lnTo>
                  <a:close/>
                  <a:moveTo>
                    <a:pt x="587" y="63"/>
                  </a:moveTo>
                  <a:lnTo>
                    <a:pt x="585" y="66"/>
                  </a:lnTo>
                  <a:lnTo>
                    <a:pt x="585" y="63"/>
                  </a:lnTo>
                  <a:lnTo>
                    <a:pt x="587" y="63"/>
                  </a:lnTo>
                  <a:close/>
                  <a:moveTo>
                    <a:pt x="563" y="2"/>
                  </a:moveTo>
                  <a:lnTo>
                    <a:pt x="563" y="5"/>
                  </a:lnTo>
                  <a:lnTo>
                    <a:pt x="560" y="14"/>
                  </a:lnTo>
                  <a:lnTo>
                    <a:pt x="558" y="15"/>
                  </a:lnTo>
                  <a:lnTo>
                    <a:pt x="553" y="14"/>
                  </a:lnTo>
                  <a:lnTo>
                    <a:pt x="553" y="12"/>
                  </a:lnTo>
                  <a:lnTo>
                    <a:pt x="558" y="8"/>
                  </a:lnTo>
                  <a:lnTo>
                    <a:pt x="561" y="3"/>
                  </a:lnTo>
                  <a:lnTo>
                    <a:pt x="563" y="2"/>
                  </a:lnTo>
                  <a:close/>
                  <a:moveTo>
                    <a:pt x="563" y="0"/>
                  </a:moveTo>
                  <a:lnTo>
                    <a:pt x="565" y="0"/>
                  </a:lnTo>
                  <a:lnTo>
                    <a:pt x="565" y="2"/>
                  </a:lnTo>
                  <a:lnTo>
                    <a:pt x="563" y="2"/>
                  </a:lnTo>
                  <a:lnTo>
                    <a:pt x="56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4" name="Freeform 72"/>
            <p:cNvSpPr>
              <a:spLocks noEditPoints="1"/>
            </p:cNvSpPr>
            <p:nvPr/>
          </p:nvSpPr>
          <p:spPr bwMode="gray">
            <a:xfrm>
              <a:off x="2217786" y="3318884"/>
              <a:ext cx="735145" cy="443277"/>
            </a:xfrm>
            <a:custGeom>
              <a:avLst/>
              <a:gdLst>
                <a:gd name="T0" fmla="*/ 367 w 403"/>
                <a:gd name="T1" fmla="*/ 38 h 243"/>
                <a:gd name="T2" fmla="*/ 369 w 403"/>
                <a:gd name="T3" fmla="*/ 38 h 243"/>
                <a:gd name="T4" fmla="*/ 282 w 403"/>
                <a:gd name="T5" fmla="*/ 4 h 243"/>
                <a:gd name="T6" fmla="*/ 289 w 403"/>
                <a:gd name="T7" fmla="*/ 14 h 243"/>
                <a:gd name="T8" fmla="*/ 304 w 403"/>
                <a:gd name="T9" fmla="*/ 24 h 243"/>
                <a:gd name="T10" fmla="*/ 314 w 403"/>
                <a:gd name="T11" fmla="*/ 29 h 243"/>
                <a:gd name="T12" fmla="*/ 333 w 403"/>
                <a:gd name="T13" fmla="*/ 28 h 243"/>
                <a:gd name="T14" fmla="*/ 359 w 403"/>
                <a:gd name="T15" fmla="*/ 36 h 243"/>
                <a:gd name="T16" fmla="*/ 366 w 403"/>
                <a:gd name="T17" fmla="*/ 43 h 243"/>
                <a:gd name="T18" fmla="*/ 383 w 403"/>
                <a:gd name="T19" fmla="*/ 36 h 243"/>
                <a:gd name="T20" fmla="*/ 393 w 403"/>
                <a:gd name="T21" fmla="*/ 50 h 243"/>
                <a:gd name="T22" fmla="*/ 398 w 403"/>
                <a:gd name="T23" fmla="*/ 81 h 243"/>
                <a:gd name="T24" fmla="*/ 400 w 403"/>
                <a:gd name="T25" fmla="*/ 104 h 243"/>
                <a:gd name="T26" fmla="*/ 386 w 403"/>
                <a:gd name="T27" fmla="*/ 108 h 243"/>
                <a:gd name="T28" fmla="*/ 342 w 403"/>
                <a:gd name="T29" fmla="*/ 121 h 243"/>
                <a:gd name="T30" fmla="*/ 318 w 403"/>
                <a:gd name="T31" fmla="*/ 127 h 243"/>
                <a:gd name="T32" fmla="*/ 296 w 403"/>
                <a:gd name="T33" fmla="*/ 132 h 243"/>
                <a:gd name="T34" fmla="*/ 291 w 403"/>
                <a:gd name="T35" fmla="*/ 151 h 243"/>
                <a:gd name="T36" fmla="*/ 291 w 403"/>
                <a:gd name="T37" fmla="*/ 168 h 243"/>
                <a:gd name="T38" fmla="*/ 279 w 403"/>
                <a:gd name="T39" fmla="*/ 181 h 243"/>
                <a:gd name="T40" fmla="*/ 272 w 403"/>
                <a:gd name="T41" fmla="*/ 190 h 243"/>
                <a:gd name="T42" fmla="*/ 260 w 403"/>
                <a:gd name="T43" fmla="*/ 178 h 243"/>
                <a:gd name="T44" fmla="*/ 246 w 403"/>
                <a:gd name="T45" fmla="*/ 169 h 243"/>
                <a:gd name="T46" fmla="*/ 248 w 403"/>
                <a:gd name="T47" fmla="*/ 188 h 243"/>
                <a:gd name="T48" fmla="*/ 229 w 403"/>
                <a:gd name="T49" fmla="*/ 188 h 243"/>
                <a:gd name="T50" fmla="*/ 214 w 403"/>
                <a:gd name="T51" fmla="*/ 190 h 243"/>
                <a:gd name="T52" fmla="*/ 209 w 403"/>
                <a:gd name="T53" fmla="*/ 200 h 243"/>
                <a:gd name="T54" fmla="*/ 193 w 403"/>
                <a:gd name="T55" fmla="*/ 221 h 243"/>
                <a:gd name="T56" fmla="*/ 178 w 403"/>
                <a:gd name="T57" fmla="*/ 231 h 243"/>
                <a:gd name="T58" fmla="*/ 159 w 403"/>
                <a:gd name="T59" fmla="*/ 234 h 243"/>
                <a:gd name="T60" fmla="*/ 139 w 403"/>
                <a:gd name="T61" fmla="*/ 226 h 243"/>
                <a:gd name="T62" fmla="*/ 125 w 403"/>
                <a:gd name="T63" fmla="*/ 234 h 243"/>
                <a:gd name="T64" fmla="*/ 108 w 403"/>
                <a:gd name="T65" fmla="*/ 241 h 243"/>
                <a:gd name="T66" fmla="*/ 82 w 403"/>
                <a:gd name="T67" fmla="*/ 233 h 243"/>
                <a:gd name="T68" fmla="*/ 67 w 403"/>
                <a:gd name="T69" fmla="*/ 215 h 243"/>
                <a:gd name="T70" fmla="*/ 53 w 403"/>
                <a:gd name="T71" fmla="*/ 215 h 243"/>
                <a:gd name="T72" fmla="*/ 52 w 403"/>
                <a:gd name="T73" fmla="*/ 205 h 243"/>
                <a:gd name="T74" fmla="*/ 38 w 403"/>
                <a:gd name="T75" fmla="*/ 197 h 243"/>
                <a:gd name="T76" fmla="*/ 24 w 403"/>
                <a:gd name="T77" fmla="*/ 188 h 243"/>
                <a:gd name="T78" fmla="*/ 17 w 403"/>
                <a:gd name="T79" fmla="*/ 168 h 243"/>
                <a:gd name="T80" fmla="*/ 9 w 403"/>
                <a:gd name="T81" fmla="*/ 147 h 243"/>
                <a:gd name="T82" fmla="*/ 5 w 403"/>
                <a:gd name="T83" fmla="*/ 133 h 243"/>
                <a:gd name="T84" fmla="*/ 4 w 403"/>
                <a:gd name="T85" fmla="*/ 115 h 243"/>
                <a:gd name="T86" fmla="*/ 23 w 403"/>
                <a:gd name="T87" fmla="*/ 115 h 243"/>
                <a:gd name="T88" fmla="*/ 41 w 403"/>
                <a:gd name="T89" fmla="*/ 111 h 243"/>
                <a:gd name="T90" fmla="*/ 57 w 403"/>
                <a:gd name="T91" fmla="*/ 96 h 243"/>
                <a:gd name="T92" fmla="*/ 69 w 403"/>
                <a:gd name="T93" fmla="*/ 79 h 243"/>
                <a:gd name="T94" fmla="*/ 70 w 403"/>
                <a:gd name="T95" fmla="*/ 58 h 243"/>
                <a:gd name="T96" fmla="*/ 91 w 403"/>
                <a:gd name="T97" fmla="*/ 46 h 243"/>
                <a:gd name="T98" fmla="*/ 82 w 403"/>
                <a:gd name="T99" fmla="*/ 41 h 243"/>
                <a:gd name="T100" fmla="*/ 87 w 403"/>
                <a:gd name="T101" fmla="*/ 28 h 243"/>
                <a:gd name="T102" fmla="*/ 94 w 403"/>
                <a:gd name="T103" fmla="*/ 21 h 243"/>
                <a:gd name="T104" fmla="*/ 110 w 403"/>
                <a:gd name="T105" fmla="*/ 17 h 243"/>
                <a:gd name="T106" fmla="*/ 127 w 403"/>
                <a:gd name="T107" fmla="*/ 21 h 243"/>
                <a:gd name="T108" fmla="*/ 139 w 403"/>
                <a:gd name="T109" fmla="*/ 21 h 243"/>
                <a:gd name="T110" fmla="*/ 149 w 403"/>
                <a:gd name="T111" fmla="*/ 33 h 243"/>
                <a:gd name="T112" fmla="*/ 169 w 403"/>
                <a:gd name="T113" fmla="*/ 40 h 243"/>
                <a:gd name="T114" fmla="*/ 188 w 403"/>
                <a:gd name="T115" fmla="*/ 40 h 243"/>
                <a:gd name="T116" fmla="*/ 198 w 403"/>
                <a:gd name="T117" fmla="*/ 31 h 243"/>
                <a:gd name="T118" fmla="*/ 221 w 403"/>
                <a:gd name="T119" fmla="*/ 9 h 243"/>
                <a:gd name="T120" fmla="*/ 239 w 403"/>
                <a:gd name="T121" fmla="*/ 0 h 243"/>
                <a:gd name="T122" fmla="*/ 255 w 403"/>
                <a:gd name="T123" fmla="*/ 4 h 243"/>
                <a:gd name="T124" fmla="*/ 273 w 403"/>
                <a:gd name="T125" fmla="*/ 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243">
                  <a:moveTo>
                    <a:pt x="367" y="34"/>
                  </a:moveTo>
                  <a:lnTo>
                    <a:pt x="369" y="34"/>
                  </a:lnTo>
                  <a:lnTo>
                    <a:pt x="369" y="38"/>
                  </a:lnTo>
                  <a:lnTo>
                    <a:pt x="367" y="38"/>
                  </a:lnTo>
                  <a:lnTo>
                    <a:pt x="367" y="34"/>
                  </a:lnTo>
                  <a:close/>
                  <a:moveTo>
                    <a:pt x="372" y="34"/>
                  </a:moveTo>
                  <a:lnTo>
                    <a:pt x="374" y="34"/>
                  </a:lnTo>
                  <a:lnTo>
                    <a:pt x="369" y="38"/>
                  </a:lnTo>
                  <a:lnTo>
                    <a:pt x="369" y="34"/>
                  </a:lnTo>
                  <a:lnTo>
                    <a:pt x="372" y="34"/>
                  </a:lnTo>
                  <a:close/>
                  <a:moveTo>
                    <a:pt x="277" y="2"/>
                  </a:moveTo>
                  <a:lnTo>
                    <a:pt x="282" y="4"/>
                  </a:lnTo>
                  <a:lnTo>
                    <a:pt x="282" y="7"/>
                  </a:lnTo>
                  <a:lnTo>
                    <a:pt x="289" y="7"/>
                  </a:lnTo>
                  <a:lnTo>
                    <a:pt x="291" y="12"/>
                  </a:lnTo>
                  <a:lnTo>
                    <a:pt x="289" y="14"/>
                  </a:lnTo>
                  <a:lnTo>
                    <a:pt x="294" y="16"/>
                  </a:lnTo>
                  <a:lnTo>
                    <a:pt x="299" y="21"/>
                  </a:lnTo>
                  <a:lnTo>
                    <a:pt x="304" y="22"/>
                  </a:lnTo>
                  <a:lnTo>
                    <a:pt x="304" y="24"/>
                  </a:lnTo>
                  <a:lnTo>
                    <a:pt x="311" y="26"/>
                  </a:lnTo>
                  <a:lnTo>
                    <a:pt x="314" y="28"/>
                  </a:lnTo>
                  <a:lnTo>
                    <a:pt x="313" y="31"/>
                  </a:lnTo>
                  <a:lnTo>
                    <a:pt x="314" y="29"/>
                  </a:lnTo>
                  <a:lnTo>
                    <a:pt x="320" y="29"/>
                  </a:lnTo>
                  <a:lnTo>
                    <a:pt x="321" y="38"/>
                  </a:lnTo>
                  <a:lnTo>
                    <a:pt x="323" y="31"/>
                  </a:lnTo>
                  <a:lnTo>
                    <a:pt x="333" y="28"/>
                  </a:lnTo>
                  <a:lnTo>
                    <a:pt x="338" y="29"/>
                  </a:lnTo>
                  <a:lnTo>
                    <a:pt x="347" y="31"/>
                  </a:lnTo>
                  <a:lnTo>
                    <a:pt x="354" y="34"/>
                  </a:lnTo>
                  <a:lnTo>
                    <a:pt x="359" y="36"/>
                  </a:lnTo>
                  <a:lnTo>
                    <a:pt x="366" y="36"/>
                  </a:lnTo>
                  <a:lnTo>
                    <a:pt x="367" y="40"/>
                  </a:lnTo>
                  <a:lnTo>
                    <a:pt x="366" y="41"/>
                  </a:lnTo>
                  <a:lnTo>
                    <a:pt x="366" y="43"/>
                  </a:lnTo>
                  <a:lnTo>
                    <a:pt x="371" y="38"/>
                  </a:lnTo>
                  <a:lnTo>
                    <a:pt x="372" y="36"/>
                  </a:lnTo>
                  <a:lnTo>
                    <a:pt x="376" y="34"/>
                  </a:lnTo>
                  <a:lnTo>
                    <a:pt x="383" y="36"/>
                  </a:lnTo>
                  <a:lnTo>
                    <a:pt x="388" y="33"/>
                  </a:lnTo>
                  <a:lnTo>
                    <a:pt x="390" y="38"/>
                  </a:lnTo>
                  <a:lnTo>
                    <a:pt x="391" y="45"/>
                  </a:lnTo>
                  <a:lnTo>
                    <a:pt x="393" y="50"/>
                  </a:lnTo>
                  <a:lnTo>
                    <a:pt x="391" y="57"/>
                  </a:lnTo>
                  <a:lnTo>
                    <a:pt x="393" y="62"/>
                  </a:lnTo>
                  <a:lnTo>
                    <a:pt x="398" y="70"/>
                  </a:lnTo>
                  <a:lnTo>
                    <a:pt x="398" y="81"/>
                  </a:lnTo>
                  <a:lnTo>
                    <a:pt x="396" y="87"/>
                  </a:lnTo>
                  <a:lnTo>
                    <a:pt x="396" y="91"/>
                  </a:lnTo>
                  <a:lnTo>
                    <a:pt x="398" y="96"/>
                  </a:lnTo>
                  <a:lnTo>
                    <a:pt x="400" y="104"/>
                  </a:lnTo>
                  <a:lnTo>
                    <a:pt x="403" y="110"/>
                  </a:lnTo>
                  <a:lnTo>
                    <a:pt x="398" y="106"/>
                  </a:lnTo>
                  <a:lnTo>
                    <a:pt x="391" y="106"/>
                  </a:lnTo>
                  <a:lnTo>
                    <a:pt x="386" y="108"/>
                  </a:lnTo>
                  <a:lnTo>
                    <a:pt x="384" y="111"/>
                  </a:lnTo>
                  <a:lnTo>
                    <a:pt x="362" y="116"/>
                  </a:lnTo>
                  <a:lnTo>
                    <a:pt x="354" y="120"/>
                  </a:lnTo>
                  <a:lnTo>
                    <a:pt x="342" y="121"/>
                  </a:lnTo>
                  <a:lnTo>
                    <a:pt x="337" y="123"/>
                  </a:lnTo>
                  <a:lnTo>
                    <a:pt x="332" y="125"/>
                  </a:lnTo>
                  <a:lnTo>
                    <a:pt x="323" y="127"/>
                  </a:lnTo>
                  <a:lnTo>
                    <a:pt x="318" y="127"/>
                  </a:lnTo>
                  <a:lnTo>
                    <a:pt x="316" y="128"/>
                  </a:lnTo>
                  <a:lnTo>
                    <a:pt x="308" y="130"/>
                  </a:lnTo>
                  <a:lnTo>
                    <a:pt x="303" y="132"/>
                  </a:lnTo>
                  <a:lnTo>
                    <a:pt x="296" y="132"/>
                  </a:lnTo>
                  <a:lnTo>
                    <a:pt x="289" y="137"/>
                  </a:lnTo>
                  <a:lnTo>
                    <a:pt x="285" y="140"/>
                  </a:lnTo>
                  <a:lnTo>
                    <a:pt x="284" y="145"/>
                  </a:lnTo>
                  <a:lnTo>
                    <a:pt x="291" y="151"/>
                  </a:lnTo>
                  <a:lnTo>
                    <a:pt x="291" y="156"/>
                  </a:lnTo>
                  <a:lnTo>
                    <a:pt x="285" y="159"/>
                  </a:lnTo>
                  <a:lnTo>
                    <a:pt x="285" y="162"/>
                  </a:lnTo>
                  <a:lnTo>
                    <a:pt x="291" y="168"/>
                  </a:lnTo>
                  <a:lnTo>
                    <a:pt x="287" y="171"/>
                  </a:lnTo>
                  <a:lnTo>
                    <a:pt x="279" y="173"/>
                  </a:lnTo>
                  <a:lnTo>
                    <a:pt x="277" y="174"/>
                  </a:lnTo>
                  <a:lnTo>
                    <a:pt x="279" y="181"/>
                  </a:lnTo>
                  <a:lnTo>
                    <a:pt x="277" y="188"/>
                  </a:lnTo>
                  <a:lnTo>
                    <a:pt x="279" y="192"/>
                  </a:lnTo>
                  <a:lnTo>
                    <a:pt x="279" y="193"/>
                  </a:lnTo>
                  <a:lnTo>
                    <a:pt x="272" y="190"/>
                  </a:lnTo>
                  <a:lnTo>
                    <a:pt x="268" y="185"/>
                  </a:lnTo>
                  <a:lnTo>
                    <a:pt x="265" y="181"/>
                  </a:lnTo>
                  <a:lnTo>
                    <a:pt x="263" y="180"/>
                  </a:lnTo>
                  <a:lnTo>
                    <a:pt x="260" y="178"/>
                  </a:lnTo>
                  <a:lnTo>
                    <a:pt x="258" y="171"/>
                  </a:lnTo>
                  <a:lnTo>
                    <a:pt x="255" y="166"/>
                  </a:lnTo>
                  <a:lnTo>
                    <a:pt x="250" y="168"/>
                  </a:lnTo>
                  <a:lnTo>
                    <a:pt x="246" y="169"/>
                  </a:lnTo>
                  <a:lnTo>
                    <a:pt x="244" y="174"/>
                  </a:lnTo>
                  <a:lnTo>
                    <a:pt x="244" y="180"/>
                  </a:lnTo>
                  <a:lnTo>
                    <a:pt x="248" y="183"/>
                  </a:lnTo>
                  <a:lnTo>
                    <a:pt x="248" y="188"/>
                  </a:lnTo>
                  <a:lnTo>
                    <a:pt x="244" y="190"/>
                  </a:lnTo>
                  <a:lnTo>
                    <a:pt x="241" y="193"/>
                  </a:lnTo>
                  <a:lnTo>
                    <a:pt x="233" y="192"/>
                  </a:lnTo>
                  <a:lnTo>
                    <a:pt x="229" y="188"/>
                  </a:lnTo>
                  <a:lnTo>
                    <a:pt x="229" y="192"/>
                  </a:lnTo>
                  <a:lnTo>
                    <a:pt x="226" y="192"/>
                  </a:lnTo>
                  <a:lnTo>
                    <a:pt x="219" y="190"/>
                  </a:lnTo>
                  <a:lnTo>
                    <a:pt x="214" y="190"/>
                  </a:lnTo>
                  <a:lnTo>
                    <a:pt x="212" y="188"/>
                  </a:lnTo>
                  <a:lnTo>
                    <a:pt x="209" y="186"/>
                  </a:lnTo>
                  <a:lnTo>
                    <a:pt x="205" y="193"/>
                  </a:lnTo>
                  <a:lnTo>
                    <a:pt x="209" y="200"/>
                  </a:lnTo>
                  <a:lnTo>
                    <a:pt x="202" y="207"/>
                  </a:lnTo>
                  <a:lnTo>
                    <a:pt x="198" y="214"/>
                  </a:lnTo>
                  <a:lnTo>
                    <a:pt x="193" y="217"/>
                  </a:lnTo>
                  <a:lnTo>
                    <a:pt x="193" y="221"/>
                  </a:lnTo>
                  <a:lnTo>
                    <a:pt x="190" y="217"/>
                  </a:lnTo>
                  <a:lnTo>
                    <a:pt x="188" y="221"/>
                  </a:lnTo>
                  <a:lnTo>
                    <a:pt x="178" y="224"/>
                  </a:lnTo>
                  <a:lnTo>
                    <a:pt x="178" y="231"/>
                  </a:lnTo>
                  <a:lnTo>
                    <a:pt x="174" y="233"/>
                  </a:lnTo>
                  <a:lnTo>
                    <a:pt x="168" y="231"/>
                  </a:lnTo>
                  <a:lnTo>
                    <a:pt x="164" y="234"/>
                  </a:lnTo>
                  <a:lnTo>
                    <a:pt x="159" y="234"/>
                  </a:lnTo>
                  <a:lnTo>
                    <a:pt x="152" y="233"/>
                  </a:lnTo>
                  <a:lnTo>
                    <a:pt x="149" y="229"/>
                  </a:lnTo>
                  <a:lnTo>
                    <a:pt x="142" y="229"/>
                  </a:lnTo>
                  <a:lnTo>
                    <a:pt x="139" y="226"/>
                  </a:lnTo>
                  <a:lnTo>
                    <a:pt x="135" y="226"/>
                  </a:lnTo>
                  <a:lnTo>
                    <a:pt x="134" y="227"/>
                  </a:lnTo>
                  <a:lnTo>
                    <a:pt x="132" y="233"/>
                  </a:lnTo>
                  <a:lnTo>
                    <a:pt x="125" y="234"/>
                  </a:lnTo>
                  <a:lnTo>
                    <a:pt x="118" y="239"/>
                  </a:lnTo>
                  <a:lnTo>
                    <a:pt x="115" y="243"/>
                  </a:lnTo>
                  <a:lnTo>
                    <a:pt x="111" y="243"/>
                  </a:lnTo>
                  <a:lnTo>
                    <a:pt x="108" y="241"/>
                  </a:lnTo>
                  <a:lnTo>
                    <a:pt x="103" y="236"/>
                  </a:lnTo>
                  <a:lnTo>
                    <a:pt x="94" y="239"/>
                  </a:lnTo>
                  <a:lnTo>
                    <a:pt x="89" y="238"/>
                  </a:lnTo>
                  <a:lnTo>
                    <a:pt x="82" y="233"/>
                  </a:lnTo>
                  <a:lnTo>
                    <a:pt x="82" y="231"/>
                  </a:lnTo>
                  <a:lnTo>
                    <a:pt x="75" y="227"/>
                  </a:lnTo>
                  <a:lnTo>
                    <a:pt x="69" y="219"/>
                  </a:lnTo>
                  <a:lnTo>
                    <a:pt x="67" y="215"/>
                  </a:lnTo>
                  <a:lnTo>
                    <a:pt x="64" y="214"/>
                  </a:lnTo>
                  <a:lnTo>
                    <a:pt x="58" y="215"/>
                  </a:lnTo>
                  <a:lnTo>
                    <a:pt x="57" y="214"/>
                  </a:lnTo>
                  <a:lnTo>
                    <a:pt x="53" y="215"/>
                  </a:lnTo>
                  <a:lnTo>
                    <a:pt x="50" y="219"/>
                  </a:lnTo>
                  <a:lnTo>
                    <a:pt x="50" y="217"/>
                  </a:lnTo>
                  <a:lnTo>
                    <a:pt x="50" y="209"/>
                  </a:lnTo>
                  <a:lnTo>
                    <a:pt x="52" y="205"/>
                  </a:lnTo>
                  <a:lnTo>
                    <a:pt x="52" y="203"/>
                  </a:lnTo>
                  <a:lnTo>
                    <a:pt x="50" y="203"/>
                  </a:lnTo>
                  <a:lnTo>
                    <a:pt x="43" y="200"/>
                  </a:lnTo>
                  <a:lnTo>
                    <a:pt x="38" y="197"/>
                  </a:lnTo>
                  <a:lnTo>
                    <a:pt x="36" y="195"/>
                  </a:lnTo>
                  <a:lnTo>
                    <a:pt x="34" y="195"/>
                  </a:lnTo>
                  <a:lnTo>
                    <a:pt x="28" y="190"/>
                  </a:lnTo>
                  <a:lnTo>
                    <a:pt x="24" y="188"/>
                  </a:lnTo>
                  <a:lnTo>
                    <a:pt x="19" y="183"/>
                  </a:lnTo>
                  <a:lnTo>
                    <a:pt x="17" y="181"/>
                  </a:lnTo>
                  <a:lnTo>
                    <a:pt x="17" y="180"/>
                  </a:lnTo>
                  <a:lnTo>
                    <a:pt x="17" y="168"/>
                  </a:lnTo>
                  <a:lnTo>
                    <a:pt x="16" y="162"/>
                  </a:lnTo>
                  <a:lnTo>
                    <a:pt x="14" y="159"/>
                  </a:lnTo>
                  <a:lnTo>
                    <a:pt x="9" y="151"/>
                  </a:lnTo>
                  <a:lnTo>
                    <a:pt x="9" y="147"/>
                  </a:lnTo>
                  <a:lnTo>
                    <a:pt x="2" y="142"/>
                  </a:lnTo>
                  <a:lnTo>
                    <a:pt x="2" y="139"/>
                  </a:lnTo>
                  <a:lnTo>
                    <a:pt x="4" y="137"/>
                  </a:lnTo>
                  <a:lnTo>
                    <a:pt x="5" y="133"/>
                  </a:lnTo>
                  <a:lnTo>
                    <a:pt x="4" y="130"/>
                  </a:lnTo>
                  <a:lnTo>
                    <a:pt x="0" y="121"/>
                  </a:lnTo>
                  <a:lnTo>
                    <a:pt x="0" y="113"/>
                  </a:lnTo>
                  <a:lnTo>
                    <a:pt x="4" y="115"/>
                  </a:lnTo>
                  <a:lnTo>
                    <a:pt x="7" y="111"/>
                  </a:lnTo>
                  <a:lnTo>
                    <a:pt x="12" y="116"/>
                  </a:lnTo>
                  <a:lnTo>
                    <a:pt x="17" y="113"/>
                  </a:lnTo>
                  <a:lnTo>
                    <a:pt x="23" y="115"/>
                  </a:lnTo>
                  <a:lnTo>
                    <a:pt x="26" y="113"/>
                  </a:lnTo>
                  <a:lnTo>
                    <a:pt x="34" y="111"/>
                  </a:lnTo>
                  <a:lnTo>
                    <a:pt x="36" y="113"/>
                  </a:lnTo>
                  <a:lnTo>
                    <a:pt x="41" y="111"/>
                  </a:lnTo>
                  <a:lnTo>
                    <a:pt x="45" y="110"/>
                  </a:lnTo>
                  <a:lnTo>
                    <a:pt x="48" y="103"/>
                  </a:lnTo>
                  <a:lnTo>
                    <a:pt x="52" y="99"/>
                  </a:lnTo>
                  <a:lnTo>
                    <a:pt x="57" y="96"/>
                  </a:lnTo>
                  <a:lnTo>
                    <a:pt x="60" y="94"/>
                  </a:lnTo>
                  <a:lnTo>
                    <a:pt x="67" y="87"/>
                  </a:lnTo>
                  <a:lnTo>
                    <a:pt x="70" y="81"/>
                  </a:lnTo>
                  <a:lnTo>
                    <a:pt x="69" y="79"/>
                  </a:lnTo>
                  <a:lnTo>
                    <a:pt x="70" y="72"/>
                  </a:lnTo>
                  <a:lnTo>
                    <a:pt x="67" y="67"/>
                  </a:lnTo>
                  <a:lnTo>
                    <a:pt x="67" y="63"/>
                  </a:lnTo>
                  <a:lnTo>
                    <a:pt x="70" y="58"/>
                  </a:lnTo>
                  <a:lnTo>
                    <a:pt x="82" y="57"/>
                  </a:lnTo>
                  <a:lnTo>
                    <a:pt x="84" y="53"/>
                  </a:lnTo>
                  <a:lnTo>
                    <a:pt x="89" y="48"/>
                  </a:lnTo>
                  <a:lnTo>
                    <a:pt x="91" y="46"/>
                  </a:lnTo>
                  <a:lnTo>
                    <a:pt x="91" y="43"/>
                  </a:lnTo>
                  <a:lnTo>
                    <a:pt x="89" y="41"/>
                  </a:lnTo>
                  <a:lnTo>
                    <a:pt x="87" y="43"/>
                  </a:lnTo>
                  <a:lnTo>
                    <a:pt x="82" y="41"/>
                  </a:lnTo>
                  <a:lnTo>
                    <a:pt x="84" y="36"/>
                  </a:lnTo>
                  <a:lnTo>
                    <a:pt x="82" y="31"/>
                  </a:lnTo>
                  <a:lnTo>
                    <a:pt x="84" y="28"/>
                  </a:lnTo>
                  <a:lnTo>
                    <a:pt x="87" y="28"/>
                  </a:lnTo>
                  <a:lnTo>
                    <a:pt x="87" y="26"/>
                  </a:lnTo>
                  <a:lnTo>
                    <a:pt x="91" y="26"/>
                  </a:lnTo>
                  <a:lnTo>
                    <a:pt x="94" y="24"/>
                  </a:lnTo>
                  <a:lnTo>
                    <a:pt x="94" y="21"/>
                  </a:lnTo>
                  <a:lnTo>
                    <a:pt x="98" y="21"/>
                  </a:lnTo>
                  <a:lnTo>
                    <a:pt x="101" y="17"/>
                  </a:lnTo>
                  <a:lnTo>
                    <a:pt x="106" y="16"/>
                  </a:lnTo>
                  <a:lnTo>
                    <a:pt x="110" y="17"/>
                  </a:lnTo>
                  <a:lnTo>
                    <a:pt x="118" y="21"/>
                  </a:lnTo>
                  <a:lnTo>
                    <a:pt x="120" y="19"/>
                  </a:lnTo>
                  <a:lnTo>
                    <a:pt x="123" y="19"/>
                  </a:lnTo>
                  <a:lnTo>
                    <a:pt x="127" y="21"/>
                  </a:lnTo>
                  <a:lnTo>
                    <a:pt x="127" y="24"/>
                  </a:lnTo>
                  <a:lnTo>
                    <a:pt x="128" y="24"/>
                  </a:lnTo>
                  <a:lnTo>
                    <a:pt x="135" y="21"/>
                  </a:lnTo>
                  <a:lnTo>
                    <a:pt x="139" y="21"/>
                  </a:lnTo>
                  <a:lnTo>
                    <a:pt x="142" y="21"/>
                  </a:lnTo>
                  <a:lnTo>
                    <a:pt x="144" y="26"/>
                  </a:lnTo>
                  <a:lnTo>
                    <a:pt x="151" y="29"/>
                  </a:lnTo>
                  <a:lnTo>
                    <a:pt x="149" y="33"/>
                  </a:lnTo>
                  <a:lnTo>
                    <a:pt x="149" y="34"/>
                  </a:lnTo>
                  <a:lnTo>
                    <a:pt x="157" y="33"/>
                  </a:lnTo>
                  <a:lnTo>
                    <a:pt x="161" y="40"/>
                  </a:lnTo>
                  <a:lnTo>
                    <a:pt x="169" y="40"/>
                  </a:lnTo>
                  <a:lnTo>
                    <a:pt x="171" y="41"/>
                  </a:lnTo>
                  <a:lnTo>
                    <a:pt x="176" y="41"/>
                  </a:lnTo>
                  <a:lnTo>
                    <a:pt x="181" y="46"/>
                  </a:lnTo>
                  <a:lnTo>
                    <a:pt x="188" y="40"/>
                  </a:lnTo>
                  <a:lnTo>
                    <a:pt x="192" y="40"/>
                  </a:lnTo>
                  <a:lnTo>
                    <a:pt x="195" y="33"/>
                  </a:lnTo>
                  <a:lnTo>
                    <a:pt x="198" y="34"/>
                  </a:lnTo>
                  <a:lnTo>
                    <a:pt x="198" y="31"/>
                  </a:lnTo>
                  <a:lnTo>
                    <a:pt x="200" y="28"/>
                  </a:lnTo>
                  <a:lnTo>
                    <a:pt x="202" y="24"/>
                  </a:lnTo>
                  <a:lnTo>
                    <a:pt x="210" y="19"/>
                  </a:lnTo>
                  <a:lnTo>
                    <a:pt x="221" y="9"/>
                  </a:lnTo>
                  <a:lnTo>
                    <a:pt x="224" y="4"/>
                  </a:lnTo>
                  <a:lnTo>
                    <a:pt x="227" y="0"/>
                  </a:lnTo>
                  <a:lnTo>
                    <a:pt x="238" y="0"/>
                  </a:lnTo>
                  <a:lnTo>
                    <a:pt x="239" y="0"/>
                  </a:lnTo>
                  <a:lnTo>
                    <a:pt x="241" y="0"/>
                  </a:lnTo>
                  <a:lnTo>
                    <a:pt x="243" y="0"/>
                  </a:lnTo>
                  <a:lnTo>
                    <a:pt x="251" y="2"/>
                  </a:lnTo>
                  <a:lnTo>
                    <a:pt x="255" y="4"/>
                  </a:lnTo>
                  <a:lnTo>
                    <a:pt x="260" y="4"/>
                  </a:lnTo>
                  <a:lnTo>
                    <a:pt x="265" y="5"/>
                  </a:lnTo>
                  <a:lnTo>
                    <a:pt x="267" y="7"/>
                  </a:lnTo>
                  <a:lnTo>
                    <a:pt x="273" y="4"/>
                  </a:lnTo>
                  <a:lnTo>
                    <a:pt x="277" y="2"/>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5" name="Freeform 73"/>
            <p:cNvSpPr>
              <a:spLocks noEditPoints="1"/>
            </p:cNvSpPr>
            <p:nvPr/>
          </p:nvSpPr>
          <p:spPr bwMode="gray">
            <a:xfrm>
              <a:off x="2420271" y="3512248"/>
              <a:ext cx="881080" cy="720553"/>
            </a:xfrm>
            <a:custGeom>
              <a:avLst/>
              <a:gdLst>
                <a:gd name="T0" fmla="*/ 297 w 483"/>
                <a:gd name="T1" fmla="*/ 17 h 395"/>
                <a:gd name="T2" fmla="*/ 289 w 483"/>
                <a:gd name="T3" fmla="*/ 34 h 395"/>
                <a:gd name="T4" fmla="*/ 309 w 483"/>
                <a:gd name="T5" fmla="*/ 34 h 395"/>
                <a:gd name="T6" fmla="*/ 309 w 483"/>
                <a:gd name="T7" fmla="*/ 41 h 395"/>
                <a:gd name="T8" fmla="*/ 316 w 483"/>
                <a:gd name="T9" fmla="*/ 46 h 395"/>
                <a:gd name="T10" fmla="*/ 340 w 483"/>
                <a:gd name="T11" fmla="*/ 67 h 395"/>
                <a:gd name="T12" fmla="*/ 323 w 483"/>
                <a:gd name="T13" fmla="*/ 91 h 395"/>
                <a:gd name="T14" fmla="*/ 337 w 483"/>
                <a:gd name="T15" fmla="*/ 89 h 395"/>
                <a:gd name="T16" fmla="*/ 357 w 483"/>
                <a:gd name="T17" fmla="*/ 89 h 395"/>
                <a:gd name="T18" fmla="*/ 384 w 483"/>
                <a:gd name="T19" fmla="*/ 87 h 395"/>
                <a:gd name="T20" fmla="*/ 420 w 483"/>
                <a:gd name="T21" fmla="*/ 94 h 395"/>
                <a:gd name="T22" fmla="*/ 429 w 483"/>
                <a:gd name="T23" fmla="*/ 121 h 395"/>
                <a:gd name="T24" fmla="*/ 449 w 483"/>
                <a:gd name="T25" fmla="*/ 154 h 395"/>
                <a:gd name="T26" fmla="*/ 478 w 483"/>
                <a:gd name="T27" fmla="*/ 179 h 395"/>
                <a:gd name="T28" fmla="*/ 465 w 483"/>
                <a:gd name="T29" fmla="*/ 207 h 395"/>
                <a:gd name="T30" fmla="*/ 453 w 483"/>
                <a:gd name="T31" fmla="*/ 227 h 395"/>
                <a:gd name="T32" fmla="*/ 466 w 483"/>
                <a:gd name="T33" fmla="*/ 263 h 395"/>
                <a:gd name="T34" fmla="*/ 453 w 483"/>
                <a:gd name="T35" fmla="*/ 302 h 395"/>
                <a:gd name="T36" fmla="*/ 436 w 483"/>
                <a:gd name="T37" fmla="*/ 301 h 395"/>
                <a:gd name="T38" fmla="*/ 430 w 483"/>
                <a:gd name="T39" fmla="*/ 289 h 395"/>
                <a:gd name="T40" fmla="*/ 425 w 483"/>
                <a:gd name="T41" fmla="*/ 277 h 395"/>
                <a:gd name="T42" fmla="*/ 413 w 483"/>
                <a:gd name="T43" fmla="*/ 268 h 395"/>
                <a:gd name="T44" fmla="*/ 395 w 483"/>
                <a:gd name="T45" fmla="*/ 260 h 395"/>
                <a:gd name="T46" fmla="*/ 381 w 483"/>
                <a:gd name="T47" fmla="*/ 273 h 395"/>
                <a:gd name="T48" fmla="*/ 364 w 483"/>
                <a:gd name="T49" fmla="*/ 285 h 395"/>
                <a:gd name="T50" fmla="*/ 349 w 483"/>
                <a:gd name="T51" fmla="*/ 304 h 395"/>
                <a:gd name="T52" fmla="*/ 318 w 483"/>
                <a:gd name="T53" fmla="*/ 316 h 395"/>
                <a:gd name="T54" fmla="*/ 285 w 483"/>
                <a:gd name="T55" fmla="*/ 320 h 395"/>
                <a:gd name="T56" fmla="*/ 272 w 483"/>
                <a:gd name="T57" fmla="*/ 355 h 395"/>
                <a:gd name="T58" fmla="*/ 268 w 483"/>
                <a:gd name="T59" fmla="*/ 376 h 395"/>
                <a:gd name="T60" fmla="*/ 261 w 483"/>
                <a:gd name="T61" fmla="*/ 390 h 395"/>
                <a:gd name="T62" fmla="*/ 238 w 483"/>
                <a:gd name="T63" fmla="*/ 391 h 395"/>
                <a:gd name="T64" fmla="*/ 205 w 483"/>
                <a:gd name="T65" fmla="*/ 379 h 395"/>
                <a:gd name="T66" fmla="*/ 197 w 483"/>
                <a:gd name="T67" fmla="*/ 367 h 395"/>
                <a:gd name="T68" fmla="*/ 176 w 483"/>
                <a:gd name="T69" fmla="*/ 352 h 395"/>
                <a:gd name="T70" fmla="*/ 168 w 483"/>
                <a:gd name="T71" fmla="*/ 323 h 395"/>
                <a:gd name="T72" fmla="*/ 128 w 483"/>
                <a:gd name="T73" fmla="*/ 314 h 395"/>
                <a:gd name="T74" fmla="*/ 103 w 483"/>
                <a:gd name="T75" fmla="*/ 296 h 395"/>
                <a:gd name="T76" fmla="*/ 96 w 483"/>
                <a:gd name="T77" fmla="*/ 284 h 395"/>
                <a:gd name="T78" fmla="*/ 82 w 483"/>
                <a:gd name="T79" fmla="*/ 272 h 395"/>
                <a:gd name="T80" fmla="*/ 82 w 483"/>
                <a:gd name="T81" fmla="*/ 244 h 395"/>
                <a:gd name="T82" fmla="*/ 106 w 483"/>
                <a:gd name="T83" fmla="*/ 229 h 395"/>
                <a:gd name="T84" fmla="*/ 99 w 483"/>
                <a:gd name="T85" fmla="*/ 208 h 395"/>
                <a:gd name="T86" fmla="*/ 74 w 483"/>
                <a:gd name="T87" fmla="*/ 203 h 395"/>
                <a:gd name="T88" fmla="*/ 43 w 483"/>
                <a:gd name="T89" fmla="*/ 171 h 395"/>
                <a:gd name="T90" fmla="*/ 21 w 483"/>
                <a:gd name="T91" fmla="*/ 156 h 395"/>
                <a:gd name="T92" fmla="*/ 7 w 483"/>
                <a:gd name="T93" fmla="*/ 133 h 395"/>
                <a:gd name="T94" fmla="*/ 38 w 483"/>
                <a:gd name="T95" fmla="*/ 123 h 395"/>
                <a:gd name="T96" fmla="*/ 67 w 483"/>
                <a:gd name="T97" fmla="*/ 118 h 395"/>
                <a:gd name="T98" fmla="*/ 98 w 483"/>
                <a:gd name="T99" fmla="*/ 94 h 395"/>
                <a:gd name="T100" fmla="*/ 118 w 483"/>
                <a:gd name="T101" fmla="*/ 86 h 395"/>
                <a:gd name="T102" fmla="*/ 133 w 483"/>
                <a:gd name="T103" fmla="*/ 74 h 395"/>
                <a:gd name="T104" fmla="*/ 152 w 483"/>
                <a:gd name="T105" fmla="*/ 74 h 395"/>
                <a:gd name="T106" fmla="*/ 168 w 483"/>
                <a:gd name="T107" fmla="*/ 75 h 395"/>
                <a:gd name="T108" fmla="*/ 180 w 483"/>
                <a:gd name="T109" fmla="*/ 50 h 395"/>
                <a:gd name="T110" fmla="*/ 197 w 483"/>
                <a:gd name="T111" fmla="*/ 24 h 395"/>
                <a:gd name="T112" fmla="*/ 243 w 483"/>
                <a:gd name="T113" fmla="*/ 14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3" h="395">
                  <a:moveTo>
                    <a:pt x="343" y="92"/>
                  </a:moveTo>
                  <a:lnTo>
                    <a:pt x="342" y="89"/>
                  </a:lnTo>
                  <a:lnTo>
                    <a:pt x="343" y="87"/>
                  </a:lnTo>
                  <a:lnTo>
                    <a:pt x="343" y="92"/>
                  </a:lnTo>
                  <a:close/>
                  <a:moveTo>
                    <a:pt x="292" y="4"/>
                  </a:moveTo>
                  <a:lnTo>
                    <a:pt x="296" y="9"/>
                  </a:lnTo>
                  <a:lnTo>
                    <a:pt x="297" y="17"/>
                  </a:lnTo>
                  <a:lnTo>
                    <a:pt x="296" y="21"/>
                  </a:lnTo>
                  <a:lnTo>
                    <a:pt x="292" y="21"/>
                  </a:lnTo>
                  <a:lnTo>
                    <a:pt x="289" y="26"/>
                  </a:lnTo>
                  <a:lnTo>
                    <a:pt x="291" y="31"/>
                  </a:lnTo>
                  <a:lnTo>
                    <a:pt x="289" y="33"/>
                  </a:lnTo>
                  <a:lnTo>
                    <a:pt x="289" y="38"/>
                  </a:lnTo>
                  <a:lnTo>
                    <a:pt x="289" y="34"/>
                  </a:lnTo>
                  <a:lnTo>
                    <a:pt x="291" y="34"/>
                  </a:lnTo>
                  <a:lnTo>
                    <a:pt x="292" y="38"/>
                  </a:lnTo>
                  <a:lnTo>
                    <a:pt x="296" y="34"/>
                  </a:lnTo>
                  <a:lnTo>
                    <a:pt x="297" y="27"/>
                  </a:lnTo>
                  <a:lnTo>
                    <a:pt x="299" y="27"/>
                  </a:lnTo>
                  <a:lnTo>
                    <a:pt x="304" y="29"/>
                  </a:lnTo>
                  <a:lnTo>
                    <a:pt x="309" y="34"/>
                  </a:lnTo>
                  <a:lnTo>
                    <a:pt x="304" y="39"/>
                  </a:lnTo>
                  <a:lnTo>
                    <a:pt x="306" y="41"/>
                  </a:lnTo>
                  <a:lnTo>
                    <a:pt x="306" y="45"/>
                  </a:lnTo>
                  <a:lnTo>
                    <a:pt x="299" y="43"/>
                  </a:lnTo>
                  <a:lnTo>
                    <a:pt x="299" y="45"/>
                  </a:lnTo>
                  <a:lnTo>
                    <a:pt x="304" y="45"/>
                  </a:lnTo>
                  <a:lnTo>
                    <a:pt x="309" y="41"/>
                  </a:lnTo>
                  <a:lnTo>
                    <a:pt x="311" y="39"/>
                  </a:lnTo>
                  <a:lnTo>
                    <a:pt x="314" y="43"/>
                  </a:lnTo>
                  <a:lnTo>
                    <a:pt x="313" y="46"/>
                  </a:lnTo>
                  <a:lnTo>
                    <a:pt x="314" y="51"/>
                  </a:lnTo>
                  <a:lnTo>
                    <a:pt x="316" y="50"/>
                  </a:lnTo>
                  <a:lnTo>
                    <a:pt x="314" y="50"/>
                  </a:lnTo>
                  <a:lnTo>
                    <a:pt x="316" y="46"/>
                  </a:lnTo>
                  <a:lnTo>
                    <a:pt x="318" y="43"/>
                  </a:lnTo>
                  <a:lnTo>
                    <a:pt x="328" y="45"/>
                  </a:lnTo>
                  <a:lnTo>
                    <a:pt x="331" y="45"/>
                  </a:lnTo>
                  <a:lnTo>
                    <a:pt x="337" y="50"/>
                  </a:lnTo>
                  <a:lnTo>
                    <a:pt x="340" y="55"/>
                  </a:lnTo>
                  <a:lnTo>
                    <a:pt x="340" y="62"/>
                  </a:lnTo>
                  <a:lnTo>
                    <a:pt x="340" y="67"/>
                  </a:lnTo>
                  <a:lnTo>
                    <a:pt x="333" y="74"/>
                  </a:lnTo>
                  <a:lnTo>
                    <a:pt x="326" y="79"/>
                  </a:lnTo>
                  <a:lnTo>
                    <a:pt x="321" y="87"/>
                  </a:lnTo>
                  <a:lnTo>
                    <a:pt x="316" y="86"/>
                  </a:lnTo>
                  <a:lnTo>
                    <a:pt x="320" y="92"/>
                  </a:lnTo>
                  <a:lnTo>
                    <a:pt x="323" y="92"/>
                  </a:lnTo>
                  <a:lnTo>
                    <a:pt x="323" y="91"/>
                  </a:lnTo>
                  <a:lnTo>
                    <a:pt x="331" y="87"/>
                  </a:lnTo>
                  <a:lnTo>
                    <a:pt x="333" y="84"/>
                  </a:lnTo>
                  <a:lnTo>
                    <a:pt x="335" y="79"/>
                  </a:lnTo>
                  <a:lnTo>
                    <a:pt x="340" y="77"/>
                  </a:lnTo>
                  <a:lnTo>
                    <a:pt x="342" y="79"/>
                  </a:lnTo>
                  <a:lnTo>
                    <a:pt x="342" y="87"/>
                  </a:lnTo>
                  <a:lnTo>
                    <a:pt x="337" y="89"/>
                  </a:lnTo>
                  <a:lnTo>
                    <a:pt x="340" y="89"/>
                  </a:lnTo>
                  <a:lnTo>
                    <a:pt x="343" y="94"/>
                  </a:lnTo>
                  <a:lnTo>
                    <a:pt x="343" y="91"/>
                  </a:lnTo>
                  <a:lnTo>
                    <a:pt x="343" y="86"/>
                  </a:lnTo>
                  <a:lnTo>
                    <a:pt x="347" y="84"/>
                  </a:lnTo>
                  <a:lnTo>
                    <a:pt x="355" y="86"/>
                  </a:lnTo>
                  <a:lnTo>
                    <a:pt x="357" y="89"/>
                  </a:lnTo>
                  <a:lnTo>
                    <a:pt x="355" y="92"/>
                  </a:lnTo>
                  <a:lnTo>
                    <a:pt x="361" y="87"/>
                  </a:lnTo>
                  <a:lnTo>
                    <a:pt x="366" y="89"/>
                  </a:lnTo>
                  <a:lnTo>
                    <a:pt x="366" y="91"/>
                  </a:lnTo>
                  <a:lnTo>
                    <a:pt x="371" y="86"/>
                  </a:lnTo>
                  <a:lnTo>
                    <a:pt x="378" y="84"/>
                  </a:lnTo>
                  <a:lnTo>
                    <a:pt x="384" y="87"/>
                  </a:lnTo>
                  <a:lnTo>
                    <a:pt x="388" y="89"/>
                  </a:lnTo>
                  <a:lnTo>
                    <a:pt x="390" y="89"/>
                  </a:lnTo>
                  <a:lnTo>
                    <a:pt x="398" y="91"/>
                  </a:lnTo>
                  <a:lnTo>
                    <a:pt x="400" y="91"/>
                  </a:lnTo>
                  <a:lnTo>
                    <a:pt x="410" y="91"/>
                  </a:lnTo>
                  <a:lnTo>
                    <a:pt x="419" y="92"/>
                  </a:lnTo>
                  <a:lnTo>
                    <a:pt x="420" y="94"/>
                  </a:lnTo>
                  <a:lnTo>
                    <a:pt x="415" y="96"/>
                  </a:lnTo>
                  <a:lnTo>
                    <a:pt x="422" y="94"/>
                  </a:lnTo>
                  <a:lnTo>
                    <a:pt x="427" y="91"/>
                  </a:lnTo>
                  <a:lnTo>
                    <a:pt x="429" y="96"/>
                  </a:lnTo>
                  <a:lnTo>
                    <a:pt x="425" y="106"/>
                  </a:lnTo>
                  <a:lnTo>
                    <a:pt x="425" y="116"/>
                  </a:lnTo>
                  <a:lnTo>
                    <a:pt x="429" y="121"/>
                  </a:lnTo>
                  <a:lnTo>
                    <a:pt x="434" y="125"/>
                  </a:lnTo>
                  <a:lnTo>
                    <a:pt x="441" y="127"/>
                  </a:lnTo>
                  <a:lnTo>
                    <a:pt x="446" y="127"/>
                  </a:lnTo>
                  <a:lnTo>
                    <a:pt x="446" y="135"/>
                  </a:lnTo>
                  <a:lnTo>
                    <a:pt x="446" y="142"/>
                  </a:lnTo>
                  <a:lnTo>
                    <a:pt x="446" y="145"/>
                  </a:lnTo>
                  <a:lnTo>
                    <a:pt x="449" y="154"/>
                  </a:lnTo>
                  <a:lnTo>
                    <a:pt x="458" y="159"/>
                  </a:lnTo>
                  <a:lnTo>
                    <a:pt x="465" y="159"/>
                  </a:lnTo>
                  <a:lnTo>
                    <a:pt x="466" y="157"/>
                  </a:lnTo>
                  <a:lnTo>
                    <a:pt x="468" y="159"/>
                  </a:lnTo>
                  <a:lnTo>
                    <a:pt x="477" y="162"/>
                  </a:lnTo>
                  <a:lnTo>
                    <a:pt x="478" y="173"/>
                  </a:lnTo>
                  <a:lnTo>
                    <a:pt x="478" y="179"/>
                  </a:lnTo>
                  <a:lnTo>
                    <a:pt x="480" y="183"/>
                  </a:lnTo>
                  <a:lnTo>
                    <a:pt x="483" y="190"/>
                  </a:lnTo>
                  <a:lnTo>
                    <a:pt x="483" y="193"/>
                  </a:lnTo>
                  <a:lnTo>
                    <a:pt x="482" y="195"/>
                  </a:lnTo>
                  <a:lnTo>
                    <a:pt x="473" y="200"/>
                  </a:lnTo>
                  <a:lnTo>
                    <a:pt x="466" y="203"/>
                  </a:lnTo>
                  <a:lnTo>
                    <a:pt x="465" y="207"/>
                  </a:lnTo>
                  <a:lnTo>
                    <a:pt x="463" y="205"/>
                  </a:lnTo>
                  <a:lnTo>
                    <a:pt x="463" y="208"/>
                  </a:lnTo>
                  <a:lnTo>
                    <a:pt x="458" y="215"/>
                  </a:lnTo>
                  <a:lnTo>
                    <a:pt x="458" y="217"/>
                  </a:lnTo>
                  <a:lnTo>
                    <a:pt x="454" y="222"/>
                  </a:lnTo>
                  <a:lnTo>
                    <a:pt x="454" y="224"/>
                  </a:lnTo>
                  <a:lnTo>
                    <a:pt x="453" y="227"/>
                  </a:lnTo>
                  <a:lnTo>
                    <a:pt x="451" y="234"/>
                  </a:lnTo>
                  <a:lnTo>
                    <a:pt x="451" y="236"/>
                  </a:lnTo>
                  <a:lnTo>
                    <a:pt x="451" y="244"/>
                  </a:lnTo>
                  <a:lnTo>
                    <a:pt x="451" y="249"/>
                  </a:lnTo>
                  <a:lnTo>
                    <a:pt x="454" y="253"/>
                  </a:lnTo>
                  <a:lnTo>
                    <a:pt x="463" y="256"/>
                  </a:lnTo>
                  <a:lnTo>
                    <a:pt x="466" y="263"/>
                  </a:lnTo>
                  <a:lnTo>
                    <a:pt x="466" y="267"/>
                  </a:lnTo>
                  <a:lnTo>
                    <a:pt x="463" y="273"/>
                  </a:lnTo>
                  <a:lnTo>
                    <a:pt x="460" y="279"/>
                  </a:lnTo>
                  <a:lnTo>
                    <a:pt x="456" y="287"/>
                  </a:lnTo>
                  <a:lnTo>
                    <a:pt x="456" y="290"/>
                  </a:lnTo>
                  <a:lnTo>
                    <a:pt x="453" y="297"/>
                  </a:lnTo>
                  <a:lnTo>
                    <a:pt x="453" y="302"/>
                  </a:lnTo>
                  <a:lnTo>
                    <a:pt x="451" y="302"/>
                  </a:lnTo>
                  <a:lnTo>
                    <a:pt x="449" y="299"/>
                  </a:lnTo>
                  <a:lnTo>
                    <a:pt x="444" y="297"/>
                  </a:lnTo>
                  <a:lnTo>
                    <a:pt x="444" y="299"/>
                  </a:lnTo>
                  <a:lnTo>
                    <a:pt x="441" y="301"/>
                  </a:lnTo>
                  <a:lnTo>
                    <a:pt x="439" y="299"/>
                  </a:lnTo>
                  <a:lnTo>
                    <a:pt x="436" y="301"/>
                  </a:lnTo>
                  <a:lnTo>
                    <a:pt x="437" y="296"/>
                  </a:lnTo>
                  <a:lnTo>
                    <a:pt x="434" y="296"/>
                  </a:lnTo>
                  <a:lnTo>
                    <a:pt x="434" y="292"/>
                  </a:lnTo>
                  <a:lnTo>
                    <a:pt x="432" y="294"/>
                  </a:lnTo>
                  <a:lnTo>
                    <a:pt x="430" y="294"/>
                  </a:lnTo>
                  <a:lnTo>
                    <a:pt x="429" y="292"/>
                  </a:lnTo>
                  <a:lnTo>
                    <a:pt x="430" y="289"/>
                  </a:lnTo>
                  <a:lnTo>
                    <a:pt x="427" y="289"/>
                  </a:lnTo>
                  <a:lnTo>
                    <a:pt x="425" y="290"/>
                  </a:lnTo>
                  <a:lnTo>
                    <a:pt x="424" y="290"/>
                  </a:lnTo>
                  <a:lnTo>
                    <a:pt x="427" y="284"/>
                  </a:lnTo>
                  <a:lnTo>
                    <a:pt x="425" y="280"/>
                  </a:lnTo>
                  <a:lnTo>
                    <a:pt x="422" y="279"/>
                  </a:lnTo>
                  <a:lnTo>
                    <a:pt x="425" y="277"/>
                  </a:lnTo>
                  <a:lnTo>
                    <a:pt x="424" y="275"/>
                  </a:lnTo>
                  <a:lnTo>
                    <a:pt x="422" y="277"/>
                  </a:lnTo>
                  <a:lnTo>
                    <a:pt x="420" y="275"/>
                  </a:lnTo>
                  <a:lnTo>
                    <a:pt x="420" y="272"/>
                  </a:lnTo>
                  <a:lnTo>
                    <a:pt x="417" y="270"/>
                  </a:lnTo>
                  <a:lnTo>
                    <a:pt x="415" y="272"/>
                  </a:lnTo>
                  <a:lnTo>
                    <a:pt x="413" y="268"/>
                  </a:lnTo>
                  <a:lnTo>
                    <a:pt x="415" y="265"/>
                  </a:lnTo>
                  <a:lnTo>
                    <a:pt x="412" y="265"/>
                  </a:lnTo>
                  <a:lnTo>
                    <a:pt x="410" y="263"/>
                  </a:lnTo>
                  <a:lnTo>
                    <a:pt x="403" y="263"/>
                  </a:lnTo>
                  <a:lnTo>
                    <a:pt x="405" y="258"/>
                  </a:lnTo>
                  <a:lnTo>
                    <a:pt x="401" y="256"/>
                  </a:lnTo>
                  <a:lnTo>
                    <a:pt x="395" y="260"/>
                  </a:lnTo>
                  <a:lnTo>
                    <a:pt x="393" y="253"/>
                  </a:lnTo>
                  <a:lnTo>
                    <a:pt x="391" y="251"/>
                  </a:lnTo>
                  <a:lnTo>
                    <a:pt x="388" y="258"/>
                  </a:lnTo>
                  <a:lnTo>
                    <a:pt x="386" y="260"/>
                  </a:lnTo>
                  <a:lnTo>
                    <a:pt x="388" y="265"/>
                  </a:lnTo>
                  <a:lnTo>
                    <a:pt x="384" y="268"/>
                  </a:lnTo>
                  <a:lnTo>
                    <a:pt x="381" y="273"/>
                  </a:lnTo>
                  <a:lnTo>
                    <a:pt x="379" y="270"/>
                  </a:lnTo>
                  <a:lnTo>
                    <a:pt x="376" y="270"/>
                  </a:lnTo>
                  <a:lnTo>
                    <a:pt x="372" y="273"/>
                  </a:lnTo>
                  <a:lnTo>
                    <a:pt x="372" y="277"/>
                  </a:lnTo>
                  <a:lnTo>
                    <a:pt x="369" y="277"/>
                  </a:lnTo>
                  <a:lnTo>
                    <a:pt x="367" y="282"/>
                  </a:lnTo>
                  <a:lnTo>
                    <a:pt x="364" y="285"/>
                  </a:lnTo>
                  <a:lnTo>
                    <a:pt x="366" y="289"/>
                  </a:lnTo>
                  <a:lnTo>
                    <a:pt x="364" y="289"/>
                  </a:lnTo>
                  <a:lnTo>
                    <a:pt x="359" y="296"/>
                  </a:lnTo>
                  <a:lnTo>
                    <a:pt x="359" y="299"/>
                  </a:lnTo>
                  <a:lnTo>
                    <a:pt x="355" y="301"/>
                  </a:lnTo>
                  <a:lnTo>
                    <a:pt x="354" y="304"/>
                  </a:lnTo>
                  <a:lnTo>
                    <a:pt x="349" y="304"/>
                  </a:lnTo>
                  <a:lnTo>
                    <a:pt x="345" y="308"/>
                  </a:lnTo>
                  <a:lnTo>
                    <a:pt x="338" y="309"/>
                  </a:lnTo>
                  <a:lnTo>
                    <a:pt x="337" y="313"/>
                  </a:lnTo>
                  <a:lnTo>
                    <a:pt x="330" y="313"/>
                  </a:lnTo>
                  <a:lnTo>
                    <a:pt x="328" y="316"/>
                  </a:lnTo>
                  <a:lnTo>
                    <a:pt x="323" y="313"/>
                  </a:lnTo>
                  <a:lnTo>
                    <a:pt x="318" y="316"/>
                  </a:lnTo>
                  <a:lnTo>
                    <a:pt x="311" y="314"/>
                  </a:lnTo>
                  <a:lnTo>
                    <a:pt x="308" y="313"/>
                  </a:lnTo>
                  <a:lnTo>
                    <a:pt x="306" y="309"/>
                  </a:lnTo>
                  <a:lnTo>
                    <a:pt x="302" y="313"/>
                  </a:lnTo>
                  <a:lnTo>
                    <a:pt x="297" y="314"/>
                  </a:lnTo>
                  <a:lnTo>
                    <a:pt x="289" y="321"/>
                  </a:lnTo>
                  <a:lnTo>
                    <a:pt x="285" y="320"/>
                  </a:lnTo>
                  <a:lnTo>
                    <a:pt x="282" y="325"/>
                  </a:lnTo>
                  <a:lnTo>
                    <a:pt x="279" y="326"/>
                  </a:lnTo>
                  <a:lnTo>
                    <a:pt x="277" y="328"/>
                  </a:lnTo>
                  <a:lnTo>
                    <a:pt x="272" y="335"/>
                  </a:lnTo>
                  <a:lnTo>
                    <a:pt x="272" y="343"/>
                  </a:lnTo>
                  <a:lnTo>
                    <a:pt x="270" y="345"/>
                  </a:lnTo>
                  <a:lnTo>
                    <a:pt x="272" y="355"/>
                  </a:lnTo>
                  <a:lnTo>
                    <a:pt x="272" y="357"/>
                  </a:lnTo>
                  <a:lnTo>
                    <a:pt x="268" y="361"/>
                  </a:lnTo>
                  <a:lnTo>
                    <a:pt x="267" y="366"/>
                  </a:lnTo>
                  <a:lnTo>
                    <a:pt x="267" y="369"/>
                  </a:lnTo>
                  <a:lnTo>
                    <a:pt x="270" y="367"/>
                  </a:lnTo>
                  <a:lnTo>
                    <a:pt x="268" y="369"/>
                  </a:lnTo>
                  <a:lnTo>
                    <a:pt x="268" y="376"/>
                  </a:lnTo>
                  <a:lnTo>
                    <a:pt x="272" y="381"/>
                  </a:lnTo>
                  <a:lnTo>
                    <a:pt x="277" y="381"/>
                  </a:lnTo>
                  <a:lnTo>
                    <a:pt x="272" y="388"/>
                  </a:lnTo>
                  <a:lnTo>
                    <a:pt x="270" y="390"/>
                  </a:lnTo>
                  <a:lnTo>
                    <a:pt x="267" y="386"/>
                  </a:lnTo>
                  <a:lnTo>
                    <a:pt x="265" y="390"/>
                  </a:lnTo>
                  <a:lnTo>
                    <a:pt x="261" y="390"/>
                  </a:lnTo>
                  <a:lnTo>
                    <a:pt x="258" y="386"/>
                  </a:lnTo>
                  <a:lnTo>
                    <a:pt x="256" y="388"/>
                  </a:lnTo>
                  <a:lnTo>
                    <a:pt x="255" y="391"/>
                  </a:lnTo>
                  <a:lnTo>
                    <a:pt x="250" y="395"/>
                  </a:lnTo>
                  <a:lnTo>
                    <a:pt x="243" y="393"/>
                  </a:lnTo>
                  <a:lnTo>
                    <a:pt x="239" y="391"/>
                  </a:lnTo>
                  <a:lnTo>
                    <a:pt x="238" y="391"/>
                  </a:lnTo>
                  <a:lnTo>
                    <a:pt x="227" y="393"/>
                  </a:lnTo>
                  <a:lnTo>
                    <a:pt x="224" y="390"/>
                  </a:lnTo>
                  <a:lnTo>
                    <a:pt x="217" y="393"/>
                  </a:lnTo>
                  <a:lnTo>
                    <a:pt x="215" y="386"/>
                  </a:lnTo>
                  <a:lnTo>
                    <a:pt x="210" y="383"/>
                  </a:lnTo>
                  <a:lnTo>
                    <a:pt x="212" y="379"/>
                  </a:lnTo>
                  <a:lnTo>
                    <a:pt x="205" y="379"/>
                  </a:lnTo>
                  <a:lnTo>
                    <a:pt x="205" y="376"/>
                  </a:lnTo>
                  <a:lnTo>
                    <a:pt x="203" y="376"/>
                  </a:lnTo>
                  <a:lnTo>
                    <a:pt x="203" y="374"/>
                  </a:lnTo>
                  <a:lnTo>
                    <a:pt x="202" y="372"/>
                  </a:lnTo>
                  <a:lnTo>
                    <a:pt x="197" y="371"/>
                  </a:lnTo>
                  <a:lnTo>
                    <a:pt x="193" y="371"/>
                  </a:lnTo>
                  <a:lnTo>
                    <a:pt x="197" y="367"/>
                  </a:lnTo>
                  <a:lnTo>
                    <a:pt x="197" y="364"/>
                  </a:lnTo>
                  <a:lnTo>
                    <a:pt x="192" y="357"/>
                  </a:lnTo>
                  <a:lnTo>
                    <a:pt x="185" y="355"/>
                  </a:lnTo>
                  <a:lnTo>
                    <a:pt x="188" y="350"/>
                  </a:lnTo>
                  <a:lnTo>
                    <a:pt x="186" y="347"/>
                  </a:lnTo>
                  <a:lnTo>
                    <a:pt x="181" y="347"/>
                  </a:lnTo>
                  <a:lnTo>
                    <a:pt x="176" y="352"/>
                  </a:lnTo>
                  <a:lnTo>
                    <a:pt x="171" y="354"/>
                  </a:lnTo>
                  <a:lnTo>
                    <a:pt x="164" y="347"/>
                  </a:lnTo>
                  <a:lnTo>
                    <a:pt x="161" y="345"/>
                  </a:lnTo>
                  <a:lnTo>
                    <a:pt x="164" y="338"/>
                  </a:lnTo>
                  <a:lnTo>
                    <a:pt x="164" y="333"/>
                  </a:lnTo>
                  <a:lnTo>
                    <a:pt x="169" y="326"/>
                  </a:lnTo>
                  <a:lnTo>
                    <a:pt x="168" y="323"/>
                  </a:lnTo>
                  <a:lnTo>
                    <a:pt x="157" y="321"/>
                  </a:lnTo>
                  <a:lnTo>
                    <a:pt x="152" y="320"/>
                  </a:lnTo>
                  <a:lnTo>
                    <a:pt x="149" y="314"/>
                  </a:lnTo>
                  <a:lnTo>
                    <a:pt x="139" y="313"/>
                  </a:lnTo>
                  <a:lnTo>
                    <a:pt x="137" y="313"/>
                  </a:lnTo>
                  <a:lnTo>
                    <a:pt x="133" y="313"/>
                  </a:lnTo>
                  <a:lnTo>
                    <a:pt x="128" y="314"/>
                  </a:lnTo>
                  <a:lnTo>
                    <a:pt x="127" y="313"/>
                  </a:lnTo>
                  <a:lnTo>
                    <a:pt x="122" y="314"/>
                  </a:lnTo>
                  <a:lnTo>
                    <a:pt x="118" y="311"/>
                  </a:lnTo>
                  <a:lnTo>
                    <a:pt x="120" y="308"/>
                  </a:lnTo>
                  <a:lnTo>
                    <a:pt x="113" y="302"/>
                  </a:lnTo>
                  <a:lnTo>
                    <a:pt x="110" y="299"/>
                  </a:lnTo>
                  <a:lnTo>
                    <a:pt x="103" y="296"/>
                  </a:lnTo>
                  <a:lnTo>
                    <a:pt x="103" y="290"/>
                  </a:lnTo>
                  <a:lnTo>
                    <a:pt x="104" y="289"/>
                  </a:lnTo>
                  <a:lnTo>
                    <a:pt x="108" y="290"/>
                  </a:lnTo>
                  <a:lnTo>
                    <a:pt x="113" y="285"/>
                  </a:lnTo>
                  <a:lnTo>
                    <a:pt x="108" y="285"/>
                  </a:lnTo>
                  <a:lnTo>
                    <a:pt x="103" y="280"/>
                  </a:lnTo>
                  <a:lnTo>
                    <a:pt x="96" y="284"/>
                  </a:lnTo>
                  <a:lnTo>
                    <a:pt x="94" y="280"/>
                  </a:lnTo>
                  <a:lnTo>
                    <a:pt x="91" y="282"/>
                  </a:lnTo>
                  <a:lnTo>
                    <a:pt x="91" y="280"/>
                  </a:lnTo>
                  <a:lnTo>
                    <a:pt x="87" y="277"/>
                  </a:lnTo>
                  <a:lnTo>
                    <a:pt x="86" y="273"/>
                  </a:lnTo>
                  <a:lnTo>
                    <a:pt x="84" y="273"/>
                  </a:lnTo>
                  <a:lnTo>
                    <a:pt x="82" y="272"/>
                  </a:lnTo>
                  <a:lnTo>
                    <a:pt x="75" y="267"/>
                  </a:lnTo>
                  <a:lnTo>
                    <a:pt x="72" y="261"/>
                  </a:lnTo>
                  <a:lnTo>
                    <a:pt x="67" y="260"/>
                  </a:lnTo>
                  <a:lnTo>
                    <a:pt x="70" y="258"/>
                  </a:lnTo>
                  <a:lnTo>
                    <a:pt x="72" y="256"/>
                  </a:lnTo>
                  <a:lnTo>
                    <a:pt x="81" y="253"/>
                  </a:lnTo>
                  <a:lnTo>
                    <a:pt x="82" y="244"/>
                  </a:lnTo>
                  <a:lnTo>
                    <a:pt x="89" y="238"/>
                  </a:lnTo>
                  <a:lnTo>
                    <a:pt x="87" y="234"/>
                  </a:lnTo>
                  <a:lnTo>
                    <a:pt x="91" y="227"/>
                  </a:lnTo>
                  <a:lnTo>
                    <a:pt x="96" y="229"/>
                  </a:lnTo>
                  <a:lnTo>
                    <a:pt x="101" y="238"/>
                  </a:lnTo>
                  <a:lnTo>
                    <a:pt x="106" y="232"/>
                  </a:lnTo>
                  <a:lnTo>
                    <a:pt x="106" y="229"/>
                  </a:lnTo>
                  <a:lnTo>
                    <a:pt x="111" y="226"/>
                  </a:lnTo>
                  <a:lnTo>
                    <a:pt x="111" y="224"/>
                  </a:lnTo>
                  <a:lnTo>
                    <a:pt x="113" y="220"/>
                  </a:lnTo>
                  <a:lnTo>
                    <a:pt x="113" y="212"/>
                  </a:lnTo>
                  <a:lnTo>
                    <a:pt x="111" y="208"/>
                  </a:lnTo>
                  <a:lnTo>
                    <a:pt x="108" y="207"/>
                  </a:lnTo>
                  <a:lnTo>
                    <a:pt x="99" y="208"/>
                  </a:lnTo>
                  <a:lnTo>
                    <a:pt x="99" y="205"/>
                  </a:lnTo>
                  <a:lnTo>
                    <a:pt x="99" y="203"/>
                  </a:lnTo>
                  <a:lnTo>
                    <a:pt x="98" y="205"/>
                  </a:lnTo>
                  <a:lnTo>
                    <a:pt x="91" y="205"/>
                  </a:lnTo>
                  <a:lnTo>
                    <a:pt x="86" y="198"/>
                  </a:lnTo>
                  <a:lnTo>
                    <a:pt x="82" y="202"/>
                  </a:lnTo>
                  <a:lnTo>
                    <a:pt x="74" y="203"/>
                  </a:lnTo>
                  <a:lnTo>
                    <a:pt x="69" y="207"/>
                  </a:lnTo>
                  <a:lnTo>
                    <a:pt x="65" y="203"/>
                  </a:lnTo>
                  <a:lnTo>
                    <a:pt x="60" y="200"/>
                  </a:lnTo>
                  <a:lnTo>
                    <a:pt x="53" y="195"/>
                  </a:lnTo>
                  <a:lnTo>
                    <a:pt x="52" y="188"/>
                  </a:lnTo>
                  <a:lnTo>
                    <a:pt x="52" y="176"/>
                  </a:lnTo>
                  <a:lnTo>
                    <a:pt x="43" y="171"/>
                  </a:lnTo>
                  <a:lnTo>
                    <a:pt x="38" y="169"/>
                  </a:lnTo>
                  <a:lnTo>
                    <a:pt x="31" y="173"/>
                  </a:lnTo>
                  <a:lnTo>
                    <a:pt x="28" y="169"/>
                  </a:lnTo>
                  <a:lnTo>
                    <a:pt x="24" y="169"/>
                  </a:lnTo>
                  <a:lnTo>
                    <a:pt x="23" y="168"/>
                  </a:lnTo>
                  <a:lnTo>
                    <a:pt x="19" y="157"/>
                  </a:lnTo>
                  <a:lnTo>
                    <a:pt x="21" y="156"/>
                  </a:lnTo>
                  <a:lnTo>
                    <a:pt x="16" y="154"/>
                  </a:lnTo>
                  <a:lnTo>
                    <a:pt x="9" y="149"/>
                  </a:lnTo>
                  <a:lnTo>
                    <a:pt x="9" y="145"/>
                  </a:lnTo>
                  <a:lnTo>
                    <a:pt x="2" y="138"/>
                  </a:lnTo>
                  <a:lnTo>
                    <a:pt x="0" y="137"/>
                  </a:lnTo>
                  <a:lnTo>
                    <a:pt x="4" y="137"/>
                  </a:lnTo>
                  <a:lnTo>
                    <a:pt x="7" y="133"/>
                  </a:lnTo>
                  <a:lnTo>
                    <a:pt x="14" y="128"/>
                  </a:lnTo>
                  <a:lnTo>
                    <a:pt x="21" y="127"/>
                  </a:lnTo>
                  <a:lnTo>
                    <a:pt x="23" y="121"/>
                  </a:lnTo>
                  <a:lnTo>
                    <a:pt x="24" y="120"/>
                  </a:lnTo>
                  <a:lnTo>
                    <a:pt x="28" y="120"/>
                  </a:lnTo>
                  <a:lnTo>
                    <a:pt x="31" y="123"/>
                  </a:lnTo>
                  <a:lnTo>
                    <a:pt x="38" y="123"/>
                  </a:lnTo>
                  <a:lnTo>
                    <a:pt x="41" y="127"/>
                  </a:lnTo>
                  <a:lnTo>
                    <a:pt x="48" y="128"/>
                  </a:lnTo>
                  <a:lnTo>
                    <a:pt x="53" y="128"/>
                  </a:lnTo>
                  <a:lnTo>
                    <a:pt x="57" y="125"/>
                  </a:lnTo>
                  <a:lnTo>
                    <a:pt x="63" y="127"/>
                  </a:lnTo>
                  <a:lnTo>
                    <a:pt x="67" y="125"/>
                  </a:lnTo>
                  <a:lnTo>
                    <a:pt x="67" y="118"/>
                  </a:lnTo>
                  <a:lnTo>
                    <a:pt x="77" y="115"/>
                  </a:lnTo>
                  <a:lnTo>
                    <a:pt x="79" y="111"/>
                  </a:lnTo>
                  <a:lnTo>
                    <a:pt x="82" y="115"/>
                  </a:lnTo>
                  <a:lnTo>
                    <a:pt x="82" y="111"/>
                  </a:lnTo>
                  <a:lnTo>
                    <a:pt x="87" y="108"/>
                  </a:lnTo>
                  <a:lnTo>
                    <a:pt x="91" y="101"/>
                  </a:lnTo>
                  <a:lnTo>
                    <a:pt x="98" y="94"/>
                  </a:lnTo>
                  <a:lnTo>
                    <a:pt x="94" y="87"/>
                  </a:lnTo>
                  <a:lnTo>
                    <a:pt x="98" y="80"/>
                  </a:lnTo>
                  <a:lnTo>
                    <a:pt x="101" y="82"/>
                  </a:lnTo>
                  <a:lnTo>
                    <a:pt x="103" y="84"/>
                  </a:lnTo>
                  <a:lnTo>
                    <a:pt x="108" y="84"/>
                  </a:lnTo>
                  <a:lnTo>
                    <a:pt x="115" y="86"/>
                  </a:lnTo>
                  <a:lnTo>
                    <a:pt x="118" y="86"/>
                  </a:lnTo>
                  <a:lnTo>
                    <a:pt x="118" y="82"/>
                  </a:lnTo>
                  <a:lnTo>
                    <a:pt x="122" y="86"/>
                  </a:lnTo>
                  <a:lnTo>
                    <a:pt x="130" y="87"/>
                  </a:lnTo>
                  <a:lnTo>
                    <a:pt x="133" y="84"/>
                  </a:lnTo>
                  <a:lnTo>
                    <a:pt x="137" y="82"/>
                  </a:lnTo>
                  <a:lnTo>
                    <a:pt x="137" y="77"/>
                  </a:lnTo>
                  <a:lnTo>
                    <a:pt x="133" y="74"/>
                  </a:lnTo>
                  <a:lnTo>
                    <a:pt x="133" y="68"/>
                  </a:lnTo>
                  <a:lnTo>
                    <a:pt x="135" y="63"/>
                  </a:lnTo>
                  <a:lnTo>
                    <a:pt x="139" y="62"/>
                  </a:lnTo>
                  <a:lnTo>
                    <a:pt x="144" y="60"/>
                  </a:lnTo>
                  <a:lnTo>
                    <a:pt x="147" y="65"/>
                  </a:lnTo>
                  <a:lnTo>
                    <a:pt x="149" y="72"/>
                  </a:lnTo>
                  <a:lnTo>
                    <a:pt x="152" y="74"/>
                  </a:lnTo>
                  <a:lnTo>
                    <a:pt x="154" y="75"/>
                  </a:lnTo>
                  <a:lnTo>
                    <a:pt x="157" y="79"/>
                  </a:lnTo>
                  <a:lnTo>
                    <a:pt x="161" y="84"/>
                  </a:lnTo>
                  <a:lnTo>
                    <a:pt x="168" y="87"/>
                  </a:lnTo>
                  <a:lnTo>
                    <a:pt x="168" y="86"/>
                  </a:lnTo>
                  <a:lnTo>
                    <a:pt x="166" y="82"/>
                  </a:lnTo>
                  <a:lnTo>
                    <a:pt x="168" y="75"/>
                  </a:lnTo>
                  <a:lnTo>
                    <a:pt x="166" y="68"/>
                  </a:lnTo>
                  <a:lnTo>
                    <a:pt x="168" y="67"/>
                  </a:lnTo>
                  <a:lnTo>
                    <a:pt x="176" y="65"/>
                  </a:lnTo>
                  <a:lnTo>
                    <a:pt x="180" y="62"/>
                  </a:lnTo>
                  <a:lnTo>
                    <a:pt x="174" y="56"/>
                  </a:lnTo>
                  <a:lnTo>
                    <a:pt x="174" y="53"/>
                  </a:lnTo>
                  <a:lnTo>
                    <a:pt x="180" y="50"/>
                  </a:lnTo>
                  <a:lnTo>
                    <a:pt x="180" y="45"/>
                  </a:lnTo>
                  <a:lnTo>
                    <a:pt x="173" y="39"/>
                  </a:lnTo>
                  <a:lnTo>
                    <a:pt x="174" y="34"/>
                  </a:lnTo>
                  <a:lnTo>
                    <a:pt x="178" y="31"/>
                  </a:lnTo>
                  <a:lnTo>
                    <a:pt x="185" y="26"/>
                  </a:lnTo>
                  <a:lnTo>
                    <a:pt x="192" y="26"/>
                  </a:lnTo>
                  <a:lnTo>
                    <a:pt x="197" y="24"/>
                  </a:lnTo>
                  <a:lnTo>
                    <a:pt x="205" y="22"/>
                  </a:lnTo>
                  <a:lnTo>
                    <a:pt x="207" y="21"/>
                  </a:lnTo>
                  <a:lnTo>
                    <a:pt x="212" y="21"/>
                  </a:lnTo>
                  <a:lnTo>
                    <a:pt x="221" y="19"/>
                  </a:lnTo>
                  <a:lnTo>
                    <a:pt x="226" y="17"/>
                  </a:lnTo>
                  <a:lnTo>
                    <a:pt x="231" y="15"/>
                  </a:lnTo>
                  <a:lnTo>
                    <a:pt x="243" y="14"/>
                  </a:lnTo>
                  <a:lnTo>
                    <a:pt x="251" y="10"/>
                  </a:lnTo>
                  <a:lnTo>
                    <a:pt x="273" y="5"/>
                  </a:lnTo>
                  <a:lnTo>
                    <a:pt x="275" y="2"/>
                  </a:lnTo>
                  <a:lnTo>
                    <a:pt x="280" y="0"/>
                  </a:lnTo>
                  <a:lnTo>
                    <a:pt x="287" y="0"/>
                  </a:lnTo>
                  <a:lnTo>
                    <a:pt x="292" y="4"/>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6" name="Freeform 74"/>
            <p:cNvSpPr>
              <a:spLocks noEditPoints="1"/>
            </p:cNvSpPr>
            <p:nvPr/>
          </p:nvSpPr>
          <p:spPr bwMode="gray">
            <a:xfrm>
              <a:off x="2750448" y="3970117"/>
              <a:ext cx="510771" cy="532661"/>
            </a:xfrm>
            <a:custGeom>
              <a:avLst/>
              <a:gdLst>
                <a:gd name="T0" fmla="*/ 224 w 280"/>
                <a:gd name="T1" fmla="*/ 289 h 292"/>
                <a:gd name="T2" fmla="*/ 224 w 280"/>
                <a:gd name="T3" fmla="*/ 282 h 292"/>
                <a:gd name="T4" fmla="*/ 217 w 280"/>
                <a:gd name="T5" fmla="*/ 285 h 292"/>
                <a:gd name="T6" fmla="*/ 260 w 280"/>
                <a:gd name="T7" fmla="*/ 258 h 292"/>
                <a:gd name="T8" fmla="*/ 236 w 280"/>
                <a:gd name="T9" fmla="*/ 256 h 292"/>
                <a:gd name="T10" fmla="*/ 265 w 280"/>
                <a:gd name="T11" fmla="*/ 255 h 292"/>
                <a:gd name="T12" fmla="*/ 205 w 280"/>
                <a:gd name="T13" fmla="*/ 253 h 292"/>
                <a:gd name="T14" fmla="*/ 207 w 280"/>
                <a:gd name="T15" fmla="*/ 248 h 292"/>
                <a:gd name="T16" fmla="*/ 152 w 280"/>
                <a:gd name="T17" fmla="*/ 248 h 292"/>
                <a:gd name="T18" fmla="*/ 195 w 280"/>
                <a:gd name="T19" fmla="*/ 239 h 292"/>
                <a:gd name="T20" fmla="*/ 200 w 280"/>
                <a:gd name="T21" fmla="*/ 229 h 292"/>
                <a:gd name="T22" fmla="*/ 270 w 280"/>
                <a:gd name="T23" fmla="*/ 55 h 292"/>
                <a:gd name="T24" fmla="*/ 275 w 280"/>
                <a:gd name="T25" fmla="*/ 82 h 292"/>
                <a:gd name="T26" fmla="*/ 277 w 280"/>
                <a:gd name="T27" fmla="*/ 108 h 292"/>
                <a:gd name="T28" fmla="*/ 275 w 280"/>
                <a:gd name="T29" fmla="*/ 135 h 292"/>
                <a:gd name="T30" fmla="*/ 273 w 280"/>
                <a:gd name="T31" fmla="*/ 174 h 292"/>
                <a:gd name="T32" fmla="*/ 268 w 280"/>
                <a:gd name="T33" fmla="*/ 222 h 292"/>
                <a:gd name="T34" fmla="*/ 261 w 280"/>
                <a:gd name="T35" fmla="*/ 256 h 292"/>
                <a:gd name="T36" fmla="*/ 241 w 280"/>
                <a:gd name="T37" fmla="*/ 250 h 292"/>
                <a:gd name="T38" fmla="*/ 234 w 280"/>
                <a:gd name="T39" fmla="*/ 232 h 292"/>
                <a:gd name="T40" fmla="*/ 210 w 280"/>
                <a:gd name="T41" fmla="*/ 212 h 292"/>
                <a:gd name="T42" fmla="*/ 200 w 280"/>
                <a:gd name="T43" fmla="*/ 217 h 292"/>
                <a:gd name="T44" fmla="*/ 193 w 280"/>
                <a:gd name="T45" fmla="*/ 231 h 292"/>
                <a:gd name="T46" fmla="*/ 191 w 280"/>
                <a:gd name="T47" fmla="*/ 246 h 292"/>
                <a:gd name="T48" fmla="*/ 190 w 280"/>
                <a:gd name="T49" fmla="*/ 250 h 292"/>
                <a:gd name="T50" fmla="*/ 181 w 280"/>
                <a:gd name="T51" fmla="*/ 246 h 292"/>
                <a:gd name="T52" fmla="*/ 173 w 280"/>
                <a:gd name="T53" fmla="*/ 241 h 292"/>
                <a:gd name="T54" fmla="*/ 159 w 280"/>
                <a:gd name="T55" fmla="*/ 234 h 292"/>
                <a:gd name="T56" fmla="*/ 135 w 280"/>
                <a:gd name="T57" fmla="*/ 215 h 292"/>
                <a:gd name="T58" fmla="*/ 120 w 280"/>
                <a:gd name="T59" fmla="*/ 226 h 292"/>
                <a:gd name="T60" fmla="*/ 135 w 280"/>
                <a:gd name="T61" fmla="*/ 251 h 292"/>
                <a:gd name="T62" fmla="*/ 121 w 280"/>
                <a:gd name="T63" fmla="*/ 265 h 292"/>
                <a:gd name="T64" fmla="*/ 104 w 280"/>
                <a:gd name="T65" fmla="*/ 244 h 292"/>
                <a:gd name="T66" fmla="*/ 82 w 280"/>
                <a:gd name="T67" fmla="*/ 217 h 292"/>
                <a:gd name="T68" fmla="*/ 58 w 280"/>
                <a:gd name="T69" fmla="*/ 198 h 292"/>
                <a:gd name="T70" fmla="*/ 40 w 280"/>
                <a:gd name="T71" fmla="*/ 180 h 292"/>
                <a:gd name="T72" fmla="*/ 26 w 280"/>
                <a:gd name="T73" fmla="*/ 157 h 292"/>
                <a:gd name="T74" fmla="*/ 11 w 280"/>
                <a:gd name="T75" fmla="*/ 149 h 292"/>
                <a:gd name="T76" fmla="*/ 16 w 280"/>
                <a:gd name="T77" fmla="*/ 130 h 292"/>
                <a:gd name="T78" fmla="*/ 29 w 280"/>
                <a:gd name="T79" fmla="*/ 132 h 292"/>
                <a:gd name="T80" fmla="*/ 58 w 280"/>
                <a:gd name="T81" fmla="*/ 140 h 292"/>
                <a:gd name="T82" fmla="*/ 80 w 280"/>
                <a:gd name="T83" fmla="*/ 139 h 292"/>
                <a:gd name="T84" fmla="*/ 91 w 280"/>
                <a:gd name="T85" fmla="*/ 130 h 292"/>
                <a:gd name="T86" fmla="*/ 87 w 280"/>
                <a:gd name="T87" fmla="*/ 110 h 292"/>
                <a:gd name="T88" fmla="*/ 96 w 280"/>
                <a:gd name="T89" fmla="*/ 77 h 292"/>
                <a:gd name="T90" fmla="*/ 121 w 280"/>
                <a:gd name="T91" fmla="*/ 62 h 292"/>
                <a:gd name="T92" fmla="*/ 147 w 280"/>
                <a:gd name="T93" fmla="*/ 65 h 292"/>
                <a:gd name="T94" fmla="*/ 173 w 280"/>
                <a:gd name="T95" fmla="*/ 53 h 292"/>
                <a:gd name="T96" fmla="*/ 183 w 280"/>
                <a:gd name="T97" fmla="*/ 34 h 292"/>
                <a:gd name="T98" fmla="*/ 198 w 280"/>
                <a:gd name="T99" fmla="*/ 19 h 292"/>
                <a:gd name="T100" fmla="*/ 210 w 280"/>
                <a:gd name="T101" fmla="*/ 0 h 292"/>
                <a:gd name="T102" fmla="*/ 229 w 280"/>
                <a:gd name="T103" fmla="*/ 12 h 292"/>
                <a:gd name="T104" fmla="*/ 239 w 280"/>
                <a:gd name="T105" fmla="*/ 21 h 292"/>
                <a:gd name="T106" fmla="*/ 244 w 280"/>
                <a:gd name="T107" fmla="*/ 29 h 292"/>
                <a:gd name="T108" fmla="*/ 248 w 280"/>
                <a:gd name="T109" fmla="*/ 41 h 292"/>
                <a:gd name="T110" fmla="*/ 255 w 280"/>
                <a:gd name="T111" fmla="*/ 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292">
                  <a:moveTo>
                    <a:pt x="224" y="289"/>
                  </a:moveTo>
                  <a:lnTo>
                    <a:pt x="226" y="291"/>
                  </a:lnTo>
                  <a:lnTo>
                    <a:pt x="226" y="292"/>
                  </a:lnTo>
                  <a:lnTo>
                    <a:pt x="220" y="291"/>
                  </a:lnTo>
                  <a:lnTo>
                    <a:pt x="220" y="289"/>
                  </a:lnTo>
                  <a:lnTo>
                    <a:pt x="224" y="289"/>
                  </a:lnTo>
                  <a:close/>
                  <a:moveTo>
                    <a:pt x="222" y="284"/>
                  </a:moveTo>
                  <a:lnTo>
                    <a:pt x="222" y="285"/>
                  </a:lnTo>
                  <a:lnTo>
                    <a:pt x="220" y="285"/>
                  </a:lnTo>
                  <a:lnTo>
                    <a:pt x="222" y="284"/>
                  </a:lnTo>
                  <a:close/>
                  <a:moveTo>
                    <a:pt x="226" y="285"/>
                  </a:moveTo>
                  <a:lnTo>
                    <a:pt x="224" y="282"/>
                  </a:lnTo>
                  <a:lnTo>
                    <a:pt x="226" y="284"/>
                  </a:lnTo>
                  <a:lnTo>
                    <a:pt x="226" y="285"/>
                  </a:lnTo>
                  <a:close/>
                  <a:moveTo>
                    <a:pt x="217" y="285"/>
                  </a:moveTo>
                  <a:lnTo>
                    <a:pt x="214" y="285"/>
                  </a:lnTo>
                  <a:lnTo>
                    <a:pt x="219" y="282"/>
                  </a:lnTo>
                  <a:lnTo>
                    <a:pt x="217" y="285"/>
                  </a:lnTo>
                  <a:close/>
                  <a:moveTo>
                    <a:pt x="231" y="263"/>
                  </a:moveTo>
                  <a:lnTo>
                    <a:pt x="232" y="267"/>
                  </a:lnTo>
                  <a:lnTo>
                    <a:pt x="229" y="268"/>
                  </a:lnTo>
                  <a:lnTo>
                    <a:pt x="226" y="267"/>
                  </a:lnTo>
                  <a:lnTo>
                    <a:pt x="231" y="263"/>
                  </a:lnTo>
                  <a:close/>
                  <a:moveTo>
                    <a:pt x="260" y="258"/>
                  </a:moveTo>
                  <a:lnTo>
                    <a:pt x="263" y="258"/>
                  </a:lnTo>
                  <a:lnTo>
                    <a:pt x="263" y="260"/>
                  </a:lnTo>
                  <a:lnTo>
                    <a:pt x="260" y="260"/>
                  </a:lnTo>
                  <a:lnTo>
                    <a:pt x="260" y="258"/>
                  </a:lnTo>
                  <a:close/>
                  <a:moveTo>
                    <a:pt x="234" y="255"/>
                  </a:moveTo>
                  <a:lnTo>
                    <a:pt x="236" y="256"/>
                  </a:lnTo>
                  <a:lnTo>
                    <a:pt x="234" y="260"/>
                  </a:lnTo>
                  <a:lnTo>
                    <a:pt x="231" y="262"/>
                  </a:lnTo>
                  <a:lnTo>
                    <a:pt x="229" y="258"/>
                  </a:lnTo>
                  <a:lnTo>
                    <a:pt x="234" y="255"/>
                  </a:lnTo>
                  <a:close/>
                  <a:moveTo>
                    <a:pt x="263" y="255"/>
                  </a:moveTo>
                  <a:lnTo>
                    <a:pt x="265" y="255"/>
                  </a:lnTo>
                  <a:lnTo>
                    <a:pt x="265" y="256"/>
                  </a:lnTo>
                  <a:lnTo>
                    <a:pt x="263" y="256"/>
                  </a:lnTo>
                  <a:lnTo>
                    <a:pt x="263" y="255"/>
                  </a:lnTo>
                  <a:close/>
                  <a:moveTo>
                    <a:pt x="205" y="248"/>
                  </a:moveTo>
                  <a:lnTo>
                    <a:pt x="207" y="251"/>
                  </a:lnTo>
                  <a:lnTo>
                    <a:pt x="205" y="253"/>
                  </a:lnTo>
                  <a:lnTo>
                    <a:pt x="198" y="253"/>
                  </a:lnTo>
                  <a:lnTo>
                    <a:pt x="203" y="250"/>
                  </a:lnTo>
                  <a:lnTo>
                    <a:pt x="205" y="248"/>
                  </a:lnTo>
                  <a:close/>
                  <a:moveTo>
                    <a:pt x="209" y="248"/>
                  </a:moveTo>
                  <a:lnTo>
                    <a:pt x="210" y="251"/>
                  </a:lnTo>
                  <a:lnTo>
                    <a:pt x="207" y="248"/>
                  </a:lnTo>
                  <a:lnTo>
                    <a:pt x="209" y="248"/>
                  </a:lnTo>
                  <a:close/>
                  <a:moveTo>
                    <a:pt x="154" y="251"/>
                  </a:moveTo>
                  <a:lnTo>
                    <a:pt x="154" y="253"/>
                  </a:lnTo>
                  <a:lnTo>
                    <a:pt x="149" y="251"/>
                  </a:lnTo>
                  <a:lnTo>
                    <a:pt x="144" y="244"/>
                  </a:lnTo>
                  <a:lnTo>
                    <a:pt x="152" y="248"/>
                  </a:lnTo>
                  <a:lnTo>
                    <a:pt x="154" y="251"/>
                  </a:lnTo>
                  <a:close/>
                  <a:moveTo>
                    <a:pt x="195" y="239"/>
                  </a:moveTo>
                  <a:lnTo>
                    <a:pt x="197" y="239"/>
                  </a:lnTo>
                  <a:lnTo>
                    <a:pt x="197" y="241"/>
                  </a:lnTo>
                  <a:lnTo>
                    <a:pt x="195" y="241"/>
                  </a:lnTo>
                  <a:lnTo>
                    <a:pt x="195" y="239"/>
                  </a:lnTo>
                  <a:close/>
                  <a:moveTo>
                    <a:pt x="197" y="232"/>
                  </a:moveTo>
                  <a:lnTo>
                    <a:pt x="200" y="232"/>
                  </a:lnTo>
                  <a:lnTo>
                    <a:pt x="197" y="236"/>
                  </a:lnTo>
                  <a:lnTo>
                    <a:pt x="195" y="232"/>
                  </a:lnTo>
                  <a:lnTo>
                    <a:pt x="197" y="232"/>
                  </a:lnTo>
                  <a:close/>
                  <a:moveTo>
                    <a:pt x="200" y="229"/>
                  </a:moveTo>
                  <a:lnTo>
                    <a:pt x="197" y="229"/>
                  </a:lnTo>
                  <a:lnTo>
                    <a:pt x="197" y="227"/>
                  </a:lnTo>
                  <a:lnTo>
                    <a:pt x="198" y="227"/>
                  </a:lnTo>
                  <a:lnTo>
                    <a:pt x="200" y="229"/>
                  </a:lnTo>
                  <a:close/>
                  <a:moveTo>
                    <a:pt x="268" y="48"/>
                  </a:moveTo>
                  <a:lnTo>
                    <a:pt x="270" y="55"/>
                  </a:lnTo>
                  <a:lnTo>
                    <a:pt x="268" y="62"/>
                  </a:lnTo>
                  <a:lnTo>
                    <a:pt x="270" y="72"/>
                  </a:lnTo>
                  <a:lnTo>
                    <a:pt x="273" y="79"/>
                  </a:lnTo>
                  <a:lnTo>
                    <a:pt x="273" y="80"/>
                  </a:lnTo>
                  <a:lnTo>
                    <a:pt x="270" y="80"/>
                  </a:lnTo>
                  <a:lnTo>
                    <a:pt x="275" y="82"/>
                  </a:lnTo>
                  <a:lnTo>
                    <a:pt x="277" y="86"/>
                  </a:lnTo>
                  <a:lnTo>
                    <a:pt x="280" y="86"/>
                  </a:lnTo>
                  <a:lnTo>
                    <a:pt x="279" y="92"/>
                  </a:lnTo>
                  <a:lnTo>
                    <a:pt x="279" y="99"/>
                  </a:lnTo>
                  <a:lnTo>
                    <a:pt x="277" y="104"/>
                  </a:lnTo>
                  <a:lnTo>
                    <a:pt x="277" y="108"/>
                  </a:lnTo>
                  <a:lnTo>
                    <a:pt x="280" y="110"/>
                  </a:lnTo>
                  <a:lnTo>
                    <a:pt x="279" y="115"/>
                  </a:lnTo>
                  <a:lnTo>
                    <a:pt x="275" y="115"/>
                  </a:lnTo>
                  <a:lnTo>
                    <a:pt x="277" y="116"/>
                  </a:lnTo>
                  <a:lnTo>
                    <a:pt x="273" y="127"/>
                  </a:lnTo>
                  <a:lnTo>
                    <a:pt x="275" y="135"/>
                  </a:lnTo>
                  <a:lnTo>
                    <a:pt x="279" y="145"/>
                  </a:lnTo>
                  <a:lnTo>
                    <a:pt x="275" y="149"/>
                  </a:lnTo>
                  <a:lnTo>
                    <a:pt x="273" y="157"/>
                  </a:lnTo>
                  <a:lnTo>
                    <a:pt x="273" y="161"/>
                  </a:lnTo>
                  <a:lnTo>
                    <a:pt x="273" y="171"/>
                  </a:lnTo>
                  <a:lnTo>
                    <a:pt x="273" y="174"/>
                  </a:lnTo>
                  <a:lnTo>
                    <a:pt x="273" y="183"/>
                  </a:lnTo>
                  <a:lnTo>
                    <a:pt x="268" y="191"/>
                  </a:lnTo>
                  <a:lnTo>
                    <a:pt x="268" y="200"/>
                  </a:lnTo>
                  <a:lnTo>
                    <a:pt x="270" y="210"/>
                  </a:lnTo>
                  <a:lnTo>
                    <a:pt x="268" y="214"/>
                  </a:lnTo>
                  <a:lnTo>
                    <a:pt x="268" y="222"/>
                  </a:lnTo>
                  <a:lnTo>
                    <a:pt x="270" y="224"/>
                  </a:lnTo>
                  <a:lnTo>
                    <a:pt x="268" y="231"/>
                  </a:lnTo>
                  <a:lnTo>
                    <a:pt x="268" y="234"/>
                  </a:lnTo>
                  <a:lnTo>
                    <a:pt x="265" y="239"/>
                  </a:lnTo>
                  <a:lnTo>
                    <a:pt x="267" y="248"/>
                  </a:lnTo>
                  <a:lnTo>
                    <a:pt x="261" y="256"/>
                  </a:lnTo>
                  <a:lnTo>
                    <a:pt x="258" y="262"/>
                  </a:lnTo>
                  <a:lnTo>
                    <a:pt x="256" y="262"/>
                  </a:lnTo>
                  <a:lnTo>
                    <a:pt x="255" y="255"/>
                  </a:lnTo>
                  <a:lnTo>
                    <a:pt x="251" y="253"/>
                  </a:lnTo>
                  <a:lnTo>
                    <a:pt x="243" y="253"/>
                  </a:lnTo>
                  <a:lnTo>
                    <a:pt x="241" y="250"/>
                  </a:lnTo>
                  <a:lnTo>
                    <a:pt x="241" y="243"/>
                  </a:lnTo>
                  <a:lnTo>
                    <a:pt x="241" y="244"/>
                  </a:lnTo>
                  <a:lnTo>
                    <a:pt x="241" y="241"/>
                  </a:lnTo>
                  <a:lnTo>
                    <a:pt x="238" y="236"/>
                  </a:lnTo>
                  <a:lnTo>
                    <a:pt x="238" y="232"/>
                  </a:lnTo>
                  <a:lnTo>
                    <a:pt x="234" y="232"/>
                  </a:lnTo>
                  <a:lnTo>
                    <a:pt x="234" y="236"/>
                  </a:lnTo>
                  <a:lnTo>
                    <a:pt x="227" y="231"/>
                  </a:lnTo>
                  <a:lnTo>
                    <a:pt x="220" y="227"/>
                  </a:lnTo>
                  <a:lnTo>
                    <a:pt x="217" y="222"/>
                  </a:lnTo>
                  <a:lnTo>
                    <a:pt x="214" y="217"/>
                  </a:lnTo>
                  <a:lnTo>
                    <a:pt x="210" y="212"/>
                  </a:lnTo>
                  <a:lnTo>
                    <a:pt x="209" y="209"/>
                  </a:lnTo>
                  <a:lnTo>
                    <a:pt x="205" y="207"/>
                  </a:lnTo>
                  <a:lnTo>
                    <a:pt x="200" y="209"/>
                  </a:lnTo>
                  <a:lnTo>
                    <a:pt x="203" y="215"/>
                  </a:lnTo>
                  <a:lnTo>
                    <a:pt x="200" y="215"/>
                  </a:lnTo>
                  <a:lnTo>
                    <a:pt x="200" y="217"/>
                  </a:lnTo>
                  <a:lnTo>
                    <a:pt x="202" y="217"/>
                  </a:lnTo>
                  <a:lnTo>
                    <a:pt x="200" y="221"/>
                  </a:lnTo>
                  <a:lnTo>
                    <a:pt x="200" y="224"/>
                  </a:lnTo>
                  <a:lnTo>
                    <a:pt x="195" y="222"/>
                  </a:lnTo>
                  <a:lnTo>
                    <a:pt x="191" y="222"/>
                  </a:lnTo>
                  <a:lnTo>
                    <a:pt x="193" y="231"/>
                  </a:lnTo>
                  <a:lnTo>
                    <a:pt x="197" y="231"/>
                  </a:lnTo>
                  <a:lnTo>
                    <a:pt x="191" y="232"/>
                  </a:lnTo>
                  <a:lnTo>
                    <a:pt x="197" y="239"/>
                  </a:lnTo>
                  <a:lnTo>
                    <a:pt x="193" y="239"/>
                  </a:lnTo>
                  <a:lnTo>
                    <a:pt x="190" y="243"/>
                  </a:lnTo>
                  <a:lnTo>
                    <a:pt x="191" y="246"/>
                  </a:lnTo>
                  <a:lnTo>
                    <a:pt x="195" y="244"/>
                  </a:lnTo>
                  <a:lnTo>
                    <a:pt x="197" y="246"/>
                  </a:lnTo>
                  <a:lnTo>
                    <a:pt x="195" y="248"/>
                  </a:lnTo>
                  <a:lnTo>
                    <a:pt x="193" y="250"/>
                  </a:lnTo>
                  <a:lnTo>
                    <a:pt x="191" y="250"/>
                  </a:lnTo>
                  <a:lnTo>
                    <a:pt x="190" y="250"/>
                  </a:lnTo>
                  <a:lnTo>
                    <a:pt x="188" y="250"/>
                  </a:lnTo>
                  <a:lnTo>
                    <a:pt x="186" y="248"/>
                  </a:lnTo>
                  <a:lnTo>
                    <a:pt x="185" y="246"/>
                  </a:lnTo>
                  <a:lnTo>
                    <a:pt x="181" y="248"/>
                  </a:lnTo>
                  <a:lnTo>
                    <a:pt x="183" y="244"/>
                  </a:lnTo>
                  <a:lnTo>
                    <a:pt x="181" y="246"/>
                  </a:lnTo>
                  <a:lnTo>
                    <a:pt x="181" y="243"/>
                  </a:lnTo>
                  <a:lnTo>
                    <a:pt x="178" y="244"/>
                  </a:lnTo>
                  <a:lnTo>
                    <a:pt x="178" y="243"/>
                  </a:lnTo>
                  <a:lnTo>
                    <a:pt x="174" y="243"/>
                  </a:lnTo>
                  <a:lnTo>
                    <a:pt x="174" y="239"/>
                  </a:lnTo>
                  <a:lnTo>
                    <a:pt x="173" y="241"/>
                  </a:lnTo>
                  <a:lnTo>
                    <a:pt x="169" y="238"/>
                  </a:lnTo>
                  <a:lnTo>
                    <a:pt x="168" y="238"/>
                  </a:lnTo>
                  <a:lnTo>
                    <a:pt x="166" y="236"/>
                  </a:lnTo>
                  <a:lnTo>
                    <a:pt x="166" y="238"/>
                  </a:lnTo>
                  <a:lnTo>
                    <a:pt x="162" y="238"/>
                  </a:lnTo>
                  <a:lnTo>
                    <a:pt x="159" y="234"/>
                  </a:lnTo>
                  <a:lnTo>
                    <a:pt x="159" y="231"/>
                  </a:lnTo>
                  <a:lnTo>
                    <a:pt x="157" y="232"/>
                  </a:lnTo>
                  <a:lnTo>
                    <a:pt x="150" y="227"/>
                  </a:lnTo>
                  <a:lnTo>
                    <a:pt x="144" y="226"/>
                  </a:lnTo>
                  <a:lnTo>
                    <a:pt x="139" y="219"/>
                  </a:lnTo>
                  <a:lnTo>
                    <a:pt x="135" y="215"/>
                  </a:lnTo>
                  <a:lnTo>
                    <a:pt x="130" y="215"/>
                  </a:lnTo>
                  <a:lnTo>
                    <a:pt x="123" y="212"/>
                  </a:lnTo>
                  <a:lnTo>
                    <a:pt x="118" y="214"/>
                  </a:lnTo>
                  <a:lnTo>
                    <a:pt x="115" y="217"/>
                  </a:lnTo>
                  <a:lnTo>
                    <a:pt x="116" y="219"/>
                  </a:lnTo>
                  <a:lnTo>
                    <a:pt x="120" y="226"/>
                  </a:lnTo>
                  <a:lnTo>
                    <a:pt x="125" y="231"/>
                  </a:lnTo>
                  <a:lnTo>
                    <a:pt x="128" y="236"/>
                  </a:lnTo>
                  <a:lnTo>
                    <a:pt x="130" y="239"/>
                  </a:lnTo>
                  <a:lnTo>
                    <a:pt x="128" y="241"/>
                  </a:lnTo>
                  <a:lnTo>
                    <a:pt x="133" y="248"/>
                  </a:lnTo>
                  <a:lnTo>
                    <a:pt x="135" y="251"/>
                  </a:lnTo>
                  <a:lnTo>
                    <a:pt x="137" y="253"/>
                  </a:lnTo>
                  <a:lnTo>
                    <a:pt x="135" y="258"/>
                  </a:lnTo>
                  <a:lnTo>
                    <a:pt x="139" y="263"/>
                  </a:lnTo>
                  <a:lnTo>
                    <a:pt x="139" y="265"/>
                  </a:lnTo>
                  <a:lnTo>
                    <a:pt x="127" y="265"/>
                  </a:lnTo>
                  <a:lnTo>
                    <a:pt x="121" y="265"/>
                  </a:lnTo>
                  <a:lnTo>
                    <a:pt x="118" y="263"/>
                  </a:lnTo>
                  <a:lnTo>
                    <a:pt x="120" y="262"/>
                  </a:lnTo>
                  <a:lnTo>
                    <a:pt x="118" y="256"/>
                  </a:lnTo>
                  <a:lnTo>
                    <a:pt x="116" y="253"/>
                  </a:lnTo>
                  <a:lnTo>
                    <a:pt x="111" y="250"/>
                  </a:lnTo>
                  <a:lnTo>
                    <a:pt x="104" y="244"/>
                  </a:lnTo>
                  <a:lnTo>
                    <a:pt x="101" y="238"/>
                  </a:lnTo>
                  <a:lnTo>
                    <a:pt x="92" y="232"/>
                  </a:lnTo>
                  <a:lnTo>
                    <a:pt x="87" y="229"/>
                  </a:lnTo>
                  <a:lnTo>
                    <a:pt x="89" y="226"/>
                  </a:lnTo>
                  <a:lnTo>
                    <a:pt x="87" y="222"/>
                  </a:lnTo>
                  <a:lnTo>
                    <a:pt x="82" y="217"/>
                  </a:lnTo>
                  <a:lnTo>
                    <a:pt x="77" y="215"/>
                  </a:lnTo>
                  <a:lnTo>
                    <a:pt x="74" y="212"/>
                  </a:lnTo>
                  <a:lnTo>
                    <a:pt x="65" y="207"/>
                  </a:lnTo>
                  <a:lnTo>
                    <a:pt x="63" y="203"/>
                  </a:lnTo>
                  <a:lnTo>
                    <a:pt x="60" y="202"/>
                  </a:lnTo>
                  <a:lnTo>
                    <a:pt x="58" y="198"/>
                  </a:lnTo>
                  <a:lnTo>
                    <a:pt x="55" y="195"/>
                  </a:lnTo>
                  <a:lnTo>
                    <a:pt x="55" y="193"/>
                  </a:lnTo>
                  <a:lnTo>
                    <a:pt x="50" y="191"/>
                  </a:lnTo>
                  <a:lnTo>
                    <a:pt x="51" y="185"/>
                  </a:lnTo>
                  <a:lnTo>
                    <a:pt x="45" y="181"/>
                  </a:lnTo>
                  <a:lnTo>
                    <a:pt x="40" y="180"/>
                  </a:lnTo>
                  <a:lnTo>
                    <a:pt x="40" y="178"/>
                  </a:lnTo>
                  <a:lnTo>
                    <a:pt x="43" y="174"/>
                  </a:lnTo>
                  <a:lnTo>
                    <a:pt x="41" y="168"/>
                  </a:lnTo>
                  <a:lnTo>
                    <a:pt x="34" y="166"/>
                  </a:lnTo>
                  <a:lnTo>
                    <a:pt x="31" y="161"/>
                  </a:lnTo>
                  <a:lnTo>
                    <a:pt x="26" y="157"/>
                  </a:lnTo>
                  <a:lnTo>
                    <a:pt x="21" y="157"/>
                  </a:lnTo>
                  <a:lnTo>
                    <a:pt x="21" y="152"/>
                  </a:lnTo>
                  <a:lnTo>
                    <a:pt x="17" y="149"/>
                  </a:lnTo>
                  <a:lnTo>
                    <a:pt x="14" y="149"/>
                  </a:lnTo>
                  <a:lnTo>
                    <a:pt x="11" y="152"/>
                  </a:lnTo>
                  <a:lnTo>
                    <a:pt x="11" y="149"/>
                  </a:lnTo>
                  <a:lnTo>
                    <a:pt x="9" y="145"/>
                  </a:lnTo>
                  <a:lnTo>
                    <a:pt x="0" y="144"/>
                  </a:lnTo>
                  <a:lnTo>
                    <a:pt x="4" y="137"/>
                  </a:lnTo>
                  <a:lnTo>
                    <a:pt x="5" y="137"/>
                  </a:lnTo>
                  <a:lnTo>
                    <a:pt x="7" y="135"/>
                  </a:lnTo>
                  <a:lnTo>
                    <a:pt x="16" y="130"/>
                  </a:lnTo>
                  <a:lnTo>
                    <a:pt x="17" y="128"/>
                  </a:lnTo>
                  <a:lnTo>
                    <a:pt x="22" y="125"/>
                  </a:lnTo>
                  <a:lnTo>
                    <a:pt x="24" y="125"/>
                  </a:lnTo>
                  <a:lnTo>
                    <a:pt x="24" y="128"/>
                  </a:lnTo>
                  <a:lnTo>
                    <a:pt x="31" y="128"/>
                  </a:lnTo>
                  <a:lnTo>
                    <a:pt x="29" y="132"/>
                  </a:lnTo>
                  <a:lnTo>
                    <a:pt x="34" y="135"/>
                  </a:lnTo>
                  <a:lnTo>
                    <a:pt x="36" y="142"/>
                  </a:lnTo>
                  <a:lnTo>
                    <a:pt x="43" y="139"/>
                  </a:lnTo>
                  <a:lnTo>
                    <a:pt x="46" y="142"/>
                  </a:lnTo>
                  <a:lnTo>
                    <a:pt x="57" y="140"/>
                  </a:lnTo>
                  <a:lnTo>
                    <a:pt x="58" y="140"/>
                  </a:lnTo>
                  <a:lnTo>
                    <a:pt x="62" y="142"/>
                  </a:lnTo>
                  <a:lnTo>
                    <a:pt x="69" y="144"/>
                  </a:lnTo>
                  <a:lnTo>
                    <a:pt x="74" y="140"/>
                  </a:lnTo>
                  <a:lnTo>
                    <a:pt x="75" y="137"/>
                  </a:lnTo>
                  <a:lnTo>
                    <a:pt x="77" y="135"/>
                  </a:lnTo>
                  <a:lnTo>
                    <a:pt x="80" y="139"/>
                  </a:lnTo>
                  <a:lnTo>
                    <a:pt x="84" y="139"/>
                  </a:lnTo>
                  <a:lnTo>
                    <a:pt x="86" y="135"/>
                  </a:lnTo>
                  <a:lnTo>
                    <a:pt x="89" y="139"/>
                  </a:lnTo>
                  <a:lnTo>
                    <a:pt x="91" y="137"/>
                  </a:lnTo>
                  <a:lnTo>
                    <a:pt x="96" y="130"/>
                  </a:lnTo>
                  <a:lnTo>
                    <a:pt x="91" y="130"/>
                  </a:lnTo>
                  <a:lnTo>
                    <a:pt x="87" y="125"/>
                  </a:lnTo>
                  <a:lnTo>
                    <a:pt x="87" y="118"/>
                  </a:lnTo>
                  <a:lnTo>
                    <a:pt x="89" y="116"/>
                  </a:lnTo>
                  <a:lnTo>
                    <a:pt x="86" y="118"/>
                  </a:lnTo>
                  <a:lnTo>
                    <a:pt x="86" y="115"/>
                  </a:lnTo>
                  <a:lnTo>
                    <a:pt x="87" y="110"/>
                  </a:lnTo>
                  <a:lnTo>
                    <a:pt x="91" y="106"/>
                  </a:lnTo>
                  <a:lnTo>
                    <a:pt x="91" y="104"/>
                  </a:lnTo>
                  <a:lnTo>
                    <a:pt x="89" y="94"/>
                  </a:lnTo>
                  <a:lnTo>
                    <a:pt x="91" y="92"/>
                  </a:lnTo>
                  <a:lnTo>
                    <a:pt x="91" y="84"/>
                  </a:lnTo>
                  <a:lnTo>
                    <a:pt x="96" y="77"/>
                  </a:lnTo>
                  <a:lnTo>
                    <a:pt x="98" y="75"/>
                  </a:lnTo>
                  <a:lnTo>
                    <a:pt x="101" y="74"/>
                  </a:lnTo>
                  <a:lnTo>
                    <a:pt x="104" y="69"/>
                  </a:lnTo>
                  <a:lnTo>
                    <a:pt x="108" y="70"/>
                  </a:lnTo>
                  <a:lnTo>
                    <a:pt x="116" y="63"/>
                  </a:lnTo>
                  <a:lnTo>
                    <a:pt x="121" y="62"/>
                  </a:lnTo>
                  <a:lnTo>
                    <a:pt x="125" y="58"/>
                  </a:lnTo>
                  <a:lnTo>
                    <a:pt x="127" y="62"/>
                  </a:lnTo>
                  <a:lnTo>
                    <a:pt x="130" y="63"/>
                  </a:lnTo>
                  <a:lnTo>
                    <a:pt x="137" y="65"/>
                  </a:lnTo>
                  <a:lnTo>
                    <a:pt x="142" y="62"/>
                  </a:lnTo>
                  <a:lnTo>
                    <a:pt x="147" y="65"/>
                  </a:lnTo>
                  <a:lnTo>
                    <a:pt x="149" y="62"/>
                  </a:lnTo>
                  <a:lnTo>
                    <a:pt x="156" y="62"/>
                  </a:lnTo>
                  <a:lnTo>
                    <a:pt x="157" y="58"/>
                  </a:lnTo>
                  <a:lnTo>
                    <a:pt x="164" y="57"/>
                  </a:lnTo>
                  <a:lnTo>
                    <a:pt x="168" y="53"/>
                  </a:lnTo>
                  <a:lnTo>
                    <a:pt x="173" y="53"/>
                  </a:lnTo>
                  <a:lnTo>
                    <a:pt x="174" y="50"/>
                  </a:lnTo>
                  <a:lnTo>
                    <a:pt x="178" y="48"/>
                  </a:lnTo>
                  <a:lnTo>
                    <a:pt x="178" y="45"/>
                  </a:lnTo>
                  <a:lnTo>
                    <a:pt x="183" y="38"/>
                  </a:lnTo>
                  <a:lnTo>
                    <a:pt x="185" y="38"/>
                  </a:lnTo>
                  <a:lnTo>
                    <a:pt x="183" y="34"/>
                  </a:lnTo>
                  <a:lnTo>
                    <a:pt x="186" y="31"/>
                  </a:lnTo>
                  <a:lnTo>
                    <a:pt x="188" y="26"/>
                  </a:lnTo>
                  <a:lnTo>
                    <a:pt x="191" y="26"/>
                  </a:lnTo>
                  <a:lnTo>
                    <a:pt x="191" y="22"/>
                  </a:lnTo>
                  <a:lnTo>
                    <a:pt x="195" y="19"/>
                  </a:lnTo>
                  <a:lnTo>
                    <a:pt x="198" y="19"/>
                  </a:lnTo>
                  <a:lnTo>
                    <a:pt x="200" y="22"/>
                  </a:lnTo>
                  <a:lnTo>
                    <a:pt x="203" y="17"/>
                  </a:lnTo>
                  <a:lnTo>
                    <a:pt x="207" y="14"/>
                  </a:lnTo>
                  <a:lnTo>
                    <a:pt x="205" y="9"/>
                  </a:lnTo>
                  <a:lnTo>
                    <a:pt x="207" y="7"/>
                  </a:lnTo>
                  <a:lnTo>
                    <a:pt x="210" y="0"/>
                  </a:lnTo>
                  <a:lnTo>
                    <a:pt x="212" y="2"/>
                  </a:lnTo>
                  <a:lnTo>
                    <a:pt x="214" y="9"/>
                  </a:lnTo>
                  <a:lnTo>
                    <a:pt x="220" y="5"/>
                  </a:lnTo>
                  <a:lnTo>
                    <a:pt x="224" y="7"/>
                  </a:lnTo>
                  <a:lnTo>
                    <a:pt x="222" y="12"/>
                  </a:lnTo>
                  <a:lnTo>
                    <a:pt x="229" y="12"/>
                  </a:lnTo>
                  <a:lnTo>
                    <a:pt x="231" y="14"/>
                  </a:lnTo>
                  <a:lnTo>
                    <a:pt x="234" y="14"/>
                  </a:lnTo>
                  <a:lnTo>
                    <a:pt x="232" y="17"/>
                  </a:lnTo>
                  <a:lnTo>
                    <a:pt x="234" y="21"/>
                  </a:lnTo>
                  <a:lnTo>
                    <a:pt x="236" y="19"/>
                  </a:lnTo>
                  <a:lnTo>
                    <a:pt x="239" y="21"/>
                  </a:lnTo>
                  <a:lnTo>
                    <a:pt x="239" y="24"/>
                  </a:lnTo>
                  <a:lnTo>
                    <a:pt x="241" y="26"/>
                  </a:lnTo>
                  <a:lnTo>
                    <a:pt x="243" y="24"/>
                  </a:lnTo>
                  <a:lnTo>
                    <a:pt x="244" y="26"/>
                  </a:lnTo>
                  <a:lnTo>
                    <a:pt x="241" y="28"/>
                  </a:lnTo>
                  <a:lnTo>
                    <a:pt x="244" y="29"/>
                  </a:lnTo>
                  <a:lnTo>
                    <a:pt x="246" y="33"/>
                  </a:lnTo>
                  <a:lnTo>
                    <a:pt x="243" y="39"/>
                  </a:lnTo>
                  <a:lnTo>
                    <a:pt x="244" y="39"/>
                  </a:lnTo>
                  <a:lnTo>
                    <a:pt x="246" y="38"/>
                  </a:lnTo>
                  <a:lnTo>
                    <a:pt x="249" y="38"/>
                  </a:lnTo>
                  <a:lnTo>
                    <a:pt x="248" y="41"/>
                  </a:lnTo>
                  <a:lnTo>
                    <a:pt x="249" y="43"/>
                  </a:lnTo>
                  <a:lnTo>
                    <a:pt x="251" y="43"/>
                  </a:lnTo>
                  <a:lnTo>
                    <a:pt x="253" y="41"/>
                  </a:lnTo>
                  <a:lnTo>
                    <a:pt x="253" y="45"/>
                  </a:lnTo>
                  <a:lnTo>
                    <a:pt x="256" y="45"/>
                  </a:lnTo>
                  <a:lnTo>
                    <a:pt x="255" y="50"/>
                  </a:lnTo>
                  <a:lnTo>
                    <a:pt x="258" y="48"/>
                  </a:lnTo>
                  <a:lnTo>
                    <a:pt x="260" y="50"/>
                  </a:lnTo>
                  <a:lnTo>
                    <a:pt x="263" y="48"/>
                  </a:lnTo>
                  <a:lnTo>
                    <a:pt x="263" y="46"/>
                  </a:lnTo>
                  <a:lnTo>
                    <a:pt x="268" y="48"/>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7" name="Freeform 75"/>
            <p:cNvSpPr>
              <a:spLocks noEditPoints="1"/>
            </p:cNvSpPr>
            <p:nvPr/>
          </p:nvSpPr>
          <p:spPr bwMode="gray">
            <a:xfrm>
              <a:off x="3837661" y="4409746"/>
              <a:ext cx="685893" cy="541783"/>
            </a:xfrm>
            <a:custGeom>
              <a:avLst/>
              <a:gdLst>
                <a:gd name="T0" fmla="*/ 48 w 376"/>
                <a:gd name="T1" fmla="*/ 237 h 297"/>
                <a:gd name="T2" fmla="*/ 41 w 376"/>
                <a:gd name="T3" fmla="*/ 243 h 297"/>
                <a:gd name="T4" fmla="*/ 29 w 376"/>
                <a:gd name="T5" fmla="*/ 232 h 297"/>
                <a:gd name="T6" fmla="*/ 36 w 376"/>
                <a:gd name="T7" fmla="*/ 231 h 297"/>
                <a:gd name="T8" fmla="*/ 365 w 376"/>
                <a:gd name="T9" fmla="*/ 137 h 297"/>
                <a:gd name="T10" fmla="*/ 365 w 376"/>
                <a:gd name="T11" fmla="*/ 155 h 297"/>
                <a:gd name="T12" fmla="*/ 362 w 376"/>
                <a:gd name="T13" fmla="*/ 171 h 297"/>
                <a:gd name="T14" fmla="*/ 350 w 376"/>
                <a:gd name="T15" fmla="*/ 181 h 297"/>
                <a:gd name="T16" fmla="*/ 345 w 376"/>
                <a:gd name="T17" fmla="*/ 183 h 297"/>
                <a:gd name="T18" fmla="*/ 345 w 376"/>
                <a:gd name="T19" fmla="*/ 193 h 297"/>
                <a:gd name="T20" fmla="*/ 333 w 376"/>
                <a:gd name="T21" fmla="*/ 190 h 297"/>
                <a:gd name="T22" fmla="*/ 307 w 376"/>
                <a:gd name="T23" fmla="*/ 186 h 297"/>
                <a:gd name="T24" fmla="*/ 311 w 376"/>
                <a:gd name="T25" fmla="*/ 212 h 297"/>
                <a:gd name="T26" fmla="*/ 321 w 376"/>
                <a:gd name="T27" fmla="*/ 241 h 297"/>
                <a:gd name="T28" fmla="*/ 328 w 376"/>
                <a:gd name="T29" fmla="*/ 255 h 297"/>
                <a:gd name="T30" fmla="*/ 309 w 376"/>
                <a:gd name="T31" fmla="*/ 263 h 297"/>
                <a:gd name="T32" fmla="*/ 302 w 376"/>
                <a:gd name="T33" fmla="*/ 275 h 297"/>
                <a:gd name="T34" fmla="*/ 280 w 376"/>
                <a:gd name="T35" fmla="*/ 287 h 297"/>
                <a:gd name="T36" fmla="*/ 265 w 376"/>
                <a:gd name="T37" fmla="*/ 290 h 297"/>
                <a:gd name="T38" fmla="*/ 266 w 376"/>
                <a:gd name="T39" fmla="*/ 249 h 297"/>
                <a:gd name="T40" fmla="*/ 253 w 376"/>
                <a:gd name="T41" fmla="*/ 246 h 297"/>
                <a:gd name="T42" fmla="*/ 230 w 376"/>
                <a:gd name="T43" fmla="*/ 243 h 297"/>
                <a:gd name="T44" fmla="*/ 212 w 376"/>
                <a:gd name="T45" fmla="*/ 227 h 297"/>
                <a:gd name="T46" fmla="*/ 198 w 376"/>
                <a:gd name="T47" fmla="*/ 229 h 297"/>
                <a:gd name="T48" fmla="*/ 179 w 376"/>
                <a:gd name="T49" fmla="*/ 249 h 297"/>
                <a:gd name="T50" fmla="*/ 160 w 376"/>
                <a:gd name="T51" fmla="*/ 253 h 297"/>
                <a:gd name="T52" fmla="*/ 128 w 376"/>
                <a:gd name="T53" fmla="*/ 246 h 297"/>
                <a:gd name="T54" fmla="*/ 99 w 376"/>
                <a:gd name="T55" fmla="*/ 243 h 297"/>
                <a:gd name="T56" fmla="*/ 73 w 376"/>
                <a:gd name="T57" fmla="*/ 234 h 297"/>
                <a:gd name="T58" fmla="*/ 51 w 376"/>
                <a:gd name="T59" fmla="*/ 239 h 297"/>
                <a:gd name="T60" fmla="*/ 53 w 376"/>
                <a:gd name="T61" fmla="*/ 231 h 297"/>
                <a:gd name="T62" fmla="*/ 46 w 376"/>
                <a:gd name="T63" fmla="*/ 231 h 297"/>
                <a:gd name="T64" fmla="*/ 38 w 376"/>
                <a:gd name="T65" fmla="*/ 232 h 297"/>
                <a:gd name="T66" fmla="*/ 22 w 376"/>
                <a:gd name="T67" fmla="*/ 225 h 297"/>
                <a:gd name="T68" fmla="*/ 15 w 376"/>
                <a:gd name="T69" fmla="*/ 200 h 297"/>
                <a:gd name="T70" fmla="*/ 3 w 376"/>
                <a:gd name="T71" fmla="*/ 181 h 297"/>
                <a:gd name="T72" fmla="*/ 14 w 376"/>
                <a:gd name="T73" fmla="*/ 171 h 297"/>
                <a:gd name="T74" fmla="*/ 24 w 376"/>
                <a:gd name="T75" fmla="*/ 150 h 297"/>
                <a:gd name="T76" fmla="*/ 32 w 376"/>
                <a:gd name="T77" fmla="*/ 125 h 297"/>
                <a:gd name="T78" fmla="*/ 61 w 376"/>
                <a:gd name="T79" fmla="*/ 123 h 297"/>
                <a:gd name="T80" fmla="*/ 87 w 376"/>
                <a:gd name="T81" fmla="*/ 137 h 297"/>
                <a:gd name="T82" fmla="*/ 114 w 376"/>
                <a:gd name="T83" fmla="*/ 125 h 297"/>
                <a:gd name="T84" fmla="*/ 157 w 376"/>
                <a:gd name="T85" fmla="*/ 142 h 297"/>
                <a:gd name="T86" fmla="*/ 188 w 376"/>
                <a:gd name="T87" fmla="*/ 137 h 297"/>
                <a:gd name="T88" fmla="*/ 224 w 376"/>
                <a:gd name="T89" fmla="*/ 145 h 297"/>
                <a:gd name="T90" fmla="*/ 230 w 376"/>
                <a:gd name="T91" fmla="*/ 142 h 297"/>
                <a:gd name="T92" fmla="*/ 241 w 376"/>
                <a:gd name="T93" fmla="*/ 123 h 297"/>
                <a:gd name="T94" fmla="*/ 241 w 376"/>
                <a:gd name="T95" fmla="*/ 120 h 297"/>
                <a:gd name="T96" fmla="*/ 251 w 376"/>
                <a:gd name="T97" fmla="*/ 101 h 297"/>
                <a:gd name="T98" fmla="*/ 261 w 376"/>
                <a:gd name="T99" fmla="*/ 84 h 297"/>
                <a:gd name="T100" fmla="*/ 289 w 376"/>
                <a:gd name="T101" fmla="*/ 80 h 297"/>
                <a:gd name="T102" fmla="*/ 306 w 376"/>
                <a:gd name="T103" fmla="*/ 106 h 297"/>
                <a:gd name="T104" fmla="*/ 338 w 376"/>
                <a:gd name="T105" fmla="*/ 116 h 297"/>
                <a:gd name="T106" fmla="*/ 367 w 376"/>
                <a:gd name="T107" fmla="*/ 116 h 297"/>
                <a:gd name="T108" fmla="*/ 244 w 376"/>
                <a:gd name="T109" fmla="*/ 15 h 297"/>
                <a:gd name="T110" fmla="*/ 230 w 376"/>
                <a:gd name="T111" fmla="*/ 14 h 297"/>
                <a:gd name="T112" fmla="*/ 230 w 376"/>
                <a:gd name="T113" fmla="*/ 9 h 297"/>
                <a:gd name="T114" fmla="*/ 203 w 376"/>
                <a:gd name="T11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6" h="297">
                  <a:moveTo>
                    <a:pt x="36" y="232"/>
                  </a:moveTo>
                  <a:lnTo>
                    <a:pt x="38" y="234"/>
                  </a:lnTo>
                  <a:lnTo>
                    <a:pt x="39" y="236"/>
                  </a:lnTo>
                  <a:lnTo>
                    <a:pt x="43" y="236"/>
                  </a:lnTo>
                  <a:lnTo>
                    <a:pt x="44" y="237"/>
                  </a:lnTo>
                  <a:lnTo>
                    <a:pt x="48" y="237"/>
                  </a:lnTo>
                  <a:lnTo>
                    <a:pt x="55" y="243"/>
                  </a:lnTo>
                  <a:lnTo>
                    <a:pt x="58" y="243"/>
                  </a:lnTo>
                  <a:lnTo>
                    <a:pt x="58" y="246"/>
                  </a:lnTo>
                  <a:lnTo>
                    <a:pt x="51" y="244"/>
                  </a:lnTo>
                  <a:lnTo>
                    <a:pt x="50" y="243"/>
                  </a:lnTo>
                  <a:lnTo>
                    <a:pt x="41" y="243"/>
                  </a:lnTo>
                  <a:lnTo>
                    <a:pt x="36" y="241"/>
                  </a:lnTo>
                  <a:lnTo>
                    <a:pt x="27" y="239"/>
                  </a:lnTo>
                  <a:lnTo>
                    <a:pt x="29" y="237"/>
                  </a:lnTo>
                  <a:lnTo>
                    <a:pt x="26" y="236"/>
                  </a:lnTo>
                  <a:lnTo>
                    <a:pt x="29" y="234"/>
                  </a:lnTo>
                  <a:lnTo>
                    <a:pt x="29" y="232"/>
                  </a:lnTo>
                  <a:lnTo>
                    <a:pt x="32" y="234"/>
                  </a:lnTo>
                  <a:lnTo>
                    <a:pt x="36" y="232"/>
                  </a:lnTo>
                  <a:close/>
                  <a:moveTo>
                    <a:pt x="36" y="231"/>
                  </a:moveTo>
                  <a:lnTo>
                    <a:pt x="36" y="232"/>
                  </a:lnTo>
                  <a:lnTo>
                    <a:pt x="32" y="232"/>
                  </a:lnTo>
                  <a:lnTo>
                    <a:pt x="36" y="231"/>
                  </a:lnTo>
                  <a:close/>
                  <a:moveTo>
                    <a:pt x="376" y="121"/>
                  </a:moveTo>
                  <a:lnTo>
                    <a:pt x="374" y="125"/>
                  </a:lnTo>
                  <a:lnTo>
                    <a:pt x="372" y="123"/>
                  </a:lnTo>
                  <a:lnTo>
                    <a:pt x="370" y="130"/>
                  </a:lnTo>
                  <a:lnTo>
                    <a:pt x="365" y="130"/>
                  </a:lnTo>
                  <a:lnTo>
                    <a:pt x="365" y="137"/>
                  </a:lnTo>
                  <a:lnTo>
                    <a:pt x="364" y="138"/>
                  </a:lnTo>
                  <a:lnTo>
                    <a:pt x="365" y="140"/>
                  </a:lnTo>
                  <a:lnTo>
                    <a:pt x="362" y="142"/>
                  </a:lnTo>
                  <a:lnTo>
                    <a:pt x="360" y="145"/>
                  </a:lnTo>
                  <a:lnTo>
                    <a:pt x="367" y="150"/>
                  </a:lnTo>
                  <a:lnTo>
                    <a:pt x="365" y="155"/>
                  </a:lnTo>
                  <a:lnTo>
                    <a:pt x="367" y="159"/>
                  </a:lnTo>
                  <a:lnTo>
                    <a:pt x="365" y="161"/>
                  </a:lnTo>
                  <a:lnTo>
                    <a:pt x="367" y="164"/>
                  </a:lnTo>
                  <a:lnTo>
                    <a:pt x="364" y="167"/>
                  </a:lnTo>
                  <a:lnTo>
                    <a:pt x="365" y="167"/>
                  </a:lnTo>
                  <a:lnTo>
                    <a:pt x="362" y="171"/>
                  </a:lnTo>
                  <a:lnTo>
                    <a:pt x="362" y="174"/>
                  </a:lnTo>
                  <a:lnTo>
                    <a:pt x="360" y="174"/>
                  </a:lnTo>
                  <a:lnTo>
                    <a:pt x="360" y="176"/>
                  </a:lnTo>
                  <a:lnTo>
                    <a:pt x="357" y="178"/>
                  </a:lnTo>
                  <a:lnTo>
                    <a:pt x="352" y="181"/>
                  </a:lnTo>
                  <a:lnTo>
                    <a:pt x="350" y="181"/>
                  </a:lnTo>
                  <a:lnTo>
                    <a:pt x="350" y="183"/>
                  </a:lnTo>
                  <a:lnTo>
                    <a:pt x="348" y="181"/>
                  </a:lnTo>
                  <a:lnTo>
                    <a:pt x="347" y="183"/>
                  </a:lnTo>
                  <a:lnTo>
                    <a:pt x="347" y="181"/>
                  </a:lnTo>
                  <a:lnTo>
                    <a:pt x="347" y="184"/>
                  </a:lnTo>
                  <a:lnTo>
                    <a:pt x="345" y="183"/>
                  </a:lnTo>
                  <a:lnTo>
                    <a:pt x="345" y="186"/>
                  </a:lnTo>
                  <a:lnTo>
                    <a:pt x="343" y="188"/>
                  </a:lnTo>
                  <a:lnTo>
                    <a:pt x="347" y="190"/>
                  </a:lnTo>
                  <a:lnTo>
                    <a:pt x="345" y="191"/>
                  </a:lnTo>
                  <a:lnTo>
                    <a:pt x="347" y="193"/>
                  </a:lnTo>
                  <a:lnTo>
                    <a:pt x="345" y="193"/>
                  </a:lnTo>
                  <a:lnTo>
                    <a:pt x="345" y="195"/>
                  </a:lnTo>
                  <a:lnTo>
                    <a:pt x="347" y="193"/>
                  </a:lnTo>
                  <a:lnTo>
                    <a:pt x="347" y="196"/>
                  </a:lnTo>
                  <a:lnTo>
                    <a:pt x="341" y="193"/>
                  </a:lnTo>
                  <a:lnTo>
                    <a:pt x="333" y="191"/>
                  </a:lnTo>
                  <a:lnTo>
                    <a:pt x="333" y="190"/>
                  </a:lnTo>
                  <a:lnTo>
                    <a:pt x="326" y="186"/>
                  </a:lnTo>
                  <a:lnTo>
                    <a:pt x="321" y="186"/>
                  </a:lnTo>
                  <a:lnTo>
                    <a:pt x="318" y="181"/>
                  </a:lnTo>
                  <a:lnTo>
                    <a:pt x="312" y="183"/>
                  </a:lnTo>
                  <a:lnTo>
                    <a:pt x="309" y="183"/>
                  </a:lnTo>
                  <a:lnTo>
                    <a:pt x="307" y="186"/>
                  </a:lnTo>
                  <a:lnTo>
                    <a:pt x="311" y="190"/>
                  </a:lnTo>
                  <a:lnTo>
                    <a:pt x="309" y="191"/>
                  </a:lnTo>
                  <a:lnTo>
                    <a:pt x="309" y="195"/>
                  </a:lnTo>
                  <a:lnTo>
                    <a:pt x="306" y="202"/>
                  </a:lnTo>
                  <a:lnTo>
                    <a:pt x="307" y="210"/>
                  </a:lnTo>
                  <a:lnTo>
                    <a:pt x="311" y="212"/>
                  </a:lnTo>
                  <a:lnTo>
                    <a:pt x="311" y="219"/>
                  </a:lnTo>
                  <a:lnTo>
                    <a:pt x="316" y="225"/>
                  </a:lnTo>
                  <a:lnTo>
                    <a:pt x="314" y="232"/>
                  </a:lnTo>
                  <a:lnTo>
                    <a:pt x="314" y="237"/>
                  </a:lnTo>
                  <a:lnTo>
                    <a:pt x="318" y="237"/>
                  </a:lnTo>
                  <a:lnTo>
                    <a:pt x="321" y="241"/>
                  </a:lnTo>
                  <a:lnTo>
                    <a:pt x="324" y="239"/>
                  </a:lnTo>
                  <a:lnTo>
                    <a:pt x="326" y="241"/>
                  </a:lnTo>
                  <a:lnTo>
                    <a:pt x="326" y="246"/>
                  </a:lnTo>
                  <a:lnTo>
                    <a:pt x="328" y="248"/>
                  </a:lnTo>
                  <a:lnTo>
                    <a:pt x="329" y="255"/>
                  </a:lnTo>
                  <a:lnTo>
                    <a:pt x="328" y="255"/>
                  </a:lnTo>
                  <a:lnTo>
                    <a:pt x="326" y="260"/>
                  </a:lnTo>
                  <a:lnTo>
                    <a:pt x="323" y="265"/>
                  </a:lnTo>
                  <a:lnTo>
                    <a:pt x="318" y="263"/>
                  </a:lnTo>
                  <a:lnTo>
                    <a:pt x="314" y="263"/>
                  </a:lnTo>
                  <a:lnTo>
                    <a:pt x="312" y="261"/>
                  </a:lnTo>
                  <a:lnTo>
                    <a:pt x="309" y="263"/>
                  </a:lnTo>
                  <a:lnTo>
                    <a:pt x="309" y="266"/>
                  </a:lnTo>
                  <a:lnTo>
                    <a:pt x="306" y="268"/>
                  </a:lnTo>
                  <a:lnTo>
                    <a:pt x="307" y="273"/>
                  </a:lnTo>
                  <a:lnTo>
                    <a:pt x="307" y="278"/>
                  </a:lnTo>
                  <a:lnTo>
                    <a:pt x="302" y="278"/>
                  </a:lnTo>
                  <a:lnTo>
                    <a:pt x="302" y="275"/>
                  </a:lnTo>
                  <a:lnTo>
                    <a:pt x="300" y="273"/>
                  </a:lnTo>
                  <a:lnTo>
                    <a:pt x="299" y="275"/>
                  </a:lnTo>
                  <a:lnTo>
                    <a:pt x="300" y="278"/>
                  </a:lnTo>
                  <a:lnTo>
                    <a:pt x="295" y="282"/>
                  </a:lnTo>
                  <a:lnTo>
                    <a:pt x="285" y="278"/>
                  </a:lnTo>
                  <a:lnTo>
                    <a:pt x="280" y="287"/>
                  </a:lnTo>
                  <a:lnTo>
                    <a:pt x="280" y="297"/>
                  </a:lnTo>
                  <a:lnTo>
                    <a:pt x="271" y="295"/>
                  </a:lnTo>
                  <a:lnTo>
                    <a:pt x="271" y="292"/>
                  </a:lnTo>
                  <a:lnTo>
                    <a:pt x="270" y="289"/>
                  </a:lnTo>
                  <a:lnTo>
                    <a:pt x="268" y="292"/>
                  </a:lnTo>
                  <a:lnTo>
                    <a:pt x="265" y="290"/>
                  </a:lnTo>
                  <a:lnTo>
                    <a:pt x="266" y="284"/>
                  </a:lnTo>
                  <a:lnTo>
                    <a:pt x="263" y="275"/>
                  </a:lnTo>
                  <a:lnTo>
                    <a:pt x="265" y="268"/>
                  </a:lnTo>
                  <a:lnTo>
                    <a:pt x="265" y="260"/>
                  </a:lnTo>
                  <a:lnTo>
                    <a:pt x="266" y="255"/>
                  </a:lnTo>
                  <a:lnTo>
                    <a:pt x="266" y="249"/>
                  </a:lnTo>
                  <a:lnTo>
                    <a:pt x="265" y="248"/>
                  </a:lnTo>
                  <a:lnTo>
                    <a:pt x="263" y="249"/>
                  </a:lnTo>
                  <a:lnTo>
                    <a:pt x="258" y="246"/>
                  </a:lnTo>
                  <a:lnTo>
                    <a:pt x="256" y="248"/>
                  </a:lnTo>
                  <a:lnTo>
                    <a:pt x="253" y="248"/>
                  </a:lnTo>
                  <a:lnTo>
                    <a:pt x="253" y="246"/>
                  </a:lnTo>
                  <a:lnTo>
                    <a:pt x="251" y="248"/>
                  </a:lnTo>
                  <a:lnTo>
                    <a:pt x="249" y="246"/>
                  </a:lnTo>
                  <a:lnTo>
                    <a:pt x="242" y="248"/>
                  </a:lnTo>
                  <a:lnTo>
                    <a:pt x="239" y="246"/>
                  </a:lnTo>
                  <a:lnTo>
                    <a:pt x="236" y="248"/>
                  </a:lnTo>
                  <a:lnTo>
                    <a:pt x="230" y="243"/>
                  </a:lnTo>
                  <a:lnTo>
                    <a:pt x="230" y="241"/>
                  </a:lnTo>
                  <a:lnTo>
                    <a:pt x="229" y="231"/>
                  </a:lnTo>
                  <a:lnTo>
                    <a:pt x="227" y="222"/>
                  </a:lnTo>
                  <a:lnTo>
                    <a:pt x="225" y="217"/>
                  </a:lnTo>
                  <a:lnTo>
                    <a:pt x="219" y="224"/>
                  </a:lnTo>
                  <a:lnTo>
                    <a:pt x="212" y="227"/>
                  </a:lnTo>
                  <a:lnTo>
                    <a:pt x="208" y="231"/>
                  </a:lnTo>
                  <a:lnTo>
                    <a:pt x="205" y="236"/>
                  </a:lnTo>
                  <a:lnTo>
                    <a:pt x="203" y="234"/>
                  </a:lnTo>
                  <a:lnTo>
                    <a:pt x="203" y="229"/>
                  </a:lnTo>
                  <a:lnTo>
                    <a:pt x="201" y="229"/>
                  </a:lnTo>
                  <a:lnTo>
                    <a:pt x="198" y="229"/>
                  </a:lnTo>
                  <a:lnTo>
                    <a:pt x="190" y="229"/>
                  </a:lnTo>
                  <a:lnTo>
                    <a:pt x="186" y="232"/>
                  </a:lnTo>
                  <a:lnTo>
                    <a:pt x="188" y="234"/>
                  </a:lnTo>
                  <a:lnTo>
                    <a:pt x="188" y="241"/>
                  </a:lnTo>
                  <a:lnTo>
                    <a:pt x="186" y="244"/>
                  </a:lnTo>
                  <a:lnTo>
                    <a:pt x="179" y="249"/>
                  </a:lnTo>
                  <a:lnTo>
                    <a:pt x="176" y="258"/>
                  </a:lnTo>
                  <a:lnTo>
                    <a:pt x="176" y="260"/>
                  </a:lnTo>
                  <a:lnTo>
                    <a:pt x="169" y="256"/>
                  </a:lnTo>
                  <a:lnTo>
                    <a:pt x="162" y="255"/>
                  </a:lnTo>
                  <a:lnTo>
                    <a:pt x="162" y="253"/>
                  </a:lnTo>
                  <a:lnTo>
                    <a:pt x="160" y="253"/>
                  </a:lnTo>
                  <a:lnTo>
                    <a:pt x="155" y="253"/>
                  </a:lnTo>
                  <a:lnTo>
                    <a:pt x="150" y="251"/>
                  </a:lnTo>
                  <a:lnTo>
                    <a:pt x="149" y="251"/>
                  </a:lnTo>
                  <a:lnTo>
                    <a:pt x="143" y="249"/>
                  </a:lnTo>
                  <a:lnTo>
                    <a:pt x="137" y="248"/>
                  </a:lnTo>
                  <a:lnTo>
                    <a:pt x="128" y="246"/>
                  </a:lnTo>
                  <a:lnTo>
                    <a:pt x="130" y="244"/>
                  </a:lnTo>
                  <a:lnTo>
                    <a:pt x="126" y="246"/>
                  </a:lnTo>
                  <a:lnTo>
                    <a:pt x="118" y="243"/>
                  </a:lnTo>
                  <a:lnTo>
                    <a:pt x="109" y="243"/>
                  </a:lnTo>
                  <a:lnTo>
                    <a:pt x="101" y="244"/>
                  </a:lnTo>
                  <a:lnTo>
                    <a:pt x="99" y="243"/>
                  </a:lnTo>
                  <a:lnTo>
                    <a:pt x="99" y="237"/>
                  </a:lnTo>
                  <a:lnTo>
                    <a:pt x="99" y="236"/>
                  </a:lnTo>
                  <a:lnTo>
                    <a:pt x="99" y="237"/>
                  </a:lnTo>
                  <a:lnTo>
                    <a:pt x="91" y="236"/>
                  </a:lnTo>
                  <a:lnTo>
                    <a:pt x="82" y="234"/>
                  </a:lnTo>
                  <a:lnTo>
                    <a:pt x="73" y="234"/>
                  </a:lnTo>
                  <a:lnTo>
                    <a:pt x="72" y="232"/>
                  </a:lnTo>
                  <a:lnTo>
                    <a:pt x="72" y="234"/>
                  </a:lnTo>
                  <a:lnTo>
                    <a:pt x="65" y="234"/>
                  </a:lnTo>
                  <a:lnTo>
                    <a:pt x="58" y="236"/>
                  </a:lnTo>
                  <a:lnTo>
                    <a:pt x="55" y="241"/>
                  </a:lnTo>
                  <a:lnTo>
                    <a:pt x="51" y="239"/>
                  </a:lnTo>
                  <a:lnTo>
                    <a:pt x="51" y="236"/>
                  </a:lnTo>
                  <a:lnTo>
                    <a:pt x="53" y="234"/>
                  </a:lnTo>
                  <a:lnTo>
                    <a:pt x="55" y="232"/>
                  </a:lnTo>
                  <a:lnTo>
                    <a:pt x="55" y="231"/>
                  </a:lnTo>
                  <a:lnTo>
                    <a:pt x="56" y="231"/>
                  </a:lnTo>
                  <a:lnTo>
                    <a:pt x="53" y="231"/>
                  </a:lnTo>
                  <a:lnTo>
                    <a:pt x="53" y="232"/>
                  </a:lnTo>
                  <a:lnTo>
                    <a:pt x="51" y="231"/>
                  </a:lnTo>
                  <a:lnTo>
                    <a:pt x="53" y="232"/>
                  </a:lnTo>
                  <a:lnTo>
                    <a:pt x="51" y="236"/>
                  </a:lnTo>
                  <a:lnTo>
                    <a:pt x="51" y="239"/>
                  </a:lnTo>
                  <a:lnTo>
                    <a:pt x="46" y="231"/>
                  </a:lnTo>
                  <a:lnTo>
                    <a:pt x="48" y="237"/>
                  </a:lnTo>
                  <a:lnTo>
                    <a:pt x="44" y="237"/>
                  </a:lnTo>
                  <a:lnTo>
                    <a:pt x="43" y="236"/>
                  </a:lnTo>
                  <a:lnTo>
                    <a:pt x="41" y="236"/>
                  </a:lnTo>
                  <a:lnTo>
                    <a:pt x="38" y="234"/>
                  </a:lnTo>
                  <a:lnTo>
                    <a:pt x="38" y="232"/>
                  </a:lnTo>
                  <a:lnTo>
                    <a:pt x="34" y="229"/>
                  </a:lnTo>
                  <a:lnTo>
                    <a:pt x="31" y="232"/>
                  </a:lnTo>
                  <a:lnTo>
                    <a:pt x="29" y="231"/>
                  </a:lnTo>
                  <a:lnTo>
                    <a:pt x="29" y="232"/>
                  </a:lnTo>
                  <a:lnTo>
                    <a:pt x="22" y="227"/>
                  </a:lnTo>
                  <a:lnTo>
                    <a:pt x="22" y="225"/>
                  </a:lnTo>
                  <a:lnTo>
                    <a:pt x="21" y="225"/>
                  </a:lnTo>
                  <a:lnTo>
                    <a:pt x="22" y="222"/>
                  </a:lnTo>
                  <a:lnTo>
                    <a:pt x="24" y="219"/>
                  </a:lnTo>
                  <a:lnTo>
                    <a:pt x="19" y="208"/>
                  </a:lnTo>
                  <a:lnTo>
                    <a:pt x="19" y="203"/>
                  </a:lnTo>
                  <a:lnTo>
                    <a:pt x="15" y="200"/>
                  </a:lnTo>
                  <a:lnTo>
                    <a:pt x="14" y="195"/>
                  </a:lnTo>
                  <a:lnTo>
                    <a:pt x="10" y="191"/>
                  </a:lnTo>
                  <a:lnTo>
                    <a:pt x="5" y="193"/>
                  </a:lnTo>
                  <a:lnTo>
                    <a:pt x="0" y="191"/>
                  </a:lnTo>
                  <a:lnTo>
                    <a:pt x="0" y="186"/>
                  </a:lnTo>
                  <a:lnTo>
                    <a:pt x="3" y="181"/>
                  </a:lnTo>
                  <a:lnTo>
                    <a:pt x="3" y="176"/>
                  </a:lnTo>
                  <a:lnTo>
                    <a:pt x="0" y="174"/>
                  </a:lnTo>
                  <a:lnTo>
                    <a:pt x="0" y="173"/>
                  </a:lnTo>
                  <a:lnTo>
                    <a:pt x="3" y="169"/>
                  </a:lnTo>
                  <a:lnTo>
                    <a:pt x="9" y="167"/>
                  </a:lnTo>
                  <a:lnTo>
                    <a:pt x="14" y="171"/>
                  </a:lnTo>
                  <a:lnTo>
                    <a:pt x="21" y="166"/>
                  </a:lnTo>
                  <a:lnTo>
                    <a:pt x="26" y="164"/>
                  </a:lnTo>
                  <a:lnTo>
                    <a:pt x="27" y="159"/>
                  </a:lnTo>
                  <a:lnTo>
                    <a:pt x="26" y="155"/>
                  </a:lnTo>
                  <a:lnTo>
                    <a:pt x="27" y="152"/>
                  </a:lnTo>
                  <a:lnTo>
                    <a:pt x="24" y="150"/>
                  </a:lnTo>
                  <a:lnTo>
                    <a:pt x="24" y="143"/>
                  </a:lnTo>
                  <a:lnTo>
                    <a:pt x="24" y="142"/>
                  </a:lnTo>
                  <a:lnTo>
                    <a:pt x="24" y="138"/>
                  </a:lnTo>
                  <a:lnTo>
                    <a:pt x="27" y="137"/>
                  </a:lnTo>
                  <a:lnTo>
                    <a:pt x="32" y="132"/>
                  </a:lnTo>
                  <a:lnTo>
                    <a:pt x="32" y="125"/>
                  </a:lnTo>
                  <a:lnTo>
                    <a:pt x="34" y="125"/>
                  </a:lnTo>
                  <a:lnTo>
                    <a:pt x="38" y="128"/>
                  </a:lnTo>
                  <a:lnTo>
                    <a:pt x="46" y="132"/>
                  </a:lnTo>
                  <a:lnTo>
                    <a:pt x="50" y="128"/>
                  </a:lnTo>
                  <a:lnTo>
                    <a:pt x="60" y="125"/>
                  </a:lnTo>
                  <a:lnTo>
                    <a:pt x="61" y="123"/>
                  </a:lnTo>
                  <a:lnTo>
                    <a:pt x="61" y="128"/>
                  </a:lnTo>
                  <a:lnTo>
                    <a:pt x="65" y="132"/>
                  </a:lnTo>
                  <a:lnTo>
                    <a:pt x="72" y="133"/>
                  </a:lnTo>
                  <a:lnTo>
                    <a:pt x="75" y="135"/>
                  </a:lnTo>
                  <a:lnTo>
                    <a:pt x="80" y="135"/>
                  </a:lnTo>
                  <a:lnTo>
                    <a:pt x="87" y="137"/>
                  </a:lnTo>
                  <a:lnTo>
                    <a:pt x="94" y="135"/>
                  </a:lnTo>
                  <a:lnTo>
                    <a:pt x="99" y="135"/>
                  </a:lnTo>
                  <a:lnTo>
                    <a:pt x="104" y="133"/>
                  </a:lnTo>
                  <a:lnTo>
                    <a:pt x="111" y="128"/>
                  </a:lnTo>
                  <a:lnTo>
                    <a:pt x="114" y="126"/>
                  </a:lnTo>
                  <a:lnTo>
                    <a:pt x="114" y="125"/>
                  </a:lnTo>
                  <a:lnTo>
                    <a:pt x="121" y="132"/>
                  </a:lnTo>
                  <a:lnTo>
                    <a:pt x="128" y="132"/>
                  </a:lnTo>
                  <a:lnTo>
                    <a:pt x="137" y="135"/>
                  </a:lnTo>
                  <a:lnTo>
                    <a:pt x="140" y="137"/>
                  </a:lnTo>
                  <a:lnTo>
                    <a:pt x="150" y="140"/>
                  </a:lnTo>
                  <a:lnTo>
                    <a:pt x="157" y="142"/>
                  </a:lnTo>
                  <a:lnTo>
                    <a:pt x="164" y="140"/>
                  </a:lnTo>
                  <a:lnTo>
                    <a:pt x="171" y="142"/>
                  </a:lnTo>
                  <a:lnTo>
                    <a:pt x="174" y="142"/>
                  </a:lnTo>
                  <a:lnTo>
                    <a:pt x="178" y="140"/>
                  </a:lnTo>
                  <a:lnTo>
                    <a:pt x="181" y="140"/>
                  </a:lnTo>
                  <a:lnTo>
                    <a:pt x="188" y="137"/>
                  </a:lnTo>
                  <a:lnTo>
                    <a:pt x="193" y="133"/>
                  </a:lnTo>
                  <a:lnTo>
                    <a:pt x="198" y="135"/>
                  </a:lnTo>
                  <a:lnTo>
                    <a:pt x="203" y="140"/>
                  </a:lnTo>
                  <a:lnTo>
                    <a:pt x="210" y="143"/>
                  </a:lnTo>
                  <a:lnTo>
                    <a:pt x="217" y="145"/>
                  </a:lnTo>
                  <a:lnTo>
                    <a:pt x="224" y="145"/>
                  </a:lnTo>
                  <a:lnTo>
                    <a:pt x="224" y="143"/>
                  </a:lnTo>
                  <a:lnTo>
                    <a:pt x="225" y="147"/>
                  </a:lnTo>
                  <a:lnTo>
                    <a:pt x="229" y="145"/>
                  </a:lnTo>
                  <a:lnTo>
                    <a:pt x="227" y="143"/>
                  </a:lnTo>
                  <a:lnTo>
                    <a:pt x="230" y="145"/>
                  </a:lnTo>
                  <a:lnTo>
                    <a:pt x="230" y="142"/>
                  </a:lnTo>
                  <a:lnTo>
                    <a:pt x="234" y="133"/>
                  </a:lnTo>
                  <a:lnTo>
                    <a:pt x="236" y="133"/>
                  </a:lnTo>
                  <a:lnTo>
                    <a:pt x="234" y="132"/>
                  </a:lnTo>
                  <a:lnTo>
                    <a:pt x="237" y="130"/>
                  </a:lnTo>
                  <a:lnTo>
                    <a:pt x="241" y="125"/>
                  </a:lnTo>
                  <a:lnTo>
                    <a:pt x="241" y="123"/>
                  </a:lnTo>
                  <a:lnTo>
                    <a:pt x="237" y="123"/>
                  </a:lnTo>
                  <a:lnTo>
                    <a:pt x="237" y="121"/>
                  </a:lnTo>
                  <a:lnTo>
                    <a:pt x="239" y="121"/>
                  </a:lnTo>
                  <a:lnTo>
                    <a:pt x="237" y="118"/>
                  </a:lnTo>
                  <a:lnTo>
                    <a:pt x="239" y="118"/>
                  </a:lnTo>
                  <a:lnTo>
                    <a:pt x="241" y="120"/>
                  </a:lnTo>
                  <a:lnTo>
                    <a:pt x="246" y="116"/>
                  </a:lnTo>
                  <a:lnTo>
                    <a:pt x="249" y="109"/>
                  </a:lnTo>
                  <a:lnTo>
                    <a:pt x="249" y="106"/>
                  </a:lnTo>
                  <a:lnTo>
                    <a:pt x="251" y="102"/>
                  </a:lnTo>
                  <a:lnTo>
                    <a:pt x="249" y="101"/>
                  </a:lnTo>
                  <a:lnTo>
                    <a:pt x="251" y="101"/>
                  </a:lnTo>
                  <a:lnTo>
                    <a:pt x="249" y="97"/>
                  </a:lnTo>
                  <a:lnTo>
                    <a:pt x="254" y="94"/>
                  </a:lnTo>
                  <a:lnTo>
                    <a:pt x="253" y="92"/>
                  </a:lnTo>
                  <a:lnTo>
                    <a:pt x="254" y="91"/>
                  </a:lnTo>
                  <a:lnTo>
                    <a:pt x="258" y="85"/>
                  </a:lnTo>
                  <a:lnTo>
                    <a:pt x="261" y="84"/>
                  </a:lnTo>
                  <a:lnTo>
                    <a:pt x="260" y="84"/>
                  </a:lnTo>
                  <a:lnTo>
                    <a:pt x="261" y="85"/>
                  </a:lnTo>
                  <a:lnTo>
                    <a:pt x="270" y="82"/>
                  </a:lnTo>
                  <a:lnTo>
                    <a:pt x="273" y="80"/>
                  </a:lnTo>
                  <a:lnTo>
                    <a:pt x="282" y="80"/>
                  </a:lnTo>
                  <a:lnTo>
                    <a:pt x="289" y="80"/>
                  </a:lnTo>
                  <a:lnTo>
                    <a:pt x="290" y="80"/>
                  </a:lnTo>
                  <a:lnTo>
                    <a:pt x="297" y="82"/>
                  </a:lnTo>
                  <a:lnTo>
                    <a:pt x="299" y="87"/>
                  </a:lnTo>
                  <a:lnTo>
                    <a:pt x="300" y="94"/>
                  </a:lnTo>
                  <a:lnTo>
                    <a:pt x="302" y="97"/>
                  </a:lnTo>
                  <a:lnTo>
                    <a:pt x="306" y="106"/>
                  </a:lnTo>
                  <a:lnTo>
                    <a:pt x="311" y="111"/>
                  </a:lnTo>
                  <a:lnTo>
                    <a:pt x="314" y="111"/>
                  </a:lnTo>
                  <a:lnTo>
                    <a:pt x="321" y="114"/>
                  </a:lnTo>
                  <a:lnTo>
                    <a:pt x="328" y="114"/>
                  </a:lnTo>
                  <a:lnTo>
                    <a:pt x="336" y="116"/>
                  </a:lnTo>
                  <a:lnTo>
                    <a:pt x="338" y="116"/>
                  </a:lnTo>
                  <a:lnTo>
                    <a:pt x="347" y="111"/>
                  </a:lnTo>
                  <a:lnTo>
                    <a:pt x="348" y="108"/>
                  </a:lnTo>
                  <a:lnTo>
                    <a:pt x="352" y="106"/>
                  </a:lnTo>
                  <a:lnTo>
                    <a:pt x="360" y="108"/>
                  </a:lnTo>
                  <a:lnTo>
                    <a:pt x="367" y="114"/>
                  </a:lnTo>
                  <a:lnTo>
                    <a:pt x="367" y="116"/>
                  </a:lnTo>
                  <a:lnTo>
                    <a:pt x="369" y="116"/>
                  </a:lnTo>
                  <a:lnTo>
                    <a:pt x="376" y="121"/>
                  </a:lnTo>
                  <a:close/>
                  <a:moveTo>
                    <a:pt x="244" y="12"/>
                  </a:moveTo>
                  <a:lnTo>
                    <a:pt x="246" y="12"/>
                  </a:lnTo>
                  <a:lnTo>
                    <a:pt x="246" y="15"/>
                  </a:lnTo>
                  <a:lnTo>
                    <a:pt x="244" y="15"/>
                  </a:lnTo>
                  <a:lnTo>
                    <a:pt x="244" y="12"/>
                  </a:lnTo>
                  <a:close/>
                  <a:moveTo>
                    <a:pt x="230" y="7"/>
                  </a:moveTo>
                  <a:lnTo>
                    <a:pt x="232" y="10"/>
                  </a:lnTo>
                  <a:lnTo>
                    <a:pt x="230" y="12"/>
                  </a:lnTo>
                  <a:lnTo>
                    <a:pt x="229" y="12"/>
                  </a:lnTo>
                  <a:lnTo>
                    <a:pt x="230" y="14"/>
                  </a:lnTo>
                  <a:lnTo>
                    <a:pt x="227" y="15"/>
                  </a:lnTo>
                  <a:lnTo>
                    <a:pt x="227" y="19"/>
                  </a:lnTo>
                  <a:lnTo>
                    <a:pt x="222" y="12"/>
                  </a:lnTo>
                  <a:lnTo>
                    <a:pt x="230" y="10"/>
                  </a:lnTo>
                  <a:lnTo>
                    <a:pt x="229" y="7"/>
                  </a:lnTo>
                  <a:lnTo>
                    <a:pt x="230" y="9"/>
                  </a:lnTo>
                  <a:lnTo>
                    <a:pt x="229" y="7"/>
                  </a:lnTo>
                  <a:lnTo>
                    <a:pt x="227" y="10"/>
                  </a:lnTo>
                  <a:lnTo>
                    <a:pt x="227" y="9"/>
                  </a:lnTo>
                  <a:lnTo>
                    <a:pt x="230" y="3"/>
                  </a:lnTo>
                  <a:lnTo>
                    <a:pt x="230" y="7"/>
                  </a:lnTo>
                  <a:close/>
                  <a:moveTo>
                    <a:pt x="203" y="0"/>
                  </a:moveTo>
                  <a:lnTo>
                    <a:pt x="201" y="3"/>
                  </a:lnTo>
                  <a:lnTo>
                    <a:pt x="201" y="0"/>
                  </a:lnTo>
                  <a:lnTo>
                    <a:pt x="203"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8" name="Freeform 76"/>
            <p:cNvSpPr/>
            <p:nvPr/>
          </p:nvSpPr>
          <p:spPr bwMode="gray">
            <a:xfrm>
              <a:off x="3361550" y="4448053"/>
              <a:ext cx="538134" cy="415914"/>
            </a:xfrm>
            <a:custGeom>
              <a:avLst/>
              <a:gdLst>
                <a:gd name="T0" fmla="*/ 285 w 295"/>
                <a:gd name="T1" fmla="*/ 117 h 228"/>
                <a:gd name="T2" fmla="*/ 288 w 295"/>
                <a:gd name="T3" fmla="*/ 131 h 228"/>
                <a:gd name="T4" fmla="*/ 282 w 295"/>
                <a:gd name="T5" fmla="*/ 145 h 228"/>
                <a:gd name="T6" fmla="*/ 261 w 295"/>
                <a:gd name="T7" fmla="*/ 152 h 228"/>
                <a:gd name="T8" fmla="*/ 261 w 295"/>
                <a:gd name="T9" fmla="*/ 165 h 228"/>
                <a:gd name="T10" fmla="*/ 275 w 295"/>
                <a:gd name="T11" fmla="*/ 174 h 228"/>
                <a:gd name="T12" fmla="*/ 285 w 295"/>
                <a:gd name="T13" fmla="*/ 198 h 228"/>
                <a:gd name="T14" fmla="*/ 283 w 295"/>
                <a:gd name="T15" fmla="*/ 206 h 228"/>
                <a:gd name="T16" fmla="*/ 285 w 295"/>
                <a:gd name="T17" fmla="*/ 215 h 228"/>
                <a:gd name="T18" fmla="*/ 275 w 295"/>
                <a:gd name="T19" fmla="*/ 216 h 228"/>
                <a:gd name="T20" fmla="*/ 271 w 295"/>
                <a:gd name="T21" fmla="*/ 213 h 228"/>
                <a:gd name="T22" fmla="*/ 254 w 295"/>
                <a:gd name="T23" fmla="*/ 216 h 228"/>
                <a:gd name="T24" fmla="*/ 239 w 295"/>
                <a:gd name="T25" fmla="*/ 228 h 228"/>
                <a:gd name="T26" fmla="*/ 215 w 295"/>
                <a:gd name="T27" fmla="*/ 225 h 228"/>
                <a:gd name="T28" fmla="*/ 194 w 295"/>
                <a:gd name="T29" fmla="*/ 220 h 228"/>
                <a:gd name="T30" fmla="*/ 174 w 295"/>
                <a:gd name="T31" fmla="*/ 215 h 228"/>
                <a:gd name="T32" fmla="*/ 155 w 295"/>
                <a:gd name="T33" fmla="*/ 206 h 228"/>
                <a:gd name="T34" fmla="*/ 133 w 295"/>
                <a:gd name="T35" fmla="*/ 194 h 228"/>
                <a:gd name="T36" fmla="*/ 118 w 295"/>
                <a:gd name="T37" fmla="*/ 191 h 228"/>
                <a:gd name="T38" fmla="*/ 90 w 295"/>
                <a:gd name="T39" fmla="*/ 186 h 228"/>
                <a:gd name="T40" fmla="*/ 70 w 295"/>
                <a:gd name="T41" fmla="*/ 184 h 228"/>
                <a:gd name="T42" fmla="*/ 49 w 295"/>
                <a:gd name="T43" fmla="*/ 182 h 228"/>
                <a:gd name="T44" fmla="*/ 34 w 295"/>
                <a:gd name="T45" fmla="*/ 181 h 228"/>
                <a:gd name="T46" fmla="*/ 14 w 295"/>
                <a:gd name="T47" fmla="*/ 175 h 228"/>
                <a:gd name="T48" fmla="*/ 3 w 295"/>
                <a:gd name="T49" fmla="*/ 170 h 228"/>
                <a:gd name="T50" fmla="*/ 0 w 295"/>
                <a:gd name="T51" fmla="*/ 158 h 228"/>
                <a:gd name="T52" fmla="*/ 8 w 295"/>
                <a:gd name="T53" fmla="*/ 148 h 228"/>
                <a:gd name="T54" fmla="*/ 20 w 295"/>
                <a:gd name="T55" fmla="*/ 133 h 228"/>
                <a:gd name="T56" fmla="*/ 3 w 295"/>
                <a:gd name="T57" fmla="*/ 128 h 228"/>
                <a:gd name="T58" fmla="*/ 14 w 295"/>
                <a:gd name="T59" fmla="*/ 105 h 228"/>
                <a:gd name="T60" fmla="*/ 7 w 295"/>
                <a:gd name="T61" fmla="*/ 85 h 228"/>
                <a:gd name="T62" fmla="*/ 3 w 295"/>
                <a:gd name="T63" fmla="*/ 64 h 228"/>
                <a:gd name="T64" fmla="*/ 12 w 295"/>
                <a:gd name="T65" fmla="*/ 47 h 228"/>
                <a:gd name="T66" fmla="*/ 19 w 295"/>
                <a:gd name="T67" fmla="*/ 52 h 228"/>
                <a:gd name="T68" fmla="*/ 25 w 295"/>
                <a:gd name="T69" fmla="*/ 54 h 228"/>
                <a:gd name="T70" fmla="*/ 46 w 295"/>
                <a:gd name="T71" fmla="*/ 54 h 228"/>
                <a:gd name="T72" fmla="*/ 54 w 295"/>
                <a:gd name="T73" fmla="*/ 52 h 228"/>
                <a:gd name="T74" fmla="*/ 65 w 295"/>
                <a:gd name="T75" fmla="*/ 47 h 228"/>
                <a:gd name="T76" fmla="*/ 72 w 295"/>
                <a:gd name="T77" fmla="*/ 29 h 228"/>
                <a:gd name="T78" fmla="*/ 77 w 295"/>
                <a:gd name="T79" fmla="*/ 15 h 228"/>
                <a:gd name="T80" fmla="*/ 73 w 295"/>
                <a:gd name="T81" fmla="*/ 11 h 228"/>
                <a:gd name="T82" fmla="*/ 73 w 295"/>
                <a:gd name="T83" fmla="*/ 3 h 228"/>
                <a:gd name="T84" fmla="*/ 95 w 295"/>
                <a:gd name="T85" fmla="*/ 10 h 228"/>
                <a:gd name="T86" fmla="*/ 116 w 295"/>
                <a:gd name="T87" fmla="*/ 6 h 228"/>
                <a:gd name="T88" fmla="*/ 140 w 295"/>
                <a:gd name="T89" fmla="*/ 32 h 228"/>
                <a:gd name="T90" fmla="*/ 162 w 295"/>
                <a:gd name="T91" fmla="*/ 39 h 228"/>
                <a:gd name="T92" fmla="*/ 177 w 295"/>
                <a:gd name="T93" fmla="*/ 35 h 228"/>
                <a:gd name="T94" fmla="*/ 181 w 295"/>
                <a:gd name="T95" fmla="*/ 37 h 228"/>
                <a:gd name="T96" fmla="*/ 198 w 295"/>
                <a:gd name="T97" fmla="*/ 47 h 228"/>
                <a:gd name="T98" fmla="*/ 220 w 295"/>
                <a:gd name="T99" fmla="*/ 44 h 228"/>
                <a:gd name="T100" fmla="*/ 217 w 295"/>
                <a:gd name="T101" fmla="*/ 37 h 228"/>
                <a:gd name="T102" fmla="*/ 235 w 295"/>
                <a:gd name="T103" fmla="*/ 44 h 228"/>
                <a:gd name="T104" fmla="*/ 241 w 295"/>
                <a:gd name="T105" fmla="*/ 54 h 228"/>
                <a:gd name="T106" fmla="*/ 259 w 295"/>
                <a:gd name="T107" fmla="*/ 68 h 228"/>
                <a:gd name="T108" fmla="*/ 261 w 295"/>
                <a:gd name="T109" fmla="*/ 93 h 228"/>
                <a:gd name="T110" fmla="*/ 275 w 295"/>
                <a:gd name="T111" fmla="*/ 102 h 228"/>
                <a:gd name="T112" fmla="*/ 292 w 295"/>
                <a:gd name="T113" fmla="*/ 102 h 228"/>
                <a:gd name="T114" fmla="*/ 295 w 295"/>
                <a:gd name="T115" fmla="*/ 10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5" h="228">
                  <a:moveTo>
                    <a:pt x="293" y="104"/>
                  </a:moveTo>
                  <a:lnTo>
                    <a:pt x="293" y="111"/>
                  </a:lnTo>
                  <a:lnTo>
                    <a:pt x="288" y="116"/>
                  </a:lnTo>
                  <a:lnTo>
                    <a:pt x="285" y="117"/>
                  </a:lnTo>
                  <a:lnTo>
                    <a:pt x="285" y="121"/>
                  </a:lnTo>
                  <a:lnTo>
                    <a:pt x="285" y="122"/>
                  </a:lnTo>
                  <a:lnTo>
                    <a:pt x="285" y="129"/>
                  </a:lnTo>
                  <a:lnTo>
                    <a:pt x="288" y="131"/>
                  </a:lnTo>
                  <a:lnTo>
                    <a:pt x="287" y="134"/>
                  </a:lnTo>
                  <a:lnTo>
                    <a:pt x="288" y="138"/>
                  </a:lnTo>
                  <a:lnTo>
                    <a:pt x="287" y="143"/>
                  </a:lnTo>
                  <a:lnTo>
                    <a:pt x="282" y="145"/>
                  </a:lnTo>
                  <a:lnTo>
                    <a:pt x="275" y="150"/>
                  </a:lnTo>
                  <a:lnTo>
                    <a:pt x="270" y="146"/>
                  </a:lnTo>
                  <a:lnTo>
                    <a:pt x="264" y="148"/>
                  </a:lnTo>
                  <a:lnTo>
                    <a:pt x="261" y="152"/>
                  </a:lnTo>
                  <a:lnTo>
                    <a:pt x="261" y="153"/>
                  </a:lnTo>
                  <a:lnTo>
                    <a:pt x="264" y="155"/>
                  </a:lnTo>
                  <a:lnTo>
                    <a:pt x="264" y="160"/>
                  </a:lnTo>
                  <a:lnTo>
                    <a:pt x="261" y="165"/>
                  </a:lnTo>
                  <a:lnTo>
                    <a:pt x="261" y="170"/>
                  </a:lnTo>
                  <a:lnTo>
                    <a:pt x="266" y="172"/>
                  </a:lnTo>
                  <a:lnTo>
                    <a:pt x="271" y="170"/>
                  </a:lnTo>
                  <a:lnTo>
                    <a:pt x="275" y="174"/>
                  </a:lnTo>
                  <a:lnTo>
                    <a:pt x="276" y="179"/>
                  </a:lnTo>
                  <a:lnTo>
                    <a:pt x="280" y="182"/>
                  </a:lnTo>
                  <a:lnTo>
                    <a:pt x="280" y="187"/>
                  </a:lnTo>
                  <a:lnTo>
                    <a:pt x="285" y="198"/>
                  </a:lnTo>
                  <a:lnTo>
                    <a:pt x="283" y="201"/>
                  </a:lnTo>
                  <a:lnTo>
                    <a:pt x="282" y="204"/>
                  </a:lnTo>
                  <a:lnTo>
                    <a:pt x="283" y="204"/>
                  </a:lnTo>
                  <a:lnTo>
                    <a:pt x="283" y="206"/>
                  </a:lnTo>
                  <a:lnTo>
                    <a:pt x="290" y="211"/>
                  </a:lnTo>
                  <a:lnTo>
                    <a:pt x="287" y="215"/>
                  </a:lnTo>
                  <a:lnTo>
                    <a:pt x="287" y="213"/>
                  </a:lnTo>
                  <a:lnTo>
                    <a:pt x="285" y="215"/>
                  </a:lnTo>
                  <a:lnTo>
                    <a:pt x="280" y="211"/>
                  </a:lnTo>
                  <a:lnTo>
                    <a:pt x="275" y="211"/>
                  </a:lnTo>
                  <a:lnTo>
                    <a:pt x="273" y="215"/>
                  </a:lnTo>
                  <a:lnTo>
                    <a:pt x="275" y="216"/>
                  </a:lnTo>
                  <a:lnTo>
                    <a:pt x="275" y="218"/>
                  </a:lnTo>
                  <a:lnTo>
                    <a:pt x="271" y="216"/>
                  </a:lnTo>
                  <a:lnTo>
                    <a:pt x="273" y="215"/>
                  </a:lnTo>
                  <a:lnTo>
                    <a:pt x="271" y="213"/>
                  </a:lnTo>
                  <a:lnTo>
                    <a:pt x="264" y="211"/>
                  </a:lnTo>
                  <a:lnTo>
                    <a:pt x="258" y="213"/>
                  </a:lnTo>
                  <a:lnTo>
                    <a:pt x="252" y="216"/>
                  </a:lnTo>
                  <a:lnTo>
                    <a:pt x="254" y="216"/>
                  </a:lnTo>
                  <a:lnTo>
                    <a:pt x="254" y="222"/>
                  </a:lnTo>
                  <a:lnTo>
                    <a:pt x="251" y="227"/>
                  </a:lnTo>
                  <a:lnTo>
                    <a:pt x="247" y="228"/>
                  </a:lnTo>
                  <a:lnTo>
                    <a:pt x="239" y="228"/>
                  </a:lnTo>
                  <a:lnTo>
                    <a:pt x="230" y="228"/>
                  </a:lnTo>
                  <a:lnTo>
                    <a:pt x="225" y="227"/>
                  </a:lnTo>
                  <a:lnTo>
                    <a:pt x="223" y="227"/>
                  </a:lnTo>
                  <a:lnTo>
                    <a:pt x="215" y="225"/>
                  </a:lnTo>
                  <a:lnTo>
                    <a:pt x="212" y="225"/>
                  </a:lnTo>
                  <a:lnTo>
                    <a:pt x="212" y="223"/>
                  </a:lnTo>
                  <a:lnTo>
                    <a:pt x="205" y="223"/>
                  </a:lnTo>
                  <a:lnTo>
                    <a:pt x="194" y="220"/>
                  </a:lnTo>
                  <a:lnTo>
                    <a:pt x="183" y="218"/>
                  </a:lnTo>
                  <a:lnTo>
                    <a:pt x="183" y="220"/>
                  </a:lnTo>
                  <a:lnTo>
                    <a:pt x="176" y="218"/>
                  </a:lnTo>
                  <a:lnTo>
                    <a:pt x="174" y="215"/>
                  </a:lnTo>
                  <a:lnTo>
                    <a:pt x="172" y="213"/>
                  </a:lnTo>
                  <a:lnTo>
                    <a:pt x="164" y="211"/>
                  </a:lnTo>
                  <a:lnTo>
                    <a:pt x="157" y="210"/>
                  </a:lnTo>
                  <a:lnTo>
                    <a:pt x="155" y="206"/>
                  </a:lnTo>
                  <a:lnTo>
                    <a:pt x="148" y="203"/>
                  </a:lnTo>
                  <a:lnTo>
                    <a:pt x="147" y="199"/>
                  </a:lnTo>
                  <a:lnTo>
                    <a:pt x="138" y="196"/>
                  </a:lnTo>
                  <a:lnTo>
                    <a:pt x="133" y="194"/>
                  </a:lnTo>
                  <a:lnTo>
                    <a:pt x="131" y="194"/>
                  </a:lnTo>
                  <a:lnTo>
                    <a:pt x="131" y="193"/>
                  </a:lnTo>
                  <a:lnTo>
                    <a:pt x="123" y="189"/>
                  </a:lnTo>
                  <a:lnTo>
                    <a:pt x="118" y="191"/>
                  </a:lnTo>
                  <a:lnTo>
                    <a:pt x="109" y="189"/>
                  </a:lnTo>
                  <a:lnTo>
                    <a:pt x="104" y="189"/>
                  </a:lnTo>
                  <a:lnTo>
                    <a:pt x="101" y="187"/>
                  </a:lnTo>
                  <a:lnTo>
                    <a:pt x="90" y="186"/>
                  </a:lnTo>
                  <a:lnTo>
                    <a:pt x="83" y="184"/>
                  </a:lnTo>
                  <a:lnTo>
                    <a:pt x="75" y="184"/>
                  </a:lnTo>
                  <a:lnTo>
                    <a:pt x="73" y="184"/>
                  </a:lnTo>
                  <a:lnTo>
                    <a:pt x="70" y="184"/>
                  </a:lnTo>
                  <a:lnTo>
                    <a:pt x="60" y="182"/>
                  </a:lnTo>
                  <a:lnTo>
                    <a:pt x="49" y="182"/>
                  </a:lnTo>
                  <a:lnTo>
                    <a:pt x="49" y="179"/>
                  </a:lnTo>
                  <a:lnTo>
                    <a:pt x="49" y="182"/>
                  </a:lnTo>
                  <a:lnTo>
                    <a:pt x="44" y="182"/>
                  </a:lnTo>
                  <a:lnTo>
                    <a:pt x="37" y="181"/>
                  </a:lnTo>
                  <a:lnTo>
                    <a:pt x="36" y="181"/>
                  </a:lnTo>
                  <a:lnTo>
                    <a:pt x="34" y="181"/>
                  </a:lnTo>
                  <a:lnTo>
                    <a:pt x="27" y="181"/>
                  </a:lnTo>
                  <a:lnTo>
                    <a:pt x="22" y="181"/>
                  </a:lnTo>
                  <a:lnTo>
                    <a:pt x="17" y="179"/>
                  </a:lnTo>
                  <a:lnTo>
                    <a:pt x="14" y="175"/>
                  </a:lnTo>
                  <a:lnTo>
                    <a:pt x="7" y="174"/>
                  </a:lnTo>
                  <a:lnTo>
                    <a:pt x="3" y="174"/>
                  </a:lnTo>
                  <a:lnTo>
                    <a:pt x="3" y="175"/>
                  </a:lnTo>
                  <a:lnTo>
                    <a:pt x="3" y="170"/>
                  </a:lnTo>
                  <a:lnTo>
                    <a:pt x="0" y="167"/>
                  </a:lnTo>
                  <a:lnTo>
                    <a:pt x="0" y="163"/>
                  </a:lnTo>
                  <a:lnTo>
                    <a:pt x="2" y="162"/>
                  </a:lnTo>
                  <a:lnTo>
                    <a:pt x="0" y="158"/>
                  </a:lnTo>
                  <a:lnTo>
                    <a:pt x="2" y="158"/>
                  </a:lnTo>
                  <a:lnTo>
                    <a:pt x="3" y="153"/>
                  </a:lnTo>
                  <a:lnTo>
                    <a:pt x="10" y="152"/>
                  </a:lnTo>
                  <a:lnTo>
                    <a:pt x="8" y="148"/>
                  </a:lnTo>
                  <a:lnTo>
                    <a:pt x="10" y="146"/>
                  </a:lnTo>
                  <a:lnTo>
                    <a:pt x="15" y="141"/>
                  </a:lnTo>
                  <a:lnTo>
                    <a:pt x="20" y="138"/>
                  </a:lnTo>
                  <a:lnTo>
                    <a:pt x="20" y="133"/>
                  </a:lnTo>
                  <a:lnTo>
                    <a:pt x="20" y="129"/>
                  </a:lnTo>
                  <a:lnTo>
                    <a:pt x="15" y="126"/>
                  </a:lnTo>
                  <a:lnTo>
                    <a:pt x="8" y="124"/>
                  </a:lnTo>
                  <a:lnTo>
                    <a:pt x="3" y="128"/>
                  </a:lnTo>
                  <a:lnTo>
                    <a:pt x="2" y="119"/>
                  </a:lnTo>
                  <a:lnTo>
                    <a:pt x="7" y="114"/>
                  </a:lnTo>
                  <a:lnTo>
                    <a:pt x="7" y="109"/>
                  </a:lnTo>
                  <a:lnTo>
                    <a:pt x="14" y="105"/>
                  </a:lnTo>
                  <a:lnTo>
                    <a:pt x="19" y="102"/>
                  </a:lnTo>
                  <a:lnTo>
                    <a:pt x="10" y="100"/>
                  </a:lnTo>
                  <a:lnTo>
                    <a:pt x="7" y="92"/>
                  </a:lnTo>
                  <a:lnTo>
                    <a:pt x="7" y="85"/>
                  </a:lnTo>
                  <a:lnTo>
                    <a:pt x="7" y="80"/>
                  </a:lnTo>
                  <a:lnTo>
                    <a:pt x="3" y="73"/>
                  </a:lnTo>
                  <a:lnTo>
                    <a:pt x="5" y="66"/>
                  </a:lnTo>
                  <a:lnTo>
                    <a:pt x="3" y="64"/>
                  </a:lnTo>
                  <a:lnTo>
                    <a:pt x="8" y="64"/>
                  </a:lnTo>
                  <a:lnTo>
                    <a:pt x="10" y="61"/>
                  </a:lnTo>
                  <a:lnTo>
                    <a:pt x="7" y="52"/>
                  </a:lnTo>
                  <a:lnTo>
                    <a:pt x="12" y="47"/>
                  </a:lnTo>
                  <a:lnTo>
                    <a:pt x="14" y="49"/>
                  </a:lnTo>
                  <a:lnTo>
                    <a:pt x="12" y="52"/>
                  </a:lnTo>
                  <a:lnTo>
                    <a:pt x="15" y="52"/>
                  </a:lnTo>
                  <a:lnTo>
                    <a:pt x="19" y="52"/>
                  </a:lnTo>
                  <a:lnTo>
                    <a:pt x="17" y="51"/>
                  </a:lnTo>
                  <a:lnTo>
                    <a:pt x="19" y="49"/>
                  </a:lnTo>
                  <a:lnTo>
                    <a:pt x="24" y="51"/>
                  </a:lnTo>
                  <a:lnTo>
                    <a:pt x="25" y="54"/>
                  </a:lnTo>
                  <a:lnTo>
                    <a:pt x="27" y="54"/>
                  </a:lnTo>
                  <a:lnTo>
                    <a:pt x="36" y="54"/>
                  </a:lnTo>
                  <a:lnTo>
                    <a:pt x="41" y="54"/>
                  </a:lnTo>
                  <a:lnTo>
                    <a:pt x="46" y="54"/>
                  </a:lnTo>
                  <a:lnTo>
                    <a:pt x="49" y="49"/>
                  </a:lnTo>
                  <a:lnTo>
                    <a:pt x="53" y="49"/>
                  </a:lnTo>
                  <a:lnTo>
                    <a:pt x="51" y="54"/>
                  </a:lnTo>
                  <a:lnTo>
                    <a:pt x="54" y="52"/>
                  </a:lnTo>
                  <a:lnTo>
                    <a:pt x="56" y="51"/>
                  </a:lnTo>
                  <a:lnTo>
                    <a:pt x="61" y="54"/>
                  </a:lnTo>
                  <a:lnTo>
                    <a:pt x="65" y="54"/>
                  </a:lnTo>
                  <a:lnTo>
                    <a:pt x="65" y="47"/>
                  </a:lnTo>
                  <a:lnTo>
                    <a:pt x="63" y="42"/>
                  </a:lnTo>
                  <a:lnTo>
                    <a:pt x="68" y="41"/>
                  </a:lnTo>
                  <a:lnTo>
                    <a:pt x="72" y="34"/>
                  </a:lnTo>
                  <a:lnTo>
                    <a:pt x="72" y="29"/>
                  </a:lnTo>
                  <a:lnTo>
                    <a:pt x="72" y="22"/>
                  </a:lnTo>
                  <a:lnTo>
                    <a:pt x="77" y="20"/>
                  </a:lnTo>
                  <a:lnTo>
                    <a:pt x="73" y="17"/>
                  </a:lnTo>
                  <a:lnTo>
                    <a:pt x="77" y="15"/>
                  </a:lnTo>
                  <a:lnTo>
                    <a:pt x="75" y="13"/>
                  </a:lnTo>
                  <a:lnTo>
                    <a:pt x="73" y="13"/>
                  </a:lnTo>
                  <a:lnTo>
                    <a:pt x="75" y="11"/>
                  </a:lnTo>
                  <a:lnTo>
                    <a:pt x="73" y="11"/>
                  </a:lnTo>
                  <a:lnTo>
                    <a:pt x="75" y="10"/>
                  </a:lnTo>
                  <a:lnTo>
                    <a:pt x="77" y="6"/>
                  </a:lnTo>
                  <a:lnTo>
                    <a:pt x="77" y="3"/>
                  </a:lnTo>
                  <a:lnTo>
                    <a:pt x="73" y="3"/>
                  </a:lnTo>
                  <a:lnTo>
                    <a:pt x="78" y="0"/>
                  </a:lnTo>
                  <a:lnTo>
                    <a:pt x="87" y="3"/>
                  </a:lnTo>
                  <a:lnTo>
                    <a:pt x="90" y="8"/>
                  </a:lnTo>
                  <a:lnTo>
                    <a:pt x="95" y="10"/>
                  </a:lnTo>
                  <a:lnTo>
                    <a:pt x="97" y="10"/>
                  </a:lnTo>
                  <a:lnTo>
                    <a:pt x="99" y="8"/>
                  </a:lnTo>
                  <a:lnTo>
                    <a:pt x="109" y="6"/>
                  </a:lnTo>
                  <a:lnTo>
                    <a:pt x="116" y="6"/>
                  </a:lnTo>
                  <a:lnTo>
                    <a:pt x="123" y="13"/>
                  </a:lnTo>
                  <a:lnTo>
                    <a:pt x="126" y="20"/>
                  </a:lnTo>
                  <a:lnTo>
                    <a:pt x="131" y="29"/>
                  </a:lnTo>
                  <a:lnTo>
                    <a:pt x="140" y="32"/>
                  </a:lnTo>
                  <a:lnTo>
                    <a:pt x="150" y="34"/>
                  </a:lnTo>
                  <a:lnTo>
                    <a:pt x="155" y="39"/>
                  </a:lnTo>
                  <a:lnTo>
                    <a:pt x="159" y="37"/>
                  </a:lnTo>
                  <a:lnTo>
                    <a:pt x="162" y="39"/>
                  </a:lnTo>
                  <a:lnTo>
                    <a:pt x="172" y="34"/>
                  </a:lnTo>
                  <a:lnTo>
                    <a:pt x="172" y="32"/>
                  </a:lnTo>
                  <a:lnTo>
                    <a:pt x="177" y="34"/>
                  </a:lnTo>
                  <a:lnTo>
                    <a:pt x="177" y="35"/>
                  </a:lnTo>
                  <a:lnTo>
                    <a:pt x="181" y="34"/>
                  </a:lnTo>
                  <a:lnTo>
                    <a:pt x="183" y="35"/>
                  </a:lnTo>
                  <a:lnTo>
                    <a:pt x="181" y="35"/>
                  </a:lnTo>
                  <a:lnTo>
                    <a:pt x="181" y="37"/>
                  </a:lnTo>
                  <a:lnTo>
                    <a:pt x="183" y="39"/>
                  </a:lnTo>
                  <a:lnTo>
                    <a:pt x="188" y="41"/>
                  </a:lnTo>
                  <a:lnTo>
                    <a:pt x="193" y="44"/>
                  </a:lnTo>
                  <a:lnTo>
                    <a:pt x="198" y="47"/>
                  </a:lnTo>
                  <a:lnTo>
                    <a:pt x="208" y="49"/>
                  </a:lnTo>
                  <a:lnTo>
                    <a:pt x="210" y="51"/>
                  </a:lnTo>
                  <a:lnTo>
                    <a:pt x="217" y="46"/>
                  </a:lnTo>
                  <a:lnTo>
                    <a:pt x="220" y="44"/>
                  </a:lnTo>
                  <a:lnTo>
                    <a:pt x="218" y="39"/>
                  </a:lnTo>
                  <a:lnTo>
                    <a:pt x="217" y="39"/>
                  </a:lnTo>
                  <a:lnTo>
                    <a:pt x="218" y="39"/>
                  </a:lnTo>
                  <a:lnTo>
                    <a:pt x="217" y="37"/>
                  </a:lnTo>
                  <a:lnTo>
                    <a:pt x="218" y="37"/>
                  </a:lnTo>
                  <a:lnTo>
                    <a:pt x="222" y="41"/>
                  </a:lnTo>
                  <a:lnTo>
                    <a:pt x="230" y="41"/>
                  </a:lnTo>
                  <a:lnTo>
                    <a:pt x="235" y="44"/>
                  </a:lnTo>
                  <a:lnTo>
                    <a:pt x="235" y="39"/>
                  </a:lnTo>
                  <a:lnTo>
                    <a:pt x="239" y="46"/>
                  </a:lnTo>
                  <a:lnTo>
                    <a:pt x="241" y="52"/>
                  </a:lnTo>
                  <a:lnTo>
                    <a:pt x="241" y="54"/>
                  </a:lnTo>
                  <a:lnTo>
                    <a:pt x="244" y="58"/>
                  </a:lnTo>
                  <a:lnTo>
                    <a:pt x="249" y="63"/>
                  </a:lnTo>
                  <a:lnTo>
                    <a:pt x="252" y="66"/>
                  </a:lnTo>
                  <a:lnTo>
                    <a:pt x="259" y="68"/>
                  </a:lnTo>
                  <a:lnTo>
                    <a:pt x="259" y="75"/>
                  </a:lnTo>
                  <a:lnTo>
                    <a:pt x="259" y="81"/>
                  </a:lnTo>
                  <a:lnTo>
                    <a:pt x="261" y="88"/>
                  </a:lnTo>
                  <a:lnTo>
                    <a:pt x="261" y="93"/>
                  </a:lnTo>
                  <a:lnTo>
                    <a:pt x="266" y="102"/>
                  </a:lnTo>
                  <a:lnTo>
                    <a:pt x="270" y="104"/>
                  </a:lnTo>
                  <a:lnTo>
                    <a:pt x="273" y="100"/>
                  </a:lnTo>
                  <a:lnTo>
                    <a:pt x="275" y="102"/>
                  </a:lnTo>
                  <a:lnTo>
                    <a:pt x="276" y="107"/>
                  </a:lnTo>
                  <a:lnTo>
                    <a:pt x="283" y="109"/>
                  </a:lnTo>
                  <a:lnTo>
                    <a:pt x="290" y="105"/>
                  </a:lnTo>
                  <a:lnTo>
                    <a:pt x="292" y="102"/>
                  </a:lnTo>
                  <a:lnTo>
                    <a:pt x="288" y="102"/>
                  </a:lnTo>
                  <a:lnTo>
                    <a:pt x="292" y="100"/>
                  </a:lnTo>
                  <a:lnTo>
                    <a:pt x="290" y="100"/>
                  </a:lnTo>
                  <a:lnTo>
                    <a:pt x="295" y="100"/>
                  </a:lnTo>
                  <a:lnTo>
                    <a:pt x="293" y="104"/>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39" name="Freeform 77"/>
            <p:cNvSpPr>
              <a:spLocks noEditPoints="1"/>
            </p:cNvSpPr>
            <p:nvPr/>
          </p:nvSpPr>
          <p:spPr bwMode="gray">
            <a:xfrm>
              <a:off x="3084274" y="4426163"/>
              <a:ext cx="366660" cy="264507"/>
            </a:xfrm>
            <a:custGeom>
              <a:avLst/>
              <a:gdLst>
                <a:gd name="T0" fmla="*/ 49 w 201"/>
                <a:gd name="T1" fmla="*/ 143 h 145"/>
                <a:gd name="T2" fmla="*/ 85 w 201"/>
                <a:gd name="T3" fmla="*/ 138 h 145"/>
                <a:gd name="T4" fmla="*/ 17 w 201"/>
                <a:gd name="T5" fmla="*/ 111 h 145"/>
                <a:gd name="T6" fmla="*/ 17 w 201"/>
                <a:gd name="T7" fmla="*/ 112 h 145"/>
                <a:gd name="T8" fmla="*/ 17 w 201"/>
                <a:gd name="T9" fmla="*/ 90 h 145"/>
                <a:gd name="T10" fmla="*/ 14 w 201"/>
                <a:gd name="T11" fmla="*/ 99 h 145"/>
                <a:gd name="T12" fmla="*/ 10 w 201"/>
                <a:gd name="T13" fmla="*/ 97 h 145"/>
                <a:gd name="T14" fmla="*/ 7 w 201"/>
                <a:gd name="T15" fmla="*/ 92 h 145"/>
                <a:gd name="T16" fmla="*/ 0 w 201"/>
                <a:gd name="T17" fmla="*/ 97 h 145"/>
                <a:gd name="T18" fmla="*/ 14 w 201"/>
                <a:gd name="T19" fmla="*/ 88 h 145"/>
                <a:gd name="T20" fmla="*/ 90 w 201"/>
                <a:gd name="T21" fmla="*/ 17 h 145"/>
                <a:gd name="T22" fmla="*/ 89 w 201"/>
                <a:gd name="T23" fmla="*/ 18 h 145"/>
                <a:gd name="T24" fmla="*/ 90 w 201"/>
                <a:gd name="T25" fmla="*/ 17 h 145"/>
                <a:gd name="T26" fmla="*/ 126 w 201"/>
                <a:gd name="T27" fmla="*/ 17 h 145"/>
                <a:gd name="T28" fmla="*/ 195 w 201"/>
                <a:gd name="T29" fmla="*/ 34 h 145"/>
                <a:gd name="T30" fmla="*/ 189 w 201"/>
                <a:gd name="T31" fmla="*/ 44 h 145"/>
                <a:gd name="T32" fmla="*/ 196 w 201"/>
                <a:gd name="T33" fmla="*/ 49 h 145"/>
                <a:gd name="T34" fmla="*/ 198 w 201"/>
                <a:gd name="T35" fmla="*/ 66 h 145"/>
                <a:gd name="T36" fmla="*/ 179 w 201"/>
                <a:gd name="T37" fmla="*/ 66 h 145"/>
                <a:gd name="T38" fmla="*/ 171 w 201"/>
                <a:gd name="T39" fmla="*/ 61 h 145"/>
                <a:gd name="T40" fmla="*/ 167 w 201"/>
                <a:gd name="T41" fmla="*/ 64 h 145"/>
                <a:gd name="T42" fmla="*/ 164 w 201"/>
                <a:gd name="T43" fmla="*/ 59 h 145"/>
                <a:gd name="T44" fmla="*/ 160 w 201"/>
                <a:gd name="T45" fmla="*/ 76 h 145"/>
                <a:gd name="T46" fmla="*/ 155 w 201"/>
                <a:gd name="T47" fmla="*/ 85 h 145"/>
                <a:gd name="T48" fmla="*/ 159 w 201"/>
                <a:gd name="T49" fmla="*/ 104 h 145"/>
                <a:gd name="T50" fmla="*/ 166 w 201"/>
                <a:gd name="T51" fmla="*/ 117 h 145"/>
                <a:gd name="T52" fmla="*/ 154 w 201"/>
                <a:gd name="T53" fmla="*/ 131 h 145"/>
                <a:gd name="T54" fmla="*/ 143 w 201"/>
                <a:gd name="T55" fmla="*/ 141 h 145"/>
                <a:gd name="T56" fmla="*/ 136 w 201"/>
                <a:gd name="T57" fmla="*/ 134 h 145"/>
                <a:gd name="T58" fmla="*/ 119 w 201"/>
                <a:gd name="T59" fmla="*/ 128 h 145"/>
                <a:gd name="T60" fmla="*/ 97 w 201"/>
                <a:gd name="T61" fmla="*/ 121 h 145"/>
                <a:gd name="T62" fmla="*/ 94 w 201"/>
                <a:gd name="T63" fmla="*/ 124 h 145"/>
                <a:gd name="T64" fmla="*/ 80 w 201"/>
                <a:gd name="T65" fmla="*/ 124 h 145"/>
                <a:gd name="T66" fmla="*/ 66 w 201"/>
                <a:gd name="T67" fmla="*/ 124 h 145"/>
                <a:gd name="T68" fmla="*/ 51 w 201"/>
                <a:gd name="T69" fmla="*/ 128 h 145"/>
                <a:gd name="T70" fmla="*/ 37 w 201"/>
                <a:gd name="T71" fmla="*/ 124 h 145"/>
                <a:gd name="T72" fmla="*/ 19 w 201"/>
                <a:gd name="T73" fmla="*/ 124 h 145"/>
                <a:gd name="T74" fmla="*/ 15 w 201"/>
                <a:gd name="T75" fmla="*/ 123 h 145"/>
                <a:gd name="T76" fmla="*/ 12 w 201"/>
                <a:gd name="T77" fmla="*/ 112 h 145"/>
                <a:gd name="T78" fmla="*/ 27 w 201"/>
                <a:gd name="T79" fmla="*/ 105 h 145"/>
                <a:gd name="T80" fmla="*/ 36 w 201"/>
                <a:gd name="T81" fmla="*/ 109 h 145"/>
                <a:gd name="T82" fmla="*/ 39 w 201"/>
                <a:gd name="T83" fmla="*/ 116 h 145"/>
                <a:gd name="T84" fmla="*/ 48 w 201"/>
                <a:gd name="T85" fmla="*/ 117 h 145"/>
                <a:gd name="T86" fmla="*/ 56 w 201"/>
                <a:gd name="T87" fmla="*/ 102 h 145"/>
                <a:gd name="T88" fmla="*/ 63 w 201"/>
                <a:gd name="T89" fmla="*/ 93 h 145"/>
                <a:gd name="T90" fmla="*/ 68 w 201"/>
                <a:gd name="T91" fmla="*/ 80 h 145"/>
                <a:gd name="T92" fmla="*/ 75 w 201"/>
                <a:gd name="T93" fmla="*/ 85 h 145"/>
                <a:gd name="T94" fmla="*/ 85 w 201"/>
                <a:gd name="T95" fmla="*/ 75 h 145"/>
                <a:gd name="T96" fmla="*/ 87 w 201"/>
                <a:gd name="T97" fmla="*/ 58 h 145"/>
                <a:gd name="T98" fmla="*/ 90 w 201"/>
                <a:gd name="T99" fmla="*/ 41 h 145"/>
                <a:gd name="T100" fmla="*/ 97 w 201"/>
                <a:gd name="T101" fmla="*/ 29 h 145"/>
                <a:gd name="T102" fmla="*/ 107 w 201"/>
                <a:gd name="T103" fmla="*/ 17 h 145"/>
                <a:gd name="T104" fmla="*/ 116 w 201"/>
                <a:gd name="T105" fmla="*/ 8 h 145"/>
                <a:gd name="T106" fmla="*/ 119 w 201"/>
                <a:gd name="T107" fmla="*/ 18 h 145"/>
                <a:gd name="T108" fmla="*/ 121 w 201"/>
                <a:gd name="T109" fmla="*/ 23 h 145"/>
                <a:gd name="T110" fmla="*/ 136 w 201"/>
                <a:gd name="T111" fmla="*/ 18 h 145"/>
                <a:gd name="T112" fmla="*/ 150 w 201"/>
                <a:gd name="T113" fmla="*/ 18 h 145"/>
                <a:gd name="T114" fmla="*/ 166 w 201"/>
                <a:gd name="T115" fmla="*/ 29 h 145"/>
                <a:gd name="T116" fmla="*/ 177 w 201"/>
                <a:gd name="T117" fmla="*/ 27 h 145"/>
                <a:gd name="T118" fmla="*/ 188 w 201"/>
                <a:gd name="T119" fmla="*/ 23 h 145"/>
                <a:gd name="T120" fmla="*/ 142 w 201"/>
                <a:gd name="T12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1" h="145">
                  <a:moveTo>
                    <a:pt x="55" y="143"/>
                  </a:moveTo>
                  <a:lnTo>
                    <a:pt x="55" y="145"/>
                  </a:lnTo>
                  <a:lnTo>
                    <a:pt x="49" y="143"/>
                  </a:lnTo>
                  <a:lnTo>
                    <a:pt x="55" y="143"/>
                  </a:lnTo>
                  <a:close/>
                  <a:moveTo>
                    <a:pt x="85" y="136"/>
                  </a:moveTo>
                  <a:lnTo>
                    <a:pt x="85" y="138"/>
                  </a:lnTo>
                  <a:lnTo>
                    <a:pt x="78" y="140"/>
                  </a:lnTo>
                  <a:lnTo>
                    <a:pt x="85" y="136"/>
                  </a:lnTo>
                  <a:close/>
                  <a:moveTo>
                    <a:pt x="17" y="111"/>
                  </a:moveTo>
                  <a:lnTo>
                    <a:pt x="20" y="111"/>
                  </a:lnTo>
                  <a:lnTo>
                    <a:pt x="20" y="112"/>
                  </a:lnTo>
                  <a:lnTo>
                    <a:pt x="17" y="112"/>
                  </a:lnTo>
                  <a:lnTo>
                    <a:pt x="17" y="111"/>
                  </a:lnTo>
                  <a:close/>
                  <a:moveTo>
                    <a:pt x="19" y="85"/>
                  </a:moveTo>
                  <a:lnTo>
                    <a:pt x="17" y="90"/>
                  </a:lnTo>
                  <a:lnTo>
                    <a:pt x="19" y="95"/>
                  </a:lnTo>
                  <a:lnTo>
                    <a:pt x="17" y="99"/>
                  </a:lnTo>
                  <a:lnTo>
                    <a:pt x="14" y="99"/>
                  </a:lnTo>
                  <a:lnTo>
                    <a:pt x="10" y="104"/>
                  </a:lnTo>
                  <a:lnTo>
                    <a:pt x="8" y="102"/>
                  </a:lnTo>
                  <a:lnTo>
                    <a:pt x="10" y="97"/>
                  </a:lnTo>
                  <a:lnTo>
                    <a:pt x="8" y="93"/>
                  </a:lnTo>
                  <a:lnTo>
                    <a:pt x="8" y="92"/>
                  </a:lnTo>
                  <a:lnTo>
                    <a:pt x="7" y="92"/>
                  </a:lnTo>
                  <a:lnTo>
                    <a:pt x="3" y="97"/>
                  </a:lnTo>
                  <a:lnTo>
                    <a:pt x="0" y="95"/>
                  </a:lnTo>
                  <a:lnTo>
                    <a:pt x="0" y="97"/>
                  </a:lnTo>
                  <a:lnTo>
                    <a:pt x="2" y="93"/>
                  </a:lnTo>
                  <a:lnTo>
                    <a:pt x="10" y="87"/>
                  </a:lnTo>
                  <a:lnTo>
                    <a:pt x="14" y="88"/>
                  </a:lnTo>
                  <a:lnTo>
                    <a:pt x="14" y="87"/>
                  </a:lnTo>
                  <a:lnTo>
                    <a:pt x="19" y="85"/>
                  </a:lnTo>
                  <a:close/>
                  <a:moveTo>
                    <a:pt x="90" y="17"/>
                  </a:moveTo>
                  <a:lnTo>
                    <a:pt x="92" y="18"/>
                  </a:lnTo>
                  <a:lnTo>
                    <a:pt x="89" y="20"/>
                  </a:lnTo>
                  <a:lnTo>
                    <a:pt x="89" y="18"/>
                  </a:lnTo>
                  <a:lnTo>
                    <a:pt x="87" y="17"/>
                  </a:lnTo>
                  <a:lnTo>
                    <a:pt x="90" y="15"/>
                  </a:lnTo>
                  <a:lnTo>
                    <a:pt x="90" y="17"/>
                  </a:lnTo>
                  <a:close/>
                  <a:moveTo>
                    <a:pt x="126" y="13"/>
                  </a:moveTo>
                  <a:lnTo>
                    <a:pt x="128" y="15"/>
                  </a:lnTo>
                  <a:lnTo>
                    <a:pt x="126" y="17"/>
                  </a:lnTo>
                  <a:lnTo>
                    <a:pt x="125" y="13"/>
                  </a:lnTo>
                  <a:lnTo>
                    <a:pt x="126" y="13"/>
                  </a:lnTo>
                  <a:close/>
                  <a:moveTo>
                    <a:pt x="195" y="34"/>
                  </a:moveTo>
                  <a:lnTo>
                    <a:pt x="189" y="34"/>
                  </a:lnTo>
                  <a:lnTo>
                    <a:pt x="191" y="35"/>
                  </a:lnTo>
                  <a:lnTo>
                    <a:pt x="189" y="44"/>
                  </a:lnTo>
                  <a:lnTo>
                    <a:pt x="195" y="46"/>
                  </a:lnTo>
                  <a:lnTo>
                    <a:pt x="193" y="49"/>
                  </a:lnTo>
                  <a:lnTo>
                    <a:pt x="196" y="49"/>
                  </a:lnTo>
                  <a:lnTo>
                    <a:pt x="198" y="56"/>
                  </a:lnTo>
                  <a:lnTo>
                    <a:pt x="201" y="61"/>
                  </a:lnTo>
                  <a:lnTo>
                    <a:pt x="198" y="66"/>
                  </a:lnTo>
                  <a:lnTo>
                    <a:pt x="193" y="66"/>
                  </a:lnTo>
                  <a:lnTo>
                    <a:pt x="188" y="66"/>
                  </a:lnTo>
                  <a:lnTo>
                    <a:pt x="179" y="66"/>
                  </a:lnTo>
                  <a:lnTo>
                    <a:pt x="177" y="66"/>
                  </a:lnTo>
                  <a:lnTo>
                    <a:pt x="176" y="63"/>
                  </a:lnTo>
                  <a:lnTo>
                    <a:pt x="171" y="61"/>
                  </a:lnTo>
                  <a:lnTo>
                    <a:pt x="169" y="63"/>
                  </a:lnTo>
                  <a:lnTo>
                    <a:pt x="171" y="64"/>
                  </a:lnTo>
                  <a:lnTo>
                    <a:pt x="167" y="64"/>
                  </a:lnTo>
                  <a:lnTo>
                    <a:pt x="164" y="64"/>
                  </a:lnTo>
                  <a:lnTo>
                    <a:pt x="166" y="61"/>
                  </a:lnTo>
                  <a:lnTo>
                    <a:pt x="164" y="59"/>
                  </a:lnTo>
                  <a:lnTo>
                    <a:pt x="159" y="64"/>
                  </a:lnTo>
                  <a:lnTo>
                    <a:pt x="162" y="73"/>
                  </a:lnTo>
                  <a:lnTo>
                    <a:pt x="160" y="76"/>
                  </a:lnTo>
                  <a:lnTo>
                    <a:pt x="155" y="76"/>
                  </a:lnTo>
                  <a:lnTo>
                    <a:pt x="157" y="78"/>
                  </a:lnTo>
                  <a:lnTo>
                    <a:pt x="155" y="85"/>
                  </a:lnTo>
                  <a:lnTo>
                    <a:pt x="159" y="92"/>
                  </a:lnTo>
                  <a:lnTo>
                    <a:pt x="159" y="97"/>
                  </a:lnTo>
                  <a:lnTo>
                    <a:pt x="159" y="104"/>
                  </a:lnTo>
                  <a:lnTo>
                    <a:pt x="162" y="112"/>
                  </a:lnTo>
                  <a:lnTo>
                    <a:pt x="171" y="114"/>
                  </a:lnTo>
                  <a:lnTo>
                    <a:pt x="166" y="117"/>
                  </a:lnTo>
                  <a:lnTo>
                    <a:pt x="159" y="121"/>
                  </a:lnTo>
                  <a:lnTo>
                    <a:pt x="159" y="126"/>
                  </a:lnTo>
                  <a:lnTo>
                    <a:pt x="154" y="131"/>
                  </a:lnTo>
                  <a:lnTo>
                    <a:pt x="155" y="140"/>
                  </a:lnTo>
                  <a:lnTo>
                    <a:pt x="152" y="141"/>
                  </a:lnTo>
                  <a:lnTo>
                    <a:pt x="143" y="141"/>
                  </a:lnTo>
                  <a:lnTo>
                    <a:pt x="143" y="140"/>
                  </a:lnTo>
                  <a:lnTo>
                    <a:pt x="136" y="138"/>
                  </a:lnTo>
                  <a:lnTo>
                    <a:pt x="136" y="134"/>
                  </a:lnTo>
                  <a:lnTo>
                    <a:pt x="135" y="134"/>
                  </a:lnTo>
                  <a:lnTo>
                    <a:pt x="126" y="131"/>
                  </a:lnTo>
                  <a:lnTo>
                    <a:pt x="119" y="128"/>
                  </a:lnTo>
                  <a:lnTo>
                    <a:pt x="114" y="123"/>
                  </a:lnTo>
                  <a:lnTo>
                    <a:pt x="106" y="119"/>
                  </a:lnTo>
                  <a:lnTo>
                    <a:pt x="97" y="121"/>
                  </a:lnTo>
                  <a:lnTo>
                    <a:pt x="94" y="123"/>
                  </a:lnTo>
                  <a:lnTo>
                    <a:pt x="96" y="124"/>
                  </a:lnTo>
                  <a:lnTo>
                    <a:pt x="94" y="124"/>
                  </a:lnTo>
                  <a:lnTo>
                    <a:pt x="92" y="123"/>
                  </a:lnTo>
                  <a:lnTo>
                    <a:pt x="85" y="123"/>
                  </a:lnTo>
                  <a:lnTo>
                    <a:pt x="80" y="124"/>
                  </a:lnTo>
                  <a:lnTo>
                    <a:pt x="75" y="123"/>
                  </a:lnTo>
                  <a:lnTo>
                    <a:pt x="68" y="123"/>
                  </a:lnTo>
                  <a:lnTo>
                    <a:pt x="66" y="124"/>
                  </a:lnTo>
                  <a:lnTo>
                    <a:pt x="61" y="124"/>
                  </a:lnTo>
                  <a:lnTo>
                    <a:pt x="55" y="126"/>
                  </a:lnTo>
                  <a:lnTo>
                    <a:pt x="51" y="128"/>
                  </a:lnTo>
                  <a:lnTo>
                    <a:pt x="44" y="126"/>
                  </a:lnTo>
                  <a:lnTo>
                    <a:pt x="41" y="123"/>
                  </a:lnTo>
                  <a:lnTo>
                    <a:pt x="37" y="124"/>
                  </a:lnTo>
                  <a:lnTo>
                    <a:pt x="36" y="121"/>
                  </a:lnTo>
                  <a:lnTo>
                    <a:pt x="24" y="119"/>
                  </a:lnTo>
                  <a:lnTo>
                    <a:pt x="19" y="124"/>
                  </a:lnTo>
                  <a:lnTo>
                    <a:pt x="15" y="123"/>
                  </a:lnTo>
                  <a:lnTo>
                    <a:pt x="17" y="123"/>
                  </a:lnTo>
                  <a:lnTo>
                    <a:pt x="15" y="123"/>
                  </a:lnTo>
                  <a:lnTo>
                    <a:pt x="17" y="121"/>
                  </a:lnTo>
                  <a:lnTo>
                    <a:pt x="15" y="117"/>
                  </a:lnTo>
                  <a:lnTo>
                    <a:pt x="12" y="112"/>
                  </a:lnTo>
                  <a:lnTo>
                    <a:pt x="19" y="114"/>
                  </a:lnTo>
                  <a:lnTo>
                    <a:pt x="20" y="111"/>
                  </a:lnTo>
                  <a:lnTo>
                    <a:pt x="27" y="105"/>
                  </a:lnTo>
                  <a:lnTo>
                    <a:pt x="27" y="102"/>
                  </a:lnTo>
                  <a:lnTo>
                    <a:pt x="32" y="100"/>
                  </a:lnTo>
                  <a:lnTo>
                    <a:pt x="36" y="109"/>
                  </a:lnTo>
                  <a:lnTo>
                    <a:pt x="34" y="111"/>
                  </a:lnTo>
                  <a:lnTo>
                    <a:pt x="37" y="116"/>
                  </a:lnTo>
                  <a:lnTo>
                    <a:pt x="39" y="116"/>
                  </a:lnTo>
                  <a:lnTo>
                    <a:pt x="41" y="121"/>
                  </a:lnTo>
                  <a:lnTo>
                    <a:pt x="44" y="121"/>
                  </a:lnTo>
                  <a:lnTo>
                    <a:pt x="48" y="117"/>
                  </a:lnTo>
                  <a:lnTo>
                    <a:pt x="48" y="111"/>
                  </a:lnTo>
                  <a:lnTo>
                    <a:pt x="56" y="104"/>
                  </a:lnTo>
                  <a:lnTo>
                    <a:pt x="56" y="102"/>
                  </a:lnTo>
                  <a:lnTo>
                    <a:pt x="58" y="100"/>
                  </a:lnTo>
                  <a:lnTo>
                    <a:pt x="61" y="99"/>
                  </a:lnTo>
                  <a:lnTo>
                    <a:pt x="63" y="93"/>
                  </a:lnTo>
                  <a:lnTo>
                    <a:pt x="61" y="90"/>
                  </a:lnTo>
                  <a:lnTo>
                    <a:pt x="65" y="80"/>
                  </a:lnTo>
                  <a:lnTo>
                    <a:pt x="68" y="80"/>
                  </a:lnTo>
                  <a:lnTo>
                    <a:pt x="68" y="83"/>
                  </a:lnTo>
                  <a:lnTo>
                    <a:pt x="73" y="87"/>
                  </a:lnTo>
                  <a:lnTo>
                    <a:pt x="75" y="85"/>
                  </a:lnTo>
                  <a:lnTo>
                    <a:pt x="80" y="85"/>
                  </a:lnTo>
                  <a:lnTo>
                    <a:pt x="84" y="82"/>
                  </a:lnTo>
                  <a:lnTo>
                    <a:pt x="85" y="75"/>
                  </a:lnTo>
                  <a:lnTo>
                    <a:pt x="85" y="66"/>
                  </a:lnTo>
                  <a:lnTo>
                    <a:pt x="89" y="59"/>
                  </a:lnTo>
                  <a:lnTo>
                    <a:pt x="87" y="58"/>
                  </a:lnTo>
                  <a:lnTo>
                    <a:pt x="87" y="51"/>
                  </a:lnTo>
                  <a:lnTo>
                    <a:pt x="90" y="42"/>
                  </a:lnTo>
                  <a:lnTo>
                    <a:pt x="90" y="41"/>
                  </a:lnTo>
                  <a:lnTo>
                    <a:pt x="94" y="35"/>
                  </a:lnTo>
                  <a:lnTo>
                    <a:pt x="94" y="32"/>
                  </a:lnTo>
                  <a:lnTo>
                    <a:pt x="97" y="29"/>
                  </a:lnTo>
                  <a:lnTo>
                    <a:pt x="102" y="23"/>
                  </a:lnTo>
                  <a:lnTo>
                    <a:pt x="106" y="22"/>
                  </a:lnTo>
                  <a:lnTo>
                    <a:pt x="107" y="17"/>
                  </a:lnTo>
                  <a:lnTo>
                    <a:pt x="106" y="13"/>
                  </a:lnTo>
                  <a:lnTo>
                    <a:pt x="113" y="8"/>
                  </a:lnTo>
                  <a:lnTo>
                    <a:pt x="116" y="8"/>
                  </a:lnTo>
                  <a:lnTo>
                    <a:pt x="119" y="12"/>
                  </a:lnTo>
                  <a:lnTo>
                    <a:pt x="121" y="15"/>
                  </a:lnTo>
                  <a:lnTo>
                    <a:pt x="119" y="18"/>
                  </a:lnTo>
                  <a:lnTo>
                    <a:pt x="121" y="20"/>
                  </a:lnTo>
                  <a:lnTo>
                    <a:pt x="119" y="20"/>
                  </a:lnTo>
                  <a:lnTo>
                    <a:pt x="121" y="23"/>
                  </a:lnTo>
                  <a:lnTo>
                    <a:pt x="126" y="25"/>
                  </a:lnTo>
                  <a:lnTo>
                    <a:pt x="135" y="23"/>
                  </a:lnTo>
                  <a:lnTo>
                    <a:pt x="136" y="18"/>
                  </a:lnTo>
                  <a:lnTo>
                    <a:pt x="138" y="17"/>
                  </a:lnTo>
                  <a:lnTo>
                    <a:pt x="147" y="20"/>
                  </a:lnTo>
                  <a:lnTo>
                    <a:pt x="150" y="18"/>
                  </a:lnTo>
                  <a:lnTo>
                    <a:pt x="154" y="20"/>
                  </a:lnTo>
                  <a:lnTo>
                    <a:pt x="157" y="25"/>
                  </a:lnTo>
                  <a:lnTo>
                    <a:pt x="166" y="29"/>
                  </a:lnTo>
                  <a:lnTo>
                    <a:pt x="171" y="27"/>
                  </a:lnTo>
                  <a:lnTo>
                    <a:pt x="171" y="23"/>
                  </a:lnTo>
                  <a:lnTo>
                    <a:pt x="177" y="27"/>
                  </a:lnTo>
                  <a:lnTo>
                    <a:pt x="184" y="22"/>
                  </a:lnTo>
                  <a:lnTo>
                    <a:pt x="186" y="25"/>
                  </a:lnTo>
                  <a:lnTo>
                    <a:pt x="188" y="23"/>
                  </a:lnTo>
                  <a:lnTo>
                    <a:pt x="193" y="27"/>
                  </a:lnTo>
                  <a:lnTo>
                    <a:pt x="195" y="34"/>
                  </a:lnTo>
                  <a:close/>
                  <a:moveTo>
                    <a:pt x="142" y="0"/>
                  </a:moveTo>
                  <a:lnTo>
                    <a:pt x="136" y="0"/>
                  </a:lnTo>
                  <a:lnTo>
                    <a:pt x="142"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40" name="Freeform 78"/>
            <p:cNvSpPr>
              <a:spLocks noEditPoints="1"/>
            </p:cNvSpPr>
            <p:nvPr/>
          </p:nvSpPr>
          <p:spPr bwMode="gray">
            <a:xfrm>
              <a:off x="3387088" y="4422514"/>
              <a:ext cx="105803" cy="124044"/>
            </a:xfrm>
            <a:custGeom>
              <a:avLst/>
              <a:gdLst>
                <a:gd name="T0" fmla="*/ 58 w 58"/>
                <a:gd name="T1" fmla="*/ 36 h 68"/>
                <a:gd name="T2" fmla="*/ 58 w 58"/>
                <a:gd name="T3" fmla="*/ 43 h 68"/>
                <a:gd name="T4" fmla="*/ 58 w 58"/>
                <a:gd name="T5" fmla="*/ 48 h 68"/>
                <a:gd name="T6" fmla="*/ 54 w 58"/>
                <a:gd name="T7" fmla="*/ 55 h 68"/>
                <a:gd name="T8" fmla="*/ 49 w 58"/>
                <a:gd name="T9" fmla="*/ 56 h 68"/>
                <a:gd name="T10" fmla="*/ 51 w 58"/>
                <a:gd name="T11" fmla="*/ 61 h 68"/>
                <a:gd name="T12" fmla="*/ 51 w 58"/>
                <a:gd name="T13" fmla="*/ 68 h 68"/>
                <a:gd name="T14" fmla="*/ 47 w 58"/>
                <a:gd name="T15" fmla="*/ 68 h 68"/>
                <a:gd name="T16" fmla="*/ 42 w 58"/>
                <a:gd name="T17" fmla="*/ 65 h 68"/>
                <a:gd name="T18" fmla="*/ 40 w 58"/>
                <a:gd name="T19" fmla="*/ 66 h 68"/>
                <a:gd name="T20" fmla="*/ 37 w 58"/>
                <a:gd name="T21" fmla="*/ 68 h 68"/>
                <a:gd name="T22" fmla="*/ 39 w 58"/>
                <a:gd name="T23" fmla="*/ 63 h 68"/>
                <a:gd name="T24" fmla="*/ 35 w 58"/>
                <a:gd name="T25" fmla="*/ 63 h 68"/>
                <a:gd name="T26" fmla="*/ 32 w 58"/>
                <a:gd name="T27" fmla="*/ 58 h 68"/>
                <a:gd name="T28" fmla="*/ 30 w 58"/>
                <a:gd name="T29" fmla="*/ 51 h 68"/>
                <a:gd name="T30" fmla="*/ 27 w 58"/>
                <a:gd name="T31" fmla="*/ 51 h 68"/>
                <a:gd name="T32" fmla="*/ 29 w 58"/>
                <a:gd name="T33" fmla="*/ 48 h 68"/>
                <a:gd name="T34" fmla="*/ 23 w 58"/>
                <a:gd name="T35" fmla="*/ 46 h 68"/>
                <a:gd name="T36" fmla="*/ 25 w 58"/>
                <a:gd name="T37" fmla="*/ 37 h 68"/>
                <a:gd name="T38" fmla="*/ 23 w 58"/>
                <a:gd name="T39" fmla="*/ 36 h 68"/>
                <a:gd name="T40" fmla="*/ 29 w 58"/>
                <a:gd name="T41" fmla="*/ 36 h 68"/>
                <a:gd name="T42" fmla="*/ 35 w 58"/>
                <a:gd name="T43" fmla="*/ 37 h 68"/>
                <a:gd name="T44" fmla="*/ 37 w 58"/>
                <a:gd name="T45" fmla="*/ 36 h 68"/>
                <a:gd name="T46" fmla="*/ 39 w 58"/>
                <a:gd name="T47" fmla="*/ 39 h 68"/>
                <a:gd name="T48" fmla="*/ 46 w 58"/>
                <a:gd name="T49" fmla="*/ 37 h 68"/>
                <a:gd name="T50" fmla="*/ 47 w 58"/>
                <a:gd name="T51" fmla="*/ 36 h 68"/>
                <a:gd name="T52" fmla="*/ 47 w 58"/>
                <a:gd name="T53" fmla="*/ 37 h 68"/>
                <a:gd name="T54" fmla="*/ 47 w 58"/>
                <a:gd name="T55" fmla="*/ 36 h 68"/>
                <a:gd name="T56" fmla="*/ 49 w 58"/>
                <a:gd name="T57" fmla="*/ 37 h 68"/>
                <a:gd name="T58" fmla="*/ 56 w 58"/>
                <a:gd name="T59" fmla="*/ 36 h 68"/>
                <a:gd name="T60" fmla="*/ 58 w 58"/>
                <a:gd name="T61" fmla="*/ 36 h 68"/>
                <a:gd name="T62" fmla="*/ 15 w 58"/>
                <a:gd name="T63" fmla="*/ 7 h 68"/>
                <a:gd name="T64" fmla="*/ 17 w 58"/>
                <a:gd name="T65" fmla="*/ 7 h 68"/>
                <a:gd name="T66" fmla="*/ 17 w 58"/>
                <a:gd name="T67" fmla="*/ 8 h 68"/>
                <a:gd name="T68" fmla="*/ 15 w 58"/>
                <a:gd name="T69" fmla="*/ 8 h 68"/>
                <a:gd name="T70" fmla="*/ 15 w 58"/>
                <a:gd name="T71" fmla="*/ 7 h 68"/>
                <a:gd name="T72" fmla="*/ 0 w 58"/>
                <a:gd name="T73" fmla="*/ 0 h 68"/>
                <a:gd name="T74" fmla="*/ 3 w 58"/>
                <a:gd name="T75" fmla="*/ 0 h 68"/>
                <a:gd name="T76" fmla="*/ 3 w 58"/>
                <a:gd name="T77" fmla="*/ 2 h 68"/>
                <a:gd name="T78" fmla="*/ 0 w 58"/>
                <a:gd name="T79" fmla="*/ 2 h 68"/>
                <a:gd name="T80" fmla="*/ 0 w 58"/>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68">
                  <a:moveTo>
                    <a:pt x="58" y="36"/>
                  </a:moveTo>
                  <a:lnTo>
                    <a:pt x="58" y="43"/>
                  </a:lnTo>
                  <a:lnTo>
                    <a:pt x="58" y="48"/>
                  </a:lnTo>
                  <a:lnTo>
                    <a:pt x="54" y="55"/>
                  </a:lnTo>
                  <a:lnTo>
                    <a:pt x="49" y="56"/>
                  </a:lnTo>
                  <a:lnTo>
                    <a:pt x="51" y="61"/>
                  </a:lnTo>
                  <a:lnTo>
                    <a:pt x="51" y="68"/>
                  </a:lnTo>
                  <a:lnTo>
                    <a:pt x="47" y="68"/>
                  </a:lnTo>
                  <a:lnTo>
                    <a:pt x="42" y="65"/>
                  </a:lnTo>
                  <a:lnTo>
                    <a:pt x="40" y="66"/>
                  </a:lnTo>
                  <a:lnTo>
                    <a:pt x="37" y="68"/>
                  </a:lnTo>
                  <a:lnTo>
                    <a:pt x="39" y="63"/>
                  </a:lnTo>
                  <a:lnTo>
                    <a:pt x="35" y="63"/>
                  </a:lnTo>
                  <a:lnTo>
                    <a:pt x="32" y="58"/>
                  </a:lnTo>
                  <a:lnTo>
                    <a:pt x="30" y="51"/>
                  </a:lnTo>
                  <a:lnTo>
                    <a:pt x="27" y="51"/>
                  </a:lnTo>
                  <a:lnTo>
                    <a:pt x="29" y="48"/>
                  </a:lnTo>
                  <a:lnTo>
                    <a:pt x="23" y="46"/>
                  </a:lnTo>
                  <a:lnTo>
                    <a:pt x="25" y="37"/>
                  </a:lnTo>
                  <a:lnTo>
                    <a:pt x="23" y="36"/>
                  </a:lnTo>
                  <a:lnTo>
                    <a:pt x="29" y="36"/>
                  </a:lnTo>
                  <a:lnTo>
                    <a:pt x="35" y="37"/>
                  </a:lnTo>
                  <a:lnTo>
                    <a:pt x="37" y="36"/>
                  </a:lnTo>
                  <a:lnTo>
                    <a:pt x="39" y="39"/>
                  </a:lnTo>
                  <a:lnTo>
                    <a:pt x="46" y="37"/>
                  </a:lnTo>
                  <a:lnTo>
                    <a:pt x="47" y="36"/>
                  </a:lnTo>
                  <a:lnTo>
                    <a:pt x="47" y="37"/>
                  </a:lnTo>
                  <a:lnTo>
                    <a:pt x="47" y="36"/>
                  </a:lnTo>
                  <a:lnTo>
                    <a:pt x="49" y="37"/>
                  </a:lnTo>
                  <a:lnTo>
                    <a:pt x="56" y="36"/>
                  </a:lnTo>
                  <a:lnTo>
                    <a:pt x="58" y="36"/>
                  </a:lnTo>
                  <a:close/>
                  <a:moveTo>
                    <a:pt x="15" y="7"/>
                  </a:moveTo>
                  <a:lnTo>
                    <a:pt x="17" y="7"/>
                  </a:lnTo>
                  <a:lnTo>
                    <a:pt x="17" y="8"/>
                  </a:lnTo>
                  <a:lnTo>
                    <a:pt x="15" y="8"/>
                  </a:lnTo>
                  <a:lnTo>
                    <a:pt x="15" y="7"/>
                  </a:lnTo>
                  <a:close/>
                  <a:moveTo>
                    <a:pt x="0" y="0"/>
                  </a:moveTo>
                  <a:lnTo>
                    <a:pt x="3" y="0"/>
                  </a:lnTo>
                  <a:lnTo>
                    <a:pt x="3" y="2"/>
                  </a:lnTo>
                  <a:lnTo>
                    <a:pt x="0" y="2"/>
                  </a:lnTo>
                  <a:lnTo>
                    <a:pt x="0" y="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41" name="Freeform 79"/>
            <p:cNvSpPr>
              <a:spLocks noEditPoints="1"/>
            </p:cNvSpPr>
            <p:nvPr/>
          </p:nvSpPr>
          <p:spPr bwMode="gray">
            <a:xfrm>
              <a:off x="1663235" y="2957696"/>
              <a:ext cx="720552" cy="959520"/>
            </a:xfrm>
            <a:custGeom>
              <a:avLst/>
              <a:gdLst>
                <a:gd name="T0" fmla="*/ 236 w 395"/>
                <a:gd name="T1" fmla="*/ 499 h 526"/>
                <a:gd name="T2" fmla="*/ 226 w 395"/>
                <a:gd name="T3" fmla="*/ 494 h 526"/>
                <a:gd name="T4" fmla="*/ 188 w 395"/>
                <a:gd name="T5" fmla="*/ 475 h 526"/>
                <a:gd name="T6" fmla="*/ 210 w 395"/>
                <a:gd name="T7" fmla="*/ 456 h 526"/>
                <a:gd name="T8" fmla="*/ 224 w 395"/>
                <a:gd name="T9" fmla="*/ 482 h 526"/>
                <a:gd name="T10" fmla="*/ 217 w 395"/>
                <a:gd name="T11" fmla="*/ 492 h 526"/>
                <a:gd name="T12" fmla="*/ 207 w 395"/>
                <a:gd name="T13" fmla="*/ 494 h 526"/>
                <a:gd name="T14" fmla="*/ 200 w 395"/>
                <a:gd name="T15" fmla="*/ 477 h 526"/>
                <a:gd name="T16" fmla="*/ 190 w 395"/>
                <a:gd name="T17" fmla="*/ 444 h 526"/>
                <a:gd name="T18" fmla="*/ 195 w 395"/>
                <a:gd name="T19" fmla="*/ 441 h 526"/>
                <a:gd name="T20" fmla="*/ 168 w 395"/>
                <a:gd name="T21" fmla="*/ 442 h 526"/>
                <a:gd name="T22" fmla="*/ 168 w 395"/>
                <a:gd name="T23" fmla="*/ 422 h 526"/>
                <a:gd name="T24" fmla="*/ 134 w 395"/>
                <a:gd name="T25" fmla="*/ 393 h 526"/>
                <a:gd name="T26" fmla="*/ 135 w 395"/>
                <a:gd name="T27" fmla="*/ 369 h 526"/>
                <a:gd name="T28" fmla="*/ 149 w 395"/>
                <a:gd name="T29" fmla="*/ 391 h 526"/>
                <a:gd name="T30" fmla="*/ 120 w 395"/>
                <a:gd name="T31" fmla="*/ 379 h 526"/>
                <a:gd name="T32" fmla="*/ 122 w 395"/>
                <a:gd name="T33" fmla="*/ 350 h 526"/>
                <a:gd name="T34" fmla="*/ 86 w 395"/>
                <a:gd name="T35" fmla="*/ 340 h 526"/>
                <a:gd name="T36" fmla="*/ 216 w 395"/>
                <a:gd name="T37" fmla="*/ 251 h 526"/>
                <a:gd name="T38" fmla="*/ 38 w 395"/>
                <a:gd name="T39" fmla="*/ 222 h 526"/>
                <a:gd name="T40" fmla="*/ 55 w 395"/>
                <a:gd name="T41" fmla="*/ 256 h 526"/>
                <a:gd name="T42" fmla="*/ 64 w 395"/>
                <a:gd name="T43" fmla="*/ 275 h 526"/>
                <a:gd name="T44" fmla="*/ 72 w 395"/>
                <a:gd name="T45" fmla="*/ 294 h 526"/>
                <a:gd name="T46" fmla="*/ 82 w 395"/>
                <a:gd name="T47" fmla="*/ 311 h 526"/>
                <a:gd name="T48" fmla="*/ 79 w 395"/>
                <a:gd name="T49" fmla="*/ 314 h 526"/>
                <a:gd name="T50" fmla="*/ 77 w 395"/>
                <a:gd name="T51" fmla="*/ 318 h 526"/>
                <a:gd name="T52" fmla="*/ 40 w 395"/>
                <a:gd name="T53" fmla="*/ 313 h 526"/>
                <a:gd name="T54" fmla="*/ 7 w 395"/>
                <a:gd name="T55" fmla="*/ 267 h 526"/>
                <a:gd name="T56" fmla="*/ 24 w 395"/>
                <a:gd name="T57" fmla="*/ 224 h 526"/>
                <a:gd name="T58" fmla="*/ 193 w 395"/>
                <a:gd name="T59" fmla="*/ 19 h 526"/>
                <a:gd name="T60" fmla="*/ 200 w 395"/>
                <a:gd name="T61" fmla="*/ 58 h 526"/>
                <a:gd name="T62" fmla="*/ 233 w 395"/>
                <a:gd name="T63" fmla="*/ 72 h 526"/>
                <a:gd name="T64" fmla="*/ 263 w 395"/>
                <a:gd name="T65" fmla="*/ 94 h 526"/>
                <a:gd name="T66" fmla="*/ 258 w 395"/>
                <a:gd name="T67" fmla="*/ 125 h 526"/>
                <a:gd name="T68" fmla="*/ 294 w 395"/>
                <a:gd name="T69" fmla="*/ 152 h 526"/>
                <a:gd name="T70" fmla="*/ 328 w 395"/>
                <a:gd name="T71" fmla="*/ 186 h 526"/>
                <a:gd name="T72" fmla="*/ 362 w 395"/>
                <a:gd name="T73" fmla="*/ 207 h 526"/>
                <a:gd name="T74" fmla="*/ 388 w 395"/>
                <a:gd name="T75" fmla="*/ 234 h 526"/>
                <a:gd name="T76" fmla="*/ 371 w 395"/>
                <a:gd name="T77" fmla="*/ 261 h 526"/>
                <a:gd name="T78" fmla="*/ 349 w 395"/>
                <a:gd name="T79" fmla="*/ 308 h 526"/>
                <a:gd name="T80" fmla="*/ 304 w 395"/>
                <a:gd name="T81" fmla="*/ 311 h 526"/>
                <a:gd name="T82" fmla="*/ 320 w 395"/>
                <a:gd name="T83" fmla="*/ 360 h 526"/>
                <a:gd name="T84" fmla="*/ 296 w 395"/>
                <a:gd name="T85" fmla="*/ 401 h 526"/>
                <a:gd name="T86" fmla="*/ 272 w 395"/>
                <a:gd name="T87" fmla="*/ 345 h 526"/>
                <a:gd name="T88" fmla="*/ 245 w 395"/>
                <a:gd name="T89" fmla="*/ 296 h 526"/>
                <a:gd name="T90" fmla="*/ 238 w 395"/>
                <a:gd name="T91" fmla="*/ 272 h 526"/>
                <a:gd name="T92" fmla="*/ 219 w 395"/>
                <a:gd name="T93" fmla="*/ 255 h 526"/>
                <a:gd name="T94" fmla="*/ 217 w 395"/>
                <a:gd name="T95" fmla="*/ 238 h 526"/>
                <a:gd name="T96" fmla="*/ 205 w 395"/>
                <a:gd name="T97" fmla="*/ 207 h 526"/>
                <a:gd name="T98" fmla="*/ 180 w 395"/>
                <a:gd name="T99" fmla="*/ 176 h 526"/>
                <a:gd name="T100" fmla="*/ 139 w 395"/>
                <a:gd name="T101" fmla="*/ 127 h 526"/>
                <a:gd name="T102" fmla="*/ 132 w 395"/>
                <a:gd name="T103" fmla="*/ 106 h 526"/>
                <a:gd name="T104" fmla="*/ 113 w 395"/>
                <a:gd name="T105" fmla="*/ 96 h 526"/>
                <a:gd name="T106" fmla="*/ 93 w 395"/>
                <a:gd name="T107" fmla="*/ 86 h 526"/>
                <a:gd name="T108" fmla="*/ 72 w 395"/>
                <a:gd name="T109" fmla="*/ 74 h 526"/>
                <a:gd name="T110" fmla="*/ 113 w 395"/>
                <a:gd name="T111" fmla="*/ 46 h 526"/>
                <a:gd name="T112" fmla="*/ 158 w 395"/>
                <a:gd name="T113" fmla="*/ 33 h 526"/>
                <a:gd name="T114" fmla="*/ 168 w 395"/>
                <a:gd name="T115" fmla="*/ 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5" h="526">
                  <a:moveTo>
                    <a:pt x="246" y="524"/>
                  </a:moveTo>
                  <a:lnTo>
                    <a:pt x="250" y="526"/>
                  </a:lnTo>
                  <a:lnTo>
                    <a:pt x="245" y="526"/>
                  </a:lnTo>
                  <a:lnTo>
                    <a:pt x="245" y="524"/>
                  </a:lnTo>
                  <a:lnTo>
                    <a:pt x="246" y="524"/>
                  </a:lnTo>
                  <a:close/>
                  <a:moveTo>
                    <a:pt x="236" y="499"/>
                  </a:moveTo>
                  <a:lnTo>
                    <a:pt x="238" y="499"/>
                  </a:lnTo>
                  <a:lnTo>
                    <a:pt x="238" y="501"/>
                  </a:lnTo>
                  <a:lnTo>
                    <a:pt x="236" y="501"/>
                  </a:lnTo>
                  <a:lnTo>
                    <a:pt x="236" y="499"/>
                  </a:lnTo>
                  <a:close/>
                  <a:moveTo>
                    <a:pt x="217" y="494"/>
                  </a:moveTo>
                  <a:lnTo>
                    <a:pt x="219" y="494"/>
                  </a:lnTo>
                  <a:lnTo>
                    <a:pt x="219" y="495"/>
                  </a:lnTo>
                  <a:lnTo>
                    <a:pt x="217" y="495"/>
                  </a:lnTo>
                  <a:lnTo>
                    <a:pt x="217" y="494"/>
                  </a:lnTo>
                  <a:close/>
                  <a:moveTo>
                    <a:pt x="226" y="494"/>
                  </a:moveTo>
                  <a:lnTo>
                    <a:pt x="228" y="494"/>
                  </a:lnTo>
                  <a:lnTo>
                    <a:pt x="228" y="495"/>
                  </a:lnTo>
                  <a:lnTo>
                    <a:pt x="226" y="495"/>
                  </a:lnTo>
                  <a:lnTo>
                    <a:pt x="226" y="494"/>
                  </a:lnTo>
                  <a:close/>
                  <a:moveTo>
                    <a:pt x="228" y="485"/>
                  </a:moveTo>
                  <a:lnTo>
                    <a:pt x="233" y="492"/>
                  </a:lnTo>
                  <a:lnTo>
                    <a:pt x="229" y="492"/>
                  </a:lnTo>
                  <a:lnTo>
                    <a:pt x="228" y="490"/>
                  </a:lnTo>
                  <a:lnTo>
                    <a:pt x="228" y="485"/>
                  </a:lnTo>
                  <a:close/>
                  <a:moveTo>
                    <a:pt x="188" y="475"/>
                  </a:moveTo>
                  <a:lnTo>
                    <a:pt x="192" y="475"/>
                  </a:lnTo>
                  <a:lnTo>
                    <a:pt x="192" y="477"/>
                  </a:lnTo>
                  <a:lnTo>
                    <a:pt x="188" y="477"/>
                  </a:lnTo>
                  <a:lnTo>
                    <a:pt x="188" y="475"/>
                  </a:lnTo>
                  <a:close/>
                  <a:moveTo>
                    <a:pt x="185" y="451"/>
                  </a:moveTo>
                  <a:lnTo>
                    <a:pt x="187" y="451"/>
                  </a:lnTo>
                  <a:lnTo>
                    <a:pt x="185" y="451"/>
                  </a:lnTo>
                  <a:close/>
                  <a:moveTo>
                    <a:pt x="197" y="442"/>
                  </a:moveTo>
                  <a:lnTo>
                    <a:pt x="200" y="444"/>
                  </a:lnTo>
                  <a:lnTo>
                    <a:pt x="199" y="446"/>
                  </a:lnTo>
                  <a:lnTo>
                    <a:pt x="200" y="446"/>
                  </a:lnTo>
                  <a:lnTo>
                    <a:pt x="200" y="449"/>
                  </a:lnTo>
                  <a:lnTo>
                    <a:pt x="202" y="449"/>
                  </a:lnTo>
                  <a:lnTo>
                    <a:pt x="210" y="456"/>
                  </a:lnTo>
                  <a:lnTo>
                    <a:pt x="216" y="463"/>
                  </a:lnTo>
                  <a:lnTo>
                    <a:pt x="219" y="465"/>
                  </a:lnTo>
                  <a:lnTo>
                    <a:pt x="221" y="468"/>
                  </a:lnTo>
                  <a:lnTo>
                    <a:pt x="224" y="470"/>
                  </a:lnTo>
                  <a:lnTo>
                    <a:pt x="224" y="472"/>
                  </a:lnTo>
                  <a:lnTo>
                    <a:pt x="222" y="472"/>
                  </a:lnTo>
                  <a:lnTo>
                    <a:pt x="222" y="473"/>
                  </a:lnTo>
                  <a:lnTo>
                    <a:pt x="222" y="472"/>
                  </a:lnTo>
                  <a:lnTo>
                    <a:pt x="224" y="473"/>
                  </a:lnTo>
                  <a:lnTo>
                    <a:pt x="224" y="482"/>
                  </a:lnTo>
                  <a:lnTo>
                    <a:pt x="226" y="483"/>
                  </a:lnTo>
                  <a:lnTo>
                    <a:pt x="226" y="485"/>
                  </a:lnTo>
                  <a:lnTo>
                    <a:pt x="216" y="487"/>
                  </a:lnTo>
                  <a:lnTo>
                    <a:pt x="212" y="489"/>
                  </a:lnTo>
                  <a:lnTo>
                    <a:pt x="216" y="489"/>
                  </a:lnTo>
                  <a:lnTo>
                    <a:pt x="217" y="492"/>
                  </a:lnTo>
                  <a:lnTo>
                    <a:pt x="216" y="492"/>
                  </a:lnTo>
                  <a:lnTo>
                    <a:pt x="214" y="490"/>
                  </a:lnTo>
                  <a:lnTo>
                    <a:pt x="216" y="492"/>
                  </a:lnTo>
                  <a:lnTo>
                    <a:pt x="217" y="492"/>
                  </a:lnTo>
                  <a:lnTo>
                    <a:pt x="216" y="495"/>
                  </a:lnTo>
                  <a:lnTo>
                    <a:pt x="221" y="502"/>
                  </a:lnTo>
                  <a:lnTo>
                    <a:pt x="224" y="506"/>
                  </a:lnTo>
                  <a:lnTo>
                    <a:pt x="224" y="509"/>
                  </a:lnTo>
                  <a:lnTo>
                    <a:pt x="221" y="509"/>
                  </a:lnTo>
                  <a:lnTo>
                    <a:pt x="219" y="506"/>
                  </a:lnTo>
                  <a:lnTo>
                    <a:pt x="214" y="502"/>
                  </a:lnTo>
                  <a:lnTo>
                    <a:pt x="214" y="499"/>
                  </a:lnTo>
                  <a:lnTo>
                    <a:pt x="209" y="497"/>
                  </a:lnTo>
                  <a:lnTo>
                    <a:pt x="207" y="494"/>
                  </a:lnTo>
                  <a:lnTo>
                    <a:pt x="210" y="495"/>
                  </a:lnTo>
                  <a:lnTo>
                    <a:pt x="212" y="495"/>
                  </a:lnTo>
                  <a:lnTo>
                    <a:pt x="210" y="495"/>
                  </a:lnTo>
                  <a:lnTo>
                    <a:pt x="207" y="489"/>
                  </a:lnTo>
                  <a:lnTo>
                    <a:pt x="209" y="485"/>
                  </a:lnTo>
                  <a:lnTo>
                    <a:pt x="204" y="478"/>
                  </a:lnTo>
                  <a:lnTo>
                    <a:pt x="202" y="477"/>
                  </a:lnTo>
                  <a:lnTo>
                    <a:pt x="200" y="478"/>
                  </a:lnTo>
                  <a:lnTo>
                    <a:pt x="199" y="478"/>
                  </a:lnTo>
                  <a:lnTo>
                    <a:pt x="200" y="477"/>
                  </a:lnTo>
                  <a:lnTo>
                    <a:pt x="199" y="475"/>
                  </a:lnTo>
                  <a:lnTo>
                    <a:pt x="199" y="473"/>
                  </a:lnTo>
                  <a:lnTo>
                    <a:pt x="197" y="475"/>
                  </a:lnTo>
                  <a:lnTo>
                    <a:pt x="195" y="472"/>
                  </a:lnTo>
                  <a:lnTo>
                    <a:pt x="192" y="466"/>
                  </a:lnTo>
                  <a:lnTo>
                    <a:pt x="190" y="463"/>
                  </a:lnTo>
                  <a:lnTo>
                    <a:pt x="193" y="460"/>
                  </a:lnTo>
                  <a:lnTo>
                    <a:pt x="192" y="456"/>
                  </a:lnTo>
                  <a:lnTo>
                    <a:pt x="192" y="453"/>
                  </a:lnTo>
                  <a:lnTo>
                    <a:pt x="190" y="444"/>
                  </a:lnTo>
                  <a:lnTo>
                    <a:pt x="197" y="442"/>
                  </a:lnTo>
                  <a:close/>
                  <a:moveTo>
                    <a:pt x="168" y="408"/>
                  </a:moveTo>
                  <a:lnTo>
                    <a:pt x="171" y="412"/>
                  </a:lnTo>
                  <a:lnTo>
                    <a:pt x="176" y="417"/>
                  </a:lnTo>
                  <a:lnTo>
                    <a:pt x="180" y="419"/>
                  </a:lnTo>
                  <a:lnTo>
                    <a:pt x="183" y="422"/>
                  </a:lnTo>
                  <a:lnTo>
                    <a:pt x="190" y="425"/>
                  </a:lnTo>
                  <a:lnTo>
                    <a:pt x="193" y="434"/>
                  </a:lnTo>
                  <a:lnTo>
                    <a:pt x="195" y="437"/>
                  </a:lnTo>
                  <a:lnTo>
                    <a:pt x="195" y="441"/>
                  </a:lnTo>
                  <a:lnTo>
                    <a:pt x="185" y="446"/>
                  </a:lnTo>
                  <a:lnTo>
                    <a:pt x="187" y="449"/>
                  </a:lnTo>
                  <a:lnTo>
                    <a:pt x="180" y="448"/>
                  </a:lnTo>
                  <a:lnTo>
                    <a:pt x="178" y="449"/>
                  </a:lnTo>
                  <a:lnTo>
                    <a:pt x="175" y="446"/>
                  </a:lnTo>
                  <a:lnTo>
                    <a:pt x="173" y="451"/>
                  </a:lnTo>
                  <a:lnTo>
                    <a:pt x="171" y="451"/>
                  </a:lnTo>
                  <a:lnTo>
                    <a:pt x="168" y="448"/>
                  </a:lnTo>
                  <a:lnTo>
                    <a:pt x="171" y="446"/>
                  </a:lnTo>
                  <a:lnTo>
                    <a:pt x="168" y="442"/>
                  </a:lnTo>
                  <a:lnTo>
                    <a:pt x="168" y="441"/>
                  </a:lnTo>
                  <a:lnTo>
                    <a:pt x="166" y="442"/>
                  </a:lnTo>
                  <a:lnTo>
                    <a:pt x="166" y="441"/>
                  </a:lnTo>
                  <a:lnTo>
                    <a:pt x="168" y="441"/>
                  </a:lnTo>
                  <a:lnTo>
                    <a:pt x="168" y="439"/>
                  </a:lnTo>
                  <a:lnTo>
                    <a:pt x="169" y="437"/>
                  </a:lnTo>
                  <a:lnTo>
                    <a:pt x="168" y="432"/>
                  </a:lnTo>
                  <a:lnTo>
                    <a:pt x="169" y="429"/>
                  </a:lnTo>
                  <a:lnTo>
                    <a:pt x="166" y="424"/>
                  </a:lnTo>
                  <a:lnTo>
                    <a:pt x="168" y="422"/>
                  </a:lnTo>
                  <a:lnTo>
                    <a:pt x="164" y="417"/>
                  </a:lnTo>
                  <a:lnTo>
                    <a:pt x="166" y="415"/>
                  </a:lnTo>
                  <a:lnTo>
                    <a:pt x="164" y="410"/>
                  </a:lnTo>
                  <a:lnTo>
                    <a:pt x="168" y="408"/>
                  </a:lnTo>
                  <a:close/>
                  <a:moveTo>
                    <a:pt x="137" y="393"/>
                  </a:moveTo>
                  <a:lnTo>
                    <a:pt x="139" y="393"/>
                  </a:lnTo>
                  <a:lnTo>
                    <a:pt x="137" y="393"/>
                  </a:lnTo>
                  <a:lnTo>
                    <a:pt x="139" y="395"/>
                  </a:lnTo>
                  <a:lnTo>
                    <a:pt x="137" y="396"/>
                  </a:lnTo>
                  <a:lnTo>
                    <a:pt x="134" y="393"/>
                  </a:lnTo>
                  <a:lnTo>
                    <a:pt x="134" y="391"/>
                  </a:lnTo>
                  <a:lnTo>
                    <a:pt x="137" y="393"/>
                  </a:lnTo>
                  <a:close/>
                  <a:moveTo>
                    <a:pt x="122" y="350"/>
                  </a:moveTo>
                  <a:lnTo>
                    <a:pt x="122" y="352"/>
                  </a:lnTo>
                  <a:lnTo>
                    <a:pt x="123" y="352"/>
                  </a:lnTo>
                  <a:lnTo>
                    <a:pt x="125" y="352"/>
                  </a:lnTo>
                  <a:lnTo>
                    <a:pt x="125" y="354"/>
                  </a:lnTo>
                  <a:lnTo>
                    <a:pt x="134" y="359"/>
                  </a:lnTo>
                  <a:lnTo>
                    <a:pt x="134" y="367"/>
                  </a:lnTo>
                  <a:lnTo>
                    <a:pt x="135" y="369"/>
                  </a:lnTo>
                  <a:lnTo>
                    <a:pt x="135" y="371"/>
                  </a:lnTo>
                  <a:lnTo>
                    <a:pt x="137" y="371"/>
                  </a:lnTo>
                  <a:lnTo>
                    <a:pt x="139" y="376"/>
                  </a:lnTo>
                  <a:lnTo>
                    <a:pt x="142" y="379"/>
                  </a:lnTo>
                  <a:lnTo>
                    <a:pt x="142" y="383"/>
                  </a:lnTo>
                  <a:lnTo>
                    <a:pt x="146" y="384"/>
                  </a:lnTo>
                  <a:lnTo>
                    <a:pt x="151" y="388"/>
                  </a:lnTo>
                  <a:lnTo>
                    <a:pt x="152" y="396"/>
                  </a:lnTo>
                  <a:lnTo>
                    <a:pt x="149" y="396"/>
                  </a:lnTo>
                  <a:lnTo>
                    <a:pt x="149" y="391"/>
                  </a:lnTo>
                  <a:lnTo>
                    <a:pt x="144" y="393"/>
                  </a:lnTo>
                  <a:lnTo>
                    <a:pt x="142" y="390"/>
                  </a:lnTo>
                  <a:lnTo>
                    <a:pt x="137" y="390"/>
                  </a:lnTo>
                  <a:lnTo>
                    <a:pt x="129" y="383"/>
                  </a:lnTo>
                  <a:lnTo>
                    <a:pt x="125" y="383"/>
                  </a:lnTo>
                  <a:lnTo>
                    <a:pt x="123" y="381"/>
                  </a:lnTo>
                  <a:lnTo>
                    <a:pt x="122" y="383"/>
                  </a:lnTo>
                  <a:lnTo>
                    <a:pt x="120" y="379"/>
                  </a:lnTo>
                  <a:lnTo>
                    <a:pt x="122" y="378"/>
                  </a:lnTo>
                  <a:lnTo>
                    <a:pt x="120" y="379"/>
                  </a:lnTo>
                  <a:lnTo>
                    <a:pt x="120" y="376"/>
                  </a:lnTo>
                  <a:lnTo>
                    <a:pt x="118" y="378"/>
                  </a:lnTo>
                  <a:lnTo>
                    <a:pt x="118" y="376"/>
                  </a:lnTo>
                  <a:lnTo>
                    <a:pt x="115" y="372"/>
                  </a:lnTo>
                  <a:lnTo>
                    <a:pt x="111" y="367"/>
                  </a:lnTo>
                  <a:lnTo>
                    <a:pt x="117" y="366"/>
                  </a:lnTo>
                  <a:lnTo>
                    <a:pt x="113" y="357"/>
                  </a:lnTo>
                  <a:lnTo>
                    <a:pt x="117" y="355"/>
                  </a:lnTo>
                  <a:lnTo>
                    <a:pt x="115" y="354"/>
                  </a:lnTo>
                  <a:lnTo>
                    <a:pt x="122" y="350"/>
                  </a:lnTo>
                  <a:close/>
                  <a:moveTo>
                    <a:pt x="117" y="349"/>
                  </a:moveTo>
                  <a:lnTo>
                    <a:pt x="118" y="352"/>
                  </a:lnTo>
                  <a:lnTo>
                    <a:pt x="115" y="349"/>
                  </a:lnTo>
                  <a:lnTo>
                    <a:pt x="117" y="349"/>
                  </a:lnTo>
                  <a:close/>
                  <a:moveTo>
                    <a:pt x="122" y="347"/>
                  </a:moveTo>
                  <a:lnTo>
                    <a:pt x="118" y="347"/>
                  </a:lnTo>
                  <a:lnTo>
                    <a:pt x="118" y="345"/>
                  </a:lnTo>
                  <a:lnTo>
                    <a:pt x="122" y="347"/>
                  </a:lnTo>
                  <a:close/>
                  <a:moveTo>
                    <a:pt x="86" y="337"/>
                  </a:moveTo>
                  <a:lnTo>
                    <a:pt x="86" y="340"/>
                  </a:lnTo>
                  <a:lnTo>
                    <a:pt x="84" y="340"/>
                  </a:lnTo>
                  <a:lnTo>
                    <a:pt x="86" y="337"/>
                  </a:lnTo>
                  <a:close/>
                  <a:moveTo>
                    <a:pt x="81" y="323"/>
                  </a:moveTo>
                  <a:lnTo>
                    <a:pt x="84" y="325"/>
                  </a:lnTo>
                  <a:lnTo>
                    <a:pt x="84" y="328"/>
                  </a:lnTo>
                  <a:lnTo>
                    <a:pt x="77" y="330"/>
                  </a:lnTo>
                  <a:lnTo>
                    <a:pt x="81" y="326"/>
                  </a:lnTo>
                  <a:lnTo>
                    <a:pt x="79" y="323"/>
                  </a:lnTo>
                  <a:lnTo>
                    <a:pt x="81" y="323"/>
                  </a:lnTo>
                  <a:close/>
                  <a:moveTo>
                    <a:pt x="216" y="251"/>
                  </a:moveTo>
                  <a:lnTo>
                    <a:pt x="214" y="253"/>
                  </a:lnTo>
                  <a:lnTo>
                    <a:pt x="216" y="253"/>
                  </a:lnTo>
                  <a:lnTo>
                    <a:pt x="217" y="255"/>
                  </a:lnTo>
                  <a:lnTo>
                    <a:pt x="214" y="256"/>
                  </a:lnTo>
                  <a:lnTo>
                    <a:pt x="214" y="251"/>
                  </a:lnTo>
                  <a:lnTo>
                    <a:pt x="216" y="251"/>
                  </a:lnTo>
                  <a:close/>
                  <a:moveTo>
                    <a:pt x="38" y="219"/>
                  </a:moveTo>
                  <a:lnTo>
                    <a:pt x="38" y="220"/>
                  </a:lnTo>
                  <a:lnTo>
                    <a:pt x="36" y="220"/>
                  </a:lnTo>
                  <a:lnTo>
                    <a:pt x="38" y="222"/>
                  </a:lnTo>
                  <a:lnTo>
                    <a:pt x="40" y="220"/>
                  </a:lnTo>
                  <a:lnTo>
                    <a:pt x="43" y="231"/>
                  </a:lnTo>
                  <a:lnTo>
                    <a:pt x="40" y="227"/>
                  </a:lnTo>
                  <a:lnTo>
                    <a:pt x="41" y="236"/>
                  </a:lnTo>
                  <a:lnTo>
                    <a:pt x="43" y="238"/>
                  </a:lnTo>
                  <a:lnTo>
                    <a:pt x="48" y="243"/>
                  </a:lnTo>
                  <a:lnTo>
                    <a:pt x="50" y="248"/>
                  </a:lnTo>
                  <a:lnTo>
                    <a:pt x="53" y="253"/>
                  </a:lnTo>
                  <a:lnTo>
                    <a:pt x="52" y="255"/>
                  </a:lnTo>
                  <a:lnTo>
                    <a:pt x="55" y="256"/>
                  </a:lnTo>
                  <a:lnTo>
                    <a:pt x="57" y="258"/>
                  </a:lnTo>
                  <a:lnTo>
                    <a:pt x="57" y="261"/>
                  </a:lnTo>
                  <a:lnTo>
                    <a:pt x="55" y="261"/>
                  </a:lnTo>
                  <a:lnTo>
                    <a:pt x="57" y="263"/>
                  </a:lnTo>
                  <a:lnTo>
                    <a:pt x="55" y="263"/>
                  </a:lnTo>
                  <a:lnTo>
                    <a:pt x="59" y="263"/>
                  </a:lnTo>
                  <a:lnTo>
                    <a:pt x="60" y="272"/>
                  </a:lnTo>
                  <a:lnTo>
                    <a:pt x="62" y="273"/>
                  </a:lnTo>
                  <a:lnTo>
                    <a:pt x="62" y="275"/>
                  </a:lnTo>
                  <a:lnTo>
                    <a:pt x="64" y="275"/>
                  </a:lnTo>
                  <a:lnTo>
                    <a:pt x="64" y="277"/>
                  </a:lnTo>
                  <a:lnTo>
                    <a:pt x="65" y="277"/>
                  </a:lnTo>
                  <a:lnTo>
                    <a:pt x="69" y="280"/>
                  </a:lnTo>
                  <a:lnTo>
                    <a:pt x="69" y="285"/>
                  </a:lnTo>
                  <a:lnTo>
                    <a:pt x="64" y="282"/>
                  </a:lnTo>
                  <a:lnTo>
                    <a:pt x="70" y="289"/>
                  </a:lnTo>
                  <a:lnTo>
                    <a:pt x="70" y="290"/>
                  </a:lnTo>
                  <a:lnTo>
                    <a:pt x="72" y="289"/>
                  </a:lnTo>
                  <a:lnTo>
                    <a:pt x="74" y="292"/>
                  </a:lnTo>
                  <a:lnTo>
                    <a:pt x="72" y="294"/>
                  </a:lnTo>
                  <a:lnTo>
                    <a:pt x="74" y="294"/>
                  </a:lnTo>
                  <a:lnTo>
                    <a:pt x="72" y="296"/>
                  </a:lnTo>
                  <a:lnTo>
                    <a:pt x="76" y="301"/>
                  </a:lnTo>
                  <a:lnTo>
                    <a:pt x="81" y="299"/>
                  </a:lnTo>
                  <a:lnTo>
                    <a:pt x="84" y="304"/>
                  </a:lnTo>
                  <a:lnTo>
                    <a:pt x="82" y="304"/>
                  </a:lnTo>
                  <a:lnTo>
                    <a:pt x="81" y="306"/>
                  </a:lnTo>
                  <a:lnTo>
                    <a:pt x="84" y="306"/>
                  </a:lnTo>
                  <a:lnTo>
                    <a:pt x="82" y="308"/>
                  </a:lnTo>
                  <a:lnTo>
                    <a:pt x="82" y="311"/>
                  </a:lnTo>
                  <a:lnTo>
                    <a:pt x="82" y="308"/>
                  </a:lnTo>
                  <a:lnTo>
                    <a:pt x="86" y="311"/>
                  </a:lnTo>
                  <a:lnTo>
                    <a:pt x="84" y="311"/>
                  </a:lnTo>
                  <a:lnTo>
                    <a:pt x="84" y="314"/>
                  </a:lnTo>
                  <a:lnTo>
                    <a:pt x="82" y="316"/>
                  </a:lnTo>
                  <a:lnTo>
                    <a:pt x="84" y="318"/>
                  </a:lnTo>
                  <a:lnTo>
                    <a:pt x="82" y="318"/>
                  </a:lnTo>
                  <a:lnTo>
                    <a:pt x="81" y="316"/>
                  </a:lnTo>
                  <a:lnTo>
                    <a:pt x="81" y="314"/>
                  </a:lnTo>
                  <a:lnTo>
                    <a:pt x="79" y="314"/>
                  </a:lnTo>
                  <a:lnTo>
                    <a:pt x="79" y="311"/>
                  </a:lnTo>
                  <a:lnTo>
                    <a:pt x="76" y="304"/>
                  </a:lnTo>
                  <a:lnTo>
                    <a:pt x="74" y="302"/>
                  </a:lnTo>
                  <a:lnTo>
                    <a:pt x="72" y="306"/>
                  </a:lnTo>
                  <a:lnTo>
                    <a:pt x="74" y="306"/>
                  </a:lnTo>
                  <a:lnTo>
                    <a:pt x="77" y="309"/>
                  </a:lnTo>
                  <a:lnTo>
                    <a:pt x="77" y="311"/>
                  </a:lnTo>
                  <a:lnTo>
                    <a:pt x="76" y="309"/>
                  </a:lnTo>
                  <a:lnTo>
                    <a:pt x="77" y="313"/>
                  </a:lnTo>
                  <a:lnTo>
                    <a:pt x="77" y="318"/>
                  </a:lnTo>
                  <a:lnTo>
                    <a:pt x="81" y="321"/>
                  </a:lnTo>
                  <a:lnTo>
                    <a:pt x="77" y="325"/>
                  </a:lnTo>
                  <a:lnTo>
                    <a:pt x="69" y="321"/>
                  </a:lnTo>
                  <a:lnTo>
                    <a:pt x="65" y="325"/>
                  </a:lnTo>
                  <a:lnTo>
                    <a:pt x="62" y="326"/>
                  </a:lnTo>
                  <a:lnTo>
                    <a:pt x="62" y="325"/>
                  </a:lnTo>
                  <a:lnTo>
                    <a:pt x="55" y="323"/>
                  </a:lnTo>
                  <a:lnTo>
                    <a:pt x="50" y="319"/>
                  </a:lnTo>
                  <a:lnTo>
                    <a:pt x="43" y="316"/>
                  </a:lnTo>
                  <a:lnTo>
                    <a:pt x="40" y="313"/>
                  </a:lnTo>
                  <a:lnTo>
                    <a:pt x="35" y="309"/>
                  </a:lnTo>
                  <a:lnTo>
                    <a:pt x="31" y="306"/>
                  </a:lnTo>
                  <a:lnTo>
                    <a:pt x="28" y="302"/>
                  </a:lnTo>
                  <a:lnTo>
                    <a:pt x="30" y="299"/>
                  </a:lnTo>
                  <a:lnTo>
                    <a:pt x="24" y="290"/>
                  </a:lnTo>
                  <a:lnTo>
                    <a:pt x="19" y="282"/>
                  </a:lnTo>
                  <a:lnTo>
                    <a:pt x="18" y="282"/>
                  </a:lnTo>
                  <a:lnTo>
                    <a:pt x="18" y="279"/>
                  </a:lnTo>
                  <a:lnTo>
                    <a:pt x="12" y="272"/>
                  </a:lnTo>
                  <a:lnTo>
                    <a:pt x="7" y="267"/>
                  </a:lnTo>
                  <a:lnTo>
                    <a:pt x="6" y="260"/>
                  </a:lnTo>
                  <a:lnTo>
                    <a:pt x="0" y="255"/>
                  </a:lnTo>
                  <a:lnTo>
                    <a:pt x="0" y="253"/>
                  </a:lnTo>
                  <a:lnTo>
                    <a:pt x="6" y="246"/>
                  </a:lnTo>
                  <a:lnTo>
                    <a:pt x="7" y="239"/>
                  </a:lnTo>
                  <a:lnTo>
                    <a:pt x="7" y="236"/>
                  </a:lnTo>
                  <a:lnTo>
                    <a:pt x="9" y="226"/>
                  </a:lnTo>
                  <a:lnTo>
                    <a:pt x="14" y="222"/>
                  </a:lnTo>
                  <a:lnTo>
                    <a:pt x="18" y="224"/>
                  </a:lnTo>
                  <a:lnTo>
                    <a:pt x="24" y="224"/>
                  </a:lnTo>
                  <a:lnTo>
                    <a:pt x="33" y="220"/>
                  </a:lnTo>
                  <a:lnTo>
                    <a:pt x="36" y="217"/>
                  </a:lnTo>
                  <a:lnTo>
                    <a:pt x="38" y="219"/>
                  </a:lnTo>
                  <a:close/>
                  <a:moveTo>
                    <a:pt x="82" y="80"/>
                  </a:moveTo>
                  <a:lnTo>
                    <a:pt x="84" y="80"/>
                  </a:lnTo>
                  <a:lnTo>
                    <a:pt x="84" y="84"/>
                  </a:lnTo>
                  <a:lnTo>
                    <a:pt x="82" y="84"/>
                  </a:lnTo>
                  <a:lnTo>
                    <a:pt x="82" y="80"/>
                  </a:lnTo>
                  <a:close/>
                  <a:moveTo>
                    <a:pt x="190" y="17"/>
                  </a:moveTo>
                  <a:lnTo>
                    <a:pt x="193" y="19"/>
                  </a:lnTo>
                  <a:lnTo>
                    <a:pt x="197" y="21"/>
                  </a:lnTo>
                  <a:lnTo>
                    <a:pt x="197" y="26"/>
                  </a:lnTo>
                  <a:lnTo>
                    <a:pt x="193" y="31"/>
                  </a:lnTo>
                  <a:lnTo>
                    <a:pt x="188" y="38"/>
                  </a:lnTo>
                  <a:lnTo>
                    <a:pt x="192" y="41"/>
                  </a:lnTo>
                  <a:lnTo>
                    <a:pt x="197" y="45"/>
                  </a:lnTo>
                  <a:lnTo>
                    <a:pt x="195" y="46"/>
                  </a:lnTo>
                  <a:lnTo>
                    <a:pt x="197" y="50"/>
                  </a:lnTo>
                  <a:lnTo>
                    <a:pt x="197" y="51"/>
                  </a:lnTo>
                  <a:lnTo>
                    <a:pt x="200" y="58"/>
                  </a:lnTo>
                  <a:lnTo>
                    <a:pt x="204" y="60"/>
                  </a:lnTo>
                  <a:lnTo>
                    <a:pt x="207" y="60"/>
                  </a:lnTo>
                  <a:lnTo>
                    <a:pt x="210" y="63"/>
                  </a:lnTo>
                  <a:lnTo>
                    <a:pt x="214" y="62"/>
                  </a:lnTo>
                  <a:lnTo>
                    <a:pt x="219" y="58"/>
                  </a:lnTo>
                  <a:lnTo>
                    <a:pt x="224" y="62"/>
                  </a:lnTo>
                  <a:lnTo>
                    <a:pt x="226" y="60"/>
                  </a:lnTo>
                  <a:lnTo>
                    <a:pt x="228" y="65"/>
                  </a:lnTo>
                  <a:lnTo>
                    <a:pt x="233" y="68"/>
                  </a:lnTo>
                  <a:lnTo>
                    <a:pt x="233" y="72"/>
                  </a:lnTo>
                  <a:lnTo>
                    <a:pt x="236" y="74"/>
                  </a:lnTo>
                  <a:lnTo>
                    <a:pt x="241" y="77"/>
                  </a:lnTo>
                  <a:lnTo>
                    <a:pt x="243" y="82"/>
                  </a:lnTo>
                  <a:lnTo>
                    <a:pt x="250" y="86"/>
                  </a:lnTo>
                  <a:lnTo>
                    <a:pt x="253" y="79"/>
                  </a:lnTo>
                  <a:lnTo>
                    <a:pt x="260" y="80"/>
                  </a:lnTo>
                  <a:lnTo>
                    <a:pt x="265" y="77"/>
                  </a:lnTo>
                  <a:lnTo>
                    <a:pt x="269" y="82"/>
                  </a:lnTo>
                  <a:lnTo>
                    <a:pt x="269" y="91"/>
                  </a:lnTo>
                  <a:lnTo>
                    <a:pt x="263" y="94"/>
                  </a:lnTo>
                  <a:lnTo>
                    <a:pt x="262" y="96"/>
                  </a:lnTo>
                  <a:lnTo>
                    <a:pt x="265" y="103"/>
                  </a:lnTo>
                  <a:lnTo>
                    <a:pt x="269" y="101"/>
                  </a:lnTo>
                  <a:lnTo>
                    <a:pt x="270" y="103"/>
                  </a:lnTo>
                  <a:lnTo>
                    <a:pt x="270" y="108"/>
                  </a:lnTo>
                  <a:lnTo>
                    <a:pt x="265" y="113"/>
                  </a:lnTo>
                  <a:lnTo>
                    <a:pt x="262" y="109"/>
                  </a:lnTo>
                  <a:lnTo>
                    <a:pt x="257" y="115"/>
                  </a:lnTo>
                  <a:lnTo>
                    <a:pt x="258" y="115"/>
                  </a:lnTo>
                  <a:lnTo>
                    <a:pt x="258" y="125"/>
                  </a:lnTo>
                  <a:lnTo>
                    <a:pt x="260" y="127"/>
                  </a:lnTo>
                  <a:lnTo>
                    <a:pt x="260" y="133"/>
                  </a:lnTo>
                  <a:lnTo>
                    <a:pt x="265" y="138"/>
                  </a:lnTo>
                  <a:lnTo>
                    <a:pt x="265" y="142"/>
                  </a:lnTo>
                  <a:lnTo>
                    <a:pt x="269" y="144"/>
                  </a:lnTo>
                  <a:lnTo>
                    <a:pt x="270" y="149"/>
                  </a:lnTo>
                  <a:lnTo>
                    <a:pt x="277" y="149"/>
                  </a:lnTo>
                  <a:lnTo>
                    <a:pt x="282" y="145"/>
                  </a:lnTo>
                  <a:lnTo>
                    <a:pt x="289" y="147"/>
                  </a:lnTo>
                  <a:lnTo>
                    <a:pt x="294" y="152"/>
                  </a:lnTo>
                  <a:lnTo>
                    <a:pt x="294" y="154"/>
                  </a:lnTo>
                  <a:lnTo>
                    <a:pt x="291" y="156"/>
                  </a:lnTo>
                  <a:lnTo>
                    <a:pt x="294" y="164"/>
                  </a:lnTo>
                  <a:lnTo>
                    <a:pt x="298" y="169"/>
                  </a:lnTo>
                  <a:lnTo>
                    <a:pt x="301" y="169"/>
                  </a:lnTo>
                  <a:lnTo>
                    <a:pt x="308" y="173"/>
                  </a:lnTo>
                  <a:lnTo>
                    <a:pt x="311" y="178"/>
                  </a:lnTo>
                  <a:lnTo>
                    <a:pt x="320" y="183"/>
                  </a:lnTo>
                  <a:lnTo>
                    <a:pt x="325" y="183"/>
                  </a:lnTo>
                  <a:lnTo>
                    <a:pt x="328" y="186"/>
                  </a:lnTo>
                  <a:lnTo>
                    <a:pt x="332" y="188"/>
                  </a:lnTo>
                  <a:lnTo>
                    <a:pt x="332" y="191"/>
                  </a:lnTo>
                  <a:lnTo>
                    <a:pt x="335" y="191"/>
                  </a:lnTo>
                  <a:lnTo>
                    <a:pt x="337" y="195"/>
                  </a:lnTo>
                  <a:lnTo>
                    <a:pt x="335" y="197"/>
                  </a:lnTo>
                  <a:lnTo>
                    <a:pt x="338" y="197"/>
                  </a:lnTo>
                  <a:lnTo>
                    <a:pt x="347" y="202"/>
                  </a:lnTo>
                  <a:lnTo>
                    <a:pt x="349" y="205"/>
                  </a:lnTo>
                  <a:lnTo>
                    <a:pt x="356" y="208"/>
                  </a:lnTo>
                  <a:lnTo>
                    <a:pt x="362" y="207"/>
                  </a:lnTo>
                  <a:lnTo>
                    <a:pt x="366" y="208"/>
                  </a:lnTo>
                  <a:lnTo>
                    <a:pt x="371" y="212"/>
                  </a:lnTo>
                  <a:lnTo>
                    <a:pt x="374" y="212"/>
                  </a:lnTo>
                  <a:lnTo>
                    <a:pt x="374" y="217"/>
                  </a:lnTo>
                  <a:lnTo>
                    <a:pt x="371" y="222"/>
                  </a:lnTo>
                  <a:lnTo>
                    <a:pt x="376" y="222"/>
                  </a:lnTo>
                  <a:lnTo>
                    <a:pt x="378" y="224"/>
                  </a:lnTo>
                  <a:lnTo>
                    <a:pt x="388" y="226"/>
                  </a:lnTo>
                  <a:lnTo>
                    <a:pt x="386" y="229"/>
                  </a:lnTo>
                  <a:lnTo>
                    <a:pt x="388" y="234"/>
                  </a:lnTo>
                  <a:lnTo>
                    <a:pt x="386" y="239"/>
                  </a:lnTo>
                  <a:lnTo>
                    <a:pt x="391" y="241"/>
                  </a:lnTo>
                  <a:lnTo>
                    <a:pt x="393" y="239"/>
                  </a:lnTo>
                  <a:lnTo>
                    <a:pt x="395" y="241"/>
                  </a:lnTo>
                  <a:lnTo>
                    <a:pt x="395" y="244"/>
                  </a:lnTo>
                  <a:lnTo>
                    <a:pt x="393" y="246"/>
                  </a:lnTo>
                  <a:lnTo>
                    <a:pt x="388" y="251"/>
                  </a:lnTo>
                  <a:lnTo>
                    <a:pt x="386" y="255"/>
                  </a:lnTo>
                  <a:lnTo>
                    <a:pt x="374" y="256"/>
                  </a:lnTo>
                  <a:lnTo>
                    <a:pt x="371" y="261"/>
                  </a:lnTo>
                  <a:lnTo>
                    <a:pt x="371" y="265"/>
                  </a:lnTo>
                  <a:lnTo>
                    <a:pt x="374" y="270"/>
                  </a:lnTo>
                  <a:lnTo>
                    <a:pt x="373" y="277"/>
                  </a:lnTo>
                  <a:lnTo>
                    <a:pt x="374" y="279"/>
                  </a:lnTo>
                  <a:lnTo>
                    <a:pt x="371" y="285"/>
                  </a:lnTo>
                  <a:lnTo>
                    <a:pt x="364" y="292"/>
                  </a:lnTo>
                  <a:lnTo>
                    <a:pt x="361" y="294"/>
                  </a:lnTo>
                  <a:lnTo>
                    <a:pt x="356" y="297"/>
                  </a:lnTo>
                  <a:lnTo>
                    <a:pt x="352" y="301"/>
                  </a:lnTo>
                  <a:lnTo>
                    <a:pt x="349" y="308"/>
                  </a:lnTo>
                  <a:lnTo>
                    <a:pt x="345" y="309"/>
                  </a:lnTo>
                  <a:lnTo>
                    <a:pt x="340" y="311"/>
                  </a:lnTo>
                  <a:lnTo>
                    <a:pt x="338" y="309"/>
                  </a:lnTo>
                  <a:lnTo>
                    <a:pt x="330" y="311"/>
                  </a:lnTo>
                  <a:lnTo>
                    <a:pt x="327" y="313"/>
                  </a:lnTo>
                  <a:lnTo>
                    <a:pt x="321" y="311"/>
                  </a:lnTo>
                  <a:lnTo>
                    <a:pt x="316" y="314"/>
                  </a:lnTo>
                  <a:lnTo>
                    <a:pt x="311" y="309"/>
                  </a:lnTo>
                  <a:lnTo>
                    <a:pt x="308" y="313"/>
                  </a:lnTo>
                  <a:lnTo>
                    <a:pt x="304" y="311"/>
                  </a:lnTo>
                  <a:lnTo>
                    <a:pt x="304" y="319"/>
                  </a:lnTo>
                  <a:lnTo>
                    <a:pt x="308" y="328"/>
                  </a:lnTo>
                  <a:lnTo>
                    <a:pt x="309" y="331"/>
                  </a:lnTo>
                  <a:lnTo>
                    <a:pt x="308" y="335"/>
                  </a:lnTo>
                  <a:lnTo>
                    <a:pt x="306" y="337"/>
                  </a:lnTo>
                  <a:lnTo>
                    <a:pt x="306" y="340"/>
                  </a:lnTo>
                  <a:lnTo>
                    <a:pt x="313" y="345"/>
                  </a:lnTo>
                  <a:lnTo>
                    <a:pt x="313" y="349"/>
                  </a:lnTo>
                  <a:lnTo>
                    <a:pt x="318" y="357"/>
                  </a:lnTo>
                  <a:lnTo>
                    <a:pt x="320" y="360"/>
                  </a:lnTo>
                  <a:lnTo>
                    <a:pt x="321" y="366"/>
                  </a:lnTo>
                  <a:lnTo>
                    <a:pt x="321" y="378"/>
                  </a:lnTo>
                  <a:lnTo>
                    <a:pt x="321" y="379"/>
                  </a:lnTo>
                  <a:lnTo>
                    <a:pt x="323" y="381"/>
                  </a:lnTo>
                  <a:lnTo>
                    <a:pt x="316" y="386"/>
                  </a:lnTo>
                  <a:lnTo>
                    <a:pt x="316" y="390"/>
                  </a:lnTo>
                  <a:lnTo>
                    <a:pt x="308" y="395"/>
                  </a:lnTo>
                  <a:lnTo>
                    <a:pt x="306" y="395"/>
                  </a:lnTo>
                  <a:lnTo>
                    <a:pt x="304" y="396"/>
                  </a:lnTo>
                  <a:lnTo>
                    <a:pt x="296" y="401"/>
                  </a:lnTo>
                  <a:lnTo>
                    <a:pt x="291" y="405"/>
                  </a:lnTo>
                  <a:lnTo>
                    <a:pt x="287" y="400"/>
                  </a:lnTo>
                  <a:lnTo>
                    <a:pt x="280" y="393"/>
                  </a:lnTo>
                  <a:lnTo>
                    <a:pt x="275" y="388"/>
                  </a:lnTo>
                  <a:lnTo>
                    <a:pt x="274" y="378"/>
                  </a:lnTo>
                  <a:lnTo>
                    <a:pt x="267" y="369"/>
                  </a:lnTo>
                  <a:lnTo>
                    <a:pt x="267" y="366"/>
                  </a:lnTo>
                  <a:lnTo>
                    <a:pt x="272" y="360"/>
                  </a:lnTo>
                  <a:lnTo>
                    <a:pt x="274" y="355"/>
                  </a:lnTo>
                  <a:lnTo>
                    <a:pt x="272" y="345"/>
                  </a:lnTo>
                  <a:lnTo>
                    <a:pt x="272" y="340"/>
                  </a:lnTo>
                  <a:lnTo>
                    <a:pt x="269" y="333"/>
                  </a:lnTo>
                  <a:lnTo>
                    <a:pt x="263" y="326"/>
                  </a:lnTo>
                  <a:lnTo>
                    <a:pt x="262" y="323"/>
                  </a:lnTo>
                  <a:lnTo>
                    <a:pt x="260" y="323"/>
                  </a:lnTo>
                  <a:lnTo>
                    <a:pt x="258" y="318"/>
                  </a:lnTo>
                  <a:lnTo>
                    <a:pt x="253" y="313"/>
                  </a:lnTo>
                  <a:lnTo>
                    <a:pt x="251" y="308"/>
                  </a:lnTo>
                  <a:lnTo>
                    <a:pt x="246" y="302"/>
                  </a:lnTo>
                  <a:lnTo>
                    <a:pt x="245" y="296"/>
                  </a:lnTo>
                  <a:lnTo>
                    <a:pt x="243" y="292"/>
                  </a:lnTo>
                  <a:lnTo>
                    <a:pt x="243" y="289"/>
                  </a:lnTo>
                  <a:lnTo>
                    <a:pt x="239" y="287"/>
                  </a:lnTo>
                  <a:lnTo>
                    <a:pt x="236" y="282"/>
                  </a:lnTo>
                  <a:lnTo>
                    <a:pt x="238" y="279"/>
                  </a:lnTo>
                  <a:lnTo>
                    <a:pt x="236" y="277"/>
                  </a:lnTo>
                  <a:lnTo>
                    <a:pt x="239" y="275"/>
                  </a:lnTo>
                  <a:lnTo>
                    <a:pt x="238" y="273"/>
                  </a:lnTo>
                  <a:lnTo>
                    <a:pt x="236" y="273"/>
                  </a:lnTo>
                  <a:lnTo>
                    <a:pt x="238" y="272"/>
                  </a:lnTo>
                  <a:lnTo>
                    <a:pt x="236" y="268"/>
                  </a:lnTo>
                  <a:lnTo>
                    <a:pt x="234" y="265"/>
                  </a:lnTo>
                  <a:lnTo>
                    <a:pt x="228" y="265"/>
                  </a:lnTo>
                  <a:lnTo>
                    <a:pt x="222" y="260"/>
                  </a:lnTo>
                  <a:lnTo>
                    <a:pt x="219" y="261"/>
                  </a:lnTo>
                  <a:lnTo>
                    <a:pt x="217" y="261"/>
                  </a:lnTo>
                  <a:lnTo>
                    <a:pt x="217" y="256"/>
                  </a:lnTo>
                  <a:lnTo>
                    <a:pt x="221" y="258"/>
                  </a:lnTo>
                  <a:lnTo>
                    <a:pt x="221" y="256"/>
                  </a:lnTo>
                  <a:lnTo>
                    <a:pt x="219" y="255"/>
                  </a:lnTo>
                  <a:lnTo>
                    <a:pt x="221" y="251"/>
                  </a:lnTo>
                  <a:lnTo>
                    <a:pt x="214" y="249"/>
                  </a:lnTo>
                  <a:lnTo>
                    <a:pt x="214" y="246"/>
                  </a:lnTo>
                  <a:lnTo>
                    <a:pt x="210" y="249"/>
                  </a:lnTo>
                  <a:lnTo>
                    <a:pt x="212" y="246"/>
                  </a:lnTo>
                  <a:lnTo>
                    <a:pt x="212" y="243"/>
                  </a:lnTo>
                  <a:lnTo>
                    <a:pt x="216" y="243"/>
                  </a:lnTo>
                  <a:lnTo>
                    <a:pt x="212" y="238"/>
                  </a:lnTo>
                  <a:lnTo>
                    <a:pt x="214" y="236"/>
                  </a:lnTo>
                  <a:lnTo>
                    <a:pt x="217" y="238"/>
                  </a:lnTo>
                  <a:lnTo>
                    <a:pt x="217" y="234"/>
                  </a:lnTo>
                  <a:lnTo>
                    <a:pt x="216" y="232"/>
                  </a:lnTo>
                  <a:lnTo>
                    <a:pt x="214" y="232"/>
                  </a:lnTo>
                  <a:lnTo>
                    <a:pt x="216" y="229"/>
                  </a:lnTo>
                  <a:lnTo>
                    <a:pt x="214" y="227"/>
                  </a:lnTo>
                  <a:lnTo>
                    <a:pt x="212" y="229"/>
                  </a:lnTo>
                  <a:lnTo>
                    <a:pt x="210" y="224"/>
                  </a:lnTo>
                  <a:lnTo>
                    <a:pt x="210" y="215"/>
                  </a:lnTo>
                  <a:lnTo>
                    <a:pt x="204" y="207"/>
                  </a:lnTo>
                  <a:lnTo>
                    <a:pt x="205" y="207"/>
                  </a:lnTo>
                  <a:lnTo>
                    <a:pt x="204" y="205"/>
                  </a:lnTo>
                  <a:lnTo>
                    <a:pt x="205" y="205"/>
                  </a:lnTo>
                  <a:lnTo>
                    <a:pt x="204" y="205"/>
                  </a:lnTo>
                  <a:lnTo>
                    <a:pt x="204" y="207"/>
                  </a:lnTo>
                  <a:lnTo>
                    <a:pt x="199" y="200"/>
                  </a:lnTo>
                  <a:lnTo>
                    <a:pt x="192" y="195"/>
                  </a:lnTo>
                  <a:lnTo>
                    <a:pt x="188" y="190"/>
                  </a:lnTo>
                  <a:lnTo>
                    <a:pt x="183" y="186"/>
                  </a:lnTo>
                  <a:lnTo>
                    <a:pt x="180" y="178"/>
                  </a:lnTo>
                  <a:lnTo>
                    <a:pt x="180" y="176"/>
                  </a:lnTo>
                  <a:lnTo>
                    <a:pt x="175" y="169"/>
                  </a:lnTo>
                  <a:lnTo>
                    <a:pt x="166" y="162"/>
                  </a:lnTo>
                  <a:lnTo>
                    <a:pt x="163" y="159"/>
                  </a:lnTo>
                  <a:lnTo>
                    <a:pt x="158" y="157"/>
                  </a:lnTo>
                  <a:lnTo>
                    <a:pt x="158" y="154"/>
                  </a:lnTo>
                  <a:lnTo>
                    <a:pt x="154" y="149"/>
                  </a:lnTo>
                  <a:lnTo>
                    <a:pt x="147" y="144"/>
                  </a:lnTo>
                  <a:lnTo>
                    <a:pt x="146" y="142"/>
                  </a:lnTo>
                  <a:lnTo>
                    <a:pt x="144" y="133"/>
                  </a:lnTo>
                  <a:lnTo>
                    <a:pt x="139" y="127"/>
                  </a:lnTo>
                  <a:lnTo>
                    <a:pt x="137" y="125"/>
                  </a:lnTo>
                  <a:lnTo>
                    <a:pt x="139" y="120"/>
                  </a:lnTo>
                  <a:lnTo>
                    <a:pt x="140" y="121"/>
                  </a:lnTo>
                  <a:lnTo>
                    <a:pt x="139" y="120"/>
                  </a:lnTo>
                  <a:lnTo>
                    <a:pt x="140" y="120"/>
                  </a:lnTo>
                  <a:lnTo>
                    <a:pt x="140" y="116"/>
                  </a:lnTo>
                  <a:lnTo>
                    <a:pt x="137" y="111"/>
                  </a:lnTo>
                  <a:lnTo>
                    <a:pt x="132" y="108"/>
                  </a:lnTo>
                  <a:lnTo>
                    <a:pt x="134" y="106"/>
                  </a:lnTo>
                  <a:lnTo>
                    <a:pt x="132" y="106"/>
                  </a:lnTo>
                  <a:lnTo>
                    <a:pt x="132" y="104"/>
                  </a:lnTo>
                  <a:lnTo>
                    <a:pt x="132" y="106"/>
                  </a:lnTo>
                  <a:lnTo>
                    <a:pt x="134" y="106"/>
                  </a:lnTo>
                  <a:lnTo>
                    <a:pt x="132" y="108"/>
                  </a:lnTo>
                  <a:lnTo>
                    <a:pt x="123" y="101"/>
                  </a:lnTo>
                  <a:lnTo>
                    <a:pt x="125" y="101"/>
                  </a:lnTo>
                  <a:lnTo>
                    <a:pt x="123" y="99"/>
                  </a:lnTo>
                  <a:lnTo>
                    <a:pt x="123" y="101"/>
                  </a:lnTo>
                  <a:lnTo>
                    <a:pt x="122" y="101"/>
                  </a:lnTo>
                  <a:lnTo>
                    <a:pt x="113" y="96"/>
                  </a:lnTo>
                  <a:lnTo>
                    <a:pt x="111" y="94"/>
                  </a:lnTo>
                  <a:lnTo>
                    <a:pt x="108" y="94"/>
                  </a:lnTo>
                  <a:lnTo>
                    <a:pt x="111" y="96"/>
                  </a:lnTo>
                  <a:lnTo>
                    <a:pt x="111" y="94"/>
                  </a:lnTo>
                  <a:lnTo>
                    <a:pt x="110" y="94"/>
                  </a:lnTo>
                  <a:lnTo>
                    <a:pt x="100" y="91"/>
                  </a:lnTo>
                  <a:lnTo>
                    <a:pt x="101" y="91"/>
                  </a:lnTo>
                  <a:lnTo>
                    <a:pt x="96" y="91"/>
                  </a:lnTo>
                  <a:lnTo>
                    <a:pt x="96" y="86"/>
                  </a:lnTo>
                  <a:lnTo>
                    <a:pt x="93" y="86"/>
                  </a:lnTo>
                  <a:lnTo>
                    <a:pt x="94" y="84"/>
                  </a:lnTo>
                  <a:lnTo>
                    <a:pt x="94" y="86"/>
                  </a:lnTo>
                  <a:lnTo>
                    <a:pt x="91" y="80"/>
                  </a:lnTo>
                  <a:lnTo>
                    <a:pt x="82" y="80"/>
                  </a:lnTo>
                  <a:lnTo>
                    <a:pt x="81" y="84"/>
                  </a:lnTo>
                  <a:lnTo>
                    <a:pt x="74" y="82"/>
                  </a:lnTo>
                  <a:lnTo>
                    <a:pt x="72" y="79"/>
                  </a:lnTo>
                  <a:lnTo>
                    <a:pt x="69" y="80"/>
                  </a:lnTo>
                  <a:lnTo>
                    <a:pt x="72" y="75"/>
                  </a:lnTo>
                  <a:lnTo>
                    <a:pt x="72" y="74"/>
                  </a:lnTo>
                  <a:lnTo>
                    <a:pt x="79" y="68"/>
                  </a:lnTo>
                  <a:lnTo>
                    <a:pt x="88" y="67"/>
                  </a:lnTo>
                  <a:lnTo>
                    <a:pt x="91" y="62"/>
                  </a:lnTo>
                  <a:lnTo>
                    <a:pt x="94" y="55"/>
                  </a:lnTo>
                  <a:lnTo>
                    <a:pt x="96" y="53"/>
                  </a:lnTo>
                  <a:lnTo>
                    <a:pt x="98" y="50"/>
                  </a:lnTo>
                  <a:lnTo>
                    <a:pt x="100" y="50"/>
                  </a:lnTo>
                  <a:lnTo>
                    <a:pt x="106" y="45"/>
                  </a:lnTo>
                  <a:lnTo>
                    <a:pt x="110" y="43"/>
                  </a:lnTo>
                  <a:lnTo>
                    <a:pt x="113" y="46"/>
                  </a:lnTo>
                  <a:lnTo>
                    <a:pt x="118" y="48"/>
                  </a:lnTo>
                  <a:lnTo>
                    <a:pt x="127" y="43"/>
                  </a:lnTo>
                  <a:lnTo>
                    <a:pt x="130" y="51"/>
                  </a:lnTo>
                  <a:lnTo>
                    <a:pt x="135" y="55"/>
                  </a:lnTo>
                  <a:lnTo>
                    <a:pt x="140" y="51"/>
                  </a:lnTo>
                  <a:lnTo>
                    <a:pt x="147" y="53"/>
                  </a:lnTo>
                  <a:lnTo>
                    <a:pt x="158" y="53"/>
                  </a:lnTo>
                  <a:lnTo>
                    <a:pt x="163" y="48"/>
                  </a:lnTo>
                  <a:lnTo>
                    <a:pt x="164" y="43"/>
                  </a:lnTo>
                  <a:lnTo>
                    <a:pt x="158" y="33"/>
                  </a:lnTo>
                  <a:lnTo>
                    <a:pt x="158" y="27"/>
                  </a:lnTo>
                  <a:lnTo>
                    <a:pt x="149" y="24"/>
                  </a:lnTo>
                  <a:lnTo>
                    <a:pt x="147" y="21"/>
                  </a:lnTo>
                  <a:lnTo>
                    <a:pt x="151" y="12"/>
                  </a:lnTo>
                  <a:lnTo>
                    <a:pt x="149" y="10"/>
                  </a:lnTo>
                  <a:lnTo>
                    <a:pt x="149" y="2"/>
                  </a:lnTo>
                  <a:lnTo>
                    <a:pt x="152" y="0"/>
                  </a:lnTo>
                  <a:lnTo>
                    <a:pt x="163" y="4"/>
                  </a:lnTo>
                  <a:lnTo>
                    <a:pt x="164" y="7"/>
                  </a:lnTo>
                  <a:lnTo>
                    <a:pt x="168" y="7"/>
                  </a:lnTo>
                  <a:lnTo>
                    <a:pt x="176" y="12"/>
                  </a:lnTo>
                  <a:lnTo>
                    <a:pt x="178" y="12"/>
                  </a:lnTo>
                  <a:lnTo>
                    <a:pt x="188" y="17"/>
                  </a:lnTo>
                  <a:lnTo>
                    <a:pt x="190" y="17"/>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42" name="Freeform 80"/>
            <p:cNvSpPr>
              <a:spLocks noEditPoints="1"/>
            </p:cNvSpPr>
            <p:nvPr/>
          </p:nvSpPr>
          <p:spPr bwMode="gray">
            <a:xfrm>
              <a:off x="4313774" y="2983235"/>
              <a:ext cx="1118224" cy="946751"/>
            </a:xfrm>
            <a:custGeom>
              <a:avLst/>
              <a:gdLst>
                <a:gd name="T0" fmla="*/ 313 w 613"/>
                <a:gd name="T1" fmla="*/ 480 h 519"/>
                <a:gd name="T2" fmla="*/ 586 w 613"/>
                <a:gd name="T3" fmla="*/ 258 h 519"/>
                <a:gd name="T4" fmla="*/ 558 w 613"/>
                <a:gd name="T5" fmla="*/ 275 h 519"/>
                <a:gd name="T6" fmla="*/ 548 w 613"/>
                <a:gd name="T7" fmla="*/ 312 h 519"/>
                <a:gd name="T8" fmla="*/ 564 w 613"/>
                <a:gd name="T9" fmla="*/ 324 h 519"/>
                <a:gd name="T10" fmla="*/ 553 w 613"/>
                <a:gd name="T11" fmla="*/ 345 h 519"/>
                <a:gd name="T12" fmla="*/ 533 w 613"/>
                <a:gd name="T13" fmla="*/ 365 h 519"/>
                <a:gd name="T14" fmla="*/ 494 w 613"/>
                <a:gd name="T15" fmla="*/ 398 h 519"/>
                <a:gd name="T16" fmla="*/ 466 w 613"/>
                <a:gd name="T17" fmla="*/ 440 h 519"/>
                <a:gd name="T18" fmla="*/ 444 w 613"/>
                <a:gd name="T19" fmla="*/ 475 h 519"/>
                <a:gd name="T20" fmla="*/ 422 w 613"/>
                <a:gd name="T21" fmla="*/ 502 h 519"/>
                <a:gd name="T22" fmla="*/ 398 w 613"/>
                <a:gd name="T23" fmla="*/ 495 h 519"/>
                <a:gd name="T24" fmla="*/ 347 w 613"/>
                <a:gd name="T25" fmla="*/ 510 h 519"/>
                <a:gd name="T26" fmla="*/ 330 w 613"/>
                <a:gd name="T27" fmla="*/ 475 h 519"/>
                <a:gd name="T28" fmla="*/ 311 w 613"/>
                <a:gd name="T29" fmla="*/ 481 h 519"/>
                <a:gd name="T30" fmla="*/ 277 w 613"/>
                <a:gd name="T31" fmla="*/ 451 h 519"/>
                <a:gd name="T32" fmla="*/ 272 w 613"/>
                <a:gd name="T33" fmla="*/ 475 h 519"/>
                <a:gd name="T34" fmla="*/ 220 w 613"/>
                <a:gd name="T35" fmla="*/ 505 h 519"/>
                <a:gd name="T36" fmla="*/ 174 w 613"/>
                <a:gd name="T37" fmla="*/ 495 h 519"/>
                <a:gd name="T38" fmla="*/ 128 w 613"/>
                <a:gd name="T39" fmla="*/ 517 h 519"/>
                <a:gd name="T40" fmla="*/ 130 w 613"/>
                <a:gd name="T41" fmla="*/ 469 h 519"/>
                <a:gd name="T42" fmla="*/ 116 w 613"/>
                <a:gd name="T43" fmla="*/ 428 h 519"/>
                <a:gd name="T44" fmla="*/ 98 w 613"/>
                <a:gd name="T45" fmla="*/ 458 h 519"/>
                <a:gd name="T46" fmla="*/ 60 w 613"/>
                <a:gd name="T47" fmla="*/ 451 h 519"/>
                <a:gd name="T48" fmla="*/ 7 w 613"/>
                <a:gd name="T49" fmla="*/ 451 h 519"/>
                <a:gd name="T50" fmla="*/ 38 w 613"/>
                <a:gd name="T51" fmla="*/ 428 h 519"/>
                <a:gd name="T52" fmla="*/ 46 w 613"/>
                <a:gd name="T53" fmla="*/ 399 h 519"/>
                <a:gd name="T54" fmla="*/ 39 w 613"/>
                <a:gd name="T55" fmla="*/ 346 h 519"/>
                <a:gd name="T56" fmla="*/ 33 w 613"/>
                <a:gd name="T57" fmla="*/ 323 h 519"/>
                <a:gd name="T58" fmla="*/ 21 w 613"/>
                <a:gd name="T59" fmla="*/ 300 h 519"/>
                <a:gd name="T60" fmla="*/ 39 w 613"/>
                <a:gd name="T61" fmla="*/ 278 h 519"/>
                <a:gd name="T62" fmla="*/ 68 w 613"/>
                <a:gd name="T63" fmla="*/ 261 h 519"/>
                <a:gd name="T64" fmla="*/ 103 w 613"/>
                <a:gd name="T65" fmla="*/ 237 h 519"/>
                <a:gd name="T66" fmla="*/ 108 w 613"/>
                <a:gd name="T67" fmla="*/ 213 h 519"/>
                <a:gd name="T68" fmla="*/ 140 w 613"/>
                <a:gd name="T69" fmla="*/ 193 h 519"/>
                <a:gd name="T70" fmla="*/ 173 w 613"/>
                <a:gd name="T71" fmla="*/ 181 h 519"/>
                <a:gd name="T72" fmla="*/ 193 w 613"/>
                <a:gd name="T73" fmla="*/ 179 h 519"/>
                <a:gd name="T74" fmla="*/ 224 w 613"/>
                <a:gd name="T75" fmla="*/ 177 h 519"/>
                <a:gd name="T76" fmla="*/ 258 w 613"/>
                <a:gd name="T77" fmla="*/ 160 h 519"/>
                <a:gd name="T78" fmla="*/ 299 w 613"/>
                <a:gd name="T79" fmla="*/ 155 h 519"/>
                <a:gd name="T80" fmla="*/ 319 w 613"/>
                <a:gd name="T81" fmla="*/ 118 h 519"/>
                <a:gd name="T82" fmla="*/ 319 w 613"/>
                <a:gd name="T83" fmla="*/ 78 h 519"/>
                <a:gd name="T84" fmla="*/ 335 w 613"/>
                <a:gd name="T85" fmla="*/ 54 h 519"/>
                <a:gd name="T86" fmla="*/ 371 w 613"/>
                <a:gd name="T87" fmla="*/ 19 h 519"/>
                <a:gd name="T88" fmla="*/ 405 w 613"/>
                <a:gd name="T89" fmla="*/ 12 h 519"/>
                <a:gd name="T90" fmla="*/ 420 w 613"/>
                <a:gd name="T91" fmla="*/ 31 h 519"/>
                <a:gd name="T92" fmla="*/ 447 w 613"/>
                <a:gd name="T93" fmla="*/ 27 h 519"/>
                <a:gd name="T94" fmla="*/ 476 w 613"/>
                <a:gd name="T95" fmla="*/ 10 h 519"/>
                <a:gd name="T96" fmla="*/ 509 w 613"/>
                <a:gd name="T97" fmla="*/ 5 h 519"/>
                <a:gd name="T98" fmla="*/ 528 w 613"/>
                <a:gd name="T99" fmla="*/ 42 h 519"/>
                <a:gd name="T100" fmla="*/ 500 w 613"/>
                <a:gd name="T101" fmla="*/ 58 h 519"/>
                <a:gd name="T102" fmla="*/ 500 w 613"/>
                <a:gd name="T103" fmla="*/ 90 h 519"/>
                <a:gd name="T104" fmla="*/ 529 w 613"/>
                <a:gd name="T105" fmla="*/ 111 h 519"/>
                <a:gd name="T106" fmla="*/ 545 w 613"/>
                <a:gd name="T107" fmla="*/ 118 h 519"/>
                <a:gd name="T108" fmla="*/ 548 w 613"/>
                <a:gd name="T109" fmla="*/ 155 h 519"/>
                <a:gd name="T110" fmla="*/ 576 w 613"/>
                <a:gd name="T111" fmla="*/ 200 h 519"/>
                <a:gd name="T112" fmla="*/ 608 w 613"/>
                <a:gd name="T113" fmla="*/ 22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3" h="519">
                  <a:moveTo>
                    <a:pt x="318" y="490"/>
                  </a:moveTo>
                  <a:lnTo>
                    <a:pt x="316" y="490"/>
                  </a:lnTo>
                  <a:lnTo>
                    <a:pt x="316" y="487"/>
                  </a:lnTo>
                  <a:lnTo>
                    <a:pt x="319" y="483"/>
                  </a:lnTo>
                  <a:lnTo>
                    <a:pt x="321" y="487"/>
                  </a:lnTo>
                  <a:lnTo>
                    <a:pt x="318" y="490"/>
                  </a:lnTo>
                  <a:close/>
                  <a:moveTo>
                    <a:pt x="311" y="480"/>
                  </a:moveTo>
                  <a:lnTo>
                    <a:pt x="313" y="480"/>
                  </a:lnTo>
                  <a:lnTo>
                    <a:pt x="313" y="483"/>
                  </a:lnTo>
                  <a:lnTo>
                    <a:pt x="311" y="483"/>
                  </a:lnTo>
                  <a:lnTo>
                    <a:pt x="311" y="480"/>
                  </a:lnTo>
                  <a:close/>
                  <a:moveTo>
                    <a:pt x="603" y="251"/>
                  </a:moveTo>
                  <a:lnTo>
                    <a:pt x="598" y="254"/>
                  </a:lnTo>
                  <a:lnTo>
                    <a:pt x="593" y="254"/>
                  </a:lnTo>
                  <a:lnTo>
                    <a:pt x="591" y="254"/>
                  </a:lnTo>
                  <a:lnTo>
                    <a:pt x="586" y="258"/>
                  </a:lnTo>
                  <a:lnTo>
                    <a:pt x="581" y="261"/>
                  </a:lnTo>
                  <a:lnTo>
                    <a:pt x="579" y="261"/>
                  </a:lnTo>
                  <a:lnTo>
                    <a:pt x="570" y="263"/>
                  </a:lnTo>
                  <a:lnTo>
                    <a:pt x="565" y="266"/>
                  </a:lnTo>
                  <a:lnTo>
                    <a:pt x="562" y="265"/>
                  </a:lnTo>
                  <a:lnTo>
                    <a:pt x="562" y="266"/>
                  </a:lnTo>
                  <a:lnTo>
                    <a:pt x="558" y="273"/>
                  </a:lnTo>
                  <a:lnTo>
                    <a:pt x="558" y="275"/>
                  </a:lnTo>
                  <a:lnTo>
                    <a:pt x="557" y="283"/>
                  </a:lnTo>
                  <a:lnTo>
                    <a:pt x="553" y="292"/>
                  </a:lnTo>
                  <a:lnTo>
                    <a:pt x="555" y="294"/>
                  </a:lnTo>
                  <a:lnTo>
                    <a:pt x="553" y="294"/>
                  </a:lnTo>
                  <a:lnTo>
                    <a:pt x="552" y="304"/>
                  </a:lnTo>
                  <a:lnTo>
                    <a:pt x="548" y="311"/>
                  </a:lnTo>
                  <a:lnTo>
                    <a:pt x="550" y="314"/>
                  </a:lnTo>
                  <a:lnTo>
                    <a:pt x="548" y="312"/>
                  </a:lnTo>
                  <a:lnTo>
                    <a:pt x="550" y="321"/>
                  </a:lnTo>
                  <a:lnTo>
                    <a:pt x="557" y="321"/>
                  </a:lnTo>
                  <a:lnTo>
                    <a:pt x="560" y="323"/>
                  </a:lnTo>
                  <a:lnTo>
                    <a:pt x="560" y="321"/>
                  </a:lnTo>
                  <a:lnTo>
                    <a:pt x="560" y="323"/>
                  </a:lnTo>
                  <a:lnTo>
                    <a:pt x="562" y="321"/>
                  </a:lnTo>
                  <a:lnTo>
                    <a:pt x="562" y="324"/>
                  </a:lnTo>
                  <a:lnTo>
                    <a:pt x="564" y="324"/>
                  </a:lnTo>
                  <a:lnTo>
                    <a:pt x="562" y="326"/>
                  </a:lnTo>
                  <a:lnTo>
                    <a:pt x="565" y="328"/>
                  </a:lnTo>
                  <a:lnTo>
                    <a:pt x="564" y="331"/>
                  </a:lnTo>
                  <a:lnTo>
                    <a:pt x="560" y="331"/>
                  </a:lnTo>
                  <a:lnTo>
                    <a:pt x="560" y="329"/>
                  </a:lnTo>
                  <a:lnTo>
                    <a:pt x="557" y="335"/>
                  </a:lnTo>
                  <a:lnTo>
                    <a:pt x="560" y="341"/>
                  </a:lnTo>
                  <a:lnTo>
                    <a:pt x="553" y="345"/>
                  </a:lnTo>
                  <a:lnTo>
                    <a:pt x="550" y="343"/>
                  </a:lnTo>
                  <a:lnTo>
                    <a:pt x="550" y="348"/>
                  </a:lnTo>
                  <a:lnTo>
                    <a:pt x="548" y="352"/>
                  </a:lnTo>
                  <a:lnTo>
                    <a:pt x="546" y="362"/>
                  </a:lnTo>
                  <a:lnTo>
                    <a:pt x="543" y="362"/>
                  </a:lnTo>
                  <a:lnTo>
                    <a:pt x="541" y="358"/>
                  </a:lnTo>
                  <a:lnTo>
                    <a:pt x="541" y="360"/>
                  </a:lnTo>
                  <a:lnTo>
                    <a:pt x="533" y="365"/>
                  </a:lnTo>
                  <a:lnTo>
                    <a:pt x="528" y="369"/>
                  </a:lnTo>
                  <a:lnTo>
                    <a:pt x="524" y="372"/>
                  </a:lnTo>
                  <a:lnTo>
                    <a:pt x="516" y="377"/>
                  </a:lnTo>
                  <a:lnTo>
                    <a:pt x="511" y="384"/>
                  </a:lnTo>
                  <a:lnTo>
                    <a:pt x="502" y="389"/>
                  </a:lnTo>
                  <a:lnTo>
                    <a:pt x="500" y="389"/>
                  </a:lnTo>
                  <a:lnTo>
                    <a:pt x="499" y="394"/>
                  </a:lnTo>
                  <a:lnTo>
                    <a:pt x="494" y="398"/>
                  </a:lnTo>
                  <a:lnTo>
                    <a:pt x="487" y="405"/>
                  </a:lnTo>
                  <a:lnTo>
                    <a:pt x="487" y="415"/>
                  </a:lnTo>
                  <a:lnTo>
                    <a:pt x="483" y="420"/>
                  </a:lnTo>
                  <a:lnTo>
                    <a:pt x="478" y="423"/>
                  </a:lnTo>
                  <a:lnTo>
                    <a:pt x="473" y="422"/>
                  </a:lnTo>
                  <a:lnTo>
                    <a:pt x="471" y="430"/>
                  </a:lnTo>
                  <a:lnTo>
                    <a:pt x="465" y="432"/>
                  </a:lnTo>
                  <a:lnTo>
                    <a:pt x="466" y="440"/>
                  </a:lnTo>
                  <a:lnTo>
                    <a:pt x="459" y="439"/>
                  </a:lnTo>
                  <a:lnTo>
                    <a:pt x="456" y="446"/>
                  </a:lnTo>
                  <a:lnTo>
                    <a:pt x="454" y="446"/>
                  </a:lnTo>
                  <a:lnTo>
                    <a:pt x="458" y="447"/>
                  </a:lnTo>
                  <a:lnTo>
                    <a:pt x="451" y="456"/>
                  </a:lnTo>
                  <a:lnTo>
                    <a:pt x="458" y="463"/>
                  </a:lnTo>
                  <a:lnTo>
                    <a:pt x="446" y="471"/>
                  </a:lnTo>
                  <a:lnTo>
                    <a:pt x="444" y="475"/>
                  </a:lnTo>
                  <a:lnTo>
                    <a:pt x="446" y="480"/>
                  </a:lnTo>
                  <a:lnTo>
                    <a:pt x="437" y="487"/>
                  </a:lnTo>
                  <a:lnTo>
                    <a:pt x="436" y="493"/>
                  </a:lnTo>
                  <a:lnTo>
                    <a:pt x="434" y="497"/>
                  </a:lnTo>
                  <a:lnTo>
                    <a:pt x="436" y="500"/>
                  </a:lnTo>
                  <a:lnTo>
                    <a:pt x="432" y="509"/>
                  </a:lnTo>
                  <a:lnTo>
                    <a:pt x="427" y="507"/>
                  </a:lnTo>
                  <a:lnTo>
                    <a:pt x="422" y="502"/>
                  </a:lnTo>
                  <a:lnTo>
                    <a:pt x="420" y="498"/>
                  </a:lnTo>
                  <a:lnTo>
                    <a:pt x="413" y="502"/>
                  </a:lnTo>
                  <a:lnTo>
                    <a:pt x="408" y="500"/>
                  </a:lnTo>
                  <a:lnTo>
                    <a:pt x="403" y="497"/>
                  </a:lnTo>
                  <a:lnTo>
                    <a:pt x="400" y="493"/>
                  </a:lnTo>
                  <a:lnTo>
                    <a:pt x="403" y="488"/>
                  </a:lnTo>
                  <a:lnTo>
                    <a:pt x="398" y="492"/>
                  </a:lnTo>
                  <a:lnTo>
                    <a:pt x="398" y="495"/>
                  </a:lnTo>
                  <a:lnTo>
                    <a:pt x="388" y="498"/>
                  </a:lnTo>
                  <a:lnTo>
                    <a:pt x="383" y="500"/>
                  </a:lnTo>
                  <a:lnTo>
                    <a:pt x="374" y="507"/>
                  </a:lnTo>
                  <a:lnTo>
                    <a:pt x="371" y="509"/>
                  </a:lnTo>
                  <a:lnTo>
                    <a:pt x="367" y="509"/>
                  </a:lnTo>
                  <a:lnTo>
                    <a:pt x="359" y="510"/>
                  </a:lnTo>
                  <a:lnTo>
                    <a:pt x="354" y="510"/>
                  </a:lnTo>
                  <a:lnTo>
                    <a:pt x="347" y="510"/>
                  </a:lnTo>
                  <a:lnTo>
                    <a:pt x="342" y="507"/>
                  </a:lnTo>
                  <a:lnTo>
                    <a:pt x="345" y="502"/>
                  </a:lnTo>
                  <a:lnTo>
                    <a:pt x="348" y="493"/>
                  </a:lnTo>
                  <a:lnTo>
                    <a:pt x="347" y="485"/>
                  </a:lnTo>
                  <a:lnTo>
                    <a:pt x="345" y="476"/>
                  </a:lnTo>
                  <a:lnTo>
                    <a:pt x="345" y="475"/>
                  </a:lnTo>
                  <a:lnTo>
                    <a:pt x="337" y="473"/>
                  </a:lnTo>
                  <a:lnTo>
                    <a:pt x="330" y="475"/>
                  </a:lnTo>
                  <a:lnTo>
                    <a:pt x="326" y="476"/>
                  </a:lnTo>
                  <a:lnTo>
                    <a:pt x="325" y="481"/>
                  </a:lnTo>
                  <a:lnTo>
                    <a:pt x="319" y="483"/>
                  </a:lnTo>
                  <a:lnTo>
                    <a:pt x="316" y="487"/>
                  </a:lnTo>
                  <a:lnTo>
                    <a:pt x="313" y="485"/>
                  </a:lnTo>
                  <a:lnTo>
                    <a:pt x="313" y="481"/>
                  </a:lnTo>
                  <a:lnTo>
                    <a:pt x="311" y="480"/>
                  </a:lnTo>
                  <a:lnTo>
                    <a:pt x="311" y="481"/>
                  </a:lnTo>
                  <a:lnTo>
                    <a:pt x="313" y="488"/>
                  </a:lnTo>
                  <a:lnTo>
                    <a:pt x="307" y="480"/>
                  </a:lnTo>
                  <a:lnTo>
                    <a:pt x="302" y="475"/>
                  </a:lnTo>
                  <a:lnTo>
                    <a:pt x="296" y="468"/>
                  </a:lnTo>
                  <a:lnTo>
                    <a:pt x="294" y="464"/>
                  </a:lnTo>
                  <a:lnTo>
                    <a:pt x="290" y="463"/>
                  </a:lnTo>
                  <a:lnTo>
                    <a:pt x="284" y="458"/>
                  </a:lnTo>
                  <a:lnTo>
                    <a:pt x="277" y="451"/>
                  </a:lnTo>
                  <a:lnTo>
                    <a:pt x="273" y="458"/>
                  </a:lnTo>
                  <a:lnTo>
                    <a:pt x="272" y="459"/>
                  </a:lnTo>
                  <a:lnTo>
                    <a:pt x="270" y="459"/>
                  </a:lnTo>
                  <a:lnTo>
                    <a:pt x="265" y="468"/>
                  </a:lnTo>
                  <a:lnTo>
                    <a:pt x="267" y="471"/>
                  </a:lnTo>
                  <a:lnTo>
                    <a:pt x="272" y="473"/>
                  </a:lnTo>
                  <a:lnTo>
                    <a:pt x="277" y="469"/>
                  </a:lnTo>
                  <a:lnTo>
                    <a:pt x="272" y="475"/>
                  </a:lnTo>
                  <a:lnTo>
                    <a:pt x="268" y="478"/>
                  </a:lnTo>
                  <a:lnTo>
                    <a:pt x="261" y="483"/>
                  </a:lnTo>
                  <a:lnTo>
                    <a:pt x="260" y="485"/>
                  </a:lnTo>
                  <a:lnTo>
                    <a:pt x="249" y="490"/>
                  </a:lnTo>
                  <a:lnTo>
                    <a:pt x="241" y="495"/>
                  </a:lnTo>
                  <a:lnTo>
                    <a:pt x="234" y="497"/>
                  </a:lnTo>
                  <a:lnTo>
                    <a:pt x="229" y="502"/>
                  </a:lnTo>
                  <a:lnTo>
                    <a:pt x="220" y="505"/>
                  </a:lnTo>
                  <a:lnTo>
                    <a:pt x="220" y="507"/>
                  </a:lnTo>
                  <a:lnTo>
                    <a:pt x="217" y="507"/>
                  </a:lnTo>
                  <a:lnTo>
                    <a:pt x="210" y="504"/>
                  </a:lnTo>
                  <a:lnTo>
                    <a:pt x="205" y="497"/>
                  </a:lnTo>
                  <a:lnTo>
                    <a:pt x="202" y="495"/>
                  </a:lnTo>
                  <a:lnTo>
                    <a:pt x="193" y="492"/>
                  </a:lnTo>
                  <a:lnTo>
                    <a:pt x="183" y="492"/>
                  </a:lnTo>
                  <a:lnTo>
                    <a:pt x="174" y="495"/>
                  </a:lnTo>
                  <a:lnTo>
                    <a:pt x="169" y="498"/>
                  </a:lnTo>
                  <a:lnTo>
                    <a:pt x="162" y="502"/>
                  </a:lnTo>
                  <a:lnTo>
                    <a:pt x="156" y="507"/>
                  </a:lnTo>
                  <a:lnTo>
                    <a:pt x="152" y="509"/>
                  </a:lnTo>
                  <a:lnTo>
                    <a:pt x="147" y="514"/>
                  </a:lnTo>
                  <a:lnTo>
                    <a:pt x="140" y="519"/>
                  </a:lnTo>
                  <a:lnTo>
                    <a:pt x="135" y="519"/>
                  </a:lnTo>
                  <a:lnTo>
                    <a:pt x="128" y="517"/>
                  </a:lnTo>
                  <a:lnTo>
                    <a:pt x="125" y="514"/>
                  </a:lnTo>
                  <a:lnTo>
                    <a:pt x="128" y="509"/>
                  </a:lnTo>
                  <a:lnTo>
                    <a:pt x="130" y="500"/>
                  </a:lnTo>
                  <a:lnTo>
                    <a:pt x="130" y="492"/>
                  </a:lnTo>
                  <a:lnTo>
                    <a:pt x="130" y="488"/>
                  </a:lnTo>
                  <a:lnTo>
                    <a:pt x="128" y="480"/>
                  </a:lnTo>
                  <a:lnTo>
                    <a:pt x="128" y="478"/>
                  </a:lnTo>
                  <a:lnTo>
                    <a:pt x="130" y="469"/>
                  </a:lnTo>
                  <a:lnTo>
                    <a:pt x="130" y="466"/>
                  </a:lnTo>
                  <a:lnTo>
                    <a:pt x="132" y="459"/>
                  </a:lnTo>
                  <a:lnTo>
                    <a:pt x="130" y="452"/>
                  </a:lnTo>
                  <a:lnTo>
                    <a:pt x="125" y="446"/>
                  </a:lnTo>
                  <a:lnTo>
                    <a:pt x="123" y="440"/>
                  </a:lnTo>
                  <a:lnTo>
                    <a:pt x="120" y="439"/>
                  </a:lnTo>
                  <a:lnTo>
                    <a:pt x="121" y="434"/>
                  </a:lnTo>
                  <a:lnTo>
                    <a:pt x="116" y="428"/>
                  </a:lnTo>
                  <a:lnTo>
                    <a:pt x="118" y="435"/>
                  </a:lnTo>
                  <a:lnTo>
                    <a:pt x="113" y="442"/>
                  </a:lnTo>
                  <a:lnTo>
                    <a:pt x="115" y="444"/>
                  </a:lnTo>
                  <a:lnTo>
                    <a:pt x="118" y="442"/>
                  </a:lnTo>
                  <a:lnTo>
                    <a:pt x="115" y="447"/>
                  </a:lnTo>
                  <a:lnTo>
                    <a:pt x="108" y="449"/>
                  </a:lnTo>
                  <a:lnTo>
                    <a:pt x="99" y="454"/>
                  </a:lnTo>
                  <a:lnTo>
                    <a:pt x="98" y="458"/>
                  </a:lnTo>
                  <a:lnTo>
                    <a:pt x="96" y="452"/>
                  </a:lnTo>
                  <a:lnTo>
                    <a:pt x="91" y="447"/>
                  </a:lnTo>
                  <a:lnTo>
                    <a:pt x="84" y="444"/>
                  </a:lnTo>
                  <a:lnTo>
                    <a:pt x="86" y="439"/>
                  </a:lnTo>
                  <a:lnTo>
                    <a:pt x="79" y="444"/>
                  </a:lnTo>
                  <a:lnTo>
                    <a:pt x="74" y="444"/>
                  </a:lnTo>
                  <a:lnTo>
                    <a:pt x="68" y="446"/>
                  </a:lnTo>
                  <a:lnTo>
                    <a:pt x="60" y="451"/>
                  </a:lnTo>
                  <a:lnTo>
                    <a:pt x="55" y="452"/>
                  </a:lnTo>
                  <a:lnTo>
                    <a:pt x="48" y="458"/>
                  </a:lnTo>
                  <a:lnTo>
                    <a:pt x="39" y="459"/>
                  </a:lnTo>
                  <a:lnTo>
                    <a:pt x="31" y="463"/>
                  </a:lnTo>
                  <a:lnTo>
                    <a:pt x="22" y="459"/>
                  </a:lnTo>
                  <a:lnTo>
                    <a:pt x="16" y="454"/>
                  </a:lnTo>
                  <a:lnTo>
                    <a:pt x="12" y="452"/>
                  </a:lnTo>
                  <a:lnTo>
                    <a:pt x="7" y="451"/>
                  </a:lnTo>
                  <a:lnTo>
                    <a:pt x="0" y="452"/>
                  </a:lnTo>
                  <a:lnTo>
                    <a:pt x="4" y="447"/>
                  </a:lnTo>
                  <a:lnTo>
                    <a:pt x="7" y="444"/>
                  </a:lnTo>
                  <a:lnTo>
                    <a:pt x="16" y="442"/>
                  </a:lnTo>
                  <a:lnTo>
                    <a:pt x="19" y="439"/>
                  </a:lnTo>
                  <a:lnTo>
                    <a:pt x="29" y="437"/>
                  </a:lnTo>
                  <a:lnTo>
                    <a:pt x="34" y="428"/>
                  </a:lnTo>
                  <a:lnTo>
                    <a:pt x="38" y="428"/>
                  </a:lnTo>
                  <a:lnTo>
                    <a:pt x="45" y="427"/>
                  </a:lnTo>
                  <a:lnTo>
                    <a:pt x="48" y="425"/>
                  </a:lnTo>
                  <a:lnTo>
                    <a:pt x="53" y="418"/>
                  </a:lnTo>
                  <a:lnTo>
                    <a:pt x="53" y="415"/>
                  </a:lnTo>
                  <a:lnTo>
                    <a:pt x="50" y="415"/>
                  </a:lnTo>
                  <a:lnTo>
                    <a:pt x="46" y="413"/>
                  </a:lnTo>
                  <a:lnTo>
                    <a:pt x="50" y="406"/>
                  </a:lnTo>
                  <a:lnTo>
                    <a:pt x="46" y="399"/>
                  </a:lnTo>
                  <a:lnTo>
                    <a:pt x="45" y="389"/>
                  </a:lnTo>
                  <a:lnTo>
                    <a:pt x="43" y="381"/>
                  </a:lnTo>
                  <a:lnTo>
                    <a:pt x="43" y="376"/>
                  </a:lnTo>
                  <a:lnTo>
                    <a:pt x="39" y="367"/>
                  </a:lnTo>
                  <a:lnTo>
                    <a:pt x="36" y="364"/>
                  </a:lnTo>
                  <a:lnTo>
                    <a:pt x="41" y="357"/>
                  </a:lnTo>
                  <a:lnTo>
                    <a:pt x="43" y="353"/>
                  </a:lnTo>
                  <a:lnTo>
                    <a:pt x="39" y="346"/>
                  </a:lnTo>
                  <a:lnTo>
                    <a:pt x="39" y="341"/>
                  </a:lnTo>
                  <a:lnTo>
                    <a:pt x="43" y="340"/>
                  </a:lnTo>
                  <a:lnTo>
                    <a:pt x="43" y="336"/>
                  </a:lnTo>
                  <a:lnTo>
                    <a:pt x="39" y="336"/>
                  </a:lnTo>
                  <a:lnTo>
                    <a:pt x="39" y="333"/>
                  </a:lnTo>
                  <a:lnTo>
                    <a:pt x="34" y="329"/>
                  </a:lnTo>
                  <a:lnTo>
                    <a:pt x="31" y="328"/>
                  </a:lnTo>
                  <a:lnTo>
                    <a:pt x="33" y="323"/>
                  </a:lnTo>
                  <a:lnTo>
                    <a:pt x="29" y="319"/>
                  </a:lnTo>
                  <a:lnTo>
                    <a:pt x="31" y="316"/>
                  </a:lnTo>
                  <a:lnTo>
                    <a:pt x="34" y="307"/>
                  </a:lnTo>
                  <a:lnTo>
                    <a:pt x="34" y="299"/>
                  </a:lnTo>
                  <a:lnTo>
                    <a:pt x="31" y="295"/>
                  </a:lnTo>
                  <a:lnTo>
                    <a:pt x="29" y="295"/>
                  </a:lnTo>
                  <a:lnTo>
                    <a:pt x="26" y="299"/>
                  </a:lnTo>
                  <a:lnTo>
                    <a:pt x="21" y="300"/>
                  </a:lnTo>
                  <a:lnTo>
                    <a:pt x="19" y="295"/>
                  </a:lnTo>
                  <a:lnTo>
                    <a:pt x="16" y="295"/>
                  </a:lnTo>
                  <a:lnTo>
                    <a:pt x="16" y="290"/>
                  </a:lnTo>
                  <a:lnTo>
                    <a:pt x="22" y="285"/>
                  </a:lnTo>
                  <a:lnTo>
                    <a:pt x="28" y="283"/>
                  </a:lnTo>
                  <a:lnTo>
                    <a:pt x="31" y="278"/>
                  </a:lnTo>
                  <a:lnTo>
                    <a:pt x="34" y="282"/>
                  </a:lnTo>
                  <a:lnTo>
                    <a:pt x="39" y="278"/>
                  </a:lnTo>
                  <a:lnTo>
                    <a:pt x="41" y="282"/>
                  </a:lnTo>
                  <a:lnTo>
                    <a:pt x="46" y="280"/>
                  </a:lnTo>
                  <a:lnTo>
                    <a:pt x="46" y="276"/>
                  </a:lnTo>
                  <a:lnTo>
                    <a:pt x="50" y="270"/>
                  </a:lnTo>
                  <a:lnTo>
                    <a:pt x="51" y="266"/>
                  </a:lnTo>
                  <a:lnTo>
                    <a:pt x="57" y="266"/>
                  </a:lnTo>
                  <a:lnTo>
                    <a:pt x="60" y="265"/>
                  </a:lnTo>
                  <a:lnTo>
                    <a:pt x="68" y="261"/>
                  </a:lnTo>
                  <a:lnTo>
                    <a:pt x="74" y="254"/>
                  </a:lnTo>
                  <a:lnTo>
                    <a:pt x="75" y="253"/>
                  </a:lnTo>
                  <a:lnTo>
                    <a:pt x="79" y="247"/>
                  </a:lnTo>
                  <a:lnTo>
                    <a:pt x="80" y="247"/>
                  </a:lnTo>
                  <a:lnTo>
                    <a:pt x="82" y="244"/>
                  </a:lnTo>
                  <a:lnTo>
                    <a:pt x="92" y="242"/>
                  </a:lnTo>
                  <a:lnTo>
                    <a:pt x="101" y="239"/>
                  </a:lnTo>
                  <a:lnTo>
                    <a:pt x="103" y="237"/>
                  </a:lnTo>
                  <a:lnTo>
                    <a:pt x="99" y="234"/>
                  </a:lnTo>
                  <a:lnTo>
                    <a:pt x="101" y="232"/>
                  </a:lnTo>
                  <a:lnTo>
                    <a:pt x="99" y="227"/>
                  </a:lnTo>
                  <a:lnTo>
                    <a:pt x="101" y="224"/>
                  </a:lnTo>
                  <a:lnTo>
                    <a:pt x="104" y="224"/>
                  </a:lnTo>
                  <a:lnTo>
                    <a:pt x="108" y="218"/>
                  </a:lnTo>
                  <a:lnTo>
                    <a:pt x="108" y="217"/>
                  </a:lnTo>
                  <a:lnTo>
                    <a:pt x="108" y="213"/>
                  </a:lnTo>
                  <a:lnTo>
                    <a:pt x="116" y="208"/>
                  </a:lnTo>
                  <a:lnTo>
                    <a:pt x="120" y="206"/>
                  </a:lnTo>
                  <a:lnTo>
                    <a:pt x="121" y="205"/>
                  </a:lnTo>
                  <a:lnTo>
                    <a:pt x="127" y="203"/>
                  </a:lnTo>
                  <a:lnTo>
                    <a:pt x="133" y="205"/>
                  </a:lnTo>
                  <a:lnTo>
                    <a:pt x="138" y="198"/>
                  </a:lnTo>
                  <a:lnTo>
                    <a:pt x="142" y="200"/>
                  </a:lnTo>
                  <a:lnTo>
                    <a:pt x="140" y="193"/>
                  </a:lnTo>
                  <a:lnTo>
                    <a:pt x="142" y="188"/>
                  </a:lnTo>
                  <a:lnTo>
                    <a:pt x="147" y="193"/>
                  </a:lnTo>
                  <a:lnTo>
                    <a:pt x="156" y="191"/>
                  </a:lnTo>
                  <a:lnTo>
                    <a:pt x="157" y="189"/>
                  </a:lnTo>
                  <a:lnTo>
                    <a:pt x="156" y="179"/>
                  </a:lnTo>
                  <a:lnTo>
                    <a:pt x="162" y="179"/>
                  </a:lnTo>
                  <a:lnTo>
                    <a:pt x="168" y="181"/>
                  </a:lnTo>
                  <a:lnTo>
                    <a:pt x="173" y="181"/>
                  </a:lnTo>
                  <a:lnTo>
                    <a:pt x="171" y="177"/>
                  </a:lnTo>
                  <a:lnTo>
                    <a:pt x="173" y="172"/>
                  </a:lnTo>
                  <a:lnTo>
                    <a:pt x="178" y="167"/>
                  </a:lnTo>
                  <a:lnTo>
                    <a:pt x="183" y="171"/>
                  </a:lnTo>
                  <a:lnTo>
                    <a:pt x="188" y="177"/>
                  </a:lnTo>
                  <a:lnTo>
                    <a:pt x="188" y="183"/>
                  </a:lnTo>
                  <a:lnTo>
                    <a:pt x="190" y="183"/>
                  </a:lnTo>
                  <a:lnTo>
                    <a:pt x="193" y="179"/>
                  </a:lnTo>
                  <a:lnTo>
                    <a:pt x="195" y="181"/>
                  </a:lnTo>
                  <a:lnTo>
                    <a:pt x="198" y="179"/>
                  </a:lnTo>
                  <a:lnTo>
                    <a:pt x="205" y="176"/>
                  </a:lnTo>
                  <a:lnTo>
                    <a:pt x="210" y="183"/>
                  </a:lnTo>
                  <a:lnTo>
                    <a:pt x="212" y="181"/>
                  </a:lnTo>
                  <a:lnTo>
                    <a:pt x="212" y="177"/>
                  </a:lnTo>
                  <a:lnTo>
                    <a:pt x="217" y="177"/>
                  </a:lnTo>
                  <a:lnTo>
                    <a:pt x="224" y="177"/>
                  </a:lnTo>
                  <a:lnTo>
                    <a:pt x="226" y="174"/>
                  </a:lnTo>
                  <a:lnTo>
                    <a:pt x="236" y="172"/>
                  </a:lnTo>
                  <a:lnTo>
                    <a:pt x="238" y="169"/>
                  </a:lnTo>
                  <a:lnTo>
                    <a:pt x="243" y="169"/>
                  </a:lnTo>
                  <a:lnTo>
                    <a:pt x="241" y="164"/>
                  </a:lnTo>
                  <a:lnTo>
                    <a:pt x="243" y="162"/>
                  </a:lnTo>
                  <a:lnTo>
                    <a:pt x="253" y="164"/>
                  </a:lnTo>
                  <a:lnTo>
                    <a:pt x="258" y="160"/>
                  </a:lnTo>
                  <a:lnTo>
                    <a:pt x="260" y="159"/>
                  </a:lnTo>
                  <a:lnTo>
                    <a:pt x="268" y="155"/>
                  </a:lnTo>
                  <a:lnTo>
                    <a:pt x="273" y="153"/>
                  </a:lnTo>
                  <a:lnTo>
                    <a:pt x="282" y="153"/>
                  </a:lnTo>
                  <a:lnTo>
                    <a:pt x="289" y="148"/>
                  </a:lnTo>
                  <a:lnTo>
                    <a:pt x="296" y="150"/>
                  </a:lnTo>
                  <a:lnTo>
                    <a:pt x="297" y="155"/>
                  </a:lnTo>
                  <a:lnTo>
                    <a:pt x="299" y="155"/>
                  </a:lnTo>
                  <a:lnTo>
                    <a:pt x="304" y="145"/>
                  </a:lnTo>
                  <a:lnTo>
                    <a:pt x="304" y="142"/>
                  </a:lnTo>
                  <a:lnTo>
                    <a:pt x="299" y="136"/>
                  </a:lnTo>
                  <a:lnTo>
                    <a:pt x="299" y="131"/>
                  </a:lnTo>
                  <a:lnTo>
                    <a:pt x="304" y="128"/>
                  </a:lnTo>
                  <a:lnTo>
                    <a:pt x="307" y="123"/>
                  </a:lnTo>
                  <a:lnTo>
                    <a:pt x="314" y="121"/>
                  </a:lnTo>
                  <a:lnTo>
                    <a:pt x="319" y="118"/>
                  </a:lnTo>
                  <a:lnTo>
                    <a:pt x="323" y="113"/>
                  </a:lnTo>
                  <a:lnTo>
                    <a:pt x="321" y="109"/>
                  </a:lnTo>
                  <a:lnTo>
                    <a:pt x="326" y="102"/>
                  </a:lnTo>
                  <a:lnTo>
                    <a:pt x="323" y="101"/>
                  </a:lnTo>
                  <a:lnTo>
                    <a:pt x="325" y="94"/>
                  </a:lnTo>
                  <a:lnTo>
                    <a:pt x="319" y="87"/>
                  </a:lnTo>
                  <a:lnTo>
                    <a:pt x="321" y="80"/>
                  </a:lnTo>
                  <a:lnTo>
                    <a:pt x="319" y="78"/>
                  </a:lnTo>
                  <a:lnTo>
                    <a:pt x="318" y="77"/>
                  </a:lnTo>
                  <a:lnTo>
                    <a:pt x="309" y="73"/>
                  </a:lnTo>
                  <a:lnTo>
                    <a:pt x="306" y="66"/>
                  </a:lnTo>
                  <a:lnTo>
                    <a:pt x="314" y="61"/>
                  </a:lnTo>
                  <a:lnTo>
                    <a:pt x="325" y="63"/>
                  </a:lnTo>
                  <a:lnTo>
                    <a:pt x="326" y="61"/>
                  </a:lnTo>
                  <a:lnTo>
                    <a:pt x="335" y="56"/>
                  </a:lnTo>
                  <a:lnTo>
                    <a:pt x="335" y="54"/>
                  </a:lnTo>
                  <a:lnTo>
                    <a:pt x="342" y="48"/>
                  </a:lnTo>
                  <a:lnTo>
                    <a:pt x="343" y="46"/>
                  </a:lnTo>
                  <a:lnTo>
                    <a:pt x="352" y="41"/>
                  </a:lnTo>
                  <a:lnTo>
                    <a:pt x="354" y="34"/>
                  </a:lnTo>
                  <a:lnTo>
                    <a:pt x="360" y="31"/>
                  </a:lnTo>
                  <a:lnTo>
                    <a:pt x="362" y="27"/>
                  </a:lnTo>
                  <a:lnTo>
                    <a:pt x="366" y="27"/>
                  </a:lnTo>
                  <a:lnTo>
                    <a:pt x="371" y="19"/>
                  </a:lnTo>
                  <a:lnTo>
                    <a:pt x="374" y="15"/>
                  </a:lnTo>
                  <a:lnTo>
                    <a:pt x="377" y="15"/>
                  </a:lnTo>
                  <a:lnTo>
                    <a:pt x="379" y="17"/>
                  </a:lnTo>
                  <a:lnTo>
                    <a:pt x="381" y="15"/>
                  </a:lnTo>
                  <a:lnTo>
                    <a:pt x="391" y="15"/>
                  </a:lnTo>
                  <a:lnTo>
                    <a:pt x="393" y="15"/>
                  </a:lnTo>
                  <a:lnTo>
                    <a:pt x="400" y="12"/>
                  </a:lnTo>
                  <a:lnTo>
                    <a:pt x="405" y="12"/>
                  </a:lnTo>
                  <a:lnTo>
                    <a:pt x="410" y="13"/>
                  </a:lnTo>
                  <a:lnTo>
                    <a:pt x="413" y="19"/>
                  </a:lnTo>
                  <a:lnTo>
                    <a:pt x="413" y="20"/>
                  </a:lnTo>
                  <a:lnTo>
                    <a:pt x="410" y="22"/>
                  </a:lnTo>
                  <a:lnTo>
                    <a:pt x="410" y="24"/>
                  </a:lnTo>
                  <a:lnTo>
                    <a:pt x="413" y="25"/>
                  </a:lnTo>
                  <a:lnTo>
                    <a:pt x="417" y="31"/>
                  </a:lnTo>
                  <a:lnTo>
                    <a:pt x="420" y="31"/>
                  </a:lnTo>
                  <a:lnTo>
                    <a:pt x="425" y="31"/>
                  </a:lnTo>
                  <a:lnTo>
                    <a:pt x="430" y="29"/>
                  </a:lnTo>
                  <a:lnTo>
                    <a:pt x="436" y="31"/>
                  </a:lnTo>
                  <a:lnTo>
                    <a:pt x="439" y="34"/>
                  </a:lnTo>
                  <a:lnTo>
                    <a:pt x="442" y="36"/>
                  </a:lnTo>
                  <a:lnTo>
                    <a:pt x="444" y="34"/>
                  </a:lnTo>
                  <a:lnTo>
                    <a:pt x="444" y="29"/>
                  </a:lnTo>
                  <a:lnTo>
                    <a:pt x="447" y="27"/>
                  </a:lnTo>
                  <a:lnTo>
                    <a:pt x="454" y="27"/>
                  </a:lnTo>
                  <a:lnTo>
                    <a:pt x="458" y="24"/>
                  </a:lnTo>
                  <a:lnTo>
                    <a:pt x="458" y="19"/>
                  </a:lnTo>
                  <a:lnTo>
                    <a:pt x="463" y="20"/>
                  </a:lnTo>
                  <a:lnTo>
                    <a:pt x="470" y="13"/>
                  </a:lnTo>
                  <a:lnTo>
                    <a:pt x="471" y="10"/>
                  </a:lnTo>
                  <a:lnTo>
                    <a:pt x="476" y="8"/>
                  </a:lnTo>
                  <a:lnTo>
                    <a:pt x="476" y="10"/>
                  </a:lnTo>
                  <a:lnTo>
                    <a:pt x="478" y="10"/>
                  </a:lnTo>
                  <a:lnTo>
                    <a:pt x="483" y="5"/>
                  </a:lnTo>
                  <a:lnTo>
                    <a:pt x="487" y="7"/>
                  </a:lnTo>
                  <a:lnTo>
                    <a:pt x="490" y="5"/>
                  </a:lnTo>
                  <a:lnTo>
                    <a:pt x="497" y="10"/>
                  </a:lnTo>
                  <a:lnTo>
                    <a:pt x="497" y="7"/>
                  </a:lnTo>
                  <a:lnTo>
                    <a:pt x="502" y="0"/>
                  </a:lnTo>
                  <a:lnTo>
                    <a:pt x="509" y="5"/>
                  </a:lnTo>
                  <a:lnTo>
                    <a:pt x="511" y="10"/>
                  </a:lnTo>
                  <a:lnTo>
                    <a:pt x="512" y="19"/>
                  </a:lnTo>
                  <a:lnTo>
                    <a:pt x="514" y="20"/>
                  </a:lnTo>
                  <a:lnTo>
                    <a:pt x="514" y="22"/>
                  </a:lnTo>
                  <a:lnTo>
                    <a:pt x="517" y="29"/>
                  </a:lnTo>
                  <a:lnTo>
                    <a:pt x="521" y="34"/>
                  </a:lnTo>
                  <a:lnTo>
                    <a:pt x="524" y="41"/>
                  </a:lnTo>
                  <a:lnTo>
                    <a:pt x="528" y="42"/>
                  </a:lnTo>
                  <a:lnTo>
                    <a:pt x="528" y="48"/>
                  </a:lnTo>
                  <a:lnTo>
                    <a:pt x="524" y="54"/>
                  </a:lnTo>
                  <a:lnTo>
                    <a:pt x="521" y="54"/>
                  </a:lnTo>
                  <a:lnTo>
                    <a:pt x="517" y="58"/>
                  </a:lnTo>
                  <a:lnTo>
                    <a:pt x="514" y="54"/>
                  </a:lnTo>
                  <a:lnTo>
                    <a:pt x="507" y="58"/>
                  </a:lnTo>
                  <a:lnTo>
                    <a:pt x="504" y="54"/>
                  </a:lnTo>
                  <a:lnTo>
                    <a:pt x="500" y="58"/>
                  </a:lnTo>
                  <a:lnTo>
                    <a:pt x="497" y="66"/>
                  </a:lnTo>
                  <a:lnTo>
                    <a:pt x="492" y="68"/>
                  </a:lnTo>
                  <a:lnTo>
                    <a:pt x="492" y="72"/>
                  </a:lnTo>
                  <a:lnTo>
                    <a:pt x="488" y="73"/>
                  </a:lnTo>
                  <a:lnTo>
                    <a:pt x="487" y="83"/>
                  </a:lnTo>
                  <a:lnTo>
                    <a:pt x="490" y="87"/>
                  </a:lnTo>
                  <a:lnTo>
                    <a:pt x="492" y="85"/>
                  </a:lnTo>
                  <a:lnTo>
                    <a:pt x="500" y="90"/>
                  </a:lnTo>
                  <a:lnTo>
                    <a:pt x="499" y="97"/>
                  </a:lnTo>
                  <a:lnTo>
                    <a:pt x="504" y="106"/>
                  </a:lnTo>
                  <a:lnTo>
                    <a:pt x="502" y="111"/>
                  </a:lnTo>
                  <a:lnTo>
                    <a:pt x="504" y="118"/>
                  </a:lnTo>
                  <a:lnTo>
                    <a:pt x="511" y="116"/>
                  </a:lnTo>
                  <a:lnTo>
                    <a:pt x="517" y="118"/>
                  </a:lnTo>
                  <a:lnTo>
                    <a:pt x="523" y="113"/>
                  </a:lnTo>
                  <a:lnTo>
                    <a:pt x="529" y="111"/>
                  </a:lnTo>
                  <a:lnTo>
                    <a:pt x="531" y="107"/>
                  </a:lnTo>
                  <a:lnTo>
                    <a:pt x="536" y="104"/>
                  </a:lnTo>
                  <a:lnTo>
                    <a:pt x="538" y="104"/>
                  </a:lnTo>
                  <a:lnTo>
                    <a:pt x="541" y="101"/>
                  </a:lnTo>
                  <a:lnTo>
                    <a:pt x="548" y="99"/>
                  </a:lnTo>
                  <a:lnTo>
                    <a:pt x="550" y="106"/>
                  </a:lnTo>
                  <a:lnTo>
                    <a:pt x="545" y="113"/>
                  </a:lnTo>
                  <a:lnTo>
                    <a:pt x="545" y="118"/>
                  </a:lnTo>
                  <a:lnTo>
                    <a:pt x="541" y="123"/>
                  </a:lnTo>
                  <a:lnTo>
                    <a:pt x="543" y="130"/>
                  </a:lnTo>
                  <a:lnTo>
                    <a:pt x="540" y="130"/>
                  </a:lnTo>
                  <a:lnTo>
                    <a:pt x="541" y="136"/>
                  </a:lnTo>
                  <a:lnTo>
                    <a:pt x="541" y="140"/>
                  </a:lnTo>
                  <a:lnTo>
                    <a:pt x="543" y="145"/>
                  </a:lnTo>
                  <a:lnTo>
                    <a:pt x="541" y="148"/>
                  </a:lnTo>
                  <a:lnTo>
                    <a:pt x="548" y="155"/>
                  </a:lnTo>
                  <a:lnTo>
                    <a:pt x="553" y="164"/>
                  </a:lnTo>
                  <a:lnTo>
                    <a:pt x="553" y="172"/>
                  </a:lnTo>
                  <a:lnTo>
                    <a:pt x="555" y="177"/>
                  </a:lnTo>
                  <a:lnTo>
                    <a:pt x="557" y="184"/>
                  </a:lnTo>
                  <a:lnTo>
                    <a:pt x="558" y="191"/>
                  </a:lnTo>
                  <a:lnTo>
                    <a:pt x="562" y="194"/>
                  </a:lnTo>
                  <a:lnTo>
                    <a:pt x="569" y="194"/>
                  </a:lnTo>
                  <a:lnTo>
                    <a:pt x="576" y="200"/>
                  </a:lnTo>
                  <a:lnTo>
                    <a:pt x="577" y="200"/>
                  </a:lnTo>
                  <a:lnTo>
                    <a:pt x="582" y="208"/>
                  </a:lnTo>
                  <a:lnTo>
                    <a:pt x="591" y="213"/>
                  </a:lnTo>
                  <a:lnTo>
                    <a:pt x="593" y="222"/>
                  </a:lnTo>
                  <a:lnTo>
                    <a:pt x="596" y="220"/>
                  </a:lnTo>
                  <a:lnTo>
                    <a:pt x="601" y="225"/>
                  </a:lnTo>
                  <a:lnTo>
                    <a:pt x="603" y="230"/>
                  </a:lnTo>
                  <a:lnTo>
                    <a:pt x="608" y="229"/>
                  </a:lnTo>
                  <a:lnTo>
                    <a:pt x="613" y="234"/>
                  </a:lnTo>
                  <a:lnTo>
                    <a:pt x="610" y="237"/>
                  </a:lnTo>
                  <a:lnTo>
                    <a:pt x="606" y="241"/>
                  </a:lnTo>
                  <a:lnTo>
                    <a:pt x="603" y="251"/>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43" name="Freeform 81"/>
            <p:cNvSpPr>
              <a:spLocks noEditPoints="1"/>
            </p:cNvSpPr>
            <p:nvPr/>
          </p:nvSpPr>
          <p:spPr bwMode="gray">
            <a:xfrm>
              <a:off x="2194072" y="3652709"/>
              <a:ext cx="596507" cy="707783"/>
            </a:xfrm>
            <a:custGeom>
              <a:avLst/>
              <a:gdLst>
                <a:gd name="T0" fmla="*/ 157 w 327"/>
                <a:gd name="T1" fmla="*/ 371 h 388"/>
                <a:gd name="T2" fmla="*/ 162 w 327"/>
                <a:gd name="T3" fmla="*/ 384 h 388"/>
                <a:gd name="T4" fmla="*/ 150 w 327"/>
                <a:gd name="T5" fmla="*/ 388 h 388"/>
                <a:gd name="T6" fmla="*/ 136 w 327"/>
                <a:gd name="T7" fmla="*/ 376 h 388"/>
                <a:gd name="T8" fmla="*/ 135 w 327"/>
                <a:gd name="T9" fmla="*/ 360 h 388"/>
                <a:gd name="T10" fmla="*/ 1 w 327"/>
                <a:gd name="T11" fmla="*/ 208 h 388"/>
                <a:gd name="T12" fmla="*/ 133 w 327"/>
                <a:gd name="T13" fmla="*/ 72 h 388"/>
                <a:gd name="T14" fmla="*/ 148 w 327"/>
                <a:gd name="T15" fmla="*/ 92 h 388"/>
                <a:gd name="T16" fmla="*/ 176 w 327"/>
                <a:gd name="T17" fmla="*/ 99 h 388"/>
                <a:gd name="T18" fmla="*/ 193 w 327"/>
                <a:gd name="T19" fmla="*/ 130 h 388"/>
                <a:gd name="T20" fmla="*/ 222 w 327"/>
                <a:gd name="T21" fmla="*/ 128 h 388"/>
                <a:gd name="T22" fmla="*/ 235 w 327"/>
                <a:gd name="T23" fmla="*/ 131 h 388"/>
                <a:gd name="T24" fmla="*/ 230 w 327"/>
                <a:gd name="T25" fmla="*/ 152 h 388"/>
                <a:gd name="T26" fmla="*/ 211 w 327"/>
                <a:gd name="T27" fmla="*/ 157 h 388"/>
                <a:gd name="T28" fmla="*/ 194 w 327"/>
                <a:gd name="T29" fmla="*/ 181 h 388"/>
                <a:gd name="T30" fmla="*/ 208 w 327"/>
                <a:gd name="T31" fmla="*/ 196 h 388"/>
                <a:gd name="T32" fmla="*/ 218 w 327"/>
                <a:gd name="T33" fmla="*/ 203 h 388"/>
                <a:gd name="T34" fmla="*/ 232 w 327"/>
                <a:gd name="T35" fmla="*/ 213 h 388"/>
                <a:gd name="T36" fmla="*/ 237 w 327"/>
                <a:gd name="T37" fmla="*/ 225 h 388"/>
                <a:gd name="T38" fmla="*/ 252 w 327"/>
                <a:gd name="T39" fmla="*/ 237 h 388"/>
                <a:gd name="T40" fmla="*/ 276 w 327"/>
                <a:gd name="T41" fmla="*/ 243 h 388"/>
                <a:gd name="T42" fmla="*/ 288 w 327"/>
                <a:gd name="T43" fmla="*/ 261 h 388"/>
                <a:gd name="T44" fmla="*/ 305 w 327"/>
                <a:gd name="T45" fmla="*/ 270 h 388"/>
                <a:gd name="T46" fmla="*/ 321 w 327"/>
                <a:gd name="T47" fmla="*/ 287 h 388"/>
                <a:gd name="T48" fmla="*/ 327 w 327"/>
                <a:gd name="T49" fmla="*/ 297 h 388"/>
                <a:gd name="T50" fmla="*/ 310 w 327"/>
                <a:gd name="T51" fmla="*/ 311 h 388"/>
                <a:gd name="T52" fmla="*/ 297 w 327"/>
                <a:gd name="T53" fmla="*/ 311 h 388"/>
                <a:gd name="T54" fmla="*/ 283 w 327"/>
                <a:gd name="T55" fmla="*/ 302 h 388"/>
                <a:gd name="T56" fmla="*/ 271 w 327"/>
                <a:gd name="T57" fmla="*/ 292 h 388"/>
                <a:gd name="T58" fmla="*/ 256 w 327"/>
                <a:gd name="T59" fmla="*/ 280 h 388"/>
                <a:gd name="T60" fmla="*/ 235 w 327"/>
                <a:gd name="T61" fmla="*/ 268 h 388"/>
                <a:gd name="T62" fmla="*/ 215 w 327"/>
                <a:gd name="T63" fmla="*/ 253 h 388"/>
                <a:gd name="T64" fmla="*/ 198 w 327"/>
                <a:gd name="T65" fmla="*/ 239 h 388"/>
                <a:gd name="T66" fmla="*/ 177 w 327"/>
                <a:gd name="T67" fmla="*/ 224 h 388"/>
                <a:gd name="T68" fmla="*/ 165 w 327"/>
                <a:gd name="T69" fmla="*/ 213 h 388"/>
                <a:gd name="T70" fmla="*/ 148 w 327"/>
                <a:gd name="T71" fmla="*/ 196 h 388"/>
                <a:gd name="T72" fmla="*/ 150 w 327"/>
                <a:gd name="T73" fmla="*/ 195 h 388"/>
                <a:gd name="T74" fmla="*/ 152 w 327"/>
                <a:gd name="T75" fmla="*/ 188 h 388"/>
                <a:gd name="T76" fmla="*/ 143 w 327"/>
                <a:gd name="T77" fmla="*/ 166 h 388"/>
                <a:gd name="T78" fmla="*/ 123 w 327"/>
                <a:gd name="T79" fmla="*/ 152 h 388"/>
                <a:gd name="T80" fmla="*/ 106 w 327"/>
                <a:gd name="T81" fmla="*/ 138 h 388"/>
                <a:gd name="T82" fmla="*/ 90 w 327"/>
                <a:gd name="T83" fmla="*/ 130 h 388"/>
                <a:gd name="T84" fmla="*/ 71 w 327"/>
                <a:gd name="T85" fmla="*/ 116 h 388"/>
                <a:gd name="T86" fmla="*/ 59 w 327"/>
                <a:gd name="T87" fmla="*/ 101 h 388"/>
                <a:gd name="T88" fmla="*/ 56 w 327"/>
                <a:gd name="T89" fmla="*/ 91 h 388"/>
                <a:gd name="T90" fmla="*/ 42 w 327"/>
                <a:gd name="T91" fmla="*/ 70 h 388"/>
                <a:gd name="T92" fmla="*/ 25 w 327"/>
                <a:gd name="T93" fmla="*/ 48 h 388"/>
                <a:gd name="T94" fmla="*/ 8 w 327"/>
                <a:gd name="T95" fmla="*/ 34 h 388"/>
                <a:gd name="T96" fmla="*/ 15 w 327"/>
                <a:gd name="T97" fmla="*/ 14 h 388"/>
                <a:gd name="T98" fmla="*/ 37 w 327"/>
                <a:gd name="T99" fmla="*/ 5 h 388"/>
                <a:gd name="T100" fmla="*/ 56 w 327"/>
                <a:gd name="T101" fmla="*/ 17 h 388"/>
                <a:gd name="T102" fmla="*/ 63 w 327"/>
                <a:gd name="T103" fmla="*/ 34 h 388"/>
                <a:gd name="T104" fmla="*/ 77 w 327"/>
                <a:gd name="T105" fmla="*/ 31 h 388"/>
                <a:gd name="T106" fmla="*/ 95 w 327"/>
                <a:gd name="T107" fmla="*/ 50 h 388"/>
                <a:gd name="T108" fmla="*/ 124 w 327"/>
                <a:gd name="T109" fmla="*/ 6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7" h="388">
                  <a:moveTo>
                    <a:pt x="136" y="360"/>
                  </a:moveTo>
                  <a:lnTo>
                    <a:pt x="143" y="365"/>
                  </a:lnTo>
                  <a:lnTo>
                    <a:pt x="147" y="365"/>
                  </a:lnTo>
                  <a:lnTo>
                    <a:pt x="152" y="369"/>
                  </a:lnTo>
                  <a:lnTo>
                    <a:pt x="157" y="371"/>
                  </a:lnTo>
                  <a:lnTo>
                    <a:pt x="162" y="372"/>
                  </a:lnTo>
                  <a:lnTo>
                    <a:pt x="164" y="376"/>
                  </a:lnTo>
                  <a:lnTo>
                    <a:pt x="160" y="381"/>
                  </a:lnTo>
                  <a:lnTo>
                    <a:pt x="157" y="381"/>
                  </a:lnTo>
                  <a:lnTo>
                    <a:pt x="162" y="384"/>
                  </a:lnTo>
                  <a:lnTo>
                    <a:pt x="160" y="388"/>
                  </a:lnTo>
                  <a:lnTo>
                    <a:pt x="155" y="386"/>
                  </a:lnTo>
                  <a:lnTo>
                    <a:pt x="153" y="384"/>
                  </a:lnTo>
                  <a:lnTo>
                    <a:pt x="150" y="384"/>
                  </a:lnTo>
                  <a:lnTo>
                    <a:pt x="150" y="388"/>
                  </a:lnTo>
                  <a:lnTo>
                    <a:pt x="147" y="386"/>
                  </a:lnTo>
                  <a:lnTo>
                    <a:pt x="147" y="383"/>
                  </a:lnTo>
                  <a:lnTo>
                    <a:pt x="145" y="383"/>
                  </a:lnTo>
                  <a:lnTo>
                    <a:pt x="141" y="377"/>
                  </a:lnTo>
                  <a:lnTo>
                    <a:pt x="136" y="376"/>
                  </a:lnTo>
                  <a:lnTo>
                    <a:pt x="136" y="374"/>
                  </a:lnTo>
                  <a:lnTo>
                    <a:pt x="128" y="369"/>
                  </a:lnTo>
                  <a:lnTo>
                    <a:pt x="128" y="365"/>
                  </a:lnTo>
                  <a:lnTo>
                    <a:pt x="133" y="364"/>
                  </a:lnTo>
                  <a:lnTo>
                    <a:pt x="135" y="360"/>
                  </a:lnTo>
                  <a:lnTo>
                    <a:pt x="136" y="360"/>
                  </a:lnTo>
                  <a:close/>
                  <a:moveTo>
                    <a:pt x="1" y="207"/>
                  </a:moveTo>
                  <a:lnTo>
                    <a:pt x="3" y="207"/>
                  </a:lnTo>
                  <a:lnTo>
                    <a:pt x="3" y="208"/>
                  </a:lnTo>
                  <a:lnTo>
                    <a:pt x="1" y="208"/>
                  </a:lnTo>
                  <a:lnTo>
                    <a:pt x="1" y="207"/>
                  </a:lnTo>
                  <a:close/>
                  <a:moveTo>
                    <a:pt x="124" y="60"/>
                  </a:moveTo>
                  <a:lnTo>
                    <a:pt x="126" y="61"/>
                  </a:lnTo>
                  <a:lnTo>
                    <a:pt x="133" y="68"/>
                  </a:lnTo>
                  <a:lnTo>
                    <a:pt x="133" y="72"/>
                  </a:lnTo>
                  <a:lnTo>
                    <a:pt x="140" y="77"/>
                  </a:lnTo>
                  <a:lnTo>
                    <a:pt x="145" y="79"/>
                  </a:lnTo>
                  <a:lnTo>
                    <a:pt x="143" y="80"/>
                  </a:lnTo>
                  <a:lnTo>
                    <a:pt x="147" y="91"/>
                  </a:lnTo>
                  <a:lnTo>
                    <a:pt x="148" y="92"/>
                  </a:lnTo>
                  <a:lnTo>
                    <a:pt x="152" y="92"/>
                  </a:lnTo>
                  <a:lnTo>
                    <a:pt x="155" y="96"/>
                  </a:lnTo>
                  <a:lnTo>
                    <a:pt x="162" y="92"/>
                  </a:lnTo>
                  <a:lnTo>
                    <a:pt x="167" y="94"/>
                  </a:lnTo>
                  <a:lnTo>
                    <a:pt x="176" y="99"/>
                  </a:lnTo>
                  <a:lnTo>
                    <a:pt x="176" y="111"/>
                  </a:lnTo>
                  <a:lnTo>
                    <a:pt x="177" y="118"/>
                  </a:lnTo>
                  <a:lnTo>
                    <a:pt x="184" y="123"/>
                  </a:lnTo>
                  <a:lnTo>
                    <a:pt x="189" y="126"/>
                  </a:lnTo>
                  <a:lnTo>
                    <a:pt x="193" y="130"/>
                  </a:lnTo>
                  <a:lnTo>
                    <a:pt x="198" y="126"/>
                  </a:lnTo>
                  <a:lnTo>
                    <a:pt x="206" y="125"/>
                  </a:lnTo>
                  <a:lnTo>
                    <a:pt x="210" y="121"/>
                  </a:lnTo>
                  <a:lnTo>
                    <a:pt x="215" y="128"/>
                  </a:lnTo>
                  <a:lnTo>
                    <a:pt x="222" y="128"/>
                  </a:lnTo>
                  <a:lnTo>
                    <a:pt x="223" y="126"/>
                  </a:lnTo>
                  <a:lnTo>
                    <a:pt x="223" y="128"/>
                  </a:lnTo>
                  <a:lnTo>
                    <a:pt x="223" y="131"/>
                  </a:lnTo>
                  <a:lnTo>
                    <a:pt x="232" y="130"/>
                  </a:lnTo>
                  <a:lnTo>
                    <a:pt x="235" y="131"/>
                  </a:lnTo>
                  <a:lnTo>
                    <a:pt x="237" y="135"/>
                  </a:lnTo>
                  <a:lnTo>
                    <a:pt x="237" y="143"/>
                  </a:lnTo>
                  <a:lnTo>
                    <a:pt x="235" y="147"/>
                  </a:lnTo>
                  <a:lnTo>
                    <a:pt x="235" y="149"/>
                  </a:lnTo>
                  <a:lnTo>
                    <a:pt x="230" y="152"/>
                  </a:lnTo>
                  <a:lnTo>
                    <a:pt x="230" y="155"/>
                  </a:lnTo>
                  <a:lnTo>
                    <a:pt x="225" y="161"/>
                  </a:lnTo>
                  <a:lnTo>
                    <a:pt x="220" y="152"/>
                  </a:lnTo>
                  <a:lnTo>
                    <a:pt x="215" y="150"/>
                  </a:lnTo>
                  <a:lnTo>
                    <a:pt x="211" y="157"/>
                  </a:lnTo>
                  <a:lnTo>
                    <a:pt x="213" y="161"/>
                  </a:lnTo>
                  <a:lnTo>
                    <a:pt x="206" y="167"/>
                  </a:lnTo>
                  <a:lnTo>
                    <a:pt x="205" y="176"/>
                  </a:lnTo>
                  <a:lnTo>
                    <a:pt x="196" y="179"/>
                  </a:lnTo>
                  <a:lnTo>
                    <a:pt x="194" y="181"/>
                  </a:lnTo>
                  <a:lnTo>
                    <a:pt x="191" y="183"/>
                  </a:lnTo>
                  <a:lnTo>
                    <a:pt x="196" y="184"/>
                  </a:lnTo>
                  <a:lnTo>
                    <a:pt x="199" y="190"/>
                  </a:lnTo>
                  <a:lnTo>
                    <a:pt x="206" y="195"/>
                  </a:lnTo>
                  <a:lnTo>
                    <a:pt x="208" y="196"/>
                  </a:lnTo>
                  <a:lnTo>
                    <a:pt x="210" y="196"/>
                  </a:lnTo>
                  <a:lnTo>
                    <a:pt x="211" y="200"/>
                  </a:lnTo>
                  <a:lnTo>
                    <a:pt x="215" y="203"/>
                  </a:lnTo>
                  <a:lnTo>
                    <a:pt x="215" y="205"/>
                  </a:lnTo>
                  <a:lnTo>
                    <a:pt x="218" y="203"/>
                  </a:lnTo>
                  <a:lnTo>
                    <a:pt x="220" y="207"/>
                  </a:lnTo>
                  <a:lnTo>
                    <a:pt x="227" y="203"/>
                  </a:lnTo>
                  <a:lnTo>
                    <a:pt x="232" y="208"/>
                  </a:lnTo>
                  <a:lnTo>
                    <a:pt x="237" y="208"/>
                  </a:lnTo>
                  <a:lnTo>
                    <a:pt x="232" y="213"/>
                  </a:lnTo>
                  <a:lnTo>
                    <a:pt x="228" y="212"/>
                  </a:lnTo>
                  <a:lnTo>
                    <a:pt x="227" y="213"/>
                  </a:lnTo>
                  <a:lnTo>
                    <a:pt x="227" y="219"/>
                  </a:lnTo>
                  <a:lnTo>
                    <a:pt x="234" y="222"/>
                  </a:lnTo>
                  <a:lnTo>
                    <a:pt x="237" y="225"/>
                  </a:lnTo>
                  <a:lnTo>
                    <a:pt x="244" y="231"/>
                  </a:lnTo>
                  <a:lnTo>
                    <a:pt x="242" y="234"/>
                  </a:lnTo>
                  <a:lnTo>
                    <a:pt x="246" y="237"/>
                  </a:lnTo>
                  <a:lnTo>
                    <a:pt x="251" y="236"/>
                  </a:lnTo>
                  <a:lnTo>
                    <a:pt x="252" y="237"/>
                  </a:lnTo>
                  <a:lnTo>
                    <a:pt x="257" y="236"/>
                  </a:lnTo>
                  <a:lnTo>
                    <a:pt x="261" y="236"/>
                  </a:lnTo>
                  <a:lnTo>
                    <a:pt x="263" y="236"/>
                  </a:lnTo>
                  <a:lnTo>
                    <a:pt x="273" y="237"/>
                  </a:lnTo>
                  <a:lnTo>
                    <a:pt x="276" y="243"/>
                  </a:lnTo>
                  <a:lnTo>
                    <a:pt x="281" y="244"/>
                  </a:lnTo>
                  <a:lnTo>
                    <a:pt x="292" y="246"/>
                  </a:lnTo>
                  <a:lnTo>
                    <a:pt x="293" y="249"/>
                  </a:lnTo>
                  <a:lnTo>
                    <a:pt x="288" y="256"/>
                  </a:lnTo>
                  <a:lnTo>
                    <a:pt x="288" y="261"/>
                  </a:lnTo>
                  <a:lnTo>
                    <a:pt x="285" y="268"/>
                  </a:lnTo>
                  <a:lnTo>
                    <a:pt x="288" y="270"/>
                  </a:lnTo>
                  <a:lnTo>
                    <a:pt x="295" y="277"/>
                  </a:lnTo>
                  <a:lnTo>
                    <a:pt x="300" y="275"/>
                  </a:lnTo>
                  <a:lnTo>
                    <a:pt x="305" y="270"/>
                  </a:lnTo>
                  <a:lnTo>
                    <a:pt x="310" y="270"/>
                  </a:lnTo>
                  <a:lnTo>
                    <a:pt x="312" y="273"/>
                  </a:lnTo>
                  <a:lnTo>
                    <a:pt x="309" y="278"/>
                  </a:lnTo>
                  <a:lnTo>
                    <a:pt x="316" y="280"/>
                  </a:lnTo>
                  <a:lnTo>
                    <a:pt x="321" y="287"/>
                  </a:lnTo>
                  <a:lnTo>
                    <a:pt x="321" y="290"/>
                  </a:lnTo>
                  <a:lnTo>
                    <a:pt x="317" y="294"/>
                  </a:lnTo>
                  <a:lnTo>
                    <a:pt x="321" y="294"/>
                  </a:lnTo>
                  <a:lnTo>
                    <a:pt x="326" y="295"/>
                  </a:lnTo>
                  <a:lnTo>
                    <a:pt x="327" y="297"/>
                  </a:lnTo>
                  <a:lnTo>
                    <a:pt x="327" y="299"/>
                  </a:lnTo>
                  <a:lnTo>
                    <a:pt x="322" y="302"/>
                  </a:lnTo>
                  <a:lnTo>
                    <a:pt x="321" y="304"/>
                  </a:lnTo>
                  <a:lnTo>
                    <a:pt x="312" y="309"/>
                  </a:lnTo>
                  <a:lnTo>
                    <a:pt x="310" y="311"/>
                  </a:lnTo>
                  <a:lnTo>
                    <a:pt x="309" y="311"/>
                  </a:lnTo>
                  <a:lnTo>
                    <a:pt x="305" y="318"/>
                  </a:lnTo>
                  <a:lnTo>
                    <a:pt x="300" y="316"/>
                  </a:lnTo>
                  <a:lnTo>
                    <a:pt x="300" y="314"/>
                  </a:lnTo>
                  <a:lnTo>
                    <a:pt x="297" y="311"/>
                  </a:lnTo>
                  <a:lnTo>
                    <a:pt x="292" y="309"/>
                  </a:lnTo>
                  <a:lnTo>
                    <a:pt x="286" y="311"/>
                  </a:lnTo>
                  <a:lnTo>
                    <a:pt x="285" y="309"/>
                  </a:lnTo>
                  <a:lnTo>
                    <a:pt x="286" y="307"/>
                  </a:lnTo>
                  <a:lnTo>
                    <a:pt x="283" y="302"/>
                  </a:lnTo>
                  <a:lnTo>
                    <a:pt x="276" y="304"/>
                  </a:lnTo>
                  <a:lnTo>
                    <a:pt x="273" y="301"/>
                  </a:lnTo>
                  <a:lnTo>
                    <a:pt x="275" y="297"/>
                  </a:lnTo>
                  <a:lnTo>
                    <a:pt x="271" y="294"/>
                  </a:lnTo>
                  <a:lnTo>
                    <a:pt x="271" y="292"/>
                  </a:lnTo>
                  <a:lnTo>
                    <a:pt x="268" y="290"/>
                  </a:lnTo>
                  <a:lnTo>
                    <a:pt x="266" y="285"/>
                  </a:lnTo>
                  <a:lnTo>
                    <a:pt x="266" y="287"/>
                  </a:lnTo>
                  <a:lnTo>
                    <a:pt x="263" y="285"/>
                  </a:lnTo>
                  <a:lnTo>
                    <a:pt x="256" y="280"/>
                  </a:lnTo>
                  <a:lnTo>
                    <a:pt x="256" y="278"/>
                  </a:lnTo>
                  <a:lnTo>
                    <a:pt x="251" y="277"/>
                  </a:lnTo>
                  <a:lnTo>
                    <a:pt x="246" y="273"/>
                  </a:lnTo>
                  <a:lnTo>
                    <a:pt x="242" y="272"/>
                  </a:lnTo>
                  <a:lnTo>
                    <a:pt x="235" y="268"/>
                  </a:lnTo>
                  <a:lnTo>
                    <a:pt x="230" y="266"/>
                  </a:lnTo>
                  <a:lnTo>
                    <a:pt x="225" y="266"/>
                  </a:lnTo>
                  <a:lnTo>
                    <a:pt x="223" y="260"/>
                  </a:lnTo>
                  <a:lnTo>
                    <a:pt x="218" y="256"/>
                  </a:lnTo>
                  <a:lnTo>
                    <a:pt x="215" y="253"/>
                  </a:lnTo>
                  <a:lnTo>
                    <a:pt x="211" y="249"/>
                  </a:lnTo>
                  <a:lnTo>
                    <a:pt x="205" y="244"/>
                  </a:lnTo>
                  <a:lnTo>
                    <a:pt x="199" y="237"/>
                  </a:lnTo>
                  <a:lnTo>
                    <a:pt x="199" y="239"/>
                  </a:lnTo>
                  <a:lnTo>
                    <a:pt x="198" y="239"/>
                  </a:lnTo>
                  <a:lnTo>
                    <a:pt x="196" y="237"/>
                  </a:lnTo>
                  <a:lnTo>
                    <a:pt x="191" y="234"/>
                  </a:lnTo>
                  <a:lnTo>
                    <a:pt x="187" y="231"/>
                  </a:lnTo>
                  <a:lnTo>
                    <a:pt x="179" y="224"/>
                  </a:lnTo>
                  <a:lnTo>
                    <a:pt x="177" y="224"/>
                  </a:lnTo>
                  <a:lnTo>
                    <a:pt x="179" y="224"/>
                  </a:lnTo>
                  <a:lnTo>
                    <a:pt x="176" y="222"/>
                  </a:lnTo>
                  <a:lnTo>
                    <a:pt x="172" y="219"/>
                  </a:lnTo>
                  <a:lnTo>
                    <a:pt x="165" y="215"/>
                  </a:lnTo>
                  <a:lnTo>
                    <a:pt x="165" y="213"/>
                  </a:lnTo>
                  <a:lnTo>
                    <a:pt x="158" y="210"/>
                  </a:lnTo>
                  <a:lnTo>
                    <a:pt x="160" y="208"/>
                  </a:lnTo>
                  <a:lnTo>
                    <a:pt x="158" y="208"/>
                  </a:lnTo>
                  <a:lnTo>
                    <a:pt x="150" y="203"/>
                  </a:lnTo>
                  <a:lnTo>
                    <a:pt x="148" y="196"/>
                  </a:lnTo>
                  <a:lnTo>
                    <a:pt x="150" y="195"/>
                  </a:lnTo>
                  <a:lnTo>
                    <a:pt x="152" y="198"/>
                  </a:lnTo>
                  <a:lnTo>
                    <a:pt x="153" y="196"/>
                  </a:lnTo>
                  <a:lnTo>
                    <a:pt x="153" y="193"/>
                  </a:lnTo>
                  <a:lnTo>
                    <a:pt x="150" y="195"/>
                  </a:lnTo>
                  <a:lnTo>
                    <a:pt x="153" y="193"/>
                  </a:lnTo>
                  <a:lnTo>
                    <a:pt x="152" y="188"/>
                  </a:lnTo>
                  <a:lnTo>
                    <a:pt x="153" y="193"/>
                  </a:lnTo>
                  <a:lnTo>
                    <a:pt x="153" y="191"/>
                  </a:lnTo>
                  <a:lnTo>
                    <a:pt x="152" y="188"/>
                  </a:lnTo>
                  <a:lnTo>
                    <a:pt x="147" y="183"/>
                  </a:lnTo>
                  <a:lnTo>
                    <a:pt x="148" y="179"/>
                  </a:lnTo>
                  <a:lnTo>
                    <a:pt x="145" y="172"/>
                  </a:lnTo>
                  <a:lnTo>
                    <a:pt x="147" y="171"/>
                  </a:lnTo>
                  <a:lnTo>
                    <a:pt x="143" y="166"/>
                  </a:lnTo>
                  <a:lnTo>
                    <a:pt x="141" y="166"/>
                  </a:lnTo>
                  <a:lnTo>
                    <a:pt x="135" y="161"/>
                  </a:lnTo>
                  <a:lnTo>
                    <a:pt x="131" y="157"/>
                  </a:lnTo>
                  <a:lnTo>
                    <a:pt x="128" y="154"/>
                  </a:lnTo>
                  <a:lnTo>
                    <a:pt x="123" y="152"/>
                  </a:lnTo>
                  <a:lnTo>
                    <a:pt x="123" y="150"/>
                  </a:lnTo>
                  <a:lnTo>
                    <a:pt x="121" y="150"/>
                  </a:lnTo>
                  <a:lnTo>
                    <a:pt x="114" y="147"/>
                  </a:lnTo>
                  <a:lnTo>
                    <a:pt x="107" y="143"/>
                  </a:lnTo>
                  <a:lnTo>
                    <a:pt x="106" y="138"/>
                  </a:lnTo>
                  <a:lnTo>
                    <a:pt x="100" y="137"/>
                  </a:lnTo>
                  <a:lnTo>
                    <a:pt x="95" y="133"/>
                  </a:lnTo>
                  <a:lnTo>
                    <a:pt x="97" y="131"/>
                  </a:lnTo>
                  <a:lnTo>
                    <a:pt x="92" y="131"/>
                  </a:lnTo>
                  <a:lnTo>
                    <a:pt x="90" y="130"/>
                  </a:lnTo>
                  <a:lnTo>
                    <a:pt x="88" y="128"/>
                  </a:lnTo>
                  <a:lnTo>
                    <a:pt x="82" y="125"/>
                  </a:lnTo>
                  <a:lnTo>
                    <a:pt x="82" y="123"/>
                  </a:lnTo>
                  <a:lnTo>
                    <a:pt x="77" y="120"/>
                  </a:lnTo>
                  <a:lnTo>
                    <a:pt x="71" y="116"/>
                  </a:lnTo>
                  <a:lnTo>
                    <a:pt x="70" y="114"/>
                  </a:lnTo>
                  <a:lnTo>
                    <a:pt x="68" y="113"/>
                  </a:lnTo>
                  <a:lnTo>
                    <a:pt x="68" y="111"/>
                  </a:lnTo>
                  <a:lnTo>
                    <a:pt x="63" y="104"/>
                  </a:lnTo>
                  <a:lnTo>
                    <a:pt x="59" y="101"/>
                  </a:lnTo>
                  <a:lnTo>
                    <a:pt x="59" y="97"/>
                  </a:lnTo>
                  <a:lnTo>
                    <a:pt x="56" y="94"/>
                  </a:lnTo>
                  <a:lnTo>
                    <a:pt x="56" y="91"/>
                  </a:lnTo>
                  <a:lnTo>
                    <a:pt x="56" y="89"/>
                  </a:lnTo>
                  <a:lnTo>
                    <a:pt x="56" y="91"/>
                  </a:lnTo>
                  <a:lnTo>
                    <a:pt x="54" y="89"/>
                  </a:lnTo>
                  <a:lnTo>
                    <a:pt x="49" y="82"/>
                  </a:lnTo>
                  <a:lnTo>
                    <a:pt x="46" y="79"/>
                  </a:lnTo>
                  <a:lnTo>
                    <a:pt x="46" y="77"/>
                  </a:lnTo>
                  <a:lnTo>
                    <a:pt x="42" y="70"/>
                  </a:lnTo>
                  <a:lnTo>
                    <a:pt x="39" y="61"/>
                  </a:lnTo>
                  <a:lnTo>
                    <a:pt x="37" y="58"/>
                  </a:lnTo>
                  <a:lnTo>
                    <a:pt x="37" y="56"/>
                  </a:lnTo>
                  <a:lnTo>
                    <a:pt x="34" y="53"/>
                  </a:lnTo>
                  <a:lnTo>
                    <a:pt x="25" y="48"/>
                  </a:lnTo>
                  <a:lnTo>
                    <a:pt x="20" y="46"/>
                  </a:lnTo>
                  <a:lnTo>
                    <a:pt x="15" y="43"/>
                  </a:lnTo>
                  <a:lnTo>
                    <a:pt x="12" y="39"/>
                  </a:lnTo>
                  <a:lnTo>
                    <a:pt x="7" y="32"/>
                  </a:lnTo>
                  <a:lnTo>
                    <a:pt x="8" y="34"/>
                  </a:lnTo>
                  <a:lnTo>
                    <a:pt x="7" y="31"/>
                  </a:lnTo>
                  <a:lnTo>
                    <a:pt x="0" y="24"/>
                  </a:lnTo>
                  <a:lnTo>
                    <a:pt x="5" y="20"/>
                  </a:lnTo>
                  <a:lnTo>
                    <a:pt x="13" y="15"/>
                  </a:lnTo>
                  <a:lnTo>
                    <a:pt x="15" y="14"/>
                  </a:lnTo>
                  <a:lnTo>
                    <a:pt x="17" y="14"/>
                  </a:lnTo>
                  <a:lnTo>
                    <a:pt x="25" y="9"/>
                  </a:lnTo>
                  <a:lnTo>
                    <a:pt x="25" y="5"/>
                  </a:lnTo>
                  <a:lnTo>
                    <a:pt x="32" y="0"/>
                  </a:lnTo>
                  <a:lnTo>
                    <a:pt x="37" y="5"/>
                  </a:lnTo>
                  <a:lnTo>
                    <a:pt x="41" y="7"/>
                  </a:lnTo>
                  <a:lnTo>
                    <a:pt x="47" y="12"/>
                  </a:lnTo>
                  <a:lnTo>
                    <a:pt x="49" y="12"/>
                  </a:lnTo>
                  <a:lnTo>
                    <a:pt x="51" y="14"/>
                  </a:lnTo>
                  <a:lnTo>
                    <a:pt x="56" y="17"/>
                  </a:lnTo>
                  <a:lnTo>
                    <a:pt x="63" y="20"/>
                  </a:lnTo>
                  <a:lnTo>
                    <a:pt x="65" y="20"/>
                  </a:lnTo>
                  <a:lnTo>
                    <a:pt x="65" y="22"/>
                  </a:lnTo>
                  <a:lnTo>
                    <a:pt x="63" y="26"/>
                  </a:lnTo>
                  <a:lnTo>
                    <a:pt x="63" y="34"/>
                  </a:lnTo>
                  <a:lnTo>
                    <a:pt x="63" y="36"/>
                  </a:lnTo>
                  <a:lnTo>
                    <a:pt x="66" y="32"/>
                  </a:lnTo>
                  <a:lnTo>
                    <a:pt x="70" y="31"/>
                  </a:lnTo>
                  <a:lnTo>
                    <a:pt x="71" y="32"/>
                  </a:lnTo>
                  <a:lnTo>
                    <a:pt x="77" y="31"/>
                  </a:lnTo>
                  <a:lnTo>
                    <a:pt x="80" y="32"/>
                  </a:lnTo>
                  <a:lnTo>
                    <a:pt x="82" y="36"/>
                  </a:lnTo>
                  <a:lnTo>
                    <a:pt x="88" y="44"/>
                  </a:lnTo>
                  <a:lnTo>
                    <a:pt x="95" y="48"/>
                  </a:lnTo>
                  <a:lnTo>
                    <a:pt x="95" y="50"/>
                  </a:lnTo>
                  <a:lnTo>
                    <a:pt x="102" y="55"/>
                  </a:lnTo>
                  <a:lnTo>
                    <a:pt x="107" y="56"/>
                  </a:lnTo>
                  <a:lnTo>
                    <a:pt x="116" y="53"/>
                  </a:lnTo>
                  <a:lnTo>
                    <a:pt x="121" y="58"/>
                  </a:lnTo>
                  <a:lnTo>
                    <a:pt x="124" y="60"/>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44" name="Freeform 82"/>
            <p:cNvSpPr/>
            <p:nvPr/>
          </p:nvSpPr>
          <p:spPr bwMode="gray">
            <a:xfrm>
              <a:off x="4158718" y="4805593"/>
              <a:ext cx="173297" cy="142286"/>
            </a:xfrm>
            <a:custGeom>
              <a:avLst/>
              <a:gdLst>
                <a:gd name="T0" fmla="*/ 95 w 95"/>
                <a:gd name="T1" fmla="*/ 78 h 78"/>
                <a:gd name="T2" fmla="*/ 90 w 95"/>
                <a:gd name="T3" fmla="*/ 77 h 78"/>
                <a:gd name="T4" fmla="*/ 80 w 95"/>
                <a:gd name="T5" fmla="*/ 78 h 78"/>
                <a:gd name="T6" fmla="*/ 80 w 95"/>
                <a:gd name="T7" fmla="*/ 77 h 78"/>
                <a:gd name="T8" fmla="*/ 75 w 95"/>
                <a:gd name="T9" fmla="*/ 75 h 78"/>
                <a:gd name="T10" fmla="*/ 68 w 95"/>
                <a:gd name="T11" fmla="*/ 72 h 78"/>
                <a:gd name="T12" fmla="*/ 60 w 95"/>
                <a:gd name="T13" fmla="*/ 70 h 78"/>
                <a:gd name="T14" fmla="*/ 53 w 95"/>
                <a:gd name="T15" fmla="*/ 68 h 78"/>
                <a:gd name="T16" fmla="*/ 48 w 95"/>
                <a:gd name="T17" fmla="*/ 67 h 78"/>
                <a:gd name="T18" fmla="*/ 41 w 95"/>
                <a:gd name="T19" fmla="*/ 63 h 78"/>
                <a:gd name="T20" fmla="*/ 37 w 95"/>
                <a:gd name="T21" fmla="*/ 58 h 78"/>
                <a:gd name="T22" fmla="*/ 31 w 95"/>
                <a:gd name="T23" fmla="*/ 56 h 78"/>
                <a:gd name="T24" fmla="*/ 22 w 95"/>
                <a:gd name="T25" fmla="*/ 53 h 78"/>
                <a:gd name="T26" fmla="*/ 22 w 95"/>
                <a:gd name="T27" fmla="*/ 51 h 78"/>
                <a:gd name="T28" fmla="*/ 20 w 95"/>
                <a:gd name="T29" fmla="*/ 51 h 78"/>
                <a:gd name="T30" fmla="*/ 12 w 95"/>
                <a:gd name="T31" fmla="*/ 48 h 78"/>
                <a:gd name="T32" fmla="*/ 5 w 95"/>
                <a:gd name="T33" fmla="*/ 44 h 78"/>
                <a:gd name="T34" fmla="*/ 0 w 95"/>
                <a:gd name="T35" fmla="*/ 43 h 78"/>
                <a:gd name="T36" fmla="*/ 0 w 95"/>
                <a:gd name="T37" fmla="*/ 41 h 78"/>
                <a:gd name="T38" fmla="*/ 3 w 95"/>
                <a:gd name="T39" fmla="*/ 32 h 78"/>
                <a:gd name="T40" fmla="*/ 10 w 95"/>
                <a:gd name="T41" fmla="*/ 27 h 78"/>
                <a:gd name="T42" fmla="*/ 12 w 95"/>
                <a:gd name="T43" fmla="*/ 24 h 78"/>
                <a:gd name="T44" fmla="*/ 12 w 95"/>
                <a:gd name="T45" fmla="*/ 17 h 78"/>
                <a:gd name="T46" fmla="*/ 10 w 95"/>
                <a:gd name="T47" fmla="*/ 15 h 78"/>
                <a:gd name="T48" fmla="*/ 14 w 95"/>
                <a:gd name="T49" fmla="*/ 12 h 78"/>
                <a:gd name="T50" fmla="*/ 22 w 95"/>
                <a:gd name="T51" fmla="*/ 12 h 78"/>
                <a:gd name="T52" fmla="*/ 25 w 95"/>
                <a:gd name="T53" fmla="*/ 12 h 78"/>
                <a:gd name="T54" fmla="*/ 27 w 95"/>
                <a:gd name="T55" fmla="*/ 12 h 78"/>
                <a:gd name="T56" fmla="*/ 27 w 95"/>
                <a:gd name="T57" fmla="*/ 17 h 78"/>
                <a:gd name="T58" fmla="*/ 29 w 95"/>
                <a:gd name="T59" fmla="*/ 19 h 78"/>
                <a:gd name="T60" fmla="*/ 32 w 95"/>
                <a:gd name="T61" fmla="*/ 14 h 78"/>
                <a:gd name="T62" fmla="*/ 36 w 95"/>
                <a:gd name="T63" fmla="*/ 10 h 78"/>
                <a:gd name="T64" fmla="*/ 43 w 95"/>
                <a:gd name="T65" fmla="*/ 7 h 78"/>
                <a:gd name="T66" fmla="*/ 49 w 95"/>
                <a:gd name="T67" fmla="*/ 0 h 78"/>
                <a:gd name="T68" fmla="*/ 51 w 95"/>
                <a:gd name="T69" fmla="*/ 5 h 78"/>
                <a:gd name="T70" fmla="*/ 53 w 95"/>
                <a:gd name="T71" fmla="*/ 14 h 78"/>
                <a:gd name="T72" fmla="*/ 54 w 95"/>
                <a:gd name="T73" fmla="*/ 24 h 78"/>
                <a:gd name="T74" fmla="*/ 54 w 95"/>
                <a:gd name="T75" fmla="*/ 26 h 78"/>
                <a:gd name="T76" fmla="*/ 60 w 95"/>
                <a:gd name="T77" fmla="*/ 31 h 78"/>
                <a:gd name="T78" fmla="*/ 63 w 95"/>
                <a:gd name="T79" fmla="*/ 29 h 78"/>
                <a:gd name="T80" fmla="*/ 66 w 95"/>
                <a:gd name="T81" fmla="*/ 31 h 78"/>
                <a:gd name="T82" fmla="*/ 73 w 95"/>
                <a:gd name="T83" fmla="*/ 29 h 78"/>
                <a:gd name="T84" fmla="*/ 75 w 95"/>
                <a:gd name="T85" fmla="*/ 31 h 78"/>
                <a:gd name="T86" fmla="*/ 77 w 95"/>
                <a:gd name="T87" fmla="*/ 29 h 78"/>
                <a:gd name="T88" fmla="*/ 77 w 95"/>
                <a:gd name="T89" fmla="*/ 31 h 78"/>
                <a:gd name="T90" fmla="*/ 80 w 95"/>
                <a:gd name="T91" fmla="*/ 31 h 78"/>
                <a:gd name="T92" fmla="*/ 82 w 95"/>
                <a:gd name="T93" fmla="*/ 29 h 78"/>
                <a:gd name="T94" fmla="*/ 87 w 95"/>
                <a:gd name="T95" fmla="*/ 32 h 78"/>
                <a:gd name="T96" fmla="*/ 89 w 95"/>
                <a:gd name="T97" fmla="*/ 31 h 78"/>
                <a:gd name="T98" fmla="*/ 90 w 95"/>
                <a:gd name="T99" fmla="*/ 32 h 78"/>
                <a:gd name="T100" fmla="*/ 90 w 95"/>
                <a:gd name="T101" fmla="*/ 38 h 78"/>
                <a:gd name="T102" fmla="*/ 89 w 95"/>
                <a:gd name="T103" fmla="*/ 43 h 78"/>
                <a:gd name="T104" fmla="*/ 89 w 95"/>
                <a:gd name="T105" fmla="*/ 51 h 78"/>
                <a:gd name="T106" fmla="*/ 87 w 95"/>
                <a:gd name="T107" fmla="*/ 58 h 78"/>
                <a:gd name="T108" fmla="*/ 90 w 95"/>
                <a:gd name="T109" fmla="*/ 67 h 78"/>
                <a:gd name="T110" fmla="*/ 89 w 95"/>
                <a:gd name="T111" fmla="*/ 73 h 78"/>
                <a:gd name="T112" fmla="*/ 92 w 95"/>
                <a:gd name="T113" fmla="*/ 75 h 78"/>
                <a:gd name="T114" fmla="*/ 94 w 95"/>
                <a:gd name="T115" fmla="*/ 72 h 78"/>
                <a:gd name="T116" fmla="*/ 95 w 95"/>
                <a:gd name="T117" fmla="*/ 75 h 78"/>
                <a:gd name="T118" fmla="*/ 95 w 95"/>
                <a:gd name="T1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78">
                  <a:moveTo>
                    <a:pt x="95" y="78"/>
                  </a:moveTo>
                  <a:lnTo>
                    <a:pt x="90" y="77"/>
                  </a:lnTo>
                  <a:lnTo>
                    <a:pt x="80" y="78"/>
                  </a:lnTo>
                  <a:lnTo>
                    <a:pt x="80" y="77"/>
                  </a:lnTo>
                  <a:lnTo>
                    <a:pt x="75" y="75"/>
                  </a:lnTo>
                  <a:lnTo>
                    <a:pt x="68" y="72"/>
                  </a:lnTo>
                  <a:lnTo>
                    <a:pt x="60" y="70"/>
                  </a:lnTo>
                  <a:lnTo>
                    <a:pt x="53" y="68"/>
                  </a:lnTo>
                  <a:lnTo>
                    <a:pt x="48" y="67"/>
                  </a:lnTo>
                  <a:lnTo>
                    <a:pt x="41" y="63"/>
                  </a:lnTo>
                  <a:lnTo>
                    <a:pt x="37" y="58"/>
                  </a:lnTo>
                  <a:lnTo>
                    <a:pt x="31" y="56"/>
                  </a:lnTo>
                  <a:lnTo>
                    <a:pt x="22" y="53"/>
                  </a:lnTo>
                  <a:lnTo>
                    <a:pt x="22" y="51"/>
                  </a:lnTo>
                  <a:lnTo>
                    <a:pt x="20" y="51"/>
                  </a:lnTo>
                  <a:lnTo>
                    <a:pt x="12" y="48"/>
                  </a:lnTo>
                  <a:lnTo>
                    <a:pt x="5" y="44"/>
                  </a:lnTo>
                  <a:lnTo>
                    <a:pt x="0" y="43"/>
                  </a:lnTo>
                  <a:lnTo>
                    <a:pt x="0" y="41"/>
                  </a:lnTo>
                  <a:lnTo>
                    <a:pt x="3" y="32"/>
                  </a:lnTo>
                  <a:lnTo>
                    <a:pt x="10" y="27"/>
                  </a:lnTo>
                  <a:lnTo>
                    <a:pt x="12" y="24"/>
                  </a:lnTo>
                  <a:lnTo>
                    <a:pt x="12" y="17"/>
                  </a:lnTo>
                  <a:lnTo>
                    <a:pt x="10" y="15"/>
                  </a:lnTo>
                  <a:lnTo>
                    <a:pt x="14" y="12"/>
                  </a:lnTo>
                  <a:lnTo>
                    <a:pt x="22" y="12"/>
                  </a:lnTo>
                  <a:lnTo>
                    <a:pt x="25" y="12"/>
                  </a:lnTo>
                  <a:lnTo>
                    <a:pt x="27" y="12"/>
                  </a:lnTo>
                  <a:lnTo>
                    <a:pt x="27" y="17"/>
                  </a:lnTo>
                  <a:lnTo>
                    <a:pt x="29" y="19"/>
                  </a:lnTo>
                  <a:lnTo>
                    <a:pt x="32" y="14"/>
                  </a:lnTo>
                  <a:lnTo>
                    <a:pt x="36" y="10"/>
                  </a:lnTo>
                  <a:lnTo>
                    <a:pt x="43" y="7"/>
                  </a:lnTo>
                  <a:lnTo>
                    <a:pt x="49" y="0"/>
                  </a:lnTo>
                  <a:lnTo>
                    <a:pt x="51" y="5"/>
                  </a:lnTo>
                  <a:lnTo>
                    <a:pt x="53" y="14"/>
                  </a:lnTo>
                  <a:lnTo>
                    <a:pt x="54" y="24"/>
                  </a:lnTo>
                  <a:lnTo>
                    <a:pt x="54" y="26"/>
                  </a:lnTo>
                  <a:lnTo>
                    <a:pt x="60" y="31"/>
                  </a:lnTo>
                  <a:lnTo>
                    <a:pt x="63" y="29"/>
                  </a:lnTo>
                  <a:lnTo>
                    <a:pt x="66" y="31"/>
                  </a:lnTo>
                  <a:lnTo>
                    <a:pt x="73" y="29"/>
                  </a:lnTo>
                  <a:lnTo>
                    <a:pt x="75" y="31"/>
                  </a:lnTo>
                  <a:lnTo>
                    <a:pt x="77" y="29"/>
                  </a:lnTo>
                  <a:lnTo>
                    <a:pt x="77" y="31"/>
                  </a:lnTo>
                  <a:lnTo>
                    <a:pt x="80" y="31"/>
                  </a:lnTo>
                  <a:lnTo>
                    <a:pt x="82" y="29"/>
                  </a:lnTo>
                  <a:lnTo>
                    <a:pt x="87" y="32"/>
                  </a:lnTo>
                  <a:lnTo>
                    <a:pt x="89" y="31"/>
                  </a:lnTo>
                  <a:lnTo>
                    <a:pt x="90" y="32"/>
                  </a:lnTo>
                  <a:lnTo>
                    <a:pt x="90" y="38"/>
                  </a:lnTo>
                  <a:lnTo>
                    <a:pt x="89" y="43"/>
                  </a:lnTo>
                  <a:lnTo>
                    <a:pt x="89" y="51"/>
                  </a:lnTo>
                  <a:lnTo>
                    <a:pt x="87" y="58"/>
                  </a:lnTo>
                  <a:lnTo>
                    <a:pt x="90" y="67"/>
                  </a:lnTo>
                  <a:lnTo>
                    <a:pt x="89" y="73"/>
                  </a:lnTo>
                  <a:lnTo>
                    <a:pt x="92" y="75"/>
                  </a:lnTo>
                  <a:lnTo>
                    <a:pt x="94" y="72"/>
                  </a:lnTo>
                  <a:lnTo>
                    <a:pt x="95" y="75"/>
                  </a:lnTo>
                  <a:lnTo>
                    <a:pt x="95" y="78"/>
                  </a:lnTo>
                  <a:close/>
                </a:path>
              </a:pathLst>
            </a:custGeom>
            <a:grpFill/>
            <a:ln w="6350">
              <a:noFill/>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grpSp>
      <p:sp>
        <p:nvSpPr>
          <p:cNvPr id="2" name="Title 1"/>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Content &amp; Tabl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34963" y="1158241"/>
            <a:ext cx="11485562" cy="462232"/>
          </a:xfrm>
        </p:spPr>
        <p:txBody>
          <a:bodyPr anchor="t">
            <a:normAutofit/>
          </a:bodyPr>
          <a:lstStyle>
            <a:lvl1pPr marL="0" marR="0" indent="0" algn="l" defTabSz="914400" rtl="0" eaLnBrk="1" fontAlgn="auto" latinLnBrk="0" hangingPunct="1">
              <a:lnSpc>
                <a:spcPct val="100000"/>
              </a:lnSpc>
              <a:spcBef>
                <a:spcPts val="0"/>
              </a:spcBef>
              <a:spcAft>
                <a:spcPts val="300"/>
              </a:spcAft>
              <a:buClrTx/>
              <a:buSzTx/>
              <a:buFont typeface="Arial" panose="020B0604020202090204"/>
              <a:buNone/>
              <a:defRPr sz="1000"/>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a:t>Click to edit Master text styles. Ex. </a:t>
            </a:r>
            <a:r>
              <a:rPr lang="en-US" sz="1000" noProof="1">
                <a:solidFill>
                  <a:schemeClr val="tx1">
                    <a:lumMod val="65000"/>
                    <a:lumOff val="35000"/>
                  </a:schemeClr>
                </a:solidFill>
                <a:latin typeface="Gotham Book" charset="0"/>
                <a:ea typeface="Gotham Book" charset="0"/>
                <a:cs typeface="Gotham Book" charset="0"/>
                <a:sym typeface="Arial" panose="020B0604020202090204" pitchFamily="34" charset="0"/>
              </a:rPr>
              <a:t>Membangun sumber daya yang berkelanjutan dalam skala besar untuk Indonesia - Menggandakan volume hulu, memperluas aset hilir - mewujudkan Noble Purpose untuk mengeksplorasi kemakmuran; meningkat secara berkelanjutan hingga ~&gt; 8 x EBITDA (MIND ID &gt; 5x), dan secara signifikan memperluas 7 …</a:t>
            </a:r>
            <a:endParaRPr lang="en-US"/>
          </a:p>
        </p:txBody>
      </p:sp>
      <p:sp>
        <p:nvSpPr>
          <p:cNvPr id="12" name="Table Placeholder 11"/>
          <p:cNvSpPr>
            <a:spLocks noGrp="1"/>
          </p:cNvSpPr>
          <p:nvPr>
            <p:ph type="tbl" sz="quarter" idx="15" hasCustomPrompt="1"/>
          </p:nvPr>
        </p:nvSpPr>
        <p:spPr>
          <a:xfrm>
            <a:off x="334963" y="1988840"/>
            <a:ext cx="11485562" cy="4147800"/>
          </a:xfrm>
        </p:spPr>
        <p:txBody>
          <a:bodyPr anchor="ctr"/>
          <a:lstStyle>
            <a:lvl1pPr algn="ctr">
              <a:defRPr sz="2800"/>
            </a:lvl1pPr>
          </a:lstStyle>
          <a:p>
            <a:r>
              <a:rPr lang="en-US"/>
              <a:t>Click icon to add table</a:t>
            </a:r>
            <a:endParaRPr lang="id-ID"/>
          </a:p>
        </p:txBody>
      </p:sp>
      <p:sp>
        <p:nvSpPr>
          <p:cNvPr id="15" name="Text Placeholder 14"/>
          <p:cNvSpPr>
            <a:spLocks noGrp="1"/>
          </p:cNvSpPr>
          <p:nvPr>
            <p:ph type="body" sz="quarter" idx="16" hasCustomPrompt="1"/>
          </p:nvPr>
        </p:nvSpPr>
        <p:spPr>
          <a:xfrm>
            <a:off x="334963" y="6217921"/>
            <a:ext cx="7993285" cy="451439"/>
          </a:xfrm>
        </p:spPr>
        <p:txBody>
          <a:bodyPr>
            <a:normAutofit/>
          </a:bodyPr>
          <a:lstStyle>
            <a:lvl1pPr marL="144145" marR="0" indent="-144145" algn="l" defTabSz="914400" rtl="0" eaLnBrk="1" fontAlgn="auto" latinLnBrk="0" hangingPunct="1">
              <a:lnSpc>
                <a:spcPct val="100000"/>
              </a:lnSpc>
              <a:spcBef>
                <a:spcPts val="0"/>
              </a:spcBef>
              <a:spcAft>
                <a:spcPts val="0"/>
              </a:spcAft>
              <a:buClrTx/>
              <a:buSzTx/>
              <a:buFont typeface="+mj-lt"/>
              <a:buAutoNum type="arabicPeriod"/>
              <a:defRPr sz="800"/>
            </a:lvl1pPr>
            <a:lvl2pPr indent="0">
              <a:lnSpc>
                <a:spcPct val="100000"/>
              </a:lnSpc>
              <a:defRPr sz="800"/>
            </a:lvl2pPr>
            <a:lvl3pPr indent="0">
              <a:lnSpc>
                <a:spcPct val="100000"/>
              </a:lnSpc>
              <a:defRPr sz="800"/>
            </a:lvl3pPr>
            <a:lvl4pPr indent="0">
              <a:lnSpc>
                <a:spcPct val="100000"/>
              </a:lnSpc>
              <a:defRPr sz="800"/>
            </a:lvl4pPr>
            <a:lvl5pPr indent="0">
              <a:lnSpc>
                <a:spcPct val="100000"/>
              </a:lnSpc>
              <a:defRPr sz="800"/>
            </a:lvl5pPr>
          </a:lstStyle>
          <a:p>
            <a:pPr lvl="0"/>
            <a:r>
              <a:rPr lang="en-US"/>
              <a:t>Click to edit Caption text styles</a:t>
            </a:r>
          </a:p>
          <a:p>
            <a:pPr lvl="0"/>
            <a:r>
              <a:rPr lang="en-US"/>
              <a:t>Click to edit Caption text styles</a:t>
            </a:r>
          </a:p>
          <a:p>
            <a:pPr marL="144145" marR="0" lvl="0" indent="-144145" algn="l" defTabSz="914400" rtl="0" eaLnBrk="1" fontAlgn="auto" latinLnBrk="0" hangingPunct="1">
              <a:lnSpc>
                <a:spcPct val="100000"/>
              </a:lnSpc>
              <a:spcBef>
                <a:spcPts val="0"/>
              </a:spcBef>
              <a:spcAft>
                <a:spcPts val="0"/>
              </a:spcAft>
              <a:buClrTx/>
              <a:buSzTx/>
              <a:buFont typeface="+mj-lt"/>
              <a:buAutoNum type="arabicPeriod"/>
              <a:defRPr/>
            </a:pPr>
            <a:r>
              <a:rPr lang="en-US"/>
              <a:t>Click to edit Caption text styles</a:t>
            </a:r>
          </a:p>
          <a:p>
            <a:pPr lvl="0"/>
            <a:endParaRPr lang="en-US"/>
          </a:p>
        </p:txBody>
      </p:sp>
      <p:sp>
        <p:nvSpPr>
          <p:cNvPr id="6" name="Date Placeholder 5"/>
          <p:cNvSpPr>
            <a:spLocks noGrp="1"/>
          </p:cNvSpPr>
          <p:nvPr>
            <p:ph type="dt" sz="half" idx="17"/>
          </p:nvPr>
        </p:nvSpPr>
        <p:spPr/>
        <p:txBody>
          <a:bodyPr/>
          <a:lstStyle/>
          <a:p>
            <a:fld id="{CB6E0E24-B4F7-E843-AFC0-C1F83B7A48CA}" type="datetime2">
              <a:rPr lang="en-ID" smtClean="0"/>
              <a:t>Sunday, 12 May 2024</a:t>
            </a:fld>
            <a:endParaRPr lang="id-ID"/>
          </a:p>
        </p:txBody>
      </p:sp>
      <p:sp>
        <p:nvSpPr>
          <p:cNvPr id="9" name="Slide Number Placeholder 8"/>
          <p:cNvSpPr>
            <a:spLocks noGrp="1"/>
          </p:cNvSpPr>
          <p:nvPr>
            <p:ph type="sldNum" sz="quarter" idx="19"/>
          </p:nvPr>
        </p:nvSpPr>
        <p:spPr/>
        <p:txBody>
          <a:bodyPr/>
          <a:lstStyle/>
          <a:p>
            <a:r>
              <a:rPr lang="id-ID"/>
              <a:t>|         </a:t>
            </a:r>
            <a:fld id="{7904F5B5-DD6E-6442-8C14-4BFE420CE974}" type="slidenum">
              <a:rPr lang="id-ID" smtClean="0"/>
              <a:t>‹#›</a:t>
            </a:fld>
            <a:endParaRPr lang="id-ID"/>
          </a:p>
        </p:txBody>
      </p:sp>
      <p:sp>
        <p:nvSpPr>
          <p:cNvPr id="14" name="Text Placeholder 8"/>
          <p:cNvSpPr>
            <a:spLocks noGrp="1"/>
          </p:cNvSpPr>
          <p:nvPr>
            <p:ph type="body" sz="quarter" idx="21" hasCustomPrompt="1"/>
          </p:nvPr>
        </p:nvSpPr>
        <p:spPr>
          <a:xfrm>
            <a:off x="334961" y="1701754"/>
            <a:ext cx="11485561" cy="205805"/>
          </a:xfrm>
        </p:spPr>
        <p:txBody>
          <a:bodyPr anchor="t">
            <a:normAutofit/>
          </a:bodyPr>
          <a:lstStyle>
            <a:lvl1pPr marL="0" indent="0">
              <a:lnSpc>
                <a:spcPct val="100000"/>
              </a:lnSpc>
              <a:buNone/>
              <a:defRPr sz="12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Title table text styles</a:t>
            </a:r>
          </a:p>
        </p:txBody>
      </p:sp>
      <p:sp>
        <p:nvSpPr>
          <p:cNvPr id="2" name="Title 1"/>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34963" y="1484416"/>
            <a:ext cx="11485562" cy="216392"/>
          </a:xfrm>
        </p:spPr>
        <p:txBody>
          <a:bodyPr anchor="t">
            <a:normAutofit/>
          </a:bodyPr>
          <a:lstStyle>
            <a:lvl1pPr marL="0" indent="0">
              <a:lnSpc>
                <a:spcPct val="1000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a:t>Click to edit Title text styles</a:t>
            </a:r>
          </a:p>
        </p:txBody>
      </p:sp>
      <p:sp>
        <p:nvSpPr>
          <p:cNvPr id="11" name="Chart Placeholder 10"/>
          <p:cNvSpPr>
            <a:spLocks noGrp="1"/>
          </p:cNvSpPr>
          <p:nvPr>
            <p:ph type="chart" sz="quarter" idx="14" hasCustomPrompt="1"/>
          </p:nvPr>
        </p:nvSpPr>
        <p:spPr>
          <a:xfrm>
            <a:off x="253064" y="1916464"/>
            <a:ext cx="3682696" cy="1728192"/>
          </a:xfrm>
        </p:spPr>
        <p:txBody>
          <a:bodyPr anchor="ctr"/>
          <a:lstStyle>
            <a:lvl1pPr algn="ctr">
              <a:defRPr sz="1800"/>
            </a:lvl1pPr>
          </a:lstStyle>
          <a:p>
            <a:r>
              <a:rPr lang="en-US"/>
              <a:t>Click icon to add chart</a:t>
            </a:r>
            <a:endParaRPr lang="id-ID"/>
          </a:p>
        </p:txBody>
      </p:sp>
      <p:sp>
        <p:nvSpPr>
          <p:cNvPr id="18" name="Chart Placeholder 10"/>
          <p:cNvSpPr>
            <a:spLocks noGrp="1"/>
          </p:cNvSpPr>
          <p:nvPr>
            <p:ph type="chart" sz="quarter" idx="15" hasCustomPrompt="1"/>
          </p:nvPr>
        </p:nvSpPr>
        <p:spPr>
          <a:xfrm>
            <a:off x="8137829" y="1916464"/>
            <a:ext cx="3682696" cy="1728192"/>
          </a:xfrm>
        </p:spPr>
        <p:txBody>
          <a:bodyPr anchor="ctr"/>
          <a:lstStyle>
            <a:lvl1pPr algn="ctr">
              <a:defRPr sz="1800"/>
            </a:lvl1pPr>
          </a:lstStyle>
          <a:p>
            <a:r>
              <a:rPr lang="en-US"/>
              <a:t>Click icon to add chart</a:t>
            </a:r>
            <a:endParaRPr lang="id-ID"/>
          </a:p>
        </p:txBody>
      </p:sp>
      <p:sp>
        <p:nvSpPr>
          <p:cNvPr id="21" name="Chart Placeholder 10"/>
          <p:cNvSpPr>
            <a:spLocks noGrp="1"/>
          </p:cNvSpPr>
          <p:nvPr>
            <p:ph type="chart" sz="quarter" idx="16" hasCustomPrompt="1"/>
          </p:nvPr>
        </p:nvSpPr>
        <p:spPr>
          <a:xfrm>
            <a:off x="4195221" y="1916464"/>
            <a:ext cx="3682696" cy="1728192"/>
          </a:xfrm>
        </p:spPr>
        <p:txBody>
          <a:bodyPr anchor="ctr"/>
          <a:lstStyle>
            <a:lvl1pPr algn="ctr">
              <a:defRPr sz="1800"/>
            </a:lvl1pPr>
          </a:lstStyle>
          <a:p>
            <a:r>
              <a:rPr lang="en-US"/>
              <a:t>Click icon to add chart</a:t>
            </a:r>
            <a:endParaRPr lang="id-ID"/>
          </a:p>
        </p:txBody>
      </p:sp>
      <p:sp>
        <p:nvSpPr>
          <p:cNvPr id="22" name="Chart Placeholder 10"/>
          <p:cNvSpPr>
            <a:spLocks noGrp="1"/>
          </p:cNvSpPr>
          <p:nvPr>
            <p:ph type="chart" sz="quarter" idx="17" hasCustomPrompt="1"/>
          </p:nvPr>
        </p:nvSpPr>
        <p:spPr>
          <a:xfrm>
            <a:off x="253064" y="4076704"/>
            <a:ext cx="3682696" cy="1728192"/>
          </a:xfrm>
        </p:spPr>
        <p:txBody>
          <a:bodyPr anchor="ctr"/>
          <a:lstStyle>
            <a:lvl1pPr algn="ctr">
              <a:defRPr sz="1800"/>
            </a:lvl1pPr>
          </a:lstStyle>
          <a:p>
            <a:r>
              <a:rPr lang="en-US"/>
              <a:t>Click icon to add chart</a:t>
            </a:r>
            <a:endParaRPr lang="id-ID"/>
          </a:p>
        </p:txBody>
      </p:sp>
      <p:sp>
        <p:nvSpPr>
          <p:cNvPr id="23" name="Chart Placeholder 10"/>
          <p:cNvSpPr>
            <a:spLocks noGrp="1"/>
          </p:cNvSpPr>
          <p:nvPr>
            <p:ph type="chart" sz="quarter" idx="18" hasCustomPrompt="1"/>
          </p:nvPr>
        </p:nvSpPr>
        <p:spPr>
          <a:xfrm>
            <a:off x="8137829" y="4076704"/>
            <a:ext cx="3682696" cy="1728192"/>
          </a:xfrm>
        </p:spPr>
        <p:txBody>
          <a:bodyPr anchor="ctr"/>
          <a:lstStyle>
            <a:lvl1pPr algn="ctr">
              <a:defRPr sz="1800"/>
            </a:lvl1pPr>
          </a:lstStyle>
          <a:p>
            <a:r>
              <a:rPr lang="en-US"/>
              <a:t>Click icon to add chart</a:t>
            </a:r>
            <a:endParaRPr lang="id-ID"/>
          </a:p>
        </p:txBody>
      </p:sp>
      <p:sp>
        <p:nvSpPr>
          <p:cNvPr id="24" name="Chart Placeholder 10"/>
          <p:cNvSpPr>
            <a:spLocks noGrp="1"/>
          </p:cNvSpPr>
          <p:nvPr>
            <p:ph type="chart" sz="quarter" idx="19" hasCustomPrompt="1"/>
          </p:nvPr>
        </p:nvSpPr>
        <p:spPr>
          <a:xfrm>
            <a:off x="4195221" y="4076704"/>
            <a:ext cx="3682696" cy="1728192"/>
          </a:xfrm>
        </p:spPr>
        <p:txBody>
          <a:bodyPr anchor="ctr"/>
          <a:lstStyle>
            <a:lvl1pPr algn="ctr">
              <a:defRPr sz="1800"/>
            </a:lvl1pPr>
          </a:lstStyle>
          <a:p>
            <a:r>
              <a:rPr lang="en-US"/>
              <a:t>Click icon to add chart</a:t>
            </a:r>
            <a:endParaRPr lang="id-ID"/>
          </a:p>
        </p:txBody>
      </p:sp>
      <p:sp>
        <p:nvSpPr>
          <p:cNvPr id="6" name="Date Placeholder 5"/>
          <p:cNvSpPr>
            <a:spLocks noGrp="1"/>
          </p:cNvSpPr>
          <p:nvPr>
            <p:ph type="dt" sz="half" idx="20"/>
          </p:nvPr>
        </p:nvSpPr>
        <p:spPr/>
        <p:txBody>
          <a:bodyPr/>
          <a:lstStyle/>
          <a:p>
            <a:fld id="{CB6E0E24-B4F7-E843-AFC0-C1F83B7A48CA}" type="datetime2">
              <a:rPr lang="en-ID" smtClean="0"/>
              <a:t>Sunday, 12 May 2024</a:t>
            </a:fld>
            <a:endParaRPr lang="id-ID"/>
          </a:p>
        </p:txBody>
      </p:sp>
      <p:sp>
        <p:nvSpPr>
          <p:cNvPr id="8" name="Slide Number Placeholder 7"/>
          <p:cNvSpPr>
            <a:spLocks noGrp="1"/>
          </p:cNvSpPr>
          <p:nvPr>
            <p:ph type="sldNum" sz="quarter" idx="22"/>
          </p:nvPr>
        </p:nvSpPr>
        <p:spPr/>
        <p:txBody>
          <a:bodyPr/>
          <a:lstStyle/>
          <a:p>
            <a:r>
              <a:rPr lang="id-ID"/>
              <a:t>|         </a:t>
            </a:r>
            <a:fld id="{7904F5B5-DD6E-6442-8C14-4BFE420CE974}" type="slidenum">
              <a:rPr lang="id-ID" smtClean="0"/>
              <a:t>‹#›</a:t>
            </a:fld>
            <a:endParaRPr lang="id-ID"/>
          </a:p>
        </p:txBody>
      </p:sp>
      <p:sp>
        <p:nvSpPr>
          <p:cNvPr id="4" name="Title 3"/>
          <p:cNvSpPr>
            <a:spLocks noGrp="1"/>
          </p:cNvSpPr>
          <p:nvPr>
            <p:ph type="title"/>
          </p:nvPr>
        </p:nvSpPr>
        <p:spPr/>
        <p:txBody>
          <a:bodyPr/>
          <a:lstStyle/>
          <a:p>
            <a:r>
              <a:rPr lang="en-US"/>
              <a:t>Click to edit Master title style</a:t>
            </a:r>
            <a:endParaRPr lang="id-ID"/>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Color Scheme">
    <p:spTree>
      <p:nvGrpSpPr>
        <p:cNvPr id="1" name=""/>
        <p:cNvGrpSpPr/>
        <p:nvPr/>
      </p:nvGrpSpPr>
      <p:grpSpPr>
        <a:xfrm>
          <a:off x="0" y="0"/>
          <a:ext cx="0" cy="0"/>
          <a:chOff x="0" y="0"/>
          <a:chExt cx="0" cy="0"/>
        </a:xfrm>
      </p:grpSpPr>
      <p:sp>
        <p:nvSpPr>
          <p:cNvPr id="6" name="Rounded Rectangle 5"/>
          <p:cNvSpPr/>
          <p:nvPr/>
        </p:nvSpPr>
        <p:spPr>
          <a:xfrm>
            <a:off x="514144" y="1650267"/>
            <a:ext cx="937601" cy="2286209"/>
          </a:xfrm>
          <a:prstGeom prst="roundRect">
            <a:avLst>
              <a:gd name="adj" fmla="val 50000"/>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ounded Rectangle 6"/>
          <p:cNvSpPr/>
          <p:nvPr/>
        </p:nvSpPr>
        <p:spPr>
          <a:xfrm>
            <a:off x="1749893" y="1650267"/>
            <a:ext cx="937601" cy="2286209"/>
          </a:xfrm>
          <a:prstGeom prst="roundRect">
            <a:avLst>
              <a:gd name="adj" fmla="val 50000"/>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Rounded Rectangle 7"/>
          <p:cNvSpPr/>
          <p:nvPr/>
        </p:nvSpPr>
        <p:spPr>
          <a:xfrm>
            <a:off x="3067549" y="1650267"/>
            <a:ext cx="937601" cy="2286209"/>
          </a:xfrm>
          <a:prstGeom prst="roundRect">
            <a:avLst>
              <a:gd name="adj" fmla="val 50000"/>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ounded Rectangle 8"/>
          <p:cNvSpPr/>
          <p:nvPr/>
        </p:nvSpPr>
        <p:spPr>
          <a:xfrm>
            <a:off x="4418996" y="1650267"/>
            <a:ext cx="937601" cy="2286209"/>
          </a:xfrm>
          <a:prstGeom prst="roundRect">
            <a:avLst>
              <a:gd name="adj" fmla="val 50000"/>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p:nvSpPr>
        <p:spPr>
          <a:xfrm>
            <a:off x="565103" y="4225592"/>
            <a:ext cx="970137"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2 50 9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1" name="TextBox 10"/>
          <p:cNvSpPr txBox="1"/>
          <p:nvPr/>
        </p:nvSpPr>
        <p:spPr>
          <a:xfrm>
            <a:off x="1757517" y="4225592"/>
            <a:ext cx="93647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8 98 164</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2" name="TextBox 11"/>
          <p:cNvSpPr txBox="1"/>
          <p:nvPr/>
        </p:nvSpPr>
        <p:spPr>
          <a:xfrm>
            <a:off x="3085212" y="4225592"/>
            <a:ext cx="1154483" cy="523220"/>
          </a:xfrm>
          <a:prstGeom prst="rect">
            <a:avLst/>
          </a:prstGeom>
          <a:noFill/>
        </p:spPr>
        <p:txBody>
          <a:bodyPr wrap="none" rtlCol="0">
            <a:spAutoFit/>
          </a:bodyPr>
          <a:lstStyle/>
          <a:p>
            <a:r>
              <a:rPr lang="cs-CZ" sz="1400" b="0" i="0">
                <a:solidFill>
                  <a:schemeClr val="tx1">
                    <a:lumMod val="65000"/>
                    <a:lumOff val="35000"/>
                  </a:schemeClr>
                </a:solidFill>
                <a:latin typeface="Gotham Book" charset="0"/>
                <a:ea typeface="Proxima Nova Rg" charset="0"/>
                <a:cs typeface="Gotham Book" charset="0"/>
              </a:rPr>
              <a:t>RGB</a:t>
            </a:r>
          </a:p>
          <a:p>
            <a:r>
              <a:rPr lang="cs-CZ" sz="1400" b="0" i="0">
                <a:solidFill>
                  <a:schemeClr val="tx1">
                    <a:lumMod val="65000"/>
                    <a:lumOff val="35000"/>
                  </a:schemeClr>
                </a:solidFill>
                <a:latin typeface="Gotham Book" charset="0"/>
                <a:ea typeface="Proxima Nova Rg" charset="0"/>
                <a:cs typeface="Gotham Book" charset="0"/>
              </a:rPr>
              <a:t>60 166 22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3" name="TextBox 12"/>
          <p:cNvSpPr txBox="1"/>
          <p:nvPr/>
        </p:nvSpPr>
        <p:spPr>
          <a:xfrm>
            <a:off x="4456316" y="4225592"/>
            <a:ext cx="130516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06 224 237</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4" name="Rounded Rectangle 13"/>
          <p:cNvSpPr/>
          <p:nvPr/>
        </p:nvSpPr>
        <p:spPr>
          <a:xfrm>
            <a:off x="5807968" y="1650267"/>
            <a:ext cx="937601" cy="2286209"/>
          </a:xfrm>
          <a:prstGeom prst="roundRect">
            <a:avLst>
              <a:gd name="adj" fmla="val 50000"/>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TextBox 14"/>
          <p:cNvSpPr txBox="1"/>
          <p:nvPr/>
        </p:nvSpPr>
        <p:spPr>
          <a:xfrm>
            <a:off x="5807968" y="4225592"/>
            <a:ext cx="1066318"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37 28 36</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9" name="Oval 18"/>
          <p:cNvSpPr/>
          <p:nvPr/>
        </p:nvSpPr>
        <p:spPr>
          <a:xfrm>
            <a:off x="531919" y="5038149"/>
            <a:ext cx="930719" cy="930719"/>
          </a:xfrm>
          <a:prstGeom prst="ellipse">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Oval 19"/>
          <p:cNvSpPr/>
          <p:nvPr/>
        </p:nvSpPr>
        <p:spPr>
          <a:xfrm>
            <a:off x="1761733" y="5038149"/>
            <a:ext cx="930719" cy="930719"/>
          </a:xfrm>
          <a:prstGeom prst="ellipse">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Oval 20"/>
          <p:cNvSpPr/>
          <p:nvPr/>
        </p:nvSpPr>
        <p:spPr>
          <a:xfrm>
            <a:off x="3075578" y="5038149"/>
            <a:ext cx="930719" cy="930719"/>
          </a:xfrm>
          <a:prstGeom prst="ellipse">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Oval 21"/>
          <p:cNvSpPr/>
          <p:nvPr/>
        </p:nvSpPr>
        <p:spPr>
          <a:xfrm>
            <a:off x="4419478" y="5038149"/>
            <a:ext cx="930719" cy="930719"/>
          </a:xfrm>
          <a:prstGeom prst="ellipse">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3" name="Oval 22"/>
          <p:cNvSpPr/>
          <p:nvPr/>
        </p:nvSpPr>
        <p:spPr>
          <a:xfrm>
            <a:off x="5808450" y="5038149"/>
            <a:ext cx="930719" cy="930719"/>
          </a:xfrm>
          <a:prstGeom prst="ellipse">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Title 4"/>
          <p:cNvSpPr>
            <a:spLocks noGrp="1"/>
          </p:cNvSpPr>
          <p:nvPr>
            <p:ph type="title" hasCustomPrompt="1"/>
          </p:nvPr>
        </p:nvSpPr>
        <p:spPr/>
        <p:txBody>
          <a:bodyPr/>
          <a:lstStyle/>
          <a:p>
            <a:r>
              <a:rPr lang="en-US"/>
              <a:t>Color Scheme</a:t>
            </a:r>
            <a:endParaRPr lang="id-ID"/>
          </a:p>
        </p:txBody>
      </p:sp>
      <p:sp>
        <p:nvSpPr>
          <p:cNvPr id="16" name="Date Placeholder 15"/>
          <p:cNvSpPr>
            <a:spLocks noGrp="1"/>
          </p:cNvSpPr>
          <p:nvPr>
            <p:ph type="dt" sz="half" idx="10"/>
          </p:nvPr>
        </p:nvSpPr>
        <p:spPr/>
        <p:txBody>
          <a:bodyPr/>
          <a:lstStyle/>
          <a:p>
            <a:fld id="{CB6E0E24-B4F7-E843-AFC0-C1F83B7A48CA}" type="datetime2">
              <a:rPr lang="en-ID" smtClean="0"/>
              <a:t>Sunday, 12 May 2024</a:t>
            </a:fld>
            <a:endParaRPr lang="id-ID"/>
          </a:p>
        </p:txBody>
      </p:sp>
      <p:sp>
        <p:nvSpPr>
          <p:cNvPr id="17" name="Slide Number Placeholder 16"/>
          <p:cNvSpPr>
            <a:spLocks noGrp="1"/>
          </p:cNvSpPr>
          <p:nvPr>
            <p:ph type="sldNum" sz="quarter" idx="11"/>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Close Cover - Blue">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50">
              <a:solidFill>
                <a:schemeClr val="bg1"/>
              </a:solidFill>
            </a:endParaRPr>
          </a:p>
        </p:txBody>
      </p:sp>
      <p:pic>
        <p:nvPicPr>
          <p:cNvPr id="14" name="Picture 13"/>
          <p:cNvPicPr>
            <a:picLocks noChangeAspect="1"/>
          </p:cNvPicPr>
          <p:nvPr/>
        </p:nvPicPr>
        <p:blipFill>
          <a:blip r:embed="rId2"/>
          <a:stretch>
            <a:fillRect/>
          </a:stretch>
        </p:blipFill>
        <p:spPr>
          <a:xfrm>
            <a:off x="9480376" y="5882751"/>
            <a:ext cx="1725229" cy="504000"/>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sp>
        <p:nvSpPr>
          <p:cNvPr id="11" name="TextBox 10"/>
          <p:cNvSpPr txBox="1"/>
          <p:nvPr/>
        </p:nvSpPr>
        <p:spPr>
          <a:xfrm>
            <a:off x="553792" y="1622739"/>
            <a:ext cx="4102048" cy="870157"/>
          </a:xfrm>
          <a:prstGeom prst="rect">
            <a:avLst/>
          </a:prstGeom>
        </p:spPr>
        <p:txBody>
          <a:bodyPr vert="horz" wrap="square" lIns="0" tIns="45720" rIns="91440" bIns="45720" rtlCol="0" anchor="t">
            <a:noAutofit/>
          </a:bodyPr>
          <a:lstStyle/>
          <a:p>
            <a:r>
              <a:rPr lang="id-ID" sz="4800" b="0" i="0">
                <a:solidFill>
                  <a:schemeClr val="bg1"/>
                </a:solidFill>
                <a:latin typeface="Gotham Medium" charset="0"/>
                <a:ea typeface="Gotham Medium" charset="0"/>
                <a:cs typeface="Gotham Medium" charset="0"/>
              </a:rPr>
              <a:t>Terima kasih</a:t>
            </a:r>
          </a:p>
        </p:txBody>
      </p:sp>
      <p:sp>
        <p:nvSpPr>
          <p:cNvPr id="3" name="TextBox 2"/>
          <p:cNvSpPr txBox="1"/>
          <p:nvPr/>
        </p:nvSpPr>
        <p:spPr>
          <a:xfrm>
            <a:off x="566594" y="3423156"/>
            <a:ext cx="2455274" cy="1650988"/>
          </a:xfrm>
          <a:prstGeom prst="rect">
            <a:avLst/>
          </a:prstGeom>
        </p:spPr>
        <p:txBody>
          <a:bodyPr vert="horz" wrap="square" lIns="0" tIns="45720" rIns="91440" bIns="45720" rtlCol="0" anchor="t">
            <a:noAutofit/>
          </a:bodyPr>
          <a:lstStyle/>
          <a:p>
            <a:pPr>
              <a:lnSpc>
                <a:spcPct val="120000"/>
              </a:lnSpc>
            </a:pPr>
            <a:r>
              <a:rPr lang="sv-SE" sz="1050" b="0" i="0">
                <a:solidFill>
                  <a:schemeClr val="bg1"/>
                </a:solidFill>
                <a:latin typeface="+mn-lt"/>
                <a:ea typeface="Gotham Medium" charset="0"/>
                <a:cs typeface="Gotham Medium" charset="0"/>
              </a:rPr>
              <a:t>Gedung Energi Lt. 16 SCBD</a:t>
            </a:r>
          </a:p>
          <a:p>
            <a:pPr>
              <a:lnSpc>
                <a:spcPct val="120000"/>
              </a:lnSpc>
            </a:pPr>
            <a:r>
              <a:rPr lang="sv-SE" sz="1050" b="0" i="0">
                <a:solidFill>
                  <a:schemeClr val="bg1"/>
                </a:solidFill>
                <a:latin typeface="+mn-lt"/>
                <a:ea typeface="Gotham Medium" charset="0"/>
                <a:cs typeface="Gotham Medium" charset="0"/>
              </a:rPr>
              <a:t>Jl. Jenderal Sudirman Kav. 52-53</a:t>
            </a:r>
          </a:p>
          <a:p>
            <a:pPr>
              <a:lnSpc>
                <a:spcPct val="120000"/>
              </a:lnSpc>
            </a:pPr>
            <a:r>
              <a:rPr lang="sv-SE" sz="1050" b="0" i="0">
                <a:solidFill>
                  <a:schemeClr val="bg1"/>
                </a:solidFill>
                <a:latin typeface="+mn-lt"/>
                <a:ea typeface="Gotham Medium" charset="0"/>
                <a:cs typeface="Gotham Medium" charset="0"/>
              </a:rPr>
              <a:t>Jakarta 12190.</a:t>
            </a:r>
          </a:p>
          <a:p>
            <a:pPr>
              <a:lnSpc>
                <a:spcPct val="120000"/>
              </a:lnSpc>
            </a:pPr>
            <a:r>
              <a:rPr lang="sv-SE" sz="1050" b="0" i="0">
                <a:solidFill>
                  <a:schemeClr val="bg1"/>
                </a:solidFill>
                <a:latin typeface="+mn-lt"/>
                <a:ea typeface="Gotham Medium" charset="0"/>
                <a:cs typeface="Gotham Medium" charset="0"/>
              </a:rPr>
              <a:t>P.O. BOX 6917 Jakarta Selatan,</a:t>
            </a:r>
          </a:p>
          <a:p>
            <a:pPr>
              <a:lnSpc>
                <a:spcPct val="120000"/>
              </a:lnSpc>
            </a:pPr>
            <a:r>
              <a:rPr lang="sv-SE" sz="1050" b="0" i="0">
                <a:solidFill>
                  <a:schemeClr val="bg1"/>
                </a:solidFill>
                <a:latin typeface="+mn-lt"/>
                <a:ea typeface="Gotham Medium" charset="0"/>
                <a:cs typeface="Gotham Medium" charset="0"/>
              </a:rPr>
              <a:t>Indonesia</a:t>
            </a:r>
          </a:p>
          <a:p>
            <a:pPr>
              <a:lnSpc>
                <a:spcPct val="120000"/>
              </a:lnSpc>
            </a:pPr>
            <a:r>
              <a:rPr lang="sv-SE" sz="1050" b="0" i="0">
                <a:solidFill>
                  <a:schemeClr val="bg1"/>
                </a:solidFill>
                <a:latin typeface="+mn-lt"/>
                <a:ea typeface="Gotham Medium" charset="0"/>
                <a:cs typeface="Gotham Medium" charset="0"/>
              </a:rPr>
              <a:t>Telp (+6221) 27938750.</a:t>
            </a:r>
          </a:p>
          <a:p>
            <a:pPr>
              <a:lnSpc>
                <a:spcPct val="120000"/>
              </a:lnSpc>
            </a:pPr>
            <a:r>
              <a:rPr lang="sv-SE" sz="1050" b="0" i="0">
                <a:solidFill>
                  <a:schemeClr val="bg1"/>
                </a:solidFill>
                <a:latin typeface="+mn-lt"/>
                <a:ea typeface="Gotham Medium" charset="0"/>
                <a:cs typeface="Gotham Medium" charset="0"/>
              </a:rPr>
              <a:t>Fax  (+6221) 27936331.</a:t>
            </a:r>
          </a:p>
          <a:p>
            <a:pPr>
              <a:lnSpc>
                <a:spcPct val="120000"/>
              </a:lnSpc>
            </a:pPr>
            <a:r>
              <a:rPr lang="sv-SE" sz="1050" b="0" i="0">
                <a:solidFill>
                  <a:schemeClr val="bg1"/>
                </a:solidFill>
                <a:latin typeface="+mn-lt"/>
                <a:ea typeface="Gotham Medium" charset="0"/>
                <a:cs typeface="Gotham Medium" charset="0"/>
              </a:rPr>
              <a:t>E-mail : corsec@mind.id</a:t>
            </a:r>
          </a:p>
          <a:p>
            <a:pPr>
              <a:lnSpc>
                <a:spcPct val="120000"/>
              </a:lnSpc>
            </a:pPr>
            <a:endParaRPr lang="en-US" sz="1050" b="0" i="0">
              <a:solidFill>
                <a:schemeClr val="bg1"/>
              </a:solidFill>
              <a:latin typeface="+mn-lt"/>
              <a:ea typeface="Gotham Medium" charset="0"/>
              <a:cs typeface="Gotham Medium" charset="0"/>
            </a:endParaRP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Close Cover - White">
    <p:spTree>
      <p:nvGrpSpPr>
        <p:cNvPr id="1" name=""/>
        <p:cNvGrpSpPr/>
        <p:nvPr/>
      </p:nvGrpSpPr>
      <p:grpSpPr>
        <a:xfrm>
          <a:off x="0" y="0"/>
          <a:ext cx="0" cy="0"/>
          <a:chOff x="0" y="0"/>
          <a:chExt cx="0" cy="0"/>
        </a:xfrm>
      </p:grpSpPr>
      <p:pic>
        <p:nvPicPr>
          <p:cNvPr id="15" name="Picture 14"/>
          <p:cNvPicPr>
            <a:picLocks noChangeAspect="1"/>
          </p:cNvPicPr>
          <p:nvPr/>
        </p:nvPicPr>
        <p:blipFill>
          <a:blip r:embed="rId2"/>
          <a:srcRect/>
          <a:stretch>
            <a:fillRect/>
          </a:stretch>
        </p:blipFill>
        <p:spPr>
          <a:xfrm>
            <a:off x="5696712" y="0"/>
            <a:ext cx="6495288" cy="6139381"/>
          </a:xfrm>
          <a:prstGeom prst="rect">
            <a:avLst/>
          </a:prstGeom>
        </p:spPr>
      </p:pic>
      <p:pic>
        <p:nvPicPr>
          <p:cNvPr id="7" name="Picture 6"/>
          <p:cNvPicPr/>
          <p:nvPr/>
        </p:nvPicPr>
        <p:blipFill>
          <a:blip r:embed="rId3"/>
          <a:stretch>
            <a:fillRect/>
          </a:stretch>
        </p:blipFill>
        <p:spPr>
          <a:xfrm>
            <a:off x="9480376" y="5877750"/>
            <a:ext cx="1724400" cy="504000"/>
          </a:xfrm>
          <a:prstGeom prst="rect">
            <a:avLst/>
          </a:prstGeom>
        </p:spPr>
      </p:pic>
      <p:pic>
        <p:nvPicPr>
          <p:cNvPr id="3" name="Graphic 2"/>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0863" y="5962950"/>
            <a:ext cx="1496807" cy="266400"/>
          </a:xfrm>
          <a:prstGeom prst="rect">
            <a:avLst/>
          </a:prstGeom>
        </p:spPr>
      </p:pic>
      <p:sp>
        <p:nvSpPr>
          <p:cNvPr id="10" name="TextBox 9"/>
          <p:cNvSpPr txBox="1"/>
          <p:nvPr/>
        </p:nvSpPr>
        <p:spPr>
          <a:xfrm>
            <a:off x="553792" y="1622739"/>
            <a:ext cx="4102048" cy="870157"/>
          </a:xfrm>
          <a:prstGeom prst="rect">
            <a:avLst/>
          </a:prstGeom>
        </p:spPr>
        <p:txBody>
          <a:bodyPr vert="horz" wrap="square" lIns="0" tIns="45720" rIns="91440" bIns="45720" rtlCol="0" anchor="t">
            <a:noAutofit/>
          </a:bodyPr>
          <a:lstStyle/>
          <a:p>
            <a:r>
              <a:rPr lang="id-ID" sz="4800" b="0" i="0">
                <a:solidFill>
                  <a:schemeClr val="accent1"/>
                </a:solidFill>
                <a:latin typeface="Gotham Medium" charset="0"/>
                <a:ea typeface="Gotham Medium" charset="0"/>
                <a:cs typeface="Gotham Medium" charset="0"/>
              </a:rPr>
              <a:t>Terima kasih</a:t>
            </a:r>
          </a:p>
        </p:txBody>
      </p:sp>
      <p:sp>
        <p:nvSpPr>
          <p:cNvPr id="9" name="TextBox 8"/>
          <p:cNvSpPr txBox="1"/>
          <p:nvPr/>
        </p:nvSpPr>
        <p:spPr>
          <a:xfrm>
            <a:off x="566594" y="3423156"/>
            <a:ext cx="2455274" cy="1650988"/>
          </a:xfrm>
          <a:prstGeom prst="rect">
            <a:avLst/>
          </a:prstGeom>
        </p:spPr>
        <p:txBody>
          <a:bodyPr vert="horz" wrap="square" lIns="0" tIns="45720" rIns="91440" bIns="45720" rtlCol="0" anchor="t">
            <a:noAutofit/>
          </a:bodyPr>
          <a:lstStyle/>
          <a:p>
            <a:pPr>
              <a:lnSpc>
                <a:spcPct val="120000"/>
              </a:lnSpc>
            </a:pPr>
            <a:r>
              <a:rPr lang="sv-SE" sz="1050" b="0" i="0">
                <a:solidFill>
                  <a:schemeClr val="accent1"/>
                </a:solidFill>
                <a:latin typeface="+mn-lt"/>
                <a:ea typeface="Gotham Medium" charset="0"/>
                <a:cs typeface="Gotham Medium" charset="0"/>
              </a:rPr>
              <a:t>Gedung Energi Lt. 16 SCBD</a:t>
            </a:r>
          </a:p>
          <a:p>
            <a:pPr>
              <a:lnSpc>
                <a:spcPct val="120000"/>
              </a:lnSpc>
            </a:pPr>
            <a:r>
              <a:rPr lang="sv-SE" sz="1050" b="0" i="0">
                <a:solidFill>
                  <a:schemeClr val="accent1"/>
                </a:solidFill>
                <a:latin typeface="+mn-lt"/>
                <a:ea typeface="Gotham Medium" charset="0"/>
                <a:cs typeface="Gotham Medium" charset="0"/>
              </a:rPr>
              <a:t>Jl. Jenderal Sudirman Kav. 52-53</a:t>
            </a:r>
          </a:p>
          <a:p>
            <a:pPr>
              <a:lnSpc>
                <a:spcPct val="120000"/>
              </a:lnSpc>
            </a:pPr>
            <a:r>
              <a:rPr lang="sv-SE" sz="1050" b="0" i="0">
                <a:solidFill>
                  <a:schemeClr val="accent1"/>
                </a:solidFill>
                <a:latin typeface="+mn-lt"/>
                <a:ea typeface="Gotham Medium" charset="0"/>
                <a:cs typeface="Gotham Medium" charset="0"/>
              </a:rPr>
              <a:t>Jakarta 12190.</a:t>
            </a:r>
          </a:p>
          <a:p>
            <a:pPr>
              <a:lnSpc>
                <a:spcPct val="120000"/>
              </a:lnSpc>
            </a:pPr>
            <a:r>
              <a:rPr lang="sv-SE" sz="1050" b="0" i="0">
                <a:solidFill>
                  <a:schemeClr val="accent1"/>
                </a:solidFill>
                <a:latin typeface="+mn-lt"/>
                <a:ea typeface="Gotham Medium" charset="0"/>
                <a:cs typeface="Gotham Medium" charset="0"/>
              </a:rPr>
              <a:t>P.O. BOX 6917 Jakarta Selatan,</a:t>
            </a:r>
          </a:p>
          <a:p>
            <a:pPr>
              <a:lnSpc>
                <a:spcPct val="120000"/>
              </a:lnSpc>
            </a:pPr>
            <a:r>
              <a:rPr lang="sv-SE" sz="1050" b="0" i="0">
                <a:solidFill>
                  <a:schemeClr val="accent1"/>
                </a:solidFill>
                <a:latin typeface="+mn-lt"/>
                <a:ea typeface="Gotham Medium" charset="0"/>
                <a:cs typeface="Gotham Medium" charset="0"/>
              </a:rPr>
              <a:t>Indonesia</a:t>
            </a:r>
          </a:p>
          <a:p>
            <a:pPr>
              <a:lnSpc>
                <a:spcPct val="120000"/>
              </a:lnSpc>
            </a:pPr>
            <a:r>
              <a:rPr lang="sv-SE" sz="1050" b="0" i="0">
                <a:solidFill>
                  <a:schemeClr val="accent1"/>
                </a:solidFill>
                <a:latin typeface="+mn-lt"/>
                <a:ea typeface="Gotham Medium" charset="0"/>
                <a:cs typeface="Gotham Medium" charset="0"/>
              </a:rPr>
              <a:t>Telp (+6221) 27938750.</a:t>
            </a:r>
          </a:p>
          <a:p>
            <a:pPr>
              <a:lnSpc>
                <a:spcPct val="120000"/>
              </a:lnSpc>
            </a:pPr>
            <a:r>
              <a:rPr lang="sv-SE" sz="1050" b="0" i="0">
                <a:solidFill>
                  <a:schemeClr val="accent1"/>
                </a:solidFill>
                <a:latin typeface="+mn-lt"/>
                <a:ea typeface="Gotham Medium" charset="0"/>
                <a:cs typeface="Gotham Medium" charset="0"/>
              </a:rPr>
              <a:t>Fax  (+6221) 27936331.</a:t>
            </a:r>
          </a:p>
          <a:p>
            <a:pPr>
              <a:lnSpc>
                <a:spcPct val="120000"/>
              </a:lnSpc>
            </a:pPr>
            <a:r>
              <a:rPr lang="sv-SE" sz="1050" b="0" i="0">
                <a:solidFill>
                  <a:schemeClr val="accent1"/>
                </a:solidFill>
                <a:latin typeface="+mn-lt"/>
                <a:ea typeface="Gotham Medium" charset="0"/>
                <a:cs typeface="Gotham Medium" charset="0"/>
              </a:rPr>
              <a:t>E-mail : corsec@mind.id</a:t>
            </a:r>
          </a:p>
          <a:p>
            <a:pPr>
              <a:lnSpc>
                <a:spcPct val="120000"/>
              </a:lnSpc>
            </a:pPr>
            <a:endParaRPr lang="en-US" sz="1050" b="0" i="0">
              <a:solidFill>
                <a:schemeClr val="accent1"/>
              </a:solidFill>
              <a:latin typeface="+mn-lt"/>
              <a:ea typeface="Gotham Medium" charset="0"/>
              <a:cs typeface="Gotham Medium"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51156" t="55496" b="200"/>
          <a:stretch>
            <a:fillRect/>
          </a:stretch>
        </p:blipFill>
        <p:spPr>
          <a:xfrm>
            <a:off x="6239282" y="3802895"/>
            <a:ext cx="5952718" cy="3055105"/>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anchor="b">
            <a:normAutofit/>
          </a:bodyPr>
          <a:lstStyle>
            <a:lvl1pPr>
              <a:defRPr sz="2400" b="1" i="0" baseline="0">
                <a:solidFill>
                  <a:schemeClr val="accent1"/>
                </a:solidFill>
                <a:latin typeface="Gotham Book" charset="0"/>
                <a:ea typeface="Gotham Book" charset="0"/>
                <a:cs typeface="Gotham Book" charset="0"/>
              </a:defRPr>
            </a:lvl1pPr>
          </a:lstStyle>
          <a:p>
            <a:r>
              <a:rPr lang="en-US" dirty="0"/>
              <a:t>Section 01</a:t>
            </a:r>
            <a:endParaRPr lang="id-ID" dirty="0"/>
          </a:p>
        </p:txBody>
      </p:sp>
      <p:sp>
        <p:nvSpPr>
          <p:cNvPr id="5" name="Text Placeholder 4"/>
          <p:cNvSpPr>
            <a:spLocks noGrp="1"/>
          </p:cNvSpPr>
          <p:nvPr>
            <p:ph type="body" sz="quarter" idx="19" hasCustomPrompt="1"/>
          </p:nvPr>
        </p:nvSpPr>
        <p:spPr>
          <a:xfrm>
            <a:off x="682625" y="2479675"/>
            <a:ext cx="6963517" cy="3036888"/>
          </a:xfrm>
        </p:spPr>
        <p:txBody>
          <a:bodyPr/>
          <a:lstStyle>
            <a:lvl1pPr marL="0" indent="0">
              <a:lnSpc>
                <a:spcPts val="5800"/>
              </a:lnSpc>
              <a:spcBef>
                <a:spcPts val="0"/>
              </a:spcBef>
              <a:buNone/>
              <a:defRPr sz="5400" b="1" i="0">
                <a:solidFill>
                  <a:schemeClr val="accent1"/>
                </a:solidFill>
                <a:latin typeface="Gotham Bold" pitchFamily="2" charset="0"/>
                <a:cs typeface="Gotham Bold" pitchFamily="2" charset="0"/>
              </a:defRPr>
            </a:lvl1pPr>
          </a:lstStyle>
          <a:p>
            <a:pPr lvl="0"/>
            <a:r>
              <a:rPr lang="en-US"/>
              <a:t>Headline text goes here</a:t>
            </a:r>
            <a:endParaRPr lang="id-ID"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mp; Pictur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6138444" y="1268413"/>
            <a:ext cx="5682081" cy="2160587"/>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14pt/spc-exctly22pt</a:t>
            </a:r>
            <a:endParaRPr lang="id-ID"/>
          </a:p>
        </p:txBody>
      </p:sp>
      <p:sp>
        <p:nvSpPr>
          <p:cNvPr id="7" name="Text Placeholder 6"/>
          <p:cNvSpPr>
            <a:spLocks noGrp="1"/>
          </p:cNvSpPr>
          <p:nvPr>
            <p:ph type="body" sz="quarter" idx="15" hasCustomPrompt="1"/>
          </p:nvPr>
        </p:nvSpPr>
        <p:spPr>
          <a:xfrm>
            <a:off x="352424" y="1274618"/>
            <a:ext cx="5417200" cy="1454727"/>
          </a:xfrm>
        </p:spPr>
        <p:txBody>
          <a:bodyPr/>
          <a:lstStyle>
            <a:lvl1pPr marL="0" indent="0">
              <a:lnSpc>
                <a:spcPct val="100000"/>
              </a:lnSpc>
              <a:spcBef>
                <a:spcPts val="1000"/>
              </a:spcBef>
              <a:buNone/>
              <a:defRPr sz="2400" b="0" i="0">
                <a:solidFill>
                  <a:schemeClr val="accent2"/>
                </a:solidFill>
                <a:latin typeface="+mj-lt"/>
                <a:ea typeface="+mn-ea"/>
                <a:cs typeface="+mn-cs"/>
              </a:defRPr>
            </a:lvl1pPr>
          </a:lstStyle>
          <a:p>
            <a:pPr lvl="0"/>
            <a:r>
              <a:rPr lang="en-US"/>
              <a:t>Click to edit Title text with. some pictures, maximum is three lines.</a:t>
            </a:r>
            <a:endParaRPr lang="id-ID"/>
          </a:p>
        </p:txBody>
      </p:sp>
      <p:sp>
        <p:nvSpPr>
          <p:cNvPr id="4" name="Picture Placeholder 3"/>
          <p:cNvSpPr>
            <a:spLocks noGrp="1"/>
          </p:cNvSpPr>
          <p:nvPr>
            <p:ph type="pic" sz="quarter" idx="13" hasCustomPrompt="1"/>
          </p:nvPr>
        </p:nvSpPr>
        <p:spPr>
          <a:xfrm>
            <a:off x="-39160" y="3797309"/>
            <a:ext cx="4085280" cy="3060691"/>
          </a:xfrm>
          <a:noFill/>
          <a:ln>
            <a:noFill/>
          </a:ln>
        </p:spPr>
        <p:txBody>
          <a:bodyPr anchor="ctr"/>
          <a:lstStyle>
            <a:lvl1pPr marL="457200" indent="-457200" algn="ctr">
              <a:buFont typeface="Arial" panose="020B0604020202090204" pitchFamily="34" charset="0"/>
              <a:buChar char="•"/>
              <a:defRPr sz="1600">
                <a:latin typeface="+mn-lt"/>
                <a:ea typeface="+mn-ea"/>
                <a:cs typeface="+mn-cs"/>
              </a:defRPr>
            </a:lvl1pPr>
          </a:lstStyle>
          <a:p>
            <a:r>
              <a:rPr lang="id-ID"/>
              <a:t>Picture </a:t>
            </a:r>
            <a:r>
              <a:rPr lang="en-US"/>
              <a:t>ratio </a:t>
            </a:r>
            <a:r>
              <a:rPr lang="id-ID"/>
              <a:t>4:3</a:t>
            </a:r>
          </a:p>
        </p:txBody>
      </p:sp>
      <p:sp>
        <p:nvSpPr>
          <p:cNvPr id="19" name="Picture Placeholder 3"/>
          <p:cNvSpPr>
            <a:spLocks noGrp="1"/>
          </p:cNvSpPr>
          <p:nvPr>
            <p:ph type="pic" sz="quarter" idx="16" hasCustomPrompt="1"/>
          </p:nvPr>
        </p:nvSpPr>
        <p:spPr>
          <a:xfrm>
            <a:off x="4046120" y="3797309"/>
            <a:ext cx="4085280" cy="3060691"/>
          </a:xfrm>
          <a:noFill/>
          <a:ln>
            <a:noFill/>
          </a:ln>
        </p:spPr>
        <p:txBody>
          <a:bodyPr anchor="ctr"/>
          <a:lstStyle>
            <a:lvl1pPr marL="457200" indent="-457200" algn="ctr">
              <a:buFont typeface="Arial" panose="020B0604020202090204" pitchFamily="34" charset="0"/>
              <a:buChar char="•"/>
              <a:defRPr sz="1600">
                <a:latin typeface="+mn-lt"/>
                <a:ea typeface="+mn-ea"/>
                <a:cs typeface="+mn-cs"/>
              </a:defRPr>
            </a:lvl1pPr>
          </a:lstStyle>
          <a:p>
            <a:r>
              <a:rPr lang="id-ID"/>
              <a:t>Picture </a:t>
            </a:r>
            <a:r>
              <a:rPr lang="en-US"/>
              <a:t>ratio </a:t>
            </a:r>
            <a:r>
              <a:rPr lang="id-ID"/>
              <a:t>4:3</a:t>
            </a:r>
          </a:p>
        </p:txBody>
      </p:sp>
      <p:sp>
        <p:nvSpPr>
          <p:cNvPr id="20" name="Picture Placeholder 3"/>
          <p:cNvSpPr>
            <a:spLocks noGrp="1"/>
          </p:cNvSpPr>
          <p:nvPr>
            <p:ph type="pic" sz="quarter" idx="17" hasCustomPrompt="1"/>
          </p:nvPr>
        </p:nvSpPr>
        <p:spPr>
          <a:xfrm>
            <a:off x="8131400" y="3797309"/>
            <a:ext cx="4085280" cy="3060691"/>
          </a:xfrm>
          <a:noFill/>
          <a:ln>
            <a:noFill/>
          </a:ln>
        </p:spPr>
        <p:txBody>
          <a:bodyPr anchor="ctr"/>
          <a:lstStyle>
            <a:lvl1pPr marL="457200" indent="-457200" algn="ctr">
              <a:buFont typeface="Arial" panose="020B0604020202090204" pitchFamily="34" charset="0"/>
              <a:buChar char="•"/>
              <a:defRPr sz="1600">
                <a:latin typeface="+mn-lt"/>
                <a:ea typeface="+mn-ea"/>
                <a:cs typeface="+mn-cs"/>
              </a:defRPr>
            </a:lvl1pPr>
          </a:lstStyle>
          <a:p>
            <a:r>
              <a:rPr lang="id-ID"/>
              <a:t>Picture </a:t>
            </a:r>
            <a:r>
              <a:rPr lang="en-US"/>
              <a:t>ratio</a:t>
            </a:r>
            <a:r>
              <a:rPr lang="id-ID"/>
              <a:t> 4:3</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Disclaimer">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1704977"/>
            <a:ext cx="11469455" cy="3884264"/>
          </a:xfrm>
          <a:prstGeom prst="rect">
            <a:avLst/>
          </a:prstGeom>
          <a:noFill/>
          <a:ln>
            <a:noFill/>
          </a:ln>
        </p:spPr>
        <p:txBody>
          <a:bodyPr tIns="46800" numCol="2" spcCol="540000">
            <a:noAutofit/>
          </a:bodyPr>
          <a:lstStyle>
            <a:lvl1pPr marL="0" indent="0" algn="l">
              <a:lnSpc>
                <a:spcPts val="1400"/>
              </a:lnSpc>
              <a:spcBef>
                <a:spcPts val="0"/>
              </a:spcBef>
              <a:buFont typeface="Arial" panose="020B0604020202090204" pitchFamily="34" charset="0"/>
              <a:buNone/>
              <a:defRPr sz="105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indent="-228600">
              <a:lnSpc>
                <a:spcPts val="1400"/>
              </a:lnSpc>
              <a:buFont typeface="Arial" panose="020B0604020202090204" pitchFamily="34" charset="0"/>
              <a:buChar char="•"/>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2" name="Title 1"/>
          <p:cNvSpPr>
            <a:spLocks noGrp="1"/>
          </p:cNvSpPr>
          <p:nvPr>
            <p:ph type="title" hasCustomPrompt="1"/>
          </p:nvPr>
        </p:nvSpPr>
        <p:spPr>
          <a:xfrm>
            <a:off x="334963" y="858983"/>
            <a:ext cx="5328989" cy="481786"/>
          </a:xfrm>
        </p:spPr>
        <p:txBody>
          <a:bodyPr/>
          <a:lstStyle>
            <a:lvl1pPr>
              <a:defRPr baseline="0"/>
            </a:lvl1pPr>
          </a:lstStyle>
          <a:p>
            <a:r>
              <a:rPr lang="en-US"/>
              <a:t>Disclaimer page</a:t>
            </a:r>
            <a:endParaRPr lang="id-ID"/>
          </a:p>
        </p:txBody>
      </p:sp>
      <p:sp>
        <p:nvSpPr>
          <p:cNvPr id="8" name="Footer Placeholder 7"/>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2"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3"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p:cNvSpPr>
            <a:spLocks noGrp="1"/>
          </p:cNvSpPr>
          <p:nvPr>
            <p:ph type="dt" sz="half" idx="10"/>
          </p:nvPr>
        </p:nvSpPr>
        <p:spPr/>
        <p:txBody>
          <a:bodyPr/>
          <a:lstStyle/>
          <a:p>
            <a:fld id="{A082E6FF-CA80-49B3-97E8-58877594F72C}" type="datetimeFigureOut">
              <a:rPr lang="en-ID" smtClean="0"/>
              <a:t>12/05/2024</a:t>
            </a:fld>
            <a:endParaRPr lang="en-ID"/>
          </a:p>
        </p:txBody>
      </p:sp>
      <p:sp>
        <p:nvSpPr>
          <p:cNvPr id="5" name="Footer Placeholder 4"/>
          <p:cNvSpPr>
            <a:spLocks noGrp="1"/>
          </p:cNvSpPr>
          <p:nvPr>
            <p:ph type="ftr" sz="quarter" idx="11"/>
          </p:nvPr>
        </p:nvSpPr>
        <p:spPr/>
        <p:txBody>
          <a:bodyPr/>
          <a:lstStyle/>
          <a:p>
            <a:endParaRPr lang="en-ID"/>
          </a:p>
        </p:txBody>
      </p:sp>
      <p:sp>
        <p:nvSpPr>
          <p:cNvPr id="6" name="Slide Number Placeholder 5"/>
          <p:cNvSpPr>
            <a:spLocks noGrp="1"/>
          </p:cNvSpPr>
          <p:nvPr>
            <p:ph type="sldNum" sz="quarter" idx="12"/>
          </p:nvPr>
        </p:nvSpPr>
        <p:spPr/>
        <p:txBody>
          <a:bodyPr/>
          <a:lstStyle/>
          <a:p>
            <a:fld id="{B4C05202-7E66-4595-98A0-95CD4DF209BE}" type="slidenum">
              <a:rPr lang="en-ID" smtClean="0"/>
              <a:t>‹#›</a:t>
            </a:fld>
            <a:endParaRPr lang="en-ID"/>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p:cNvSpPr>
            <a:spLocks noGrp="1"/>
          </p:cNvSpPr>
          <p:nvPr>
            <p:ph type="dt" sz="half" idx="10"/>
          </p:nvPr>
        </p:nvSpPr>
        <p:spPr/>
        <p:txBody>
          <a:bodyPr/>
          <a:lstStyle/>
          <a:p>
            <a:fld id="{A082E6FF-CA80-49B3-97E8-58877594F72C}" type="datetimeFigureOut">
              <a:rPr lang="en-ID" smtClean="0"/>
              <a:t>12/05/2024</a:t>
            </a:fld>
            <a:endParaRPr lang="en-ID"/>
          </a:p>
        </p:txBody>
      </p:sp>
      <p:sp>
        <p:nvSpPr>
          <p:cNvPr id="5" name="Footer Placeholder 4"/>
          <p:cNvSpPr>
            <a:spLocks noGrp="1"/>
          </p:cNvSpPr>
          <p:nvPr>
            <p:ph type="ftr" sz="quarter" idx="11"/>
          </p:nvPr>
        </p:nvSpPr>
        <p:spPr/>
        <p:txBody>
          <a:bodyPr/>
          <a:lstStyle/>
          <a:p>
            <a:endParaRPr lang="en-ID"/>
          </a:p>
        </p:txBody>
      </p:sp>
      <p:sp>
        <p:nvSpPr>
          <p:cNvPr id="6" name="Slide Number Placeholder 5"/>
          <p:cNvSpPr>
            <a:spLocks noGrp="1"/>
          </p:cNvSpPr>
          <p:nvPr>
            <p:ph type="sldNum" sz="quarter" idx="12"/>
          </p:nvPr>
        </p:nvSpPr>
        <p:spPr/>
        <p:txBody>
          <a:bodyPr/>
          <a:lstStyle/>
          <a:p>
            <a:fld id="{B4C05202-7E66-4595-98A0-95CD4DF209BE}" type="slidenum">
              <a:rPr lang="en-ID" smtClean="0"/>
              <a:t>‹#›</a:t>
            </a:fld>
            <a:endParaRPr lang="en-ID"/>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stretch>
            <a:fillRect/>
          </a:stretch>
        </p:blipFill>
        <p:spPr>
          <a:xfrm>
            <a:off x="551384" y="1422493"/>
            <a:ext cx="2736304" cy="789746"/>
          </a:xfrm>
          <a:prstGeom prst="rect">
            <a:avLst/>
          </a:prstGeom>
        </p:spPr>
      </p:pic>
      <p:sp>
        <p:nvSpPr>
          <p:cNvPr id="22" name="Date Placeholder 6"/>
          <p:cNvSpPr>
            <a:spLocks noGrp="1"/>
          </p:cNvSpPr>
          <p:nvPr>
            <p:ph type="dt" sz="half" idx="14"/>
          </p:nvPr>
        </p:nvSpPr>
        <p:spPr>
          <a:xfrm>
            <a:off x="4702097" y="3830886"/>
            <a:ext cx="2995280" cy="365125"/>
          </a:xfrm>
          <a:prstGeom prst="rect">
            <a:avLst/>
          </a:prstGeom>
        </p:spPr>
        <p:txBody>
          <a:bodyPr lIns="0"/>
          <a:lstStyle>
            <a:lvl1pPr>
              <a:defRPr sz="1400">
                <a:solidFill>
                  <a:schemeClr val="accent2"/>
                </a:solidFill>
                <a:latin typeface="Gotham Book" charset="0"/>
                <a:ea typeface="Gotham Book" charset="0"/>
                <a:cs typeface="Gotham Book" charset="0"/>
              </a:defRPr>
            </a:lvl1pPr>
          </a:lstStyle>
          <a:p>
            <a:r>
              <a:rPr lang="en-ID"/>
              <a:t>Thursday, 11 December 2021</a:t>
            </a:r>
            <a:endParaRPr lang="id-ID"/>
          </a:p>
        </p:txBody>
      </p:sp>
      <p:sp>
        <p:nvSpPr>
          <p:cNvPr id="30" name="Title 26"/>
          <p:cNvSpPr>
            <a:spLocks noGrp="1"/>
          </p:cNvSpPr>
          <p:nvPr>
            <p:ph type="title" hasCustomPrompt="1"/>
          </p:nvPr>
        </p:nvSpPr>
        <p:spPr>
          <a:xfrm>
            <a:off x="4707274" y="3103418"/>
            <a:ext cx="6646526" cy="561668"/>
          </a:xfrm>
          <a:prstGeom prst="rect">
            <a:avLst/>
          </a:prstGeom>
        </p:spPr>
        <p:txBody>
          <a:bodyPr tIns="46800" bIns="46800" anchor="ctr">
            <a:normAutofit/>
          </a:bodyPr>
          <a:lstStyle>
            <a:lvl1pPr>
              <a:lnSpc>
                <a:spcPts val="2400"/>
              </a:lnSpc>
              <a:defRPr sz="2400" b="0" i="0" baseline="0">
                <a:solidFill>
                  <a:schemeClr val="accent1"/>
                </a:solidFill>
                <a:latin typeface="Gotham Book" charset="0"/>
                <a:ea typeface="Gotham Book" charset="0"/>
                <a:cs typeface="Gotham Book" charset="0"/>
              </a:defRPr>
            </a:lvl1pPr>
          </a:lstStyle>
          <a:p>
            <a:r>
              <a:rPr lang="en-US" dirty="0"/>
              <a:t>Subtitle for the document</a:t>
            </a:r>
            <a:endParaRPr lang="id-ID" dirty="0"/>
          </a:p>
        </p:txBody>
      </p:sp>
      <p:sp>
        <p:nvSpPr>
          <p:cNvPr id="44" name="Text Placeholder 43"/>
          <p:cNvSpPr>
            <a:spLocks noGrp="1"/>
          </p:cNvSpPr>
          <p:nvPr>
            <p:ph type="body" sz="quarter" idx="20" hasCustomPrompt="1"/>
          </p:nvPr>
        </p:nvSpPr>
        <p:spPr>
          <a:xfrm>
            <a:off x="4702097" y="1262063"/>
            <a:ext cx="6651704" cy="1772080"/>
          </a:xfrm>
        </p:spPr>
        <p:txBody>
          <a:bodyPr/>
          <a:lstStyle>
            <a:lvl1pPr marL="0" indent="0">
              <a:buNone/>
              <a:defRPr sz="3600" b="1" i="0" baseline="0">
                <a:solidFill>
                  <a:schemeClr val="accent1"/>
                </a:solidFill>
                <a:latin typeface="Gotham Bold" pitchFamily="2" charset="0"/>
                <a:ea typeface="Gotham Bold" pitchFamily="2" charset="0"/>
                <a:cs typeface="Gotham Bold" pitchFamily="2" charset="0"/>
              </a:defRPr>
            </a:lvl1pPr>
            <a:lvl2pPr>
              <a:defRPr sz="3600"/>
            </a:lvl2pPr>
            <a:lvl3pPr>
              <a:defRPr sz="3600"/>
            </a:lvl3pPr>
            <a:lvl4pPr>
              <a:defRPr sz="3600"/>
            </a:lvl4pPr>
            <a:lvl5pPr>
              <a:defRPr sz="3600"/>
            </a:lvl5pPr>
          </a:lstStyle>
          <a:p>
            <a:pPr lvl="0"/>
            <a:r>
              <a:rPr lang="en-US" dirty="0"/>
              <a:t>Title for the document enough for up to </a:t>
            </a:r>
          </a:p>
          <a:p>
            <a:pPr lvl="0"/>
            <a:r>
              <a:rPr lang="en-US" dirty="0"/>
              <a:t>three lines</a:t>
            </a:r>
            <a:endParaRPr lang="id-ID" dirty="0"/>
          </a:p>
        </p:txBody>
      </p:sp>
      <p:sp>
        <p:nvSpPr>
          <p:cNvPr id="10" name="Picture Placeholder 9"/>
          <p:cNvSpPr>
            <a:spLocks noGrp="1"/>
          </p:cNvSpPr>
          <p:nvPr>
            <p:ph type="pic" sz="quarter" idx="10"/>
          </p:nvPr>
        </p:nvSpPr>
        <p:spPr>
          <a:xfrm>
            <a:off x="0" y="4419600"/>
            <a:ext cx="10883900" cy="2438400"/>
          </a:xfrm>
          <a:custGeom>
            <a:avLst/>
            <a:gdLst>
              <a:gd name="connsiteX0" fmla="*/ 10336530 w 10883900"/>
              <a:gd name="connsiteY0" fmla="*/ 1598295 h 2438400"/>
              <a:gd name="connsiteX1" fmla="*/ 10883900 w 10883900"/>
              <a:gd name="connsiteY1" fmla="*/ 2438400 h 2438400"/>
              <a:gd name="connsiteX2" fmla="*/ 9615043 w 10883900"/>
              <a:gd name="connsiteY2" fmla="*/ 2438400 h 2438400"/>
              <a:gd name="connsiteX3" fmla="*/ 9615043 w 10883900"/>
              <a:gd name="connsiteY3" fmla="*/ 2415159 h 2438400"/>
              <a:gd name="connsiteX4" fmla="*/ 10336530 w 10883900"/>
              <a:gd name="connsiteY4" fmla="*/ 1598295 h 2438400"/>
              <a:gd name="connsiteX5" fmla="*/ 0 w 10883900"/>
              <a:gd name="connsiteY5" fmla="*/ 0 h 2438400"/>
              <a:gd name="connsiteX6" fmla="*/ 10764520 w 10883900"/>
              <a:gd name="connsiteY6" fmla="*/ 0 h 2438400"/>
              <a:gd name="connsiteX7" fmla="*/ 10278745 w 10883900"/>
              <a:gd name="connsiteY7" fmla="*/ 1165352 h 2438400"/>
              <a:gd name="connsiteX8" fmla="*/ 10326624 w 10883900"/>
              <a:gd name="connsiteY8" fmla="*/ 1560449 h 2438400"/>
              <a:gd name="connsiteX9" fmla="*/ 9575800 w 10883900"/>
              <a:gd name="connsiteY9" fmla="*/ 2415159 h 2438400"/>
              <a:gd name="connsiteX10" fmla="*/ 9575800 w 10883900"/>
              <a:gd name="connsiteY10" fmla="*/ 2438400 h 2438400"/>
              <a:gd name="connsiteX11" fmla="*/ 0 w 10883900"/>
              <a:gd name="connsiteY11" fmla="*/ 243840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83900" h="2438400">
                <a:moveTo>
                  <a:pt x="10336530" y="1598295"/>
                </a:moveTo>
                <a:cubicBezTo>
                  <a:pt x="10426843" y="1928591"/>
                  <a:pt x="10618242" y="2222351"/>
                  <a:pt x="10883900" y="2438400"/>
                </a:cubicBezTo>
                <a:lnTo>
                  <a:pt x="9615043" y="2438400"/>
                </a:lnTo>
                <a:cubicBezTo>
                  <a:pt x="9615043" y="2430695"/>
                  <a:pt x="9615043" y="2422948"/>
                  <a:pt x="9615043" y="2415159"/>
                </a:cubicBezTo>
                <a:cubicBezTo>
                  <a:pt x="9615120" y="1999884"/>
                  <a:pt x="9924445" y="1649668"/>
                  <a:pt x="10336530" y="1598295"/>
                </a:cubicBezTo>
                <a:close/>
                <a:moveTo>
                  <a:pt x="0" y="0"/>
                </a:moveTo>
                <a:lnTo>
                  <a:pt x="10764520" y="0"/>
                </a:lnTo>
                <a:cubicBezTo>
                  <a:pt x="10453168" y="307790"/>
                  <a:pt x="10278194" y="727546"/>
                  <a:pt x="10278745" y="1165352"/>
                </a:cubicBezTo>
                <a:cubicBezTo>
                  <a:pt x="10278664" y="1298503"/>
                  <a:pt x="10294741" y="1431172"/>
                  <a:pt x="10326624" y="1560449"/>
                </a:cubicBezTo>
                <a:cubicBezTo>
                  <a:pt x="9897201" y="1616334"/>
                  <a:pt x="9575879" y="1982114"/>
                  <a:pt x="9575800" y="2415159"/>
                </a:cubicBezTo>
                <a:cubicBezTo>
                  <a:pt x="9575800" y="2422906"/>
                  <a:pt x="9575800" y="2430653"/>
                  <a:pt x="9575800" y="2438400"/>
                </a:cubicBezTo>
                <a:lnTo>
                  <a:pt x="0" y="2438400"/>
                </a:lnTo>
                <a:close/>
              </a:path>
            </a:pathLst>
          </a:custGeom>
        </p:spPr>
        <p:txBody>
          <a:bodyPr wrap="square">
            <a:noAutofit/>
          </a:bodyPr>
          <a:lstStyle/>
          <a:p>
            <a:endParaRPr lang="en-US"/>
          </a:p>
        </p:txBody>
      </p:sp>
      <p:pic>
        <p:nvPicPr>
          <p:cNvPr id="11" name="Picture 10"/>
          <p:cNvPicPr>
            <a:picLocks noChangeAspect="1"/>
          </p:cNvPicPr>
          <p:nvPr userDrawn="1"/>
        </p:nvPicPr>
        <p:blipFill>
          <a:blip r:embed="rId3"/>
          <a:stretch>
            <a:fillRect/>
          </a:stretch>
        </p:blipFill>
        <p:spPr>
          <a:xfrm>
            <a:off x="9575800" y="3073400"/>
            <a:ext cx="2616200" cy="3784600"/>
          </a:xfrm>
          <a:prstGeom prst="rect">
            <a:avLst/>
          </a:prstGeom>
        </p:spPr>
      </p:pic>
      <p:pic>
        <p:nvPicPr>
          <p:cNvPr id="3" name="Graphic 2"/>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51384" y="298363"/>
            <a:ext cx="1800200" cy="320398"/>
          </a:xfrm>
          <a:prstGeom prst="rect">
            <a:avLst/>
          </a:prstGeom>
        </p:spPr>
      </p:pic>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1704977"/>
            <a:ext cx="11469455" cy="3884264"/>
          </a:xfrm>
          <a:prstGeom prst="rect">
            <a:avLst/>
          </a:prstGeom>
          <a:noFill/>
          <a:ln>
            <a:noFill/>
          </a:ln>
        </p:spPr>
        <p:txBody>
          <a:bodyPr tIns="46800" numCol="2" spcCol="540000">
            <a:noAutofit/>
          </a:bodyPr>
          <a:lstStyle>
            <a:lvl1pPr marL="0" indent="0" algn="l">
              <a:lnSpc>
                <a:spcPts val="1400"/>
              </a:lnSpc>
              <a:spcBef>
                <a:spcPts val="0"/>
              </a:spcBef>
              <a:buFont typeface="Arial" panose="020B0604020202090204" pitchFamily="34" charset="0"/>
              <a:buNone/>
              <a:defRPr sz="105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indent="-228600">
              <a:lnSpc>
                <a:spcPts val="1400"/>
              </a:lnSpc>
              <a:buFont typeface="Arial" panose="020B0604020202090204" pitchFamily="34" charset="0"/>
              <a:buChar char="•"/>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a:p>
            <a:pPr>
              <a:lnSpc>
                <a:spcPts val="1400"/>
              </a:lnSpc>
            </a:pPr>
            <a:r>
              <a:rPr lang="en-US" sz="1000" noProof="1">
                <a:solidFill>
                  <a:schemeClr val="tx1">
                    <a:lumMod val="65000"/>
                    <a:lumOff val="35000"/>
                  </a:schemeClr>
                </a:solidFill>
                <a:latin typeface="Gotham Book" charset="0"/>
                <a:ea typeface="Gotham Book" charset="0"/>
                <a:cs typeface="Gotham Book" charset="0"/>
              </a:rPr>
              <a:t>Lorem ipsum dolor sit amet, consectetur adipiscing elit, sed do eiusmod tempor incididunt ut labore et dolore magna aliqua. </a:t>
            </a:r>
          </a:p>
          <a:p>
            <a:pPr>
              <a:lnSpc>
                <a:spcPts val="1400"/>
              </a:lnSpc>
            </a:pPr>
            <a:endParaRPr lang="en-US" sz="1000" noProof="1">
              <a:solidFill>
                <a:schemeClr val="tx1">
                  <a:lumMod val="65000"/>
                  <a:lumOff val="35000"/>
                </a:schemeClr>
              </a:solidFill>
              <a:latin typeface="Gotham Book" charset="0"/>
              <a:ea typeface="Gotham Book" charset="0"/>
              <a:cs typeface="Gotham Book" charset="0"/>
            </a:endParaRPr>
          </a:p>
        </p:txBody>
      </p:sp>
      <p:sp>
        <p:nvSpPr>
          <p:cNvPr id="2" name="Title 1"/>
          <p:cNvSpPr>
            <a:spLocks noGrp="1"/>
          </p:cNvSpPr>
          <p:nvPr>
            <p:ph type="title" hasCustomPrompt="1"/>
          </p:nvPr>
        </p:nvSpPr>
        <p:spPr>
          <a:xfrm>
            <a:off x="334963" y="858983"/>
            <a:ext cx="5328989" cy="481786"/>
          </a:xfrm>
        </p:spPr>
        <p:txBody>
          <a:bodyPr/>
          <a:lstStyle>
            <a:lvl1pPr>
              <a:defRPr baseline="0"/>
            </a:lvl1pPr>
          </a:lstStyle>
          <a:p>
            <a:r>
              <a:rPr lang="en-US" dirty="0"/>
              <a:t>Disclaimer page</a:t>
            </a:r>
            <a:endParaRPr lang="id-ID" dirty="0"/>
          </a:p>
        </p:txBody>
      </p:sp>
      <p:sp>
        <p:nvSpPr>
          <p:cNvPr id="8" name="Footer Placeholder 7"/>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2"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3"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51156" t="55496" b="200"/>
          <a:stretch>
            <a:fillRect/>
          </a:stretch>
        </p:blipFill>
        <p:spPr>
          <a:xfrm>
            <a:off x="6239282" y="3802895"/>
            <a:ext cx="5952718" cy="3055105"/>
          </a:xfrm>
          <a:prstGeom prst="rect">
            <a:avLst/>
          </a:prstGeom>
        </p:spPr>
      </p:pic>
      <p:sp>
        <p:nvSpPr>
          <p:cNvPr id="30" name="Title 26"/>
          <p:cNvSpPr>
            <a:spLocks noGrp="1"/>
          </p:cNvSpPr>
          <p:nvPr>
            <p:ph type="title" hasCustomPrompt="1"/>
          </p:nvPr>
        </p:nvSpPr>
        <p:spPr>
          <a:xfrm>
            <a:off x="682013" y="1628799"/>
            <a:ext cx="6964129" cy="716405"/>
          </a:xfrm>
          <a:prstGeom prst="rect">
            <a:avLst/>
          </a:prstGeom>
        </p:spPr>
        <p:txBody>
          <a:bodyPr anchor="b">
            <a:normAutofit/>
          </a:bodyPr>
          <a:lstStyle>
            <a:lvl1pPr>
              <a:defRPr sz="2400" b="1" i="0" baseline="0">
                <a:solidFill>
                  <a:schemeClr val="accent1"/>
                </a:solidFill>
                <a:latin typeface="Gotham Book" charset="0"/>
                <a:ea typeface="Gotham Book" charset="0"/>
                <a:cs typeface="Gotham Book" charset="0"/>
              </a:defRPr>
            </a:lvl1pPr>
          </a:lstStyle>
          <a:p>
            <a:r>
              <a:rPr lang="en-US" dirty="0"/>
              <a:t>Section 01</a:t>
            </a:r>
            <a:endParaRPr lang="id-ID" dirty="0"/>
          </a:p>
        </p:txBody>
      </p:sp>
      <p:sp>
        <p:nvSpPr>
          <p:cNvPr id="5" name="Text Placeholder 4"/>
          <p:cNvSpPr>
            <a:spLocks noGrp="1"/>
          </p:cNvSpPr>
          <p:nvPr>
            <p:ph type="body" sz="quarter" idx="19" hasCustomPrompt="1"/>
          </p:nvPr>
        </p:nvSpPr>
        <p:spPr>
          <a:xfrm>
            <a:off x="682625" y="2479675"/>
            <a:ext cx="6963517" cy="3036888"/>
          </a:xfrm>
        </p:spPr>
        <p:txBody>
          <a:bodyPr/>
          <a:lstStyle>
            <a:lvl1pPr marL="0" indent="0">
              <a:lnSpc>
                <a:spcPts val="5800"/>
              </a:lnSpc>
              <a:spcBef>
                <a:spcPts val="0"/>
              </a:spcBef>
              <a:buNone/>
              <a:defRPr sz="5400" b="1" i="0">
                <a:solidFill>
                  <a:schemeClr val="accent1"/>
                </a:solidFill>
                <a:latin typeface="Gotham Bold" pitchFamily="2" charset="0"/>
                <a:cs typeface="Gotham Bold" pitchFamily="2" charset="0"/>
              </a:defRPr>
            </a:lvl1pPr>
          </a:lstStyle>
          <a:p>
            <a:pPr lvl="0"/>
            <a:r>
              <a:rPr lang="en-US"/>
              <a:t>Headline text goes here</a:t>
            </a:r>
            <a:endParaRPr lang="id-ID" dirty="0"/>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ntent &amp; a Pictur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2690488"/>
            <a:ext cx="5817155" cy="3705838"/>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dirty="0"/>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nibh euismod tincidunt ut laoreet dolore magna aliquam hendrerit in vulputate velit esse molestie consequat, vel illum dolore eu feugiat nulla facilisis at vero eros et accumsan et iusto odio dignissim qui blandit praesent luptatum zzril delenit augue duis dolore te feugait nulla facilisi..</a:t>
            </a:r>
          </a:p>
          <a:p>
            <a:endParaRPr lang="id-ID" dirty="0"/>
          </a:p>
        </p:txBody>
      </p:sp>
      <p:sp>
        <p:nvSpPr>
          <p:cNvPr id="18" name="Title 1"/>
          <p:cNvSpPr>
            <a:spLocks noGrp="1"/>
          </p:cNvSpPr>
          <p:nvPr>
            <p:ph type="title" hasCustomPrompt="1"/>
          </p:nvPr>
        </p:nvSpPr>
        <p:spPr>
          <a:xfrm>
            <a:off x="351069" y="1397531"/>
            <a:ext cx="5817155" cy="1131717"/>
          </a:xfrm>
          <a:prstGeom prst="rect">
            <a:avLst/>
          </a:prstGeom>
        </p:spPr>
        <p:txBody>
          <a:bodyPr lIns="0">
            <a:normAutofit/>
          </a:bodyPr>
          <a:lstStyle>
            <a:lvl1pPr>
              <a:lnSpc>
                <a:spcPts val="4000"/>
              </a:lnSpc>
              <a:defRPr sz="2800" b="0" i="0">
                <a:solidFill>
                  <a:schemeClr val="accent2"/>
                </a:solidFill>
                <a:latin typeface="Gotham Medium" charset="0"/>
                <a:ea typeface="Gotham Medium" charset="0"/>
                <a:cs typeface="Gotham Medium" charset="0"/>
              </a:defRPr>
            </a:lvl1pPr>
          </a:lstStyle>
          <a:p>
            <a:pPr lvl="0">
              <a:defRPr/>
            </a:pPr>
            <a:r>
              <a:rPr lang="id-ID" sz="3200" dirty="0" err="1">
                <a:solidFill>
                  <a:srgbClr val="005DA0"/>
                </a:solidFill>
                <a:latin typeface="Gotham Medium" charset="0"/>
                <a:ea typeface="Gotham Medium" charset="0"/>
                <a:cs typeface="Gotham Medium" charset="0"/>
              </a:rPr>
              <a:t>Click</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to</a:t>
            </a:r>
            <a:r>
              <a:rPr lang="id-ID" sz="3200" dirty="0">
                <a:solidFill>
                  <a:srgbClr val="005DA0"/>
                </a:solidFill>
                <a:latin typeface="Gotham Medium" charset="0"/>
                <a:ea typeface="Gotham Medium" charset="0"/>
                <a:cs typeface="Gotham Medium" charset="0"/>
              </a:rPr>
              <a:t> edit </a:t>
            </a:r>
            <a:r>
              <a:rPr lang="id-ID" sz="3200" dirty="0" err="1">
                <a:solidFill>
                  <a:srgbClr val="005DA0"/>
                </a:solidFill>
                <a:latin typeface="Gotham Medium" charset="0"/>
                <a:ea typeface="Gotham Medium" charset="0"/>
                <a:cs typeface="Gotham Medium" charset="0"/>
              </a:rPr>
              <a:t>Title</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text</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maximum</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is</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two</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lines</a:t>
            </a:r>
            <a:r>
              <a:rPr lang="id-ID" sz="3200" dirty="0">
                <a:solidFill>
                  <a:srgbClr val="005DA0"/>
                </a:solidFill>
                <a:latin typeface="Gotham Medium" charset="0"/>
                <a:ea typeface="Gotham Medium" charset="0"/>
                <a:cs typeface="Gotham Medium" charset="0"/>
              </a:rPr>
              <a:t>.</a:t>
            </a:r>
            <a:endParaRPr lang="en-US" sz="3200" noProof="1">
              <a:solidFill>
                <a:srgbClr val="005DA0"/>
              </a:solidFill>
              <a:latin typeface="Gotham Medium" charset="0"/>
              <a:ea typeface="Gotham Medium" charset="0"/>
              <a:cs typeface="Gotham Medium" charset="0"/>
            </a:endParaRPr>
          </a:p>
        </p:txBody>
      </p:sp>
      <p:sp>
        <p:nvSpPr>
          <p:cNvPr id="4" name="Picture Placeholder 3"/>
          <p:cNvSpPr>
            <a:spLocks noGrp="1"/>
          </p:cNvSpPr>
          <p:nvPr>
            <p:ph type="pic" sz="quarter" idx="13" hasCustomPrompt="1"/>
          </p:nvPr>
        </p:nvSpPr>
        <p:spPr>
          <a:xfrm>
            <a:off x="6672064" y="1560512"/>
            <a:ext cx="5519936" cy="4433639"/>
          </a:xfrm>
          <a:ln>
            <a:noFill/>
          </a:ln>
        </p:spPr>
        <p:txBody>
          <a:bodyPr anchor="ctr"/>
          <a:lstStyle>
            <a:lvl1pPr marL="457200" indent="-457200" algn="ctr">
              <a:buFont typeface="Arial" panose="020B0604020202090204" pitchFamily="34" charset="0"/>
              <a:buChar char="•"/>
              <a:defRPr sz="2000"/>
            </a:lvl1pPr>
          </a:lstStyle>
          <a:p>
            <a:r>
              <a:rPr lang="id-ID"/>
              <a:t>Picture </a:t>
            </a:r>
            <a:r>
              <a:rPr lang="en-US"/>
              <a:t>ratio </a:t>
            </a:r>
            <a:r>
              <a:rPr lang="id-ID"/>
              <a:t>4:3</a:t>
            </a:r>
          </a:p>
        </p:txBody>
      </p:sp>
      <p:sp>
        <p:nvSpPr>
          <p:cNvPr id="5" name="Footer Placeholder 4"/>
          <p:cNvSpPr>
            <a:spLocks noGrp="1"/>
          </p:cNvSpPr>
          <p:nvPr>
            <p:ph type="ftr" sz="quarter" idx="15"/>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ntent &amp; Picture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38444" y="1268413"/>
            <a:ext cx="5682081" cy="2160587"/>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dirty="0"/>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14pt/spc-exctly22pt</a:t>
            </a:r>
            <a:endParaRPr lang="id-ID" dirty="0"/>
          </a:p>
        </p:txBody>
      </p:sp>
      <p:sp>
        <p:nvSpPr>
          <p:cNvPr id="7" name="Text Placeholder 6"/>
          <p:cNvSpPr>
            <a:spLocks noGrp="1"/>
          </p:cNvSpPr>
          <p:nvPr>
            <p:ph type="body" sz="quarter" idx="15" hasCustomPrompt="1"/>
          </p:nvPr>
        </p:nvSpPr>
        <p:spPr>
          <a:xfrm>
            <a:off x="352424" y="1274618"/>
            <a:ext cx="5417200" cy="1454727"/>
          </a:xfrm>
        </p:spPr>
        <p:txBody>
          <a:bodyPr/>
          <a:lstStyle>
            <a:lvl1pPr marL="0" indent="0">
              <a:lnSpc>
                <a:spcPct val="100000"/>
              </a:lnSpc>
              <a:spcBef>
                <a:spcPts val="1000"/>
              </a:spcBef>
              <a:buNone/>
              <a:defRPr b="0" i="0">
                <a:solidFill>
                  <a:schemeClr val="accent2"/>
                </a:solidFill>
                <a:latin typeface="Gotham Medium" charset="0"/>
                <a:ea typeface="Gotham Medium" charset="0"/>
                <a:cs typeface="Gotham Medium" charset="0"/>
              </a:defRPr>
            </a:lvl1pPr>
          </a:lstStyle>
          <a:p>
            <a:pPr lvl="0"/>
            <a:r>
              <a:rPr lang="en-US" dirty="0"/>
              <a:t>Click to edit Title text with. some pictures, maximum is three lines.</a:t>
            </a:r>
            <a:endParaRPr lang="id-ID" dirty="0"/>
          </a:p>
        </p:txBody>
      </p:sp>
      <p:sp>
        <p:nvSpPr>
          <p:cNvPr id="4" name="Picture Placeholder 3"/>
          <p:cNvSpPr>
            <a:spLocks noGrp="1"/>
          </p:cNvSpPr>
          <p:nvPr>
            <p:ph type="pic" sz="quarter" idx="13" hasCustomPrompt="1"/>
          </p:nvPr>
        </p:nvSpPr>
        <p:spPr>
          <a:xfrm>
            <a:off x="-3916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19" name="Picture Placeholder 3"/>
          <p:cNvSpPr>
            <a:spLocks noGrp="1"/>
          </p:cNvSpPr>
          <p:nvPr>
            <p:ph type="pic" sz="quarter" idx="16" hasCustomPrompt="1"/>
          </p:nvPr>
        </p:nvSpPr>
        <p:spPr>
          <a:xfrm>
            <a:off x="404612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20" name="Picture Placeholder 3"/>
          <p:cNvSpPr>
            <a:spLocks noGrp="1"/>
          </p:cNvSpPr>
          <p:nvPr>
            <p:ph type="pic" sz="quarter" idx="17" hasCustomPrompt="1"/>
          </p:nvPr>
        </p:nvSpPr>
        <p:spPr>
          <a:xfrm>
            <a:off x="813140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a:t>
            </a:r>
            <a:r>
              <a:rPr lang="id-ID"/>
              <a:t> 4:3</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amp; Mix Preview">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352423" y="1274619"/>
            <a:ext cx="5599561" cy="1002254"/>
          </a:xfrm>
        </p:spPr>
        <p:txBody>
          <a:bodyPr/>
          <a:lstStyle>
            <a:lvl1pPr marL="0" indent="0">
              <a:lnSpc>
                <a:spcPct val="100000"/>
              </a:lnSpc>
              <a:spcBef>
                <a:spcPts val="1000"/>
              </a:spcBef>
              <a:buNone/>
              <a:defRPr sz="2800" b="0" i="0">
                <a:solidFill>
                  <a:schemeClr val="accent2"/>
                </a:solidFill>
                <a:latin typeface="Gotham Medium" charset="0"/>
                <a:ea typeface="Gotham Medium" charset="0"/>
                <a:cs typeface="Gotham Medium" charset="0"/>
              </a:defRPr>
            </a:lvl1pPr>
          </a:lstStyle>
          <a:p>
            <a:pPr lvl="0"/>
            <a:r>
              <a:rPr lang="en-US" dirty="0"/>
              <a:t>Click to edit Title text, maximum is two lines.</a:t>
            </a:r>
            <a:endParaRPr lang="id-ID" dirty="0"/>
          </a:p>
        </p:txBody>
      </p:sp>
      <p:sp>
        <p:nvSpPr>
          <p:cNvPr id="3" name="Subtitle 2"/>
          <p:cNvSpPr>
            <a:spLocks noGrp="1"/>
          </p:cNvSpPr>
          <p:nvPr>
            <p:ph type="subTitle" idx="1" hasCustomPrompt="1"/>
          </p:nvPr>
        </p:nvSpPr>
        <p:spPr>
          <a:xfrm>
            <a:off x="367881" y="2528876"/>
            <a:ext cx="5584104" cy="1764220"/>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dirty="0"/>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14pt/spc-exctly22pt</a:t>
            </a:r>
            <a:endParaRPr lang="id-ID" dirty="0"/>
          </a:p>
        </p:txBody>
      </p:sp>
      <p:sp>
        <p:nvSpPr>
          <p:cNvPr id="5" name="Chart Placeholder 4"/>
          <p:cNvSpPr>
            <a:spLocks noGrp="1"/>
          </p:cNvSpPr>
          <p:nvPr>
            <p:ph type="chart" sz="quarter" idx="16"/>
          </p:nvPr>
        </p:nvSpPr>
        <p:spPr>
          <a:xfrm>
            <a:off x="379358" y="4469517"/>
            <a:ext cx="3536610" cy="1810691"/>
          </a:xfrm>
        </p:spPr>
        <p:txBody>
          <a:bodyPr anchor="ctr"/>
          <a:lstStyle>
            <a:lvl1pPr algn="ctr">
              <a:defRPr sz="2400"/>
            </a:lvl1pPr>
          </a:lstStyle>
          <a:p>
            <a:endParaRPr lang="id-ID"/>
          </a:p>
        </p:txBody>
      </p:sp>
      <p:sp>
        <p:nvSpPr>
          <p:cNvPr id="8" name="Picture Placeholder 7"/>
          <p:cNvSpPr>
            <a:spLocks noGrp="1"/>
          </p:cNvSpPr>
          <p:nvPr>
            <p:ph type="pic" sz="quarter" idx="17" hasCustomPrompt="1"/>
          </p:nvPr>
        </p:nvSpPr>
        <p:spPr>
          <a:xfrm>
            <a:off x="6664803" y="1047314"/>
            <a:ext cx="5133982" cy="3837077"/>
          </a:xfrm>
        </p:spPr>
        <p:txBody>
          <a:bodyPr anchor="ctr"/>
          <a:lstStyle>
            <a:lvl1pPr algn="ctr">
              <a:defRPr sz="1600" baseline="0"/>
            </a:lvl1pPr>
          </a:lstStyle>
          <a:p>
            <a:r>
              <a:rPr lang="id-ID"/>
              <a:t>Picture ratio 4:3</a:t>
            </a:r>
          </a:p>
        </p:txBody>
      </p:sp>
      <p:sp>
        <p:nvSpPr>
          <p:cNvPr id="18" name="Picture Placeholder 7"/>
          <p:cNvSpPr>
            <a:spLocks noGrp="1"/>
          </p:cNvSpPr>
          <p:nvPr>
            <p:ph type="pic" sz="quarter" idx="18" hasCustomPrompt="1"/>
          </p:nvPr>
        </p:nvSpPr>
        <p:spPr>
          <a:xfrm>
            <a:off x="6664803" y="4973901"/>
            <a:ext cx="2536725" cy="1884099"/>
          </a:xfrm>
        </p:spPr>
        <p:txBody>
          <a:bodyPr anchor="ctr"/>
          <a:lstStyle>
            <a:lvl1pPr algn="ctr">
              <a:defRPr sz="1600"/>
            </a:lvl1pPr>
          </a:lstStyle>
          <a:p>
            <a:r>
              <a:rPr lang="id-ID"/>
              <a:t>Picture ratio 4:3</a:t>
            </a:r>
          </a:p>
        </p:txBody>
      </p:sp>
      <p:sp>
        <p:nvSpPr>
          <p:cNvPr id="21" name="Picture Placeholder 7"/>
          <p:cNvSpPr>
            <a:spLocks noGrp="1"/>
          </p:cNvSpPr>
          <p:nvPr>
            <p:ph type="pic" sz="quarter" idx="19" hasCustomPrompt="1"/>
          </p:nvPr>
        </p:nvSpPr>
        <p:spPr>
          <a:xfrm>
            <a:off x="9263444" y="4973901"/>
            <a:ext cx="2536725" cy="1884099"/>
          </a:xfr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90204"/>
              <a:buChar char="•"/>
              <a:defRPr sz="1600"/>
            </a:lvl1pPr>
          </a:lstStyle>
          <a:p>
            <a:r>
              <a:rPr lang="id-ID"/>
              <a:t>Picture ratio 4:3</a:t>
            </a: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dirty="0"/>
            </a:br>
            <a:r>
              <a:rPr lang="en-US" dirty="0"/>
              <a:t>Click to edit Title text</a:t>
            </a:r>
            <a:endParaRPr lang="id-ID" dirty="0"/>
          </a:p>
        </p:txBody>
      </p:sp>
      <p:sp>
        <p:nvSpPr>
          <p:cNvPr id="5" name="Text Placeholder 4"/>
          <p:cNvSpPr>
            <a:spLocks noGrp="1"/>
          </p:cNvSpPr>
          <p:nvPr>
            <p:ph type="body" sz="quarter" idx="3" hasCustomPrompt="1"/>
          </p:nvPr>
        </p:nvSpPr>
        <p:spPr>
          <a:xfrm>
            <a:off x="6172199" y="1681163"/>
            <a:ext cx="5648325"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 text styles</a:t>
            </a:r>
          </a:p>
        </p:txBody>
      </p:sp>
      <p:sp>
        <p:nvSpPr>
          <p:cNvPr id="6" name="Content Placeholder 5"/>
          <p:cNvSpPr>
            <a:spLocks noGrp="1"/>
          </p:cNvSpPr>
          <p:nvPr>
            <p:ph sz="quarter" idx="4" hasCustomPrompt="1"/>
          </p:nvPr>
        </p:nvSpPr>
        <p:spPr>
          <a:xfrm>
            <a:off x="6172199"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17" name="Footer Placeholder 1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9" name="Text Placeholder 4"/>
          <p:cNvSpPr>
            <a:spLocks noGrp="1"/>
          </p:cNvSpPr>
          <p:nvPr>
            <p:ph type="body" sz="quarter" idx="13" hasCustomPrompt="1"/>
          </p:nvPr>
        </p:nvSpPr>
        <p:spPr>
          <a:xfrm>
            <a:off x="353291" y="1681163"/>
            <a:ext cx="5636450"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 text styles</a:t>
            </a:r>
          </a:p>
        </p:txBody>
      </p:sp>
      <p:sp>
        <p:nvSpPr>
          <p:cNvPr id="21" name="Content Placeholder 5"/>
          <p:cNvSpPr>
            <a:spLocks noGrp="1"/>
          </p:cNvSpPr>
          <p:nvPr>
            <p:ph sz="quarter" idx="14" hasCustomPrompt="1"/>
          </p:nvPr>
        </p:nvSpPr>
        <p:spPr>
          <a:xfrm>
            <a:off x="341415"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15"/>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mp; Mix Pre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15" hasCustomPrompt="1"/>
          </p:nvPr>
        </p:nvSpPr>
        <p:spPr>
          <a:xfrm>
            <a:off x="352423" y="1274619"/>
            <a:ext cx="5599561" cy="1002254"/>
          </a:xfrm>
        </p:spPr>
        <p:txBody>
          <a:bodyPr/>
          <a:lstStyle>
            <a:lvl1pPr marL="0" indent="0">
              <a:lnSpc>
                <a:spcPct val="100000"/>
              </a:lnSpc>
              <a:spcBef>
                <a:spcPts val="1000"/>
              </a:spcBef>
              <a:buNone/>
              <a:defRPr sz="2400" b="0" i="0">
                <a:solidFill>
                  <a:schemeClr val="accent2"/>
                </a:solidFill>
                <a:latin typeface="+mj-lt"/>
                <a:ea typeface="+mn-ea"/>
                <a:cs typeface="+mn-cs"/>
              </a:defRPr>
            </a:lvl1pPr>
          </a:lstStyle>
          <a:p>
            <a:pPr lvl="0"/>
            <a:r>
              <a:rPr lang="en-US"/>
              <a:t>Click to edit Title text, maximum is two lines.</a:t>
            </a:r>
            <a:endParaRPr lang="id-ID"/>
          </a:p>
        </p:txBody>
      </p:sp>
      <p:sp>
        <p:nvSpPr>
          <p:cNvPr id="3" name="Subtitle 2"/>
          <p:cNvSpPr>
            <a:spLocks noGrp="1"/>
          </p:cNvSpPr>
          <p:nvPr>
            <p:ph type="subTitle" idx="1" hasCustomPrompt="1"/>
          </p:nvPr>
        </p:nvSpPr>
        <p:spPr>
          <a:xfrm>
            <a:off x="367881" y="2528876"/>
            <a:ext cx="5584104" cy="1764220"/>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14pt/spc-exctly22pt</a:t>
            </a:r>
            <a:endParaRPr lang="id-ID"/>
          </a:p>
        </p:txBody>
      </p:sp>
      <p:sp>
        <p:nvSpPr>
          <p:cNvPr id="5" name="Chart Placeholder 4"/>
          <p:cNvSpPr>
            <a:spLocks noGrp="1"/>
          </p:cNvSpPr>
          <p:nvPr>
            <p:ph type="chart" sz="quarter" idx="16"/>
          </p:nvPr>
        </p:nvSpPr>
        <p:spPr>
          <a:xfrm>
            <a:off x="379358" y="4469517"/>
            <a:ext cx="3536610" cy="1810691"/>
          </a:xfrm>
        </p:spPr>
        <p:txBody>
          <a:bodyPr anchor="ctr"/>
          <a:lstStyle>
            <a:lvl1pPr algn="ctr">
              <a:defRPr sz="2400"/>
            </a:lvl1pPr>
          </a:lstStyle>
          <a:p>
            <a:endParaRPr lang="id-ID"/>
          </a:p>
        </p:txBody>
      </p:sp>
      <p:sp>
        <p:nvSpPr>
          <p:cNvPr id="8" name="Picture Placeholder 7"/>
          <p:cNvSpPr>
            <a:spLocks noGrp="1"/>
          </p:cNvSpPr>
          <p:nvPr>
            <p:ph type="pic" sz="quarter" idx="17" hasCustomPrompt="1"/>
          </p:nvPr>
        </p:nvSpPr>
        <p:spPr>
          <a:xfrm>
            <a:off x="6664803" y="1047314"/>
            <a:ext cx="5133982" cy="3837077"/>
          </a:xfrm>
        </p:spPr>
        <p:txBody>
          <a:bodyPr anchor="ctr"/>
          <a:lstStyle>
            <a:lvl1pPr algn="ctr">
              <a:defRPr sz="1600" baseline="0">
                <a:latin typeface="+mn-lt"/>
                <a:ea typeface="+mn-ea"/>
                <a:cs typeface="+mn-cs"/>
              </a:defRPr>
            </a:lvl1pPr>
          </a:lstStyle>
          <a:p>
            <a:r>
              <a:rPr lang="id-ID"/>
              <a:t>Picture ratio 4:3</a:t>
            </a:r>
          </a:p>
        </p:txBody>
      </p:sp>
      <p:sp>
        <p:nvSpPr>
          <p:cNvPr id="18" name="Picture Placeholder 7"/>
          <p:cNvSpPr>
            <a:spLocks noGrp="1"/>
          </p:cNvSpPr>
          <p:nvPr>
            <p:ph type="pic" sz="quarter" idx="18" hasCustomPrompt="1"/>
          </p:nvPr>
        </p:nvSpPr>
        <p:spPr>
          <a:xfrm>
            <a:off x="6664803" y="4973901"/>
            <a:ext cx="2536725" cy="1884099"/>
          </a:xfrm>
        </p:spPr>
        <p:txBody>
          <a:bodyPr anchor="ctr"/>
          <a:lstStyle>
            <a:lvl1pPr algn="ctr">
              <a:defRPr sz="1600">
                <a:latin typeface="+mn-lt"/>
                <a:ea typeface="+mn-ea"/>
                <a:cs typeface="+mn-cs"/>
              </a:defRPr>
            </a:lvl1pPr>
          </a:lstStyle>
          <a:p>
            <a:r>
              <a:rPr lang="id-ID"/>
              <a:t>Picture ratio 4:3</a:t>
            </a:r>
          </a:p>
        </p:txBody>
      </p:sp>
      <p:sp>
        <p:nvSpPr>
          <p:cNvPr id="21" name="Picture Placeholder 7"/>
          <p:cNvSpPr>
            <a:spLocks noGrp="1"/>
          </p:cNvSpPr>
          <p:nvPr>
            <p:ph type="pic" sz="quarter" idx="19" hasCustomPrompt="1"/>
          </p:nvPr>
        </p:nvSpPr>
        <p:spPr>
          <a:xfrm>
            <a:off x="9263444" y="4973901"/>
            <a:ext cx="2536725" cy="1884099"/>
          </a:xfr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90204"/>
              <a:buChar char="•"/>
              <a:defRPr sz="1600">
                <a:latin typeface="+mn-lt"/>
                <a:ea typeface="+mn-ea"/>
                <a:cs typeface="+mn-cs"/>
              </a:defRPr>
            </a:lvl1pPr>
          </a:lstStyle>
          <a:p>
            <a:r>
              <a:rPr lang="id-ID"/>
              <a:t>Picture ratio 4:3</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dirty="0"/>
            </a:br>
            <a:r>
              <a:rPr lang="en-US" dirty="0"/>
              <a:t>Click to edit Title text</a:t>
            </a:r>
            <a:endParaRPr lang="id-ID" dirty="0"/>
          </a:p>
        </p:txBody>
      </p:sp>
      <p:sp>
        <p:nvSpPr>
          <p:cNvPr id="3" name="Content Placeholder 2"/>
          <p:cNvSpPr>
            <a:spLocks noGrp="1"/>
          </p:cNvSpPr>
          <p:nvPr>
            <p:ph sz="half" idx="1" hasCustomPrompt="1"/>
          </p:nvPr>
        </p:nvSpPr>
        <p:spPr>
          <a:xfrm>
            <a:off x="334963" y="1704977"/>
            <a:ext cx="5684837"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4" name="Content Placeholder 3"/>
          <p:cNvSpPr>
            <a:spLocks noGrp="1"/>
          </p:cNvSpPr>
          <p:nvPr>
            <p:ph sz="half" idx="2" hasCustomPrompt="1"/>
          </p:nvPr>
        </p:nvSpPr>
        <p:spPr>
          <a:xfrm>
            <a:off x="6172200" y="1704977"/>
            <a:ext cx="5648324"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9" name="Footer Placeholder 8"/>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1" name="Date Placeholder 3"/>
          <p:cNvSpPr>
            <a:spLocks noGrp="1"/>
          </p:cNvSpPr>
          <p:nvPr>
            <p:ph type="dt" sz="half" idx="1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2"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lvl1pPr>
              <a:defRPr>
                <a:solidFill>
                  <a:schemeClr val="accent1"/>
                </a:solidFill>
              </a:defRPr>
            </a:lvl1pPr>
          </a:lstStyle>
          <a:p>
            <a:br>
              <a:rPr lang="en-US" dirty="0"/>
            </a:br>
            <a:r>
              <a:rPr lang="en-US" dirty="0"/>
              <a:t>Click to edit Title custom layout</a:t>
            </a:r>
            <a:endParaRPr lang="id-ID" dirty="0"/>
          </a:p>
        </p:txBody>
      </p:sp>
      <p:sp>
        <p:nvSpPr>
          <p:cNvPr id="7" name="Footer Placeholder 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amp; Coloums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p>
            <a:br>
              <a:rPr lang="en-US" dirty="0"/>
            </a:br>
            <a:r>
              <a:rPr lang="en-US" dirty="0"/>
              <a:t>Click to edit Title text. Ex. Strategy</a:t>
            </a:r>
            <a:endParaRPr lang="id-ID" dirty="0"/>
          </a:p>
        </p:txBody>
      </p:sp>
      <p:sp>
        <p:nvSpPr>
          <p:cNvPr id="10" name="Text Placeholder 9"/>
          <p:cNvSpPr>
            <a:spLocks noGrp="1"/>
          </p:cNvSpPr>
          <p:nvPr>
            <p:ph type="body" sz="quarter" idx="14" hasCustomPrompt="1"/>
          </p:nvPr>
        </p:nvSpPr>
        <p:spPr>
          <a:xfrm>
            <a:off x="334962" y="1604590"/>
            <a:ext cx="11485563" cy="720081"/>
          </a:xfrm>
        </p:spPr>
        <p:txBody>
          <a:bodyPr/>
          <a:lstStyle>
            <a:lvl1pPr marL="0" indent="0" algn="ctr">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Click to edit Master text</a:t>
            </a:r>
          </a:p>
        </p:txBody>
      </p:sp>
      <p:sp>
        <p:nvSpPr>
          <p:cNvPr id="12" name="Text Placeholder 11"/>
          <p:cNvSpPr>
            <a:spLocks noGrp="1"/>
          </p:cNvSpPr>
          <p:nvPr>
            <p:ph type="body" sz="quarter" idx="15" hasCustomPrompt="1"/>
          </p:nvPr>
        </p:nvSpPr>
        <p:spPr>
          <a:xfrm>
            <a:off x="334963" y="2777924"/>
            <a:ext cx="3384277"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3" name="Text Placeholder 11"/>
          <p:cNvSpPr>
            <a:spLocks noGrp="1"/>
          </p:cNvSpPr>
          <p:nvPr>
            <p:ph type="body" sz="quarter" idx="16" hasCustomPrompt="1"/>
          </p:nvPr>
        </p:nvSpPr>
        <p:spPr>
          <a:xfrm>
            <a:off x="4223792" y="2777924"/>
            <a:ext cx="3744416"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4" name="Text Placeholder 11"/>
          <p:cNvSpPr>
            <a:spLocks noGrp="1"/>
          </p:cNvSpPr>
          <p:nvPr>
            <p:ph type="body" sz="quarter" idx="17" hasCustomPrompt="1"/>
          </p:nvPr>
        </p:nvSpPr>
        <p:spPr>
          <a:xfrm>
            <a:off x="8399736" y="2777924"/>
            <a:ext cx="3420789" cy="795167"/>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2.</a:t>
            </a:r>
            <a:endParaRPr lang="id-ID" dirty="0"/>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3.</a:t>
            </a:r>
            <a:endParaRPr lang="id-ID" dirty="0"/>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4.</a:t>
            </a:r>
            <a:endParaRPr lang="id-ID" dirty="0"/>
          </a:p>
        </p:txBody>
      </p:sp>
      <p:sp>
        <p:nvSpPr>
          <p:cNvPr id="20" name="Text Placeholder 11"/>
          <p:cNvSpPr>
            <a:spLocks noGrp="1"/>
          </p:cNvSpPr>
          <p:nvPr>
            <p:ph type="body" sz="quarter" idx="22" hasCustomPrompt="1"/>
          </p:nvPr>
        </p:nvSpPr>
        <p:spPr>
          <a:xfrm>
            <a:off x="7438813" y="3691633"/>
            <a:ext cx="673409"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5.</a:t>
            </a:r>
            <a:endParaRPr lang="id-ID" dirty="0"/>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a:p>
            <a:pPr lvl="0"/>
            <a:r>
              <a:rPr lang="en-US" dirty="0"/>
              <a:t>Sixth level</a:t>
            </a:r>
          </a:p>
          <a:p>
            <a:pPr lvl="0"/>
            <a:r>
              <a:rPr lang="en-US" dirty="0"/>
              <a:t>Seventh level</a:t>
            </a:r>
            <a:endParaRPr lang="id-ID" dirty="0"/>
          </a:p>
        </p:txBody>
      </p:sp>
      <p:sp>
        <p:nvSpPr>
          <p:cNvPr id="28" name="Text Placeholder 11"/>
          <p:cNvSpPr>
            <a:spLocks noGrp="1"/>
          </p:cNvSpPr>
          <p:nvPr>
            <p:ph type="body" sz="quarter" idx="29" hasCustomPrompt="1"/>
          </p:nvPr>
        </p:nvSpPr>
        <p:spPr>
          <a:xfrm>
            <a:off x="334962" y="3691633"/>
            <a:ext cx="78923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1.</a:t>
            </a:r>
            <a:endParaRPr lang="id-ID" dirty="0"/>
          </a:p>
        </p:txBody>
      </p:sp>
      <p:cxnSp>
        <p:nvCxnSpPr>
          <p:cNvPr id="32" name="Straight Connector 31"/>
          <p:cNvCxnSpPr/>
          <p:nvPr userDrawn="1"/>
        </p:nvCxnSpPr>
        <p:spPr>
          <a:xfrm flipV="1">
            <a:off x="200170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flipV="1">
            <a:off x="379054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V="1">
            <a:off x="5546062"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V="1">
            <a:off x="7328784"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a:off x="9056012" y="40720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a:off x="9056012" y="44498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9056012" y="483525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9056012" y="5198151"/>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9056012" y="5551140"/>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9056012" y="591537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3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 &amp; Coloums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11485562" cy="717313"/>
          </a:xfrm>
        </p:spPr>
        <p:txBody>
          <a:bodyPr/>
          <a:lstStyle>
            <a:lvl1pPr>
              <a:defRPr/>
            </a:lvl1pPr>
          </a:lstStyle>
          <a:p>
            <a:br>
              <a:rPr lang="en-US" dirty="0"/>
            </a:br>
            <a:r>
              <a:rPr lang="en-US" dirty="0"/>
              <a:t>Click to edit Title text. Ex. Strategy</a:t>
            </a:r>
            <a:endParaRPr lang="id-ID" dirty="0"/>
          </a:p>
        </p:txBody>
      </p:sp>
      <p:sp>
        <p:nvSpPr>
          <p:cNvPr id="10" name="Text Placeholder 9"/>
          <p:cNvSpPr>
            <a:spLocks noGrp="1"/>
          </p:cNvSpPr>
          <p:nvPr>
            <p:ph type="body" sz="quarter" idx="14" hasCustomPrompt="1"/>
          </p:nvPr>
        </p:nvSpPr>
        <p:spPr>
          <a:xfrm>
            <a:off x="332913" y="1604182"/>
            <a:ext cx="11487612" cy="720081"/>
          </a:xfrm>
        </p:spPr>
        <p:txBody>
          <a:bodyPr/>
          <a:lstStyle>
            <a:lvl1pPr marL="0" indent="0" algn="ctr">
              <a:buNone/>
              <a:defRPr sz="4000" b="1" i="0">
                <a:solidFill>
                  <a:schemeClr val="accent2"/>
                </a:solidFill>
                <a:latin typeface="Gotham Bold" pitchFamily="2" charset="0"/>
                <a:ea typeface="Gotham Bold" pitchFamily="2" charset="0"/>
                <a:cs typeface="Gotham Bold" pitchFamily="2"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MINING INDUSTRY INDONESIA</a:t>
            </a:r>
          </a:p>
        </p:txBody>
      </p:sp>
      <p:sp>
        <p:nvSpPr>
          <p:cNvPr id="12" name="Text Placeholder 11"/>
          <p:cNvSpPr>
            <a:spLocks noGrp="1"/>
          </p:cNvSpPr>
          <p:nvPr>
            <p:ph type="body" sz="quarter" idx="15" hasCustomPrompt="1"/>
          </p:nvPr>
        </p:nvSpPr>
        <p:spPr>
          <a:xfrm>
            <a:off x="332913" y="2780928"/>
            <a:ext cx="3386328"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3" name="Text Placeholder 11"/>
          <p:cNvSpPr>
            <a:spLocks noGrp="1"/>
          </p:cNvSpPr>
          <p:nvPr>
            <p:ph type="body" sz="quarter" idx="16" hasCustomPrompt="1"/>
          </p:nvPr>
        </p:nvSpPr>
        <p:spPr>
          <a:xfrm>
            <a:off x="4223792" y="2780928"/>
            <a:ext cx="3744416" cy="792163"/>
          </a:xfrm>
        </p:spPr>
        <p:txBody>
          <a:bodyPr rIns="0" bIns="0" anchor="ctr" anchorCtr="0"/>
          <a:lstStyle>
            <a:lvl1pPr marL="0" indent="0" algn="ctr">
              <a:lnSpc>
                <a:spcPct val="100000"/>
              </a:lnSpc>
              <a:buNone/>
              <a:defRPr sz="1800" b="0" i="0" baseline="0">
                <a:solidFill>
                  <a:schemeClr val="accent2"/>
                </a:solidFill>
                <a:latin typeface="Gotham Medium" charset="0"/>
                <a:ea typeface="Gotham Medium" charset="0"/>
                <a:cs typeface="Gotham Medium" charset="0"/>
              </a:defRPr>
            </a:lvl1pPr>
          </a:lstStyle>
          <a:p>
            <a:pPr lvl="0"/>
            <a:r>
              <a:rPr lang="en-US" dirty="0"/>
              <a:t>PENGEMBANGAN BISNIS HILIRISASI</a:t>
            </a:r>
            <a:endParaRPr lang="id-ID" dirty="0"/>
          </a:p>
        </p:txBody>
      </p:sp>
      <p:sp>
        <p:nvSpPr>
          <p:cNvPr id="14" name="Text Placeholder 11"/>
          <p:cNvSpPr>
            <a:spLocks noGrp="1"/>
          </p:cNvSpPr>
          <p:nvPr>
            <p:ph type="body" sz="quarter" idx="17" hasCustomPrompt="1"/>
          </p:nvPr>
        </p:nvSpPr>
        <p:spPr>
          <a:xfrm>
            <a:off x="8399736" y="2780928"/>
            <a:ext cx="3420789" cy="792163"/>
          </a:xfrm>
        </p:spPr>
        <p:txBody>
          <a:bodyPr rIns="0" bIns="0" anchor="ctr" anchorCtr="0"/>
          <a:lstStyle>
            <a:lvl1pPr marL="0" indent="0" algn="ctr">
              <a:lnSpc>
                <a:spcPct val="100000"/>
              </a:lnSpc>
              <a:buNone/>
              <a:defRPr sz="1800" b="0" i="0">
                <a:solidFill>
                  <a:schemeClr val="accent2"/>
                </a:solidFill>
                <a:latin typeface="Gotham Medium" charset="0"/>
                <a:ea typeface="Gotham Medium" charset="0"/>
                <a:cs typeface="Gotham Medium" charset="0"/>
              </a:defRPr>
            </a:lvl1pPr>
          </a:lstStyle>
          <a:p>
            <a:pPr lvl="0"/>
            <a:r>
              <a:rPr lang="en-US" dirty="0"/>
              <a:t>CLICK TO EDIT MASTER TEXT STYLES</a:t>
            </a:r>
            <a:endParaRPr lang="id-ID" dirty="0"/>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2.</a:t>
            </a:r>
            <a:endParaRPr lang="id-ID" dirty="0"/>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3.</a:t>
            </a:r>
            <a:endParaRPr lang="id-ID" dirty="0"/>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4.</a:t>
            </a:r>
            <a:endParaRPr lang="id-ID" dirty="0"/>
          </a:p>
        </p:txBody>
      </p:sp>
      <p:sp>
        <p:nvSpPr>
          <p:cNvPr id="20" name="Text Placeholder 11"/>
          <p:cNvSpPr>
            <a:spLocks noGrp="1"/>
          </p:cNvSpPr>
          <p:nvPr>
            <p:ph type="body" sz="quarter" idx="22" hasCustomPrompt="1"/>
          </p:nvPr>
        </p:nvSpPr>
        <p:spPr>
          <a:xfrm>
            <a:off x="7438814" y="3691633"/>
            <a:ext cx="673410" cy="588268"/>
          </a:xfrm>
        </p:spPr>
        <p:txBody>
          <a:bodyPr anchor="t" anchorCtr="0"/>
          <a:lstStyle>
            <a:lvl1pPr marL="0" indent="0" algn="ctr">
              <a:lnSpc>
                <a:spcPct val="100000"/>
              </a:lnSpc>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5.</a:t>
            </a:r>
            <a:endParaRPr lang="id-ID" dirty="0"/>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a:p>
            <a:pPr lvl="0"/>
            <a:r>
              <a:rPr lang="en-US" dirty="0"/>
              <a:t>Sixth level</a:t>
            </a:r>
          </a:p>
          <a:p>
            <a:pPr lvl="0"/>
            <a:r>
              <a:rPr lang="en-US" dirty="0"/>
              <a:t>Seventh level</a:t>
            </a:r>
            <a:endParaRPr lang="id-ID" dirty="0"/>
          </a:p>
        </p:txBody>
      </p:sp>
      <p:sp>
        <p:nvSpPr>
          <p:cNvPr id="28" name="Text Placeholder 11"/>
          <p:cNvSpPr>
            <a:spLocks noGrp="1"/>
          </p:cNvSpPr>
          <p:nvPr>
            <p:ph type="body" sz="quarter" idx="29" hasCustomPrompt="1"/>
          </p:nvPr>
        </p:nvSpPr>
        <p:spPr>
          <a:xfrm>
            <a:off x="332912" y="3691633"/>
            <a:ext cx="791283" cy="588268"/>
          </a:xfrm>
        </p:spPr>
        <p:txBody>
          <a:bodyPr lIns="0"/>
          <a:lstStyle>
            <a:lvl1pPr marL="0" indent="0" algn="ctr">
              <a:lnSpc>
                <a:spcPct val="100000"/>
              </a:lnSpc>
              <a:spcBef>
                <a:spcPts val="0"/>
              </a:spcBef>
              <a:buNone/>
              <a:defRPr sz="4400" b="1" i="0">
                <a:solidFill>
                  <a:schemeClr val="tx1">
                    <a:lumMod val="50000"/>
                    <a:lumOff val="50000"/>
                  </a:schemeClr>
                </a:solidFill>
                <a:latin typeface="Gotham Bold" pitchFamily="2" charset="0"/>
                <a:ea typeface="Gotham Bold" pitchFamily="2" charset="0"/>
                <a:cs typeface="Gotham Bold" pitchFamily="2" charset="0"/>
              </a:defRPr>
            </a:lvl1pPr>
          </a:lstStyle>
          <a:p>
            <a:pPr lvl="0"/>
            <a:r>
              <a:rPr lang="en-US" dirty="0"/>
              <a:t>1.</a:t>
            </a:r>
            <a:endParaRPr lang="id-ID" dirty="0"/>
          </a:p>
        </p:txBody>
      </p:sp>
      <p:sp>
        <p:nvSpPr>
          <p:cNvPr id="21"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29"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ntent &amp; Coloums Mix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dirty="0"/>
            </a:br>
            <a:r>
              <a:rPr lang="en-US" dirty="0"/>
              <a:t>Click to edit Title text. Ex. MIND ID Group</a:t>
            </a:r>
            <a:endParaRPr lang="id-ID" dirty="0"/>
          </a:p>
        </p:txBody>
      </p:sp>
      <p:sp>
        <p:nvSpPr>
          <p:cNvPr id="17" name="Picture Placeholder 4"/>
          <p:cNvSpPr>
            <a:spLocks noGrp="1"/>
          </p:cNvSpPr>
          <p:nvPr>
            <p:ph type="pic" sz="quarter" idx="35"/>
          </p:nvPr>
        </p:nvSpPr>
        <p:spPr>
          <a:xfrm>
            <a:off x="334962" y="3086301"/>
            <a:ext cx="1308101" cy="751562"/>
          </a:xfrm>
          <a:prstGeom prst="roundRect">
            <a:avLst>
              <a:gd name="adj" fmla="val 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1" name="Text Placeholder 21"/>
          <p:cNvSpPr>
            <a:spLocks noGrp="1"/>
          </p:cNvSpPr>
          <p:nvPr>
            <p:ph type="body" sz="quarter" idx="37"/>
          </p:nvPr>
        </p:nvSpPr>
        <p:spPr>
          <a:xfrm>
            <a:off x="33496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2" name="Picture Placeholder 4"/>
          <p:cNvSpPr>
            <a:spLocks noGrp="1"/>
          </p:cNvSpPr>
          <p:nvPr>
            <p:ph type="pic" sz="quarter" idx="38"/>
          </p:nvPr>
        </p:nvSpPr>
        <p:spPr>
          <a:xfrm>
            <a:off x="2031206" y="3086301"/>
            <a:ext cx="1308101" cy="751562"/>
          </a:xfrm>
          <a:prstGeom prst="roundRect">
            <a:avLst>
              <a:gd name="adj" fmla="val 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5" name="Text Placeholder 21"/>
          <p:cNvSpPr>
            <a:spLocks noGrp="1"/>
          </p:cNvSpPr>
          <p:nvPr>
            <p:ph type="body" sz="quarter" idx="40"/>
          </p:nvPr>
        </p:nvSpPr>
        <p:spPr>
          <a:xfrm>
            <a:off x="2031206"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Picture Placeholder 4"/>
          <p:cNvSpPr>
            <a:spLocks noGrp="1"/>
          </p:cNvSpPr>
          <p:nvPr>
            <p:ph type="pic" sz="quarter" idx="41"/>
          </p:nvPr>
        </p:nvSpPr>
        <p:spPr>
          <a:xfrm>
            <a:off x="3727450" y="3086301"/>
            <a:ext cx="1308101" cy="751562"/>
          </a:xfrm>
          <a:prstGeom prst="roundRect">
            <a:avLst>
              <a:gd name="adj" fmla="val 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0" name="Picture Placeholder 4"/>
          <p:cNvSpPr>
            <a:spLocks noGrp="1"/>
          </p:cNvSpPr>
          <p:nvPr>
            <p:ph type="pic" sz="quarter" idx="44"/>
          </p:nvPr>
        </p:nvSpPr>
        <p:spPr>
          <a:xfrm>
            <a:off x="5423694" y="3086301"/>
            <a:ext cx="1308101" cy="751562"/>
          </a:xfrm>
          <a:prstGeom prst="roundRect">
            <a:avLst>
              <a:gd name="adj" fmla="val 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2" name="Text Placeholder 21"/>
          <p:cNvSpPr>
            <a:spLocks noGrp="1"/>
          </p:cNvSpPr>
          <p:nvPr>
            <p:ph type="body" sz="quarter" idx="46"/>
          </p:nvPr>
        </p:nvSpPr>
        <p:spPr>
          <a:xfrm>
            <a:off x="542369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3" name="Picture Placeholder 4"/>
          <p:cNvSpPr>
            <a:spLocks noGrp="1"/>
          </p:cNvSpPr>
          <p:nvPr>
            <p:ph type="pic" sz="quarter" idx="47"/>
          </p:nvPr>
        </p:nvSpPr>
        <p:spPr>
          <a:xfrm>
            <a:off x="7119938" y="3086301"/>
            <a:ext cx="1308101" cy="751562"/>
          </a:xfrm>
          <a:prstGeom prst="roundRect">
            <a:avLst>
              <a:gd name="adj" fmla="val 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5" name="Text Placeholder 21"/>
          <p:cNvSpPr>
            <a:spLocks noGrp="1"/>
          </p:cNvSpPr>
          <p:nvPr>
            <p:ph type="body" sz="quarter" idx="49"/>
          </p:nvPr>
        </p:nvSpPr>
        <p:spPr>
          <a:xfrm>
            <a:off x="7119938"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7" name="Picture Placeholder 4"/>
          <p:cNvSpPr>
            <a:spLocks noGrp="1"/>
          </p:cNvSpPr>
          <p:nvPr>
            <p:ph type="pic" sz="quarter" idx="50"/>
          </p:nvPr>
        </p:nvSpPr>
        <p:spPr>
          <a:xfrm>
            <a:off x="8816182" y="3086301"/>
            <a:ext cx="1308101" cy="751562"/>
          </a:xfrm>
          <a:prstGeom prst="roundRect">
            <a:avLst>
              <a:gd name="adj" fmla="val 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9" name="Text Placeholder 21"/>
          <p:cNvSpPr>
            <a:spLocks noGrp="1"/>
          </p:cNvSpPr>
          <p:nvPr>
            <p:ph type="body" sz="quarter" idx="52"/>
          </p:nvPr>
        </p:nvSpPr>
        <p:spPr>
          <a:xfrm>
            <a:off x="881618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0" name="Picture Placeholder 4"/>
          <p:cNvSpPr>
            <a:spLocks noGrp="1"/>
          </p:cNvSpPr>
          <p:nvPr>
            <p:ph type="pic" sz="quarter" idx="53"/>
          </p:nvPr>
        </p:nvSpPr>
        <p:spPr>
          <a:xfrm>
            <a:off x="10512424" y="3086301"/>
            <a:ext cx="1308101" cy="751562"/>
          </a:xfrm>
          <a:prstGeom prst="roundRect">
            <a:avLst>
              <a:gd name="adj" fmla="val 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1712608"/>
            <a:ext cx="1308101" cy="629156"/>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42" name="Text Placeholder 21"/>
          <p:cNvSpPr>
            <a:spLocks noGrp="1"/>
          </p:cNvSpPr>
          <p:nvPr>
            <p:ph type="body" sz="quarter" idx="55"/>
          </p:nvPr>
        </p:nvSpPr>
        <p:spPr>
          <a:xfrm>
            <a:off x="1051242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3" name="Text Placeholder 21"/>
          <p:cNvSpPr>
            <a:spLocks noGrp="1"/>
          </p:cNvSpPr>
          <p:nvPr>
            <p:ph type="body" sz="quarter" idx="56" hasCustomPrompt="1"/>
          </p:nvPr>
        </p:nvSpPr>
        <p:spPr>
          <a:xfrm>
            <a:off x="334961" y="5640779"/>
            <a:ext cx="11485564" cy="621798"/>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caption text </a:t>
            </a:r>
          </a:p>
        </p:txBody>
      </p:sp>
      <p:sp>
        <p:nvSpPr>
          <p:cNvPr id="44" name="Picture Placeholder 6"/>
          <p:cNvSpPr>
            <a:spLocks noGrp="1"/>
          </p:cNvSpPr>
          <p:nvPr>
            <p:ph type="pic" sz="quarter" idx="58"/>
          </p:nvPr>
        </p:nvSpPr>
        <p:spPr>
          <a:xfrm>
            <a:off x="2031383" y="2598788"/>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2598788"/>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2598788"/>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2598788"/>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2598788"/>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2598788"/>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2598788"/>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1712626"/>
            <a:ext cx="1308101" cy="629247"/>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ntent &amp; Coloums Mix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4700588" cy="717313"/>
          </a:xfrm>
        </p:spPr>
        <p:txBody>
          <a:bodyPr/>
          <a:lstStyle/>
          <a:p>
            <a:br>
              <a:rPr lang="en-US" dirty="0"/>
            </a:br>
            <a:r>
              <a:rPr lang="en-US" dirty="0"/>
              <a:t>Click to edit Title text. Ex. MIND ID Group</a:t>
            </a:r>
            <a:endParaRPr lang="id-ID" dirty="0"/>
          </a:p>
        </p:txBody>
      </p:sp>
      <p:pic>
        <p:nvPicPr>
          <p:cNvPr id="36" name="Picture 35"/>
          <p:cNvPicPr>
            <a:picLocks noChangeAspect="1"/>
          </p:cNvPicPr>
          <p:nvPr userDrawn="1"/>
        </p:nvPicPr>
        <p:blipFill>
          <a:blip r:embed="rId2"/>
          <a:stretch>
            <a:fillRect/>
          </a:stretch>
        </p:blipFill>
        <p:spPr>
          <a:xfrm>
            <a:off x="5534706" y="1090969"/>
            <a:ext cx="1122589" cy="324000"/>
          </a:xfrm>
          <a:prstGeom prst="rect">
            <a:avLst/>
          </a:prstGeom>
        </p:spPr>
      </p:pic>
      <p:sp>
        <p:nvSpPr>
          <p:cNvPr id="17" name="Picture Placeholder 4"/>
          <p:cNvSpPr>
            <a:spLocks noGrp="1"/>
          </p:cNvSpPr>
          <p:nvPr>
            <p:ph type="pic" sz="quarter" idx="35"/>
          </p:nvPr>
        </p:nvSpPr>
        <p:spPr>
          <a:xfrm>
            <a:off x="334962" y="3460974"/>
            <a:ext cx="1308101" cy="751562"/>
          </a:xfrm>
          <a:prstGeom prst="roundRect">
            <a:avLst>
              <a:gd name="adj" fmla="val 5000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1" name="Text Placeholder 21"/>
          <p:cNvSpPr>
            <a:spLocks noGrp="1"/>
          </p:cNvSpPr>
          <p:nvPr>
            <p:ph type="body" sz="quarter" idx="37"/>
          </p:nvPr>
        </p:nvSpPr>
        <p:spPr>
          <a:xfrm>
            <a:off x="33496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2" name="Picture Placeholder 4"/>
          <p:cNvSpPr>
            <a:spLocks noGrp="1"/>
          </p:cNvSpPr>
          <p:nvPr>
            <p:ph type="pic" sz="quarter" idx="38"/>
          </p:nvPr>
        </p:nvSpPr>
        <p:spPr>
          <a:xfrm>
            <a:off x="2031206" y="3460974"/>
            <a:ext cx="1308101" cy="751562"/>
          </a:xfrm>
          <a:prstGeom prst="roundRect">
            <a:avLst>
              <a:gd name="adj" fmla="val 5000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25" name="Text Placeholder 21"/>
          <p:cNvSpPr>
            <a:spLocks noGrp="1"/>
          </p:cNvSpPr>
          <p:nvPr>
            <p:ph type="body" sz="quarter" idx="40"/>
          </p:nvPr>
        </p:nvSpPr>
        <p:spPr>
          <a:xfrm>
            <a:off x="2031206"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26" name="Picture Placeholder 4"/>
          <p:cNvSpPr>
            <a:spLocks noGrp="1"/>
          </p:cNvSpPr>
          <p:nvPr>
            <p:ph type="pic" sz="quarter" idx="41"/>
          </p:nvPr>
        </p:nvSpPr>
        <p:spPr>
          <a:xfrm>
            <a:off x="3727450" y="3460974"/>
            <a:ext cx="1308101" cy="751562"/>
          </a:xfrm>
          <a:prstGeom prst="roundRect">
            <a:avLst>
              <a:gd name="adj" fmla="val 5000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0" name="Picture Placeholder 4"/>
          <p:cNvSpPr>
            <a:spLocks noGrp="1"/>
          </p:cNvSpPr>
          <p:nvPr>
            <p:ph type="pic" sz="quarter" idx="44"/>
          </p:nvPr>
        </p:nvSpPr>
        <p:spPr>
          <a:xfrm>
            <a:off x="5423694" y="3460974"/>
            <a:ext cx="1308101" cy="751562"/>
          </a:xfrm>
          <a:prstGeom prst="roundRect">
            <a:avLst>
              <a:gd name="adj" fmla="val 5000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2" name="Text Placeholder 21"/>
          <p:cNvSpPr>
            <a:spLocks noGrp="1"/>
          </p:cNvSpPr>
          <p:nvPr>
            <p:ph type="body" sz="quarter" idx="46"/>
          </p:nvPr>
        </p:nvSpPr>
        <p:spPr>
          <a:xfrm>
            <a:off x="542369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3" name="Picture Placeholder 4"/>
          <p:cNvSpPr>
            <a:spLocks noGrp="1"/>
          </p:cNvSpPr>
          <p:nvPr>
            <p:ph type="pic" sz="quarter" idx="47"/>
          </p:nvPr>
        </p:nvSpPr>
        <p:spPr>
          <a:xfrm>
            <a:off x="7119938" y="3460974"/>
            <a:ext cx="1308101" cy="751562"/>
          </a:xfrm>
          <a:prstGeom prst="roundRect">
            <a:avLst>
              <a:gd name="adj" fmla="val 5000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5" name="Text Placeholder 21"/>
          <p:cNvSpPr>
            <a:spLocks noGrp="1"/>
          </p:cNvSpPr>
          <p:nvPr>
            <p:ph type="body" sz="quarter" idx="49"/>
          </p:nvPr>
        </p:nvSpPr>
        <p:spPr>
          <a:xfrm>
            <a:off x="7119938"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37" name="Picture Placeholder 4"/>
          <p:cNvSpPr>
            <a:spLocks noGrp="1"/>
          </p:cNvSpPr>
          <p:nvPr>
            <p:ph type="pic" sz="quarter" idx="50"/>
          </p:nvPr>
        </p:nvSpPr>
        <p:spPr>
          <a:xfrm>
            <a:off x="8816182" y="3460974"/>
            <a:ext cx="1308101" cy="751562"/>
          </a:xfrm>
          <a:prstGeom prst="roundRect">
            <a:avLst>
              <a:gd name="adj" fmla="val 5000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9" name="Text Placeholder 21"/>
          <p:cNvSpPr>
            <a:spLocks noGrp="1"/>
          </p:cNvSpPr>
          <p:nvPr>
            <p:ph type="body" sz="quarter" idx="52"/>
          </p:nvPr>
        </p:nvSpPr>
        <p:spPr>
          <a:xfrm>
            <a:off x="881618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0" name="Picture Placeholder 4"/>
          <p:cNvSpPr>
            <a:spLocks noGrp="1"/>
          </p:cNvSpPr>
          <p:nvPr>
            <p:ph type="pic" sz="quarter" idx="53"/>
          </p:nvPr>
        </p:nvSpPr>
        <p:spPr>
          <a:xfrm>
            <a:off x="10512424" y="3460974"/>
            <a:ext cx="1308101" cy="751562"/>
          </a:xfrm>
          <a:prstGeom prst="roundRect">
            <a:avLst>
              <a:gd name="adj" fmla="val 5000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2124148"/>
            <a:ext cx="1308101" cy="770289"/>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42" name="Text Placeholder 21"/>
          <p:cNvSpPr>
            <a:spLocks noGrp="1"/>
          </p:cNvSpPr>
          <p:nvPr>
            <p:ph type="body" sz="quarter" idx="55"/>
          </p:nvPr>
        </p:nvSpPr>
        <p:spPr>
          <a:xfrm>
            <a:off x="1051242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endParaRPr lang="id-ID" dirty="0"/>
          </a:p>
        </p:txBody>
      </p:sp>
      <p:sp>
        <p:nvSpPr>
          <p:cNvPr id="43" name="Text Placeholder 21"/>
          <p:cNvSpPr>
            <a:spLocks noGrp="1"/>
          </p:cNvSpPr>
          <p:nvPr>
            <p:ph type="body" sz="quarter" idx="56" hasCustomPrompt="1"/>
          </p:nvPr>
        </p:nvSpPr>
        <p:spPr>
          <a:xfrm>
            <a:off x="334961" y="5890437"/>
            <a:ext cx="11485564" cy="372140"/>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Gotham Medium" charset="0"/>
                <a:cs typeface="Gotham Medium"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caption text </a:t>
            </a:r>
          </a:p>
        </p:txBody>
      </p:sp>
      <p:sp>
        <p:nvSpPr>
          <p:cNvPr id="44" name="Picture Placeholder 6"/>
          <p:cNvSpPr>
            <a:spLocks noGrp="1"/>
          </p:cNvSpPr>
          <p:nvPr>
            <p:ph type="pic" sz="quarter" idx="58"/>
          </p:nvPr>
        </p:nvSpPr>
        <p:spPr>
          <a:xfrm>
            <a:off x="2031383" y="3018669"/>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3018669"/>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3018669"/>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3018669"/>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3018669"/>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3018669"/>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3018669"/>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2124147"/>
            <a:ext cx="1308101" cy="770400"/>
          </a:xfrm>
          <a:prstGeom prst="roundRect">
            <a:avLst>
              <a:gd name="adj" fmla="val 50000"/>
            </a:avLst>
          </a:prstGeom>
          <a:solidFill>
            <a:schemeClr val="accent1"/>
          </a:solidFill>
        </p:spPr>
        <p:txBody>
          <a:bodyPr rIns="0" bIns="0" anchor="ctr" anchorCtr="0"/>
          <a:lstStyle>
            <a:lvl1pPr marL="0" indent="0" algn="ctr">
              <a:lnSpc>
                <a:spcPct val="100000"/>
              </a:lnSpc>
              <a:buNone/>
              <a:defRPr sz="1600" b="0" i="0">
                <a:solidFill>
                  <a:schemeClr val="bg1"/>
                </a:solidFill>
                <a:latin typeface="Gotham Medium" charset="0"/>
                <a:ea typeface="Gotham Medium" charset="0"/>
                <a:cs typeface="Gotham Medium" charset="0"/>
              </a:defRPr>
            </a:lvl1pPr>
          </a:lstStyle>
          <a:p>
            <a:pPr lvl="0"/>
            <a:r>
              <a:rPr lang="en-US" dirty="0"/>
              <a:t>100%</a:t>
            </a:r>
            <a:endParaRPr lang="id-ID" dirty="0"/>
          </a:p>
        </p:txBody>
      </p:sp>
      <p:sp>
        <p:nvSpPr>
          <p:cNvPr id="3" name="Date Placeholder 2"/>
          <p:cNvSpPr>
            <a:spLocks noGrp="1"/>
          </p:cNvSpPr>
          <p:nvPr>
            <p:ph type="dt" sz="half" idx="65"/>
          </p:nvPr>
        </p:nvSpPr>
        <p:spPr/>
        <p:txBody>
          <a:bodyPr/>
          <a:lstStyle/>
          <a:p>
            <a:r>
              <a:rPr lang="en-ID"/>
              <a:t>Thursday, 11 December 2021</a:t>
            </a:r>
            <a:endParaRPr lang="id-ID"/>
          </a:p>
        </p:txBody>
      </p:sp>
      <p:sp>
        <p:nvSpPr>
          <p:cNvPr id="4" name="Footer Placeholder 3"/>
          <p:cNvSpPr>
            <a:spLocks noGrp="1"/>
          </p:cNvSpPr>
          <p:nvPr>
            <p:ph type="ftr" sz="quarter" idx="66"/>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5" name="Slide Number Placeholder 4"/>
          <p:cNvSpPr>
            <a:spLocks noGrp="1"/>
          </p:cNvSpPr>
          <p:nvPr>
            <p:ph type="sldNum" sz="quarter" idx="67"/>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ntent &amp; Coloums Mix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8995965" cy="645305"/>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lvl1pPr>
              <a:defRPr>
                <a:solidFill>
                  <a:schemeClr val="bg1">
                    <a:lumMod val="85000"/>
                  </a:schemeClr>
                </a:solidFill>
              </a:defRPr>
            </a:lvl1pPr>
          </a:lstStyle>
          <a:p>
            <a:r>
              <a:rPr lang="en-ID"/>
              <a:t>Thursday, 11 December 2021</a:t>
            </a:r>
            <a:endParaRPr lang="id-ID"/>
          </a:p>
        </p:txBody>
      </p:sp>
      <p:sp>
        <p:nvSpPr>
          <p:cNvPr id="4" name="Slide Number Placeholder 3"/>
          <p:cNvSpPr>
            <a:spLocks noGrp="1"/>
          </p:cNvSpPr>
          <p:nvPr>
            <p:ph type="sldNum" sz="quarter" idx="11"/>
          </p:nvPr>
        </p:nvSpPr>
        <p:spPr/>
        <p:txBody>
          <a:bodyPr/>
          <a:lstStyle>
            <a:lvl1pPr>
              <a:defRPr>
                <a:solidFill>
                  <a:schemeClr val="bg1">
                    <a:lumMod val="85000"/>
                  </a:schemeClr>
                </a:solidFill>
              </a:defRPr>
            </a:lvl1p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lvl1pPr>
              <a:defRPr>
                <a:solidFill>
                  <a:schemeClr val="bg1">
                    <a:lumMod val="85000"/>
                  </a:schemeClr>
                </a:solidFill>
              </a:defRPr>
            </a:lvl1pPr>
          </a:lstStyle>
          <a:p>
            <a:pPr algn="l"/>
            <a:r>
              <a:rPr lang="en-US"/>
              <a:t>This presentation has been prepared specifically by MIND ID. The content of this presentation may not be used, duplicated or transmitted in any form without the written consent from MIND ID. All rights reserved.</a:t>
            </a:r>
          </a:p>
        </p:txBody>
      </p:sp>
      <p:sp>
        <p:nvSpPr>
          <p:cNvPr id="9" name="Picture Placeholder 6"/>
          <p:cNvSpPr>
            <a:spLocks noGrp="1"/>
          </p:cNvSpPr>
          <p:nvPr>
            <p:ph type="pic" sz="quarter" idx="59"/>
          </p:nvPr>
        </p:nvSpPr>
        <p:spPr>
          <a:xfrm>
            <a:off x="867648" y="1270000"/>
            <a:ext cx="2348032" cy="483228"/>
          </a:xfrm>
        </p:spPr>
        <p:txBody>
          <a:bodyPr anchor="ctr"/>
          <a:lstStyle>
            <a:lvl1pPr marL="0" indent="0" algn="ctr">
              <a:buNone/>
              <a:defRPr sz="1200"/>
            </a:lvl1pPr>
          </a:lstStyle>
          <a:p>
            <a:endParaRPr lang="id-ID"/>
          </a:p>
        </p:txBody>
      </p:sp>
      <p:sp>
        <p:nvSpPr>
          <p:cNvPr id="14" name="Text Placeholder 21"/>
          <p:cNvSpPr>
            <a:spLocks noGrp="1"/>
          </p:cNvSpPr>
          <p:nvPr>
            <p:ph type="body" sz="quarter" idx="63" hasCustomPrompt="1"/>
          </p:nvPr>
        </p:nvSpPr>
        <p:spPr>
          <a:xfrm>
            <a:off x="86764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15" name="Text Placeholder 21"/>
          <p:cNvSpPr>
            <a:spLocks noGrp="1"/>
          </p:cNvSpPr>
          <p:nvPr>
            <p:ph type="body" sz="quarter" idx="64" hasCustomPrompt="1"/>
          </p:nvPr>
        </p:nvSpPr>
        <p:spPr>
          <a:xfrm>
            <a:off x="86764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18" name="Text Placeholder 21"/>
          <p:cNvSpPr>
            <a:spLocks noGrp="1"/>
          </p:cNvSpPr>
          <p:nvPr>
            <p:ph type="body" sz="quarter" idx="65" hasCustomPrompt="1"/>
          </p:nvPr>
        </p:nvSpPr>
        <p:spPr>
          <a:xfrm>
            <a:off x="86764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en-US" dirty="0"/>
          </a:p>
        </p:txBody>
      </p:sp>
      <p:sp>
        <p:nvSpPr>
          <p:cNvPr id="19" name="Picture Placeholder 6"/>
          <p:cNvSpPr>
            <a:spLocks noGrp="1"/>
          </p:cNvSpPr>
          <p:nvPr>
            <p:ph type="pic" sz="quarter" idx="66"/>
          </p:nvPr>
        </p:nvSpPr>
        <p:spPr>
          <a:xfrm>
            <a:off x="3641328" y="1270000"/>
            <a:ext cx="2348032" cy="483228"/>
          </a:xfrm>
        </p:spPr>
        <p:txBody>
          <a:bodyPr anchor="ctr"/>
          <a:lstStyle>
            <a:lvl1pPr marL="0" indent="0" algn="ctr">
              <a:buNone/>
              <a:defRPr sz="1200"/>
            </a:lvl1pPr>
          </a:lstStyle>
          <a:p>
            <a:endParaRPr lang="id-ID"/>
          </a:p>
        </p:txBody>
      </p:sp>
      <p:sp>
        <p:nvSpPr>
          <p:cNvPr id="20" name="Text Placeholder 21"/>
          <p:cNvSpPr>
            <a:spLocks noGrp="1"/>
          </p:cNvSpPr>
          <p:nvPr>
            <p:ph type="body" sz="quarter" idx="67" hasCustomPrompt="1"/>
          </p:nvPr>
        </p:nvSpPr>
        <p:spPr>
          <a:xfrm>
            <a:off x="36413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21" name="Text Placeholder 21"/>
          <p:cNvSpPr>
            <a:spLocks noGrp="1"/>
          </p:cNvSpPr>
          <p:nvPr>
            <p:ph type="body" sz="quarter" idx="68" hasCustomPrompt="1"/>
          </p:nvPr>
        </p:nvSpPr>
        <p:spPr>
          <a:xfrm>
            <a:off x="36413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22" name="Text Placeholder 21"/>
          <p:cNvSpPr>
            <a:spLocks noGrp="1"/>
          </p:cNvSpPr>
          <p:nvPr>
            <p:ph type="body" sz="quarter" idx="69" hasCustomPrompt="1"/>
          </p:nvPr>
        </p:nvSpPr>
        <p:spPr>
          <a:xfrm>
            <a:off x="36413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dirty="0"/>
          </a:p>
        </p:txBody>
      </p:sp>
      <p:sp>
        <p:nvSpPr>
          <p:cNvPr id="27" name="Picture Placeholder 6"/>
          <p:cNvSpPr>
            <a:spLocks noGrp="1"/>
          </p:cNvSpPr>
          <p:nvPr>
            <p:ph type="pic" sz="quarter" idx="70"/>
          </p:nvPr>
        </p:nvSpPr>
        <p:spPr>
          <a:xfrm>
            <a:off x="6465808" y="1270000"/>
            <a:ext cx="2348032" cy="483228"/>
          </a:xfrm>
        </p:spPr>
        <p:txBody>
          <a:bodyPr anchor="ctr"/>
          <a:lstStyle>
            <a:lvl1pPr marL="0" indent="0" algn="ctr">
              <a:buNone/>
              <a:defRPr sz="1200"/>
            </a:lvl1pPr>
          </a:lstStyle>
          <a:p>
            <a:endParaRPr lang="id-ID"/>
          </a:p>
        </p:txBody>
      </p:sp>
      <p:sp>
        <p:nvSpPr>
          <p:cNvPr id="28" name="Text Placeholder 21"/>
          <p:cNvSpPr>
            <a:spLocks noGrp="1"/>
          </p:cNvSpPr>
          <p:nvPr>
            <p:ph type="body" sz="quarter" idx="71" hasCustomPrompt="1"/>
          </p:nvPr>
        </p:nvSpPr>
        <p:spPr>
          <a:xfrm>
            <a:off x="646580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29" name="Text Placeholder 21"/>
          <p:cNvSpPr>
            <a:spLocks noGrp="1"/>
          </p:cNvSpPr>
          <p:nvPr>
            <p:ph type="body" sz="quarter" idx="72" hasCustomPrompt="1"/>
          </p:nvPr>
        </p:nvSpPr>
        <p:spPr>
          <a:xfrm>
            <a:off x="646580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30" name="Text Placeholder 21"/>
          <p:cNvSpPr>
            <a:spLocks noGrp="1"/>
          </p:cNvSpPr>
          <p:nvPr>
            <p:ph type="body" sz="quarter" idx="73" hasCustomPrompt="1"/>
          </p:nvPr>
        </p:nvSpPr>
        <p:spPr>
          <a:xfrm>
            <a:off x="646580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dirty="0"/>
          </a:p>
        </p:txBody>
      </p:sp>
      <p:sp>
        <p:nvSpPr>
          <p:cNvPr id="31" name="Picture Placeholder 6"/>
          <p:cNvSpPr>
            <a:spLocks noGrp="1"/>
          </p:cNvSpPr>
          <p:nvPr>
            <p:ph type="pic" sz="quarter" idx="74"/>
          </p:nvPr>
        </p:nvSpPr>
        <p:spPr>
          <a:xfrm>
            <a:off x="9330928" y="1270000"/>
            <a:ext cx="2348032" cy="483228"/>
          </a:xfrm>
        </p:spPr>
        <p:txBody>
          <a:bodyPr anchor="ctr"/>
          <a:lstStyle>
            <a:lvl1pPr marL="0" indent="0" algn="ctr">
              <a:buNone/>
              <a:defRPr sz="1200"/>
            </a:lvl1pPr>
          </a:lstStyle>
          <a:p>
            <a:endParaRPr lang="id-ID"/>
          </a:p>
        </p:txBody>
      </p:sp>
      <p:sp>
        <p:nvSpPr>
          <p:cNvPr id="32" name="Text Placeholder 21"/>
          <p:cNvSpPr>
            <a:spLocks noGrp="1"/>
          </p:cNvSpPr>
          <p:nvPr>
            <p:ph type="body" sz="quarter" idx="75" hasCustomPrompt="1"/>
          </p:nvPr>
        </p:nvSpPr>
        <p:spPr>
          <a:xfrm>
            <a:off x="93309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dirty="0"/>
              <a:t> </a:t>
            </a:r>
            <a:endParaRPr lang="id-ID" dirty="0"/>
          </a:p>
        </p:txBody>
      </p:sp>
      <p:sp>
        <p:nvSpPr>
          <p:cNvPr id="33" name="Text Placeholder 21"/>
          <p:cNvSpPr>
            <a:spLocks noGrp="1"/>
          </p:cNvSpPr>
          <p:nvPr>
            <p:ph type="body" sz="quarter" idx="76" hasCustomPrompt="1"/>
          </p:nvPr>
        </p:nvSpPr>
        <p:spPr>
          <a:xfrm>
            <a:off x="93309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Gotham Bold" pitchFamily="2" charset="0"/>
                <a:cs typeface="Gotham Bold" pitchFamily="2" charset="0"/>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a:t>
            </a:r>
            <a:r>
              <a:rPr lang="en-US" dirty="0" err="1"/>
              <a:t>Hightlight</a:t>
            </a:r>
            <a:r>
              <a:rPr lang="en-US" dirty="0"/>
              <a:t> text styles. Ex. </a:t>
            </a:r>
            <a:r>
              <a:rPr lang="en-US" dirty="0" err="1"/>
              <a:t>Restrukturisasi</a:t>
            </a:r>
            <a:r>
              <a:rPr lang="en-US" dirty="0"/>
              <a:t> </a:t>
            </a:r>
            <a:r>
              <a:rPr lang="en-US" dirty="0" err="1"/>
              <a:t>Bisnis</a:t>
            </a:r>
            <a:endParaRPr lang="id-ID" dirty="0"/>
          </a:p>
        </p:txBody>
      </p:sp>
      <p:sp>
        <p:nvSpPr>
          <p:cNvPr id="34" name="Text Placeholder 21"/>
          <p:cNvSpPr>
            <a:spLocks noGrp="1"/>
          </p:cNvSpPr>
          <p:nvPr>
            <p:ph type="body" sz="quarter" idx="77" hasCustomPrompt="1"/>
          </p:nvPr>
        </p:nvSpPr>
        <p:spPr>
          <a:xfrm>
            <a:off x="93309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defRPr>
            </a:lvl1pPr>
            <a:lvl2pPr marL="506095" indent="0" algn="l">
              <a:lnSpc>
                <a:spcPts val="1400"/>
              </a:lnSpc>
              <a:spcBef>
                <a:spcPts val="0"/>
              </a:spcBef>
              <a:buNone/>
              <a:defRPr sz="1400">
                <a:solidFill>
                  <a:schemeClr val="bg1"/>
                </a:solidFill>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dirty="0"/>
          </a:p>
        </p:txBody>
      </p:sp>
      <p:sp>
        <p:nvSpPr>
          <p:cNvPr id="36" name="Text Placeholder 21"/>
          <p:cNvSpPr>
            <a:spLocks noGrp="1"/>
          </p:cNvSpPr>
          <p:nvPr>
            <p:ph type="body" sz="quarter" idx="78" hasCustomPrompt="1"/>
          </p:nvPr>
        </p:nvSpPr>
        <p:spPr>
          <a:xfrm>
            <a:off x="336520" y="182880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Title Text</a:t>
            </a:r>
            <a:endParaRPr lang="id-ID" dirty="0"/>
          </a:p>
        </p:txBody>
      </p:sp>
      <p:sp>
        <p:nvSpPr>
          <p:cNvPr id="39" name="Text Placeholder 21"/>
          <p:cNvSpPr>
            <a:spLocks noGrp="1"/>
          </p:cNvSpPr>
          <p:nvPr>
            <p:ph type="body" sz="quarter" idx="79" hasCustomPrompt="1"/>
          </p:nvPr>
        </p:nvSpPr>
        <p:spPr>
          <a:xfrm>
            <a:off x="336520" y="458216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solidFill>
                  <a:schemeClr val="bg1"/>
                </a:solidFill>
                <a:latin typeface="Gotham Bold" pitchFamily="2" charset="0"/>
                <a:cs typeface="Gotham Bold" pitchFamily="2" charset="0"/>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dirty="0"/>
              <a:t>Click to Edit Title Text</a:t>
            </a:r>
            <a:endParaRPr lang="id-ID" dirty="0"/>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with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1" y="1917659"/>
            <a:ext cx="11485563"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761036"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19" name="Text Placeholder 8"/>
          <p:cNvSpPr>
            <a:spLocks noGrp="1"/>
          </p:cNvSpPr>
          <p:nvPr>
            <p:ph type="body" sz="quarter" idx="18" hasCustomPrompt="1"/>
          </p:nvPr>
        </p:nvSpPr>
        <p:spPr>
          <a:xfrm>
            <a:off x="3624734"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0" name="Text Placeholder 8"/>
          <p:cNvSpPr>
            <a:spLocks noGrp="1"/>
          </p:cNvSpPr>
          <p:nvPr>
            <p:ph type="body" sz="quarter" idx="19" hasCustomPrompt="1"/>
          </p:nvPr>
        </p:nvSpPr>
        <p:spPr>
          <a:xfrm>
            <a:off x="6914505"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2" name="Text Placeholder 8"/>
          <p:cNvSpPr>
            <a:spLocks noGrp="1"/>
          </p:cNvSpPr>
          <p:nvPr>
            <p:ph type="body" sz="quarter" idx="21" hasCustomPrompt="1"/>
          </p:nvPr>
        </p:nvSpPr>
        <p:spPr>
          <a:xfrm>
            <a:off x="10235952" y="1923924"/>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4" name="Text Placeholder 8"/>
          <p:cNvSpPr>
            <a:spLocks noGrp="1"/>
          </p:cNvSpPr>
          <p:nvPr>
            <p:ph type="body" sz="quarter" idx="23" hasCustomPrompt="1"/>
          </p:nvPr>
        </p:nvSpPr>
        <p:spPr>
          <a:xfrm>
            <a:off x="3624734"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5" name="Text Placeholder 8"/>
          <p:cNvSpPr>
            <a:spLocks noGrp="1"/>
          </p:cNvSpPr>
          <p:nvPr>
            <p:ph type="body" sz="quarter" idx="24" hasCustomPrompt="1"/>
          </p:nvPr>
        </p:nvSpPr>
        <p:spPr>
          <a:xfrm>
            <a:off x="6914505"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6" name="Text Placeholder 8"/>
          <p:cNvSpPr>
            <a:spLocks noGrp="1"/>
          </p:cNvSpPr>
          <p:nvPr>
            <p:ph type="body" sz="quarter" idx="25" hasCustomPrompt="1"/>
          </p:nvPr>
        </p:nvSpPr>
        <p:spPr>
          <a:xfrm>
            <a:off x="10235952" y="4509961"/>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7" name="Text Placeholder 8"/>
          <p:cNvSpPr>
            <a:spLocks noGrp="1"/>
          </p:cNvSpPr>
          <p:nvPr>
            <p:ph type="body" sz="quarter" idx="26" hasCustomPrompt="1"/>
          </p:nvPr>
        </p:nvSpPr>
        <p:spPr>
          <a:xfrm>
            <a:off x="334963" y="5013176"/>
            <a:ext cx="6481117"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a:t>
            </a:r>
          </a:p>
          <a:p>
            <a:pPr lvl="0"/>
            <a:endParaRPr lang="en-US" dirty="0"/>
          </a:p>
          <a:p>
            <a:pPr lvl="0"/>
            <a:endParaRPr lang="en-US" dirty="0"/>
          </a:p>
        </p:txBody>
      </p:sp>
      <p:sp>
        <p:nvSpPr>
          <p:cNvPr id="28" name="Text Placeholder 8"/>
          <p:cNvSpPr>
            <a:spLocks noGrp="1"/>
          </p:cNvSpPr>
          <p:nvPr>
            <p:ph type="body" sz="quarter" idx="27" hasCustomPrompt="1"/>
          </p:nvPr>
        </p:nvSpPr>
        <p:spPr>
          <a:xfrm>
            <a:off x="334963" y="5663201"/>
            <a:ext cx="11485562" cy="166099"/>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lvl="0"/>
            <a:endParaRPr lang="en-US" dirty="0"/>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dirty="0"/>
          </a:p>
          <a:p>
            <a:pPr lvl="0"/>
            <a:endParaRPr lang="en-US" dirty="0"/>
          </a:p>
          <a:p>
            <a:pPr lvl="0"/>
            <a:endParaRPr lang="en-US" dirty="0"/>
          </a:p>
          <a:p>
            <a:pPr lvl="0"/>
            <a:endParaRPr lang="en-US" dirty="0"/>
          </a:p>
          <a:p>
            <a:pPr lvl="0"/>
            <a:endParaRPr lang="en-US" dirty="0"/>
          </a:p>
        </p:txBody>
      </p:sp>
      <p:sp>
        <p:nvSpPr>
          <p:cNvPr id="5" name="TextBox 4"/>
          <p:cNvSpPr txBox="1"/>
          <p:nvPr userDrawn="1"/>
        </p:nvSpPr>
        <p:spPr>
          <a:xfrm>
            <a:off x="-176645" y="426027"/>
            <a:ext cx="0" cy="0"/>
          </a:xfrm>
          <a:prstGeom prst="rect">
            <a:avLst/>
          </a:prstGeom>
        </p:spPr>
        <p:txBody>
          <a:bodyPr vert="horz" wrap="none" lIns="0" tIns="45720" rIns="91440" bIns="45720" rtlCol="0" anchor="ctr">
            <a:noAutofit/>
          </a:bodyPr>
          <a:lstStyle/>
          <a:p>
            <a:endParaRPr lang="en-US" sz="1600" b="0" i="0">
              <a:solidFill>
                <a:schemeClr val="accent1"/>
              </a:solidFill>
              <a:latin typeface="Gotham Medium" charset="0"/>
              <a:ea typeface="Gotham Medium" charset="0"/>
              <a:cs typeface="Gotham Medium" charset="0"/>
            </a:endParaRP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ntent with Two Map">
    <p:spTree>
      <p:nvGrpSpPr>
        <p:cNvPr id="1" name=""/>
        <p:cNvGrpSpPr/>
        <p:nvPr/>
      </p:nvGrpSpPr>
      <p:grpSpPr>
        <a:xfrm>
          <a:off x="0" y="0"/>
          <a:ext cx="0" cy="0"/>
          <a:chOff x="0" y="0"/>
          <a:chExt cx="0" cy="0"/>
        </a:xfrm>
      </p:grpSpPr>
      <p:sp>
        <p:nvSpPr>
          <p:cNvPr id="31" name="Picture Placeholder 30"/>
          <p:cNvSpPr>
            <a:spLocks noGrp="1"/>
          </p:cNvSpPr>
          <p:nvPr>
            <p:ph type="pic" sz="quarter" idx="29" hasCustomPrompt="1"/>
          </p:nvPr>
        </p:nvSpPr>
        <p:spPr>
          <a:xfrm>
            <a:off x="334962" y="1917659"/>
            <a:ext cx="5617022" cy="3042702"/>
          </a:xfrm>
        </p:spPr>
        <p:txBody>
          <a:bodyPr anchor="ctr"/>
          <a:lstStyle>
            <a:lvl1pPr algn="ctr">
              <a:defRPr sz="1800"/>
            </a:lvl1pPr>
          </a:lstStyle>
          <a:p>
            <a:r>
              <a:rPr lang="id-ID"/>
              <a:t>Picture Map</a:t>
            </a:r>
          </a:p>
        </p:txBody>
      </p:sp>
      <p:sp>
        <p:nvSpPr>
          <p:cNvPr id="2" name="Title 1"/>
          <p:cNvSpPr>
            <a:spLocks noGrp="1"/>
          </p:cNvSpPr>
          <p:nvPr>
            <p:ph type="title" hasCustomPrompt="1"/>
          </p:nvPr>
        </p:nvSpPr>
        <p:spPr>
          <a:xfrm>
            <a:off x="334963" y="623455"/>
            <a:ext cx="9074355" cy="645305"/>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617020"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19" name="Text Placeholder 8"/>
          <p:cNvSpPr>
            <a:spLocks noGrp="1"/>
          </p:cNvSpPr>
          <p:nvPr>
            <p:ph type="body" sz="quarter" idx="18" hasCustomPrompt="1"/>
          </p:nvPr>
        </p:nvSpPr>
        <p:spPr>
          <a:xfrm>
            <a:off x="23589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4" name="Text Placeholder 8"/>
          <p:cNvSpPr>
            <a:spLocks noGrp="1"/>
          </p:cNvSpPr>
          <p:nvPr>
            <p:ph type="body" sz="quarter" idx="23" hasCustomPrompt="1"/>
          </p:nvPr>
        </p:nvSpPr>
        <p:spPr>
          <a:xfrm>
            <a:off x="23589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27" name="Text Placeholder 8"/>
          <p:cNvSpPr>
            <a:spLocks noGrp="1"/>
          </p:cNvSpPr>
          <p:nvPr>
            <p:ph type="body" sz="quarter" idx="26" hasCustomPrompt="1"/>
          </p:nvPr>
        </p:nvSpPr>
        <p:spPr>
          <a:xfrm>
            <a:off x="334963" y="5013176"/>
            <a:ext cx="5617021"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a:t>
            </a:r>
          </a:p>
          <a:p>
            <a:pPr lvl="0"/>
            <a:endParaRPr lang="en-US" dirty="0"/>
          </a:p>
          <a:p>
            <a:pPr lvl="0"/>
            <a:endParaRPr lang="en-US" dirty="0"/>
          </a:p>
        </p:txBody>
      </p:sp>
      <p:sp>
        <p:nvSpPr>
          <p:cNvPr id="28" name="Text Placeholder 8"/>
          <p:cNvSpPr>
            <a:spLocks noGrp="1"/>
          </p:cNvSpPr>
          <p:nvPr>
            <p:ph type="body" sz="quarter" idx="27" hasCustomPrompt="1"/>
          </p:nvPr>
        </p:nvSpPr>
        <p:spPr>
          <a:xfrm>
            <a:off x="334963" y="5663201"/>
            <a:ext cx="11485562" cy="142063"/>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accent1"/>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lvl="0"/>
            <a:endParaRPr lang="en-US" dirty="0"/>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accent1"/>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dirty="0"/>
          </a:p>
          <a:p>
            <a:pPr lvl="0"/>
            <a:endParaRPr lang="en-US" dirty="0"/>
          </a:p>
          <a:p>
            <a:pPr lvl="0"/>
            <a:endParaRPr lang="en-US" dirty="0"/>
          </a:p>
          <a:p>
            <a:pPr lvl="0"/>
            <a:endParaRPr lang="en-US" dirty="0"/>
          </a:p>
          <a:p>
            <a:pPr lvl="0"/>
            <a:endParaRPr lang="en-US" dirty="0"/>
          </a:p>
        </p:txBody>
      </p:sp>
      <p:sp>
        <p:nvSpPr>
          <p:cNvPr id="21" name="Picture Placeholder 30"/>
          <p:cNvSpPr>
            <a:spLocks noGrp="1"/>
          </p:cNvSpPr>
          <p:nvPr>
            <p:ph type="pic" sz="quarter" idx="30" hasCustomPrompt="1"/>
          </p:nvPr>
        </p:nvSpPr>
        <p:spPr>
          <a:xfrm>
            <a:off x="6272212" y="1917659"/>
            <a:ext cx="5537645" cy="3042702"/>
          </a:xfrm>
        </p:spPr>
        <p:txBody>
          <a:bodyPr anchor="ctr"/>
          <a:lstStyle>
            <a:lvl1pPr algn="ctr">
              <a:defRPr sz="1800"/>
            </a:lvl1pPr>
          </a:lstStyle>
          <a:p>
            <a:r>
              <a:rPr lang="id-ID"/>
              <a:t>Picture Map</a:t>
            </a:r>
          </a:p>
        </p:txBody>
      </p:sp>
      <p:sp>
        <p:nvSpPr>
          <p:cNvPr id="30" name="Text Placeholder 8"/>
          <p:cNvSpPr>
            <a:spLocks noGrp="1"/>
          </p:cNvSpPr>
          <p:nvPr>
            <p:ph type="body" sz="quarter" idx="31" hasCustomPrompt="1"/>
          </p:nvPr>
        </p:nvSpPr>
        <p:spPr>
          <a:xfrm>
            <a:off x="6272212" y="1354667"/>
            <a:ext cx="5537645" cy="287086"/>
          </a:xfrm>
        </p:spPr>
        <p:txBody>
          <a:bodyPr/>
          <a:lstStyle>
            <a:lvl1pPr marL="0" indent="0">
              <a:buNone/>
              <a:defRPr sz="1600" b="1" i="0">
                <a:solidFill>
                  <a:schemeClr val="accent2"/>
                </a:solidFill>
                <a:latin typeface="Gotham Bold" pitchFamily="2" charset="0"/>
                <a:cs typeface="Gotham Bold" pitchFamily="2"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p:txBody>
      </p:sp>
      <p:sp>
        <p:nvSpPr>
          <p:cNvPr id="32" name="Text Placeholder 8"/>
          <p:cNvSpPr>
            <a:spLocks noGrp="1"/>
          </p:cNvSpPr>
          <p:nvPr>
            <p:ph type="body" sz="quarter" idx="32" hasCustomPrompt="1"/>
          </p:nvPr>
        </p:nvSpPr>
        <p:spPr>
          <a:xfrm>
            <a:off x="4382889"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3" name="Text Placeholder 8"/>
          <p:cNvSpPr>
            <a:spLocks noGrp="1"/>
          </p:cNvSpPr>
          <p:nvPr>
            <p:ph type="body" sz="quarter" idx="33" hasCustomPrompt="1"/>
          </p:nvPr>
        </p:nvSpPr>
        <p:spPr>
          <a:xfrm>
            <a:off x="4382889"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4" name="Text Placeholder 8"/>
          <p:cNvSpPr>
            <a:spLocks noGrp="1"/>
          </p:cNvSpPr>
          <p:nvPr>
            <p:ph type="body" sz="quarter" idx="34" hasCustomPrompt="1"/>
          </p:nvPr>
        </p:nvSpPr>
        <p:spPr>
          <a:xfrm>
            <a:off x="6240019" y="5013176"/>
            <a:ext cx="5580506"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Caption text styles Click to edit Caption text styles Click to edit Caption text styles</a:t>
            </a:r>
          </a:p>
          <a:p>
            <a:pPr lvl="0"/>
            <a:endParaRPr lang="en-US" dirty="0"/>
          </a:p>
          <a:p>
            <a:pPr lvl="0"/>
            <a:endParaRPr lang="en-US" dirty="0"/>
          </a:p>
        </p:txBody>
      </p:sp>
      <p:sp>
        <p:nvSpPr>
          <p:cNvPr id="35" name="Text Placeholder 8"/>
          <p:cNvSpPr>
            <a:spLocks noGrp="1"/>
          </p:cNvSpPr>
          <p:nvPr>
            <p:ph type="body" sz="quarter" idx="35" hasCustomPrompt="1"/>
          </p:nvPr>
        </p:nvSpPr>
        <p:spPr>
          <a:xfrm>
            <a:off x="6249988"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6" name="Text Placeholder 8"/>
          <p:cNvSpPr>
            <a:spLocks noGrp="1"/>
          </p:cNvSpPr>
          <p:nvPr>
            <p:ph type="body" sz="quarter" idx="36" hasCustomPrompt="1"/>
          </p:nvPr>
        </p:nvSpPr>
        <p:spPr>
          <a:xfrm>
            <a:off x="8240807"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7" name="Text Placeholder 8"/>
          <p:cNvSpPr>
            <a:spLocks noGrp="1"/>
          </p:cNvSpPr>
          <p:nvPr>
            <p:ph type="body" sz="quarter" idx="37" hasCustomPrompt="1"/>
          </p:nvPr>
        </p:nvSpPr>
        <p:spPr>
          <a:xfrm>
            <a:off x="6249988"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8" name="Text Placeholder 8"/>
          <p:cNvSpPr>
            <a:spLocks noGrp="1"/>
          </p:cNvSpPr>
          <p:nvPr>
            <p:ph type="body" sz="quarter" idx="38" hasCustomPrompt="1"/>
          </p:nvPr>
        </p:nvSpPr>
        <p:spPr>
          <a:xfrm>
            <a:off x="8240807"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39" name="Text Placeholder 8"/>
          <p:cNvSpPr>
            <a:spLocks noGrp="1"/>
          </p:cNvSpPr>
          <p:nvPr>
            <p:ph type="body" sz="quarter" idx="39" hasCustomPrompt="1"/>
          </p:nvPr>
        </p:nvSpPr>
        <p:spPr>
          <a:xfrm>
            <a:off x="102316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
        <p:nvSpPr>
          <p:cNvPr id="40" name="Text Placeholder 8"/>
          <p:cNvSpPr>
            <a:spLocks noGrp="1"/>
          </p:cNvSpPr>
          <p:nvPr>
            <p:ph type="body" sz="quarter" idx="40" hasCustomPrompt="1"/>
          </p:nvPr>
        </p:nvSpPr>
        <p:spPr>
          <a:xfrm>
            <a:off x="102316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Gotham Book" charset="0"/>
                <a:cs typeface="Gotham Book" charset="0"/>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dirty="0"/>
              <a:t>Click to edit Body text styles</a:t>
            </a:r>
          </a:p>
          <a:p>
            <a:pPr lvl="0"/>
            <a:r>
              <a:rPr lang="en-US" dirty="0"/>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dirty="0"/>
              <a:t>Click to edit Body text styles</a:t>
            </a:r>
          </a:p>
          <a:p>
            <a:pPr lvl="0"/>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0713"/>
            <a:ext cx="9074355" cy="576039"/>
          </a:xfrm>
          <a:prstGeom prst="rect">
            <a:avLst/>
          </a:prstGeom>
        </p:spPr>
        <p:txBody>
          <a:bodyPr vert="horz"/>
          <a:lstStyle>
            <a:lvl1pPr>
              <a:defRPr>
                <a:latin typeface="+mj-lt"/>
                <a:ea typeface="+mj-ea"/>
                <a:cs typeface="+mj-cs"/>
              </a:defRPr>
            </a:lvl1pPr>
          </a:lstStyle>
          <a:p>
            <a:br>
              <a:rPr lang="en-US"/>
            </a:br>
            <a:r>
              <a:rPr lang="en-US"/>
              <a:t>Click to edit Title text</a:t>
            </a:r>
            <a:endParaRPr lang="id-ID"/>
          </a:p>
        </p:txBody>
      </p:sp>
      <p:sp>
        <p:nvSpPr>
          <p:cNvPr id="5" name="Text Placeholder 4"/>
          <p:cNvSpPr>
            <a:spLocks noGrp="1"/>
          </p:cNvSpPr>
          <p:nvPr>
            <p:ph type="body" sz="quarter" idx="3" hasCustomPrompt="1"/>
          </p:nvPr>
        </p:nvSpPr>
        <p:spPr>
          <a:xfrm>
            <a:off x="6172199" y="1681163"/>
            <a:ext cx="5648325" cy="576039"/>
          </a:xfrm>
          <a:prstGeom prst="rect">
            <a:avLst/>
          </a:prstGeom>
        </p:spPr>
        <p:txBody>
          <a:bodyPr anchor="t" anchorCtr="0"/>
          <a:lstStyle>
            <a:lvl1pPr marL="0" indent="0">
              <a:lnSpc>
                <a:spcPct val="100000"/>
              </a:lnSpc>
              <a:buNone/>
              <a:defRPr sz="2400" b="0" i="0">
                <a:solidFill>
                  <a:schemeClr val="accent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6" name="Content Placeholder 5"/>
          <p:cNvSpPr>
            <a:spLocks noGrp="1"/>
          </p:cNvSpPr>
          <p:nvPr>
            <p:ph sz="quarter" idx="4" hasCustomPrompt="1"/>
          </p:nvPr>
        </p:nvSpPr>
        <p:spPr>
          <a:xfrm>
            <a:off x="6172199" y="2505075"/>
            <a:ext cx="5648325" cy="3084166"/>
          </a:xfrm>
          <a:prstGeom prst="rect">
            <a:avLst/>
          </a:prstGeom>
        </p:spPr>
        <p:txBody>
          <a:bodyPr/>
          <a:lstStyle>
            <a:lvl1pPr marL="179705" indent="-179705">
              <a:lnSpc>
                <a:spcPts val="2200"/>
              </a:lnSpc>
              <a:spcBef>
                <a:spcPts val="600"/>
              </a:spcBef>
              <a:defRPr sz="2000" b="0" i="0">
                <a:latin typeface="+mn-lt"/>
                <a:ea typeface="+mn-ea"/>
                <a:cs typeface="+mn-cs"/>
              </a:defRPr>
            </a:lvl1pPr>
            <a:lvl2pPr marL="179705" indent="-179705">
              <a:lnSpc>
                <a:spcPts val="2200"/>
              </a:lnSpc>
              <a:spcBef>
                <a:spcPts val="600"/>
              </a:spcBef>
              <a:defRPr sz="1800" b="0" i="0">
                <a:latin typeface="+mn-lt"/>
                <a:ea typeface="+mn-ea"/>
                <a:cs typeface="+mn-cs"/>
              </a:defRPr>
            </a:lvl2pPr>
            <a:lvl3pPr marL="179705" indent="-179705">
              <a:lnSpc>
                <a:spcPts val="2200"/>
              </a:lnSpc>
              <a:spcBef>
                <a:spcPts val="600"/>
              </a:spcBef>
              <a:defRPr sz="1600" b="0" i="0">
                <a:latin typeface="+mn-lt"/>
                <a:ea typeface="+mn-ea"/>
                <a:cs typeface="+mn-cs"/>
              </a:defRPr>
            </a:lvl3pPr>
            <a:lvl4pPr marL="179705" indent="-179705">
              <a:lnSpc>
                <a:spcPts val="2200"/>
              </a:lnSpc>
              <a:spcBef>
                <a:spcPts val="600"/>
              </a:spcBef>
              <a:defRPr sz="1400" b="0" i="0">
                <a:latin typeface="+mn-lt"/>
                <a:ea typeface="+mn-ea"/>
                <a:cs typeface="+mn-cs"/>
              </a:defRPr>
            </a:lvl4pPr>
            <a:lvl5pPr marL="179705" indent="-179705">
              <a:lnSpc>
                <a:spcPts val="2200"/>
              </a:lnSpc>
              <a:spcBef>
                <a:spcPts val="600"/>
              </a:spcBef>
              <a:defRPr sz="1400" b="0" i="0">
                <a:latin typeface="+mn-lt"/>
                <a:ea typeface="+mn-ea"/>
                <a:cs typeface="+mn-cs"/>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7" name="Footer Placeholder 16"/>
          <p:cNvSpPr>
            <a:spLocks noGrp="1"/>
          </p:cNvSpPr>
          <p:nvPr>
            <p:ph type="ftr" sz="quarter" idx="11"/>
          </p:nvPr>
        </p:nvSpPr>
        <p:spPr/>
        <p:txBody>
          <a:bodyPr/>
          <a:lstStyle/>
          <a:p>
            <a:pPr algn="l"/>
            <a:endParaRPr lang="en-US">
              <a:solidFill>
                <a:schemeClr val="bg1">
                  <a:lumMod val="50000"/>
                </a:schemeClr>
              </a:solidFill>
            </a:endParaRPr>
          </a:p>
        </p:txBody>
      </p:sp>
      <p:sp>
        <p:nvSpPr>
          <p:cNvPr id="19" name="Text Placeholder 4"/>
          <p:cNvSpPr>
            <a:spLocks noGrp="1"/>
          </p:cNvSpPr>
          <p:nvPr>
            <p:ph type="body" sz="quarter" idx="13" hasCustomPrompt="1"/>
          </p:nvPr>
        </p:nvSpPr>
        <p:spPr>
          <a:xfrm>
            <a:off x="353291" y="1681163"/>
            <a:ext cx="5636450" cy="576039"/>
          </a:xfrm>
          <a:prstGeom prst="rect">
            <a:avLst/>
          </a:prstGeom>
        </p:spPr>
        <p:txBody>
          <a:bodyPr anchor="t" anchorCtr="0"/>
          <a:lstStyle>
            <a:lvl1pPr marL="0" indent="0">
              <a:lnSpc>
                <a:spcPct val="100000"/>
              </a:lnSpc>
              <a:buNone/>
              <a:defRPr sz="2400" b="0" i="0">
                <a:solidFill>
                  <a:schemeClr val="accent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Title text styles</a:t>
            </a:r>
          </a:p>
        </p:txBody>
      </p:sp>
      <p:sp>
        <p:nvSpPr>
          <p:cNvPr id="21" name="Content Placeholder 5"/>
          <p:cNvSpPr>
            <a:spLocks noGrp="1"/>
          </p:cNvSpPr>
          <p:nvPr>
            <p:ph sz="quarter" idx="14" hasCustomPrompt="1"/>
          </p:nvPr>
        </p:nvSpPr>
        <p:spPr>
          <a:xfrm>
            <a:off x="341415" y="2505075"/>
            <a:ext cx="5648325" cy="3084166"/>
          </a:xfrm>
          <a:prstGeom prst="rect">
            <a:avLst/>
          </a:prstGeom>
        </p:spPr>
        <p:txBody>
          <a:bodyPr/>
          <a:lstStyle>
            <a:lvl1pPr marL="179705" indent="-179705">
              <a:lnSpc>
                <a:spcPts val="2200"/>
              </a:lnSpc>
              <a:spcBef>
                <a:spcPts val="600"/>
              </a:spcBef>
              <a:defRPr sz="2000" b="0" i="0">
                <a:latin typeface="+mn-lt"/>
                <a:ea typeface="+mn-ea"/>
                <a:cs typeface="+mn-cs"/>
              </a:defRPr>
            </a:lvl1pPr>
            <a:lvl2pPr marL="179705" indent="-179705">
              <a:lnSpc>
                <a:spcPts val="2200"/>
              </a:lnSpc>
              <a:spcBef>
                <a:spcPts val="600"/>
              </a:spcBef>
              <a:defRPr sz="1800" b="0" i="0">
                <a:latin typeface="+mn-lt"/>
                <a:ea typeface="+mn-ea"/>
                <a:cs typeface="+mn-cs"/>
              </a:defRPr>
            </a:lvl2pPr>
            <a:lvl3pPr marL="179705" indent="-179705">
              <a:lnSpc>
                <a:spcPts val="2200"/>
              </a:lnSpc>
              <a:spcBef>
                <a:spcPts val="600"/>
              </a:spcBef>
              <a:defRPr sz="1600" b="0" i="0">
                <a:latin typeface="+mn-lt"/>
                <a:ea typeface="+mn-ea"/>
                <a:cs typeface="+mn-cs"/>
              </a:defRPr>
            </a:lvl3pPr>
            <a:lvl4pPr marL="179705" indent="-179705">
              <a:lnSpc>
                <a:spcPts val="2200"/>
              </a:lnSpc>
              <a:spcBef>
                <a:spcPts val="600"/>
              </a:spcBef>
              <a:defRPr sz="1400" b="0" i="0">
                <a:latin typeface="+mn-lt"/>
                <a:ea typeface="+mn-ea"/>
                <a:cs typeface="+mn-cs"/>
              </a:defRPr>
            </a:lvl4pPr>
            <a:lvl5pPr marL="179705" indent="-179705">
              <a:lnSpc>
                <a:spcPts val="2200"/>
              </a:lnSpc>
              <a:spcBef>
                <a:spcPts val="600"/>
              </a:spcBef>
              <a:defRPr sz="1400" b="0" i="0">
                <a:latin typeface="+mn-lt"/>
                <a:ea typeface="+mn-ea"/>
                <a:cs typeface="+mn-cs"/>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
        <p:nvSpPr>
          <p:cNvPr id="11" name="Slide Number Placeholder 5"/>
          <p:cNvSpPr>
            <a:spLocks noGrp="1"/>
          </p:cNvSpPr>
          <p:nvPr>
            <p:ph type="sldNum" sz="quarter" idx="15"/>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mn-lt"/>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ntent with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3455"/>
            <a:ext cx="9074355" cy="501289"/>
          </a:xfrm>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8" name="Text Placeholder 7"/>
          <p:cNvSpPr>
            <a:spLocks noGrp="1"/>
          </p:cNvSpPr>
          <p:nvPr>
            <p:ph type="body" sz="quarter" idx="13" hasCustomPrompt="1"/>
          </p:nvPr>
        </p:nvSpPr>
        <p:spPr>
          <a:xfrm>
            <a:off x="334963" y="1158241"/>
            <a:ext cx="11485562" cy="345440"/>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000"/>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dirty="0"/>
              <a:t>Click to edit Master text styles. Ex. </a:t>
            </a:r>
            <a:r>
              <a:rPr lang="en-US" sz="1000" noProof="1">
                <a:solidFill>
                  <a:schemeClr val="tx1">
                    <a:lumMod val="65000"/>
                    <a:lumOff val="35000"/>
                  </a:schemeClr>
                </a:solidFill>
                <a:latin typeface="Gotham Book" charset="0"/>
                <a:ea typeface="Gotham Book" charset="0"/>
                <a:cs typeface="Gotham Book" charset="0"/>
                <a:sym typeface="Arial" panose="020B0604020202090204" pitchFamily="34" charset="0"/>
              </a:rPr>
              <a:t>Membangun sumber daya yang berkelanjutan dalam skala besar untuk Indonesia - Menggandakan volume hulu, memperluas aset hilir - mewujudkan Noble Purpose untuk mengeksplorasi kemakmuran; meningkat secara berkelanjutan hingga ~&gt; 8 x EBITDA (MIND ID &gt; 5x), dan secara signifikan memperluas 7 …</a:t>
            </a:r>
            <a:endParaRPr lang="en-US" dirty="0"/>
          </a:p>
        </p:txBody>
      </p:sp>
      <p:sp>
        <p:nvSpPr>
          <p:cNvPr id="10" name="Text Placeholder 7"/>
          <p:cNvSpPr>
            <a:spLocks noGrp="1"/>
          </p:cNvSpPr>
          <p:nvPr>
            <p:ph type="body" sz="quarter" idx="14" hasCustomPrompt="1"/>
          </p:nvPr>
        </p:nvSpPr>
        <p:spPr>
          <a:xfrm>
            <a:off x="334963" y="1717041"/>
            <a:ext cx="11485562" cy="175251"/>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200" b="1" i="0">
                <a:solidFill>
                  <a:schemeClr val="accent2"/>
                </a:solidFill>
                <a:latin typeface="Gotham Bold" pitchFamily="2" charset="0"/>
                <a:cs typeface="Gotham Bold" pitchFamily="2" charset="0"/>
              </a:defRPr>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dirty="0"/>
              <a:t>Click to edit Title table text styles. Ex. </a:t>
            </a:r>
            <a:r>
              <a:rPr kumimoji="0" lang="en-US" sz="1200" b="1" u="none" strike="noStrike" kern="0" cap="none" spc="0" normalizeH="0" baseline="0" noProof="1">
                <a:ln>
                  <a:noFill/>
                </a:ln>
                <a:solidFill>
                  <a:srgbClr val="0862A4"/>
                </a:solidFill>
                <a:effectLst/>
                <a:uLnTx/>
                <a:uFillTx/>
                <a:latin typeface="Gotham Bold" pitchFamily="2" charset="0"/>
                <a:ea typeface="Gotham Bold" pitchFamily="2" charset="0"/>
                <a:cs typeface="Gotham Bold" pitchFamily="2" charset="0"/>
              </a:rPr>
              <a:t>Strategi terintegrasi </a:t>
            </a:r>
            <a:endParaRPr lang="en-US" dirty="0"/>
          </a:p>
        </p:txBody>
      </p:sp>
      <p:sp>
        <p:nvSpPr>
          <p:cNvPr id="12" name="Table Placeholder 11"/>
          <p:cNvSpPr>
            <a:spLocks noGrp="1"/>
          </p:cNvSpPr>
          <p:nvPr>
            <p:ph type="tbl" sz="quarter" idx="15"/>
          </p:nvPr>
        </p:nvSpPr>
        <p:spPr>
          <a:xfrm>
            <a:off x="334963" y="1988840"/>
            <a:ext cx="11485562" cy="4147800"/>
          </a:xfrm>
        </p:spPr>
        <p:txBody>
          <a:bodyPr anchor="ctr"/>
          <a:lstStyle>
            <a:lvl1pPr algn="ctr">
              <a:defRPr sz="2800"/>
            </a:lvl1pPr>
          </a:lstStyle>
          <a:p>
            <a:endParaRPr lang="id-ID"/>
          </a:p>
        </p:txBody>
      </p:sp>
      <p:sp>
        <p:nvSpPr>
          <p:cNvPr id="15" name="Text Placeholder 14"/>
          <p:cNvSpPr>
            <a:spLocks noGrp="1"/>
          </p:cNvSpPr>
          <p:nvPr>
            <p:ph type="body" sz="quarter" idx="16" hasCustomPrompt="1"/>
          </p:nvPr>
        </p:nvSpPr>
        <p:spPr>
          <a:xfrm>
            <a:off x="334963" y="6217921"/>
            <a:ext cx="7993285" cy="451439"/>
          </a:xfrm>
        </p:spPr>
        <p:txBody>
          <a:bodyPr/>
          <a:lstStyle>
            <a:lvl1pPr marL="144145" marR="0" indent="-144145" algn="l" defTabSz="914400" rtl="0" eaLnBrk="1" fontAlgn="auto" latinLnBrk="0" hangingPunct="1">
              <a:lnSpc>
                <a:spcPct val="100000"/>
              </a:lnSpc>
              <a:spcBef>
                <a:spcPts val="0"/>
              </a:spcBef>
              <a:spcAft>
                <a:spcPts val="0"/>
              </a:spcAft>
              <a:buClrTx/>
              <a:buSzTx/>
              <a:buFont typeface="+mj-lt"/>
              <a:buAutoNum type="arabicPeriod"/>
              <a:defRPr sz="800"/>
            </a:lvl1pPr>
            <a:lvl2pPr indent="0">
              <a:lnSpc>
                <a:spcPct val="100000"/>
              </a:lnSpc>
              <a:defRPr sz="800"/>
            </a:lvl2pPr>
            <a:lvl3pPr indent="0">
              <a:lnSpc>
                <a:spcPct val="100000"/>
              </a:lnSpc>
              <a:defRPr sz="800"/>
            </a:lvl3pPr>
            <a:lvl4pPr indent="0">
              <a:lnSpc>
                <a:spcPct val="100000"/>
              </a:lnSpc>
              <a:defRPr sz="800"/>
            </a:lvl4pPr>
            <a:lvl5pPr indent="0">
              <a:lnSpc>
                <a:spcPct val="100000"/>
              </a:lnSpc>
              <a:defRPr sz="800"/>
            </a:lvl5pPr>
          </a:lstStyle>
          <a:p>
            <a:pPr lvl="0"/>
            <a:r>
              <a:rPr lang="en-US" dirty="0"/>
              <a:t>Click to edit Caption text styles</a:t>
            </a:r>
          </a:p>
          <a:p>
            <a:pPr lvl="0"/>
            <a:r>
              <a:rPr lang="en-US" dirty="0"/>
              <a:t>Click to edit Caption text styles</a:t>
            </a:r>
          </a:p>
          <a:p>
            <a:pPr marL="144145" marR="0" lvl="0" indent="-144145" algn="l" defTabSz="914400" rtl="0" eaLnBrk="1" fontAlgn="auto" latinLnBrk="0" hangingPunct="1">
              <a:lnSpc>
                <a:spcPct val="100000"/>
              </a:lnSpc>
              <a:spcBef>
                <a:spcPts val="0"/>
              </a:spcBef>
              <a:spcAft>
                <a:spcPts val="0"/>
              </a:spcAft>
              <a:buClrTx/>
              <a:buSzTx/>
              <a:buFont typeface="+mj-lt"/>
              <a:buAutoNum type="arabicPeriod"/>
              <a:defRPr/>
            </a:pPr>
            <a:r>
              <a:rPr lang="en-US" dirty="0"/>
              <a:t>Click to edit Caption text styles</a:t>
            </a:r>
          </a:p>
          <a:p>
            <a:pPr lvl="0"/>
            <a:endParaRPr lang="en-US" dirty="0"/>
          </a:p>
        </p:txBody>
      </p:sp>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ustom Coloum">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alphaModFix amt="25000"/>
          </a:blip>
          <a:stretch>
            <a:fillRect/>
          </a:stretch>
        </p:blipFill>
        <p:spPr>
          <a:xfrm>
            <a:off x="0" y="0"/>
            <a:ext cx="12192000" cy="6858000"/>
          </a:xfrm>
          <a:prstGeom prst="rect">
            <a:avLst/>
          </a:prstGeom>
        </p:spPr>
      </p:pic>
      <p:sp>
        <p:nvSpPr>
          <p:cNvPr id="2" name="Title 1"/>
          <p:cNvSpPr>
            <a:spLocks noGrp="1"/>
          </p:cNvSpPr>
          <p:nvPr>
            <p:ph type="title" hasCustomPrompt="1"/>
          </p:nvPr>
        </p:nvSpPr>
        <p:spPr/>
        <p:txBody>
          <a:bodyPr/>
          <a:lstStyle/>
          <a:p>
            <a:br>
              <a:rPr lang="en-US" dirty="0"/>
            </a:br>
            <a:r>
              <a:rPr lang="en-US" dirty="0"/>
              <a:t>Click to edi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dirty="0"/>
            </a:br>
            <a:r>
              <a:rPr lang="en-US" dirty="0"/>
              <a:t>Click to edit Char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dirty="0"/>
              <a:t>Click to edit Title text styles</a:t>
            </a:r>
          </a:p>
        </p:txBody>
      </p:sp>
      <p:sp>
        <p:nvSpPr>
          <p:cNvPr id="11" name="Chart Placeholder 10"/>
          <p:cNvSpPr>
            <a:spLocks noGrp="1"/>
          </p:cNvSpPr>
          <p:nvPr>
            <p:ph type="chart" sz="quarter" idx="14"/>
          </p:nvPr>
        </p:nvSpPr>
        <p:spPr>
          <a:xfrm>
            <a:off x="253064" y="1916464"/>
            <a:ext cx="3682696" cy="1728192"/>
          </a:xfrm>
        </p:spPr>
        <p:txBody>
          <a:bodyPr anchor="ctr"/>
          <a:lstStyle>
            <a:lvl1pPr algn="ctr">
              <a:defRPr sz="1800"/>
            </a:lvl1pPr>
          </a:lstStyle>
          <a:p>
            <a:endParaRPr lang="id-ID"/>
          </a:p>
        </p:txBody>
      </p:sp>
      <p:sp>
        <p:nvSpPr>
          <p:cNvPr id="18" name="Chart Placeholder 10"/>
          <p:cNvSpPr>
            <a:spLocks noGrp="1"/>
          </p:cNvSpPr>
          <p:nvPr>
            <p:ph type="chart" sz="quarter" idx="15"/>
          </p:nvPr>
        </p:nvSpPr>
        <p:spPr>
          <a:xfrm>
            <a:off x="8137829" y="1916464"/>
            <a:ext cx="3682696" cy="1728192"/>
          </a:xfrm>
        </p:spPr>
        <p:txBody>
          <a:bodyPr anchor="ctr"/>
          <a:lstStyle>
            <a:lvl1pPr algn="ctr">
              <a:defRPr sz="1800"/>
            </a:lvl1pPr>
          </a:lstStyle>
          <a:p>
            <a:endParaRPr lang="id-ID"/>
          </a:p>
        </p:txBody>
      </p:sp>
      <p:sp>
        <p:nvSpPr>
          <p:cNvPr id="21" name="Chart Placeholder 10"/>
          <p:cNvSpPr>
            <a:spLocks noGrp="1"/>
          </p:cNvSpPr>
          <p:nvPr>
            <p:ph type="chart" sz="quarter" idx="16"/>
          </p:nvPr>
        </p:nvSpPr>
        <p:spPr>
          <a:xfrm>
            <a:off x="4195221" y="1916464"/>
            <a:ext cx="3682696" cy="1728192"/>
          </a:xfrm>
        </p:spPr>
        <p:txBody>
          <a:bodyPr anchor="ctr"/>
          <a:lstStyle>
            <a:lvl1pPr algn="ctr">
              <a:defRPr sz="1800"/>
            </a:lvl1pPr>
          </a:lstStyle>
          <a:p>
            <a:endParaRPr lang="id-ID"/>
          </a:p>
        </p:txBody>
      </p:sp>
      <p:sp>
        <p:nvSpPr>
          <p:cNvPr id="22" name="Chart Placeholder 10"/>
          <p:cNvSpPr>
            <a:spLocks noGrp="1"/>
          </p:cNvSpPr>
          <p:nvPr>
            <p:ph type="chart" sz="quarter" idx="17"/>
          </p:nvPr>
        </p:nvSpPr>
        <p:spPr>
          <a:xfrm>
            <a:off x="253064" y="4076704"/>
            <a:ext cx="3682696" cy="1728192"/>
          </a:xfrm>
        </p:spPr>
        <p:txBody>
          <a:bodyPr anchor="ctr"/>
          <a:lstStyle>
            <a:lvl1pPr algn="ctr">
              <a:defRPr sz="1800"/>
            </a:lvl1pPr>
          </a:lstStyle>
          <a:p>
            <a:endParaRPr lang="id-ID"/>
          </a:p>
        </p:txBody>
      </p:sp>
      <p:sp>
        <p:nvSpPr>
          <p:cNvPr id="23" name="Chart Placeholder 10"/>
          <p:cNvSpPr>
            <a:spLocks noGrp="1"/>
          </p:cNvSpPr>
          <p:nvPr>
            <p:ph type="chart" sz="quarter" idx="18"/>
          </p:nvPr>
        </p:nvSpPr>
        <p:spPr>
          <a:xfrm>
            <a:off x="8137829" y="4076704"/>
            <a:ext cx="3682696" cy="1728192"/>
          </a:xfrm>
        </p:spPr>
        <p:txBody>
          <a:bodyPr anchor="ctr"/>
          <a:lstStyle>
            <a:lvl1pPr algn="ctr">
              <a:defRPr sz="1800"/>
            </a:lvl1pPr>
          </a:lstStyle>
          <a:p>
            <a:endParaRPr lang="id-ID"/>
          </a:p>
        </p:txBody>
      </p:sp>
      <p:sp>
        <p:nvSpPr>
          <p:cNvPr id="24" name="Chart Placeholder 10"/>
          <p:cNvSpPr>
            <a:spLocks noGrp="1"/>
          </p:cNvSpPr>
          <p:nvPr>
            <p:ph type="chart" sz="quarter" idx="19"/>
          </p:nvPr>
        </p:nvSpPr>
        <p:spPr>
          <a:xfrm>
            <a:off x="4195221" y="4076704"/>
            <a:ext cx="3682696" cy="1728192"/>
          </a:xfrm>
        </p:spPr>
        <p:txBody>
          <a:bodyPr anchor="ctr"/>
          <a:lstStyle>
            <a:lvl1pPr algn="ctr">
              <a:defRPr sz="1800"/>
            </a:lvl1pPr>
          </a:lstStyle>
          <a:p>
            <a:endParaRPr lang="id-ID"/>
          </a:p>
        </p:txBody>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Working-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br>
              <a:rPr lang="en-US" dirty="0"/>
            </a:br>
            <a:r>
              <a:rPr lang="en-US" dirty="0"/>
              <a:t>Click to edit Working-out Title text</a:t>
            </a:r>
            <a:endParaRPr lang="id-ID" dirty="0"/>
          </a:p>
        </p:txBody>
      </p:sp>
      <p:sp>
        <p:nvSpPr>
          <p:cNvPr id="3" name="Date Placeholder 2"/>
          <p:cNvSpPr>
            <a:spLocks noGrp="1"/>
          </p:cNvSpPr>
          <p:nvPr>
            <p:ph type="dt" sz="half" idx="10"/>
          </p:nvPr>
        </p:nvSpPr>
        <p:spPr/>
        <p:txBody>
          <a:bodyPr/>
          <a:lstStyle/>
          <a:p>
            <a:r>
              <a:rPr lang="en-ID"/>
              <a:t>Thursday, 11 December 2021</a:t>
            </a:r>
            <a:endParaRPr lang="id-ID"/>
          </a:p>
        </p:txBody>
      </p:sp>
      <p:sp>
        <p:nvSpPr>
          <p:cNvPr id="4" name="Slide Number Placeholder 3"/>
          <p:cNvSpPr>
            <a:spLocks noGrp="1"/>
          </p:cNvSpPr>
          <p:nvPr>
            <p:ph type="sldNum" sz="quarter" idx="11"/>
          </p:nvPr>
        </p:nvSpPr>
        <p:spPr/>
        <p:txBody>
          <a:body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3"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Gotham Bold" pitchFamily="2" charset="0"/>
                <a:cs typeface="Gotham Bold" pitchFamily="2" charset="0"/>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dirty="0"/>
              <a:t>Click to edit Title text styles</a:t>
            </a:r>
          </a:p>
        </p:txBody>
      </p:sp>
      <p:pic>
        <p:nvPicPr>
          <p:cNvPr id="14" name="Picture 13"/>
          <p:cNvPicPr>
            <a:picLocks noChangeAspect="1"/>
          </p:cNvPicPr>
          <p:nvPr userDrawn="1"/>
        </p:nvPicPr>
        <p:blipFill>
          <a:blip r:embed="rId2"/>
          <a:srcRect/>
          <a:stretch>
            <a:fillRect/>
          </a:stretch>
        </p:blipFill>
        <p:spPr>
          <a:xfrm>
            <a:off x="759101" y="2381992"/>
            <a:ext cx="720000" cy="720000"/>
          </a:xfrm>
          <a:prstGeom prst="rect">
            <a:avLst/>
          </a:prstGeom>
        </p:spPr>
      </p:pic>
      <p:sp>
        <p:nvSpPr>
          <p:cNvPr id="17" name="TextBox 16"/>
          <p:cNvSpPr txBox="1"/>
          <p:nvPr userDrawn="1"/>
        </p:nvSpPr>
        <p:spPr>
          <a:xfrm>
            <a:off x="5837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Aset</a:t>
            </a:r>
          </a:p>
        </p:txBody>
      </p:sp>
      <p:sp>
        <p:nvSpPr>
          <p:cNvPr id="32" name="Text Placeholder 10"/>
          <p:cNvSpPr>
            <a:spLocks noGrp="1"/>
          </p:cNvSpPr>
          <p:nvPr>
            <p:ph type="body" sz="quarter" idx="17" hasCustomPrompt="1"/>
          </p:nvPr>
        </p:nvSpPr>
        <p:spPr>
          <a:xfrm>
            <a:off x="373428"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46" name="Picture 45"/>
          <p:cNvPicPr>
            <a:picLocks noChangeAspect="1"/>
          </p:cNvPicPr>
          <p:nvPr userDrawn="1"/>
        </p:nvPicPr>
        <p:blipFill>
          <a:blip r:embed="rId3"/>
          <a:srcRect/>
          <a:stretch>
            <a:fillRect/>
          </a:stretch>
        </p:blipFill>
        <p:spPr>
          <a:xfrm>
            <a:off x="2787597" y="2381992"/>
            <a:ext cx="720000" cy="720000"/>
          </a:xfrm>
          <a:prstGeom prst="rect">
            <a:avLst/>
          </a:prstGeom>
        </p:spPr>
      </p:pic>
      <p:sp>
        <p:nvSpPr>
          <p:cNvPr id="47" name="TextBox 46"/>
          <p:cNvSpPr txBox="1"/>
          <p:nvPr userDrawn="1"/>
        </p:nvSpPr>
        <p:spPr>
          <a:xfrm>
            <a:off x="2612230"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ndapatan</a:t>
            </a:r>
          </a:p>
        </p:txBody>
      </p:sp>
      <p:sp>
        <p:nvSpPr>
          <p:cNvPr id="48" name="Text Placeholder 10"/>
          <p:cNvSpPr>
            <a:spLocks noGrp="1"/>
          </p:cNvSpPr>
          <p:nvPr>
            <p:ph type="body" sz="quarter" idx="18" hasCustomPrompt="1"/>
          </p:nvPr>
        </p:nvSpPr>
        <p:spPr>
          <a:xfrm>
            <a:off x="2401924"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49" name="Picture 48"/>
          <p:cNvPicPr>
            <a:picLocks noChangeAspect="1"/>
          </p:cNvPicPr>
          <p:nvPr userDrawn="1"/>
        </p:nvPicPr>
        <p:blipFill>
          <a:blip r:embed="rId4"/>
          <a:srcRect/>
          <a:stretch>
            <a:fillRect/>
          </a:stretch>
        </p:blipFill>
        <p:spPr>
          <a:xfrm>
            <a:off x="4721501" y="2381992"/>
            <a:ext cx="720000" cy="720000"/>
          </a:xfrm>
          <a:prstGeom prst="rect">
            <a:avLst/>
          </a:prstGeom>
        </p:spPr>
      </p:pic>
      <p:sp>
        <p:nvSpPr>
          <p:cNvPr id="50" name="TextBox 49"/>
          <p:cNvSpPr txBox="1"/>
          <p:nvPr userDrawn="1"/>
        </p:nvSpPr>
        <p:spPr>
          <a:xfrm>
            <a:off x="45461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EBITDA</a:t>
            </a:r>
          </a:p>
        </p:txBody>
      </p:sp>
      <p:sp>
        <p:nvSpPr>
          <p:cNvPr id="51" name="Text Placeholder 10"/>
          <p:cNvSpPr>
            <a:spLocks noGrp="1"/>
          </p:cNvSpPr>
          <p:nvPr>
            <p:ph type="body" sz="quarter" idx="19" hasCustomPrompt="1"/>
          </p:nvPr>
        </p:nvSpPr>
        <p:spPr>
          <a:xfrm>
            <a:off x="4335828"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52" name="Picture 51"/>
          <p:cNvPicPr>
            <a:picLocks noChangeAspect="1"/>
          </p:cNvPicPr>
          <p:nvPr userDrawn="1"/>
        </p:nvPicPr>
        <p:blipFill>
          <a:blip r:embed="rId5"/>
          <a:srcRect/>
          <a:stretch>
            <a:fillRect/>
          </a:stretch>
        </p:blipFill>
        <p:spPr>
          <a:xfrm>
            <a:off x="6655404" y="2381992"/>
            <a:ext cx="720000" cy="720000"/>
          </a:xfrm>
          <a:prstGeom prst="rect">
            <a:avLst/>
          </a:prstGeom>
        </p:spPr>
      </p:pic>
      <p:sp>
        <p:nvSpPr>
          <p:cNvPr id="53" name="TextBox 52"/>
          <p:cNvSpPr txBox="1"/>
          <p:nvPr userDrawn="1"/>
        </p:nvSpPr>
        <p:spPr>
          <a:xfrm>
            <a:off x="6480037" y="2151727"/>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Bold" pitchFamily="2" charset="0"/>
                <a:ea typeface="Gotham Bold" pitchFamily="2" charset="0"/>
                <a:cs typeface="Gotham Bold" pitchFamily="2" charset="0"/>
              </a:rPr>
              <a:t>Value</a:t>
            </a:r>
            <a:endParaRPr lang="id-ID" sz="1000" b="1" i="0">
              <a:solidFill>
                <a:schemeClr val="accent1"/>
              </a:solidFill>
              <a:latin typeface="Gotham Bold" pitchFamily="2" charset="0"/>
              <a:ea typeface="Gotham Bold" pitchFamily="2" charset="0"/>
              <a:cs typeface="Gotham Bold" pitchFamily="2" charset="0"/>
            </a:endParaRPr>
          </a:p>
        </p:txBody>
      </p:sp>
      <p:sp>
        <p:nvSpPr>
          <p:cNvPr id="54" name="Text Placeholder 10"/>
          <p:cNvSpPr>
            <a:spLocks noGrp="1"/>
          </p:cNvSpPr>
          <p:nvPr>
            <p:ph type="body" sz="quarter" idx="20" hasCustomPrompt="1"/>
          </p:nvPr>
        </p:nvSpPr>
        <p:spPr>
          <a:xfrm>
            <a:off x="6269731" y="3135883"/>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57" name="Picture 56"/>
          <p:cNvPicPr>
            <a:picLocks noChangeAspect="1"/>
          </p:cNvPicPr>
          <p:nvPr userDrawn="1"/>
        </p:nvPicPr>
        <p:blipFill>
          <a:blip r:embed="rId6"/>
          <a:srcRect/>
          <a:stretch>
            <a:fillRect/>
          </a:stretch>
        </p:blipFill>
        <p:spPr>
          <a:xfrm>
            <a:off x="759101" y="4263344"/>
            <a:ext cx="720000" cy="720000"/>
          </a:xfrm>
          <a:prstGeom prst="rect">
            <a:avLst/>
          </a:prstGeom>
        </p:spPr>
      </p:pic>
      <p:sp>
        <p:nvSpPr>
          <p:cNvPr id="58" name="TextBox 57"/>
          <p:cNvSpPr txBox="1"/>
          <p:nvPr userDrawn="1"/>
        </p:nvSpPr>
        <p:spPr>
          <a:xfrm>
            <a:off x="5837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rsen</a:t>
            </a:r>
          </a:p>
        </p:txBody>
      </p:sp>
      <p:sp>
        <p:nvSpPr>
          <p:cNvPr id="59" name="Text Placeholder 10"/>
          <p:cNvSpPr>
            <a:spLocks noGrp="1"/>
          </p:cNvSpPr>
          <p:nvPr>
            <p:ph type="body" sz="quarter" idx="21" hasCustomPrompt="1"/>
          </p:nvPr>
        </p:nvSpPr>
        <p:spPr>
          <a:xfrm>
            <a:off x="373428"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84" name="Picture 83"/>
          <p:cNvPicPr>
            <a:picLocks noChangeAspect="1"/>
          </p:cNvPicPr>
          <p:nvPr userDrawn="1"/>
        </p:nvPicPr>
        <p:blipFill>
          <a:blip r:embed="rId7"/>
          <a:srcRect/>
          <a:stretch>
            <a:fillRect/>
          </a:stretch>
        </p:blipFill>
        <p:spPr>
          <a:xfrm>
            <a:off x="2787597" y="4263344"/>
            <a:ext cx="720000" cy="720000"/>
          </a:xfrm>
          <a:prstGeom prst="rect">
            <a:avLst/>
          </a:prstGeom>
        </p:spPr>
      </p:pic>
      <p:sp>
        <p:nvSpPr>
          <p:cNvPr id="85" name="TextBox 84"/>
          <p:cNvSpPr txBox="1"/>
          <p:nvPr userDrawn="1"/>
        </p:nvSpPr>
        <p:spPr>
          <a:xfrm>
            <a:off x="2612230" y="4033079"/>
            <a:ext cx="1070734" cy="186494"/>
          </a:xfrm>
          <a:prstGeom prst="rect">
            <a:avLst/>
          </a:prstGeom>
          <a:noFill/>
        </p:spPr>
        <p:txBody>
          <a:bodyPr wrap="none" lIns="0" rIns="0" bIns="0" rtlCol="0" anchor="b">
            <a:noAutofit/>
          </a:bodyPr>
          <a:lstStyle/>
          <a:p>
            <a:pPr algn="ctr"/>
            <a:r>
              <a:rPr lang="id-ID" sz="1000" b="1" i="0" err="1">
                <a:solidFill>
                  <a:schemeClr val="accent1"/>
                </a:solidFill>
                <a:latin typeface="Gotham Bold" pitchFamily="2" charset="0"/>
                <a:ea typeface="Gotham Bold" pitchFamily="2" charset="0"/>
                <a:cs typeface="Gotham Bold" pitchFamily="2" charset="0"/>
              </a:rPr>
              <a:t>Grow</a:t>
            </a:r>
            <a:endParaRPr lang="id-ID" sz="1000" b="1" i="0">
              <a:solidFill>
                <a:schemeClr val="accent1"/>
              </a:solidFill>
              <a:latin typeface="Gotham Bold" pitchFamily="2" charset="0"/>
              <a:ea typeface="Gotham Bold" pitchFamily="2" charset="0"/>
              <a:cs typeface="Gotham Bold" pitchFamily="2" charset="0"/>
            </a:endParaRPr>
          </a:p>
        </p:txBody>
      </p:sp>
      <p:sp>
        <p:nvSpPr>
          <p:cNvPr id="86" name="Text Placeholder 10"/>
          <p:cNvSpPr>
            <a:spLocks noGrp="1"/>
          </p:cNvSpPr>
          <p:nvPr>
            <p:ph type="body" sz="quarter" idx="22" hasCustomPrompt="1"/>
          </p:nvPr>
        </p:nvSpPr>
        <p:spPr>
          <a:xfrm>
            <a:off x="2401924"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pic>
        <p:nvPicPr>
          <p:cNvPr id="87" name="Picture 86"/>
          <p:cNvPicPr>
            <a:picLocks noChangeAspect="1"/>
          </p:cNvPicPr>
          <p:nvPr userDrawn="1"/>
        </p:nvPicPr>
        <p:blipFill>
          <a:blip r:embed="rId8"/>
          <a:srcRect/>
          <a:stretch>
            <a:fillRect/>
          </a:stretch>
        </p:blipFill>
        <p:spPr>
          <a:xfrm>
            <a:off x="4721501" y="4263344"/>
            <a:ext cx="720000" cy="720000"/>
          </a:xfrm>
          <a:prstGeom prst="rect">
            <a:avLst/>
          </a:prstGeom>
        </p:spPr>
      </p:pic>
      <p:sp>
        <p:nvSpPr>
          <p:cNvPr id="88" name="TextBox 87"/>
          <p:cNvSpPr txBox="1"/>
          <p:nvPr userDrawn="1"/>
        </p:nvSpPr>
        <p:spPr>
          <a:xfrm>
            <a:off x="45461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Gotham Bold" pitchFamily="2" charset="0"/>
                <a:ea typeface="Gotham Bold" pitchFamily="2" charset="0"/>
                <a:cs typeface="Gotham Bold" pitchFamily="2" charset="0"/>
              </a:rPr>
              <a:t>Pendapatan</a:t>
            </a:r>
          </a:p>
        </p:txBody>
      </p:sp>
      <p:sp>
        <p:nvSpPr>
          <p:cNvPr id="89" name="Text Placeholder 10"/>
          <p:cNvSpPr>
            <a:spLocks noGrp="1"/>
          </p:cNvSpPr>
          <p:nvPr>
            <p:ph type="body" sz="quarter" idx="23" hasCustomPrompt="1"/>
          </p:nvPr>
        </p:nvSpPr>
        <p:spPr>
          <a:xfrm>
            <a:off x="4335828" y="5017235"/>
            <a:ext cx="1512000" cy="365125"/>
          </a:xfrm>
        </p:spPr>
        <p:txBody>
          <a:bodyPr anchor="t"/>
          <a:lstStyle>
            <a:lvl1pPr marL="0" indent="0" algn="ctr">
              <a:lnSpc>
                <a:spcPts val="2800"/>
              </a:lnSpc>
              <a:spcBef>
                <a:spcPts val="0"/>
              </a:spcBef>
              <a:buNone/>
              <a:defRPr sz="2400" b="1" i="0">
                <a:solidFill>
                  <a:schemeClr val="accent3"/>
                </a:solidFill>
                <a:latin typeface="Gotham Bold" pitchFamily="2" charset="0"/>
                <a:cs typeface="Gotham Bold" pitchFamily="2" charset="0"/>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dirty="0"/>
              <a:t>Values</a:t>
            </a:r>
            <a:endParaRPr lang="id-ID" dirty="0"/>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MIND ID Presentation Color Scheme">
    <p:spTree>
      <p:nvGrpSpPr>
        <p:cNvPr id="1" name=""/>
        <p:cNvGrpSpPr/>
        <p:nvPr/>
      </p:nvGrpSpPr>
      <p:grpSpPr>
        <a:xfrm>
          <a:off x="0" y="0"/>
          <a:ext cx="0" cy="0"/>
          <a:chOff x="0" y="0"/>
          <a:chExt cx="0" cy="0"/>
        </a:xfrm>
      </p:grpSpPr>
      <p:sp>
        <p:nvSpPr>
          <p:cNvPr id="6" name="Rounded Rectangle 5"/>
          <p:cNvSpPr/>
          <p:nvPr userDrawn="1"/>
        </p:nvSpPr>
        <p:spPr>
          <a:xfrm>
            <a:off x="514144" y="1650267"/>
            <a:ext cx="937601" cy="2286209"/>
          </a:xfrm>
          <a:prstGeom prst="roundRect">
            <a:avLst>
              <a:gd name="adj" fmla="val 50000"/>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7" name="Rounded Rectangle 6"/>
          <p:cNvSpPr/>
          <p:nvPr userDrawn="1"/>
        </p:nvSpPr>
        <p:spPr>
          <a:xfrm>
            <a:off x="1749893" y="1650267"/>
            <a:ext cx="937601" cy="2286209"/>
          </a:xfrm>
          <a:prstGeom prst="roundRect">
            <a:avLst>
              <a:gd name="adj" fmla="val 50000"/>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Rounded Rectangle 7"/>
          <p:cNvSpPr/>
          <p:nvPr userDrawn="1"/>
        </p:nvSpPr>
        <p:spPr>
          <a:xfrm>
            <a:off x="3067549" y="1650267"/>
            <a:ext cx="937601" cy="2286209"/>
          </a:xfrm>
          <a:prstGeom prst="roundRect">
            <a:avLst>
              <a:gd name="adj" fmla="val 50000"/>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ounded Rectangle 8"/>
          <p:cNvSpPr/>
          <p:nvPr userDrawn="1"/>
        </p:nvSpPr>
        <p:spPr>
          <a:xfrm>
            <a:off x="4418996" y="1650267"/>
            <a:ext cx="937601" cy="2286209"/>
          </a:xfrm>
          <a:prstGeom prst="roundRect">
            <a:avLst>
              <a:gd name="adj" fmla="val 50000"/>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0" name="TextBox 9"/>
          <p:cNvSpPr txBox="1"/>
          <p:nvPr userDrawn="1"/>
        </p:nvSpPr>
        <p:spPr>
          <a:xfrm>
            <a:off x="565103" y="4225592"/>
            <a:ext cx="970137"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2 50 9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1" name="TextBox 10"/>
          <p:cNvSpPr txBox="1"/>
          <p:nvPr userDrawn="1"/>
        </p:nvSpPr>
        <p:spPr>
          <a:xfrm>
            <a:off x="1757517" y="4225592"/>
            <a:ext cx="93647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8 98 164</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2" name="TextBox 11"/>
          <p:cNvSpPr txBox="1"/>
          <p:nvPr userDrawn="1"/>
        </p:nvSpPr>
        <p:spPr>
          <a:xfrm>
            <a:off x="3085212" y="4225592"/>
            <a:ext cx="1154483" cy="523220"/>
          </a:xfrm>
          <a:prstGeom prst="rect">
            <a:avLst/>
          </a:prstGeom>
          <a:noFill/>
        </p:spPr>
        <p:txBody>
          <a:bodyPr wrap="none" rtlCol="0">
            <a:spAutoFit/>
          </a:bodyPr>
          <a:lstStyle/>
          <a:p>
            <a:r>
              <a:rPr lang="cs-CZ" sz="1400" b="0" i="0">
                <a:solidFill>
                  <a:schemeClr val="tx1">
                    <a:lumMod val="65000"/>
                    <a:lumOff val="35000"/>
                  </a:schemeClr>
                </a:solidFill>
                <a:latin typeface="Gotham Book" charset="0"/>
                <a:ea typeface="Proxima Nova Rg" charset="0"/>
                <a:cs typeface="Gotham Book" charset="0"/>
              </a:rPr>
              <a:t>RGB</a:t>
            </a:r>
          </a:p>
          <a:p>
            <a:r>
              <a:rPr lang="cs-CZ" sz="1400" b="0" i="0">
                <a:solidFill>
                  <a:schemeClr val="tx1">
                    <a:lumMod val="65000"/>
                    <a:lumOff val="35000"/>
                  </a:schemeClr>
                </a:solidFill>
                <a:latin typeface="Gotham Book" charset="0"/>
                <a:ea typeface="Proxima Nova Rg" charset="0"/>
                <a:cs typeface="Gotham Book" charset="0"/>
              </a:rPr>
              <a:t>60 166 222</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3" name="TextBox 12"/>
          <p:cNvSpPr txBox="1"/>
          <p:nvPr userDrawn="1"/>
        </p:nvSpPr>
        <p:spPr>
          <a:xfrm>
            <a:off x="4456316" y="4225592"/>
            <a:ext cx="1305165"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06 224 237</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4" name="Rounded Rectangle 13"/>
          <p:cNvSpPr/>
          <p:nvPr userDrawn="1"/>
        </p:nvSpPr>
        <p:spPr>
          <a:xfrm>
            <a:off x="5807968" y="1650267"/>
            <a:ext cx="937601" cy="2286209"/>
          </a:xfrm>
          <a:prstGeom prst="roundRect">
            <a:avLst>
              <a:gd name="adj" fmla="val 50000"/>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5" name="TextBox 14"/>
          <p:cNvSpPr txBox="1"/>
          <p:nvPr userDrawn="1"/>
        </p:nvSpPr>
        <p:spPr>
          <a:xfrm>
            <a:off x="5807968" y="4225592"/>
            <a:ext cx="1066318" cy="523220"/>
          </a:xfrm>
          <a:prstGeom prst="rect">
            <a:avLst/>
          </a:prstGeom>
          <a:noFill/>
        </p:spPr>
        <p:txBody>
          <a:bodyPr wrap="none" rtlCol="0">
            <a:spAutoFit/>
          </a:bodyPr>
          <a:lstStyle/>
          <a:p>
            <a:r>
              <a:rPr lang="is-IS" sz="1400" b="0" i="0">
                <a:solidFill>
                  <a:schemeClr val="tx1">
                    <a:lumMod val="65000"/>
                    <a:lumOff val="35000"/>
                  </a:schemeClr>
                </a:solidFill>
                <a:latin typeface="Gotham Book" charset="0"/>
                <a:ea typeface="Proxima Nova Rg" charset="0"/>
                <a:cs typeface="Gotham Book" charset="0"/>
              </a:rPr>
              <a:t>RGB</a:t>
            </a:r>
          </a:p>
          <a:p>
            <a:r>
              <a:rPr lang="is-IS" sz="1400" b="0" i="0">
                <a:solidFill>
                  <a:schemeClr val="tx1">
                    <a:lumMod val="65000"/>
                    <a:lumOff val="35000"/>
                  </a:schemeClr>
                </a:solidFill>
                <a:latin typeface="Gotham Book" charset="0"/>
                <a:ea typeface="Proxima Nova Rg" charset="0"/>
                <a:cs typeface="Gotham Book" charset="0"/>
              </a:rPr>
              <a:t>237 28 36</a:t>
            </a:r>
            <a:endParaRPr lang="id-ID" sz="1400" b="0" i="0">
              <a:solidFill>
                <a:schemeClr val="tx1">
                  <a:lumMod val="65000"/>
                  <a:lumOff val="35000"/>
                </a:schemeClr>
              </a:solidFill>
              <a:latin typeface="Gotham Book" charset="0"/>
              <a:ea typeface="Proxima Nova Rg" charset="0"/>
              <a:cs typeface="Gotham Book" charset="0"/>
            </a:endParaRPr>
          </a:p>
        </p:txBody>
      </p:sp>
      <p:sp>
        <p:nvSpPr>
          <p:cNvPr id="18" name="Title 17"/>
          <p:cNvSpPr>
            <a:spLocks noGrp="1"/>
          </p:cNvSpPr>
          <p:nvPr>
            <p:ph type="title" hasCustomPrompt="1"/>
          </p:nvPr>
        </p:nvSpPr>
        <p:spPr>
          <a:xfrm>
            <a:off x="334963" y="623455"/>
            <a:ext cx="6410606" cy="645305"/>
          </a:xfrm>
        </p:spPr>
        <p:txBody>
          <a:bodyPr/>
          <a:lstStyle>
            <a:lvl1pPr>
              <a:defRPr baseline="0"/>
            </a:lvl1pPr>
          </a:lstStyle>
          <a:p>
            <a:br>
              <a:rPr lang="en-US" dirty="0"/>
            </a:br>
            <a:r>
              <a:rPr lang="en-US" dirty="0"/>
              <a:t>Visual Assets -  Presentation Color Scheme</a:t>
            </a:r>
          </a:p>
        </p:txBody>
      </p:sp>
      <p:sp>
        <p:nvSpPr>
          <p:cNvPr id="19" name="Oval 18"/>
          <p:cNvSpPr/>
          <p:nvPr userDrawn="1"/>
        </p:nvSpPr>
        <p:spPr>
          <a:xfrm>
            <a:off x="531919" y="5038149"/>
            <a:ext cx="930719" cy="930719"/>
          </a:xfrm>
          <a:prstGeom prst="ellipse">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Oval 19"/>
          <p:cNvSpPr/>
          <p:nvPr userDrawn="1"/>
        </p:nvSpPr>
        <p:spPr>
          <a:xfrm>
            <a:off x="1761733" y="5038149"/>
            <a:ext cx="930719" cy="930719"/>
          </a:xfrm>
          <a:prstGeom prst="ellipse">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Oval 20"/>
          <p:cNvSpPr/>
          <p:nvPr userDrawn="1"/>
        </p:nvSpPr>
        <p:spPr>
          <a:xfrm>
            <a:off x="3075578" y="5038149"/>
            <a:ext cx="930719" cy="930719"/>
          </a:xfrm>
          <a:prstGeom prst="ellipse">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Oval 21"/>
          <p:cNvSpPr/>
          <p:nvPr userDrawn="1"/>
        </p:nvSpPr>
        <p:spPr>
          <a:xfrm>
            <a:off x="4419478" y="5038149"/>
            <a:ext cx="930719" cy="930719"/>
          </a:xfrm>
          <a:prstGeom prst="ellipse">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3" name="Oval 22"/>
          <p:cNvSpPr/>
          <p:nvPr userDrawn="1"/>
        </p:nvSpPr>
        <p:spPr>
          <a:xfrm>
            <a:off x="5808450" y="5038149"/>
            <a:ext cx="930719" cy="930719"/>
          </a:xfrm>
          <a:prstGeom prst="ellipse">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3" name="Date Placeholder 32"/>
          <p:cNvSpPr>
            <a:spLocks noGrp="1"/>
          </p:cNvSpPr>
          <p:nvPr>
            <p:ph type="dt" sz="half" idx="10"/>
          </p:nvPr>
        </p:nvSpPr>
        <p:spPr/>
        <p:txBody>
          <a:bodyPr/>
          <a:lstStyle/>
          <a:p>
            <a:r>
              <a:rPr lang="en-ID"/>
              <a:t>Thursday, 11 December 2021</a:t>
            </a:r>
            <a:endParaRPr lang="id-ID"/>
          </a:p>
        </p:txBody>
      </p:sp>
      <p:sp>
        <p:nvSpPr>
          <p:cNvPr id="34" name="Footer Placeholder 33"/>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35" name="Slide Number Placeholder 34"/>
          <p:cNvSpPr>
            <a:spLocks noGrp="1"/>
          </p:cNvSpPr>
          <p:nvPr>
            <p:ph type="sldNum" sz="quarter" idx="12"/>
          </p:nvPr>
        </p:nvSpPr>
        <p:spPr/>
        <p:txBody>
          <a:bodyPr/>
          <a:lstStyle/>
          <a:p>
            <a:r>
              <a:rPr lang="id-ID"/>
              <a:t>|          </a:t>
            </a:r>
            <a:fld id="{7904F5B5-DD6E-6442-8C14-4BFE420CE974}" type="slidenum">
              <a:rPr lang="id-ID" smtClean="0"/>
              <a:t>‹#›</a:t>
            </a:fld>
            <a:endParaRPr lang="id-ID"/>
          </a:p>
        </p:txBody>
      </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MIND ID Presentation Color Scheme">
    <p:spTree>
      <p:nvGrpSpPr>
        <p:cNvPr id="1" name=""/>
        <p:cNvGrpSpPr/>
        <p:nvPr/>
      </p:nvGrpSpPr>
      <p:grpSpPr>
        <a:xfrm>
          <a:off x="0" y="0"/>
          <a:ext cx="0" cy="0"/>
          <a:chOff x="0" y="0"/>
          <a:chExt cx="0" cy="0"/>
        </a:xfrm>
      </p:grpSpPr>
      <p:sp>
        <p:nvSpPr>
          <p:cNvPr id="18" name="Title 17"/>
          <p:cNvSpPr>
            <a:spLocks noGrp="1"/>
          </p:cNvSpPr>
          <p:nvPr>
            <p:ph type="title" hasCustomPrompt="1"/>
          </p:nvPr>
        </p:nvSpPr>
        <p:spPr>
          <a:xfrm>
            <a:off x="334963" y="623456"/>
            <a:ext cx="3500281" cy="523420"/>
          </a:xfrm>
        </p:spPr>
        <p:txBody>
          <a:bodyPr/>
          <a:lstStyle>
            <a:lvl1pPr>
              <a:defRPr baseline="0"/>
            </a:lvl1pPr>
          </a:lstStyle>
          <a:p>
            <a:br>
              <a:rPr lang="en-US" dirty="0"/>
            </a:br>
            <a:r>
              <a:rPr lang="en-US" dirty="0"/>
              <a:t>Visual Assets - Iconography Bank</a:t>
            </a:r>
          </a:p>
        </p:txBody>
      </p:sp>
      <p:sp>
        <p:nvSpPr>
          <p:cNvPr id="5" name="Slide Number Placeholder 4"/>
          <p:cNvSpPr>
            <a:spLocks noGrp="1"/>
          </p:cNvSpPr>
          <p:nvPr>
            <p:ph type="sldNum" sz="quarter" idx="12"/>
          </p:nvPr>
        </p:nvSpPr>
        <p:spPr/>
        <p:txBody>
          <a:bodyPr/>
          <a:lstStyle/>
          <a:p>
            <a:r>
              <a:rPr lang="id-ID"/>
              <a:t>|          </a:t>
            </a:r>
            <a:fld id="{7904F5B5-DD6E-6442-8C14-4BFE420CE974}" type="slidenum">
              <a:rPr lang="id-ID" smtClean="0"/>
              <a:t>‹#›</a:t>
            </a:fld>
            <a:endParaRPr lang="id-ID"/>
          </a:p>
        </p:txBody>
      </p:sp>
      <p:sp>
        <p:nvSpPr>
          <p:cNvPr id="2" name="Footer Placeholder 6"/>
          <p:cNvSpPr>
            <a:spLocks noGrp="1"/>
          </p:cNvSpPr>
          <p:nvPr>
            <p:ph type="ftr" sz="quarter" idx="11"/>
          </p:nvPr>
        </p:nvSpPr>
        <p:spPr>
          <a:xfrm>
            <a:off x="334963" y="6396327"/>
            <a:ext cx="10153525" cy="365125"/>
          </a:xfrm>
        </p:spPr>
        <p:txBody>
          <a:bodyPr/>
          <a:lstStyle/>
          <a:p>
            <a:pPr algn="l"/>
            <a:r>
              <a:rPr lang="en-US" sz="900" b="0" i="0" dirty="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dirty="0">
                <a:solidFill>
                  <a:schemeClr val="bg1">
                    <a:lumMod val="50000"/>
                  </a:schemeClr>
                </a:solidFill>
                <a:latin typeface="Gotham Book" charset="0"/>
                <a:ea typeface="Gotham Book" charset="0"/>
                <a:cs typeface="Gotham Book" charset="0"/>
              </a:rPr>
              <a:t> </a:t>
            </a:r>
            <a:r>
              <a:rPr lang="en-US" sz="900" b="0" i="0" dirty="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lose cover">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endParaRPr>
          </a:p>
        </p:txBody>
      </p:sp>
      <p:pic>
        <p:nvPicPr>
          <p:cNvPr id="14" name="Picture 13"/>
          <p:cNvPicPr>
            <a:picLocks noChangeAspect="1"/>
          </p:cNvPicPr>
          <p:nvPr userDrawn="1"/>
        </p:nvPicPr>
        <p:blipFill>
          <a:blip r:embed="rId2"/>
          <a:stretch>
            <a:fillRect/>
          </a:stretch>
        </p:blipFill>
        <p:spPr>
          <a:xfrm>
            <a:off x="9480376" y="5882751"/>
            <a:ext cx="1725229" cy="504000"/>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6" name="Picture 15"/>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550863" y="5962650"/>
            <a:ext cx="1336258" cy="260867"/>
          </a:xfrm>
          <a:prstGeom prst="rect">
            <a:avLst/>
          </a:prstGeom>
        </p:spPr>
      </p:pic>
      <p:sp>
        <p:nvSpPr>
          <p:cNvPr id="9" name="Text Placeholder 8"/>
          <p:cNvSpPr>
            <a:spLocks noGrp="1"/>
          </p:cNvSpPr>
          <p:nvPr>
            <p:ph type="body" sz="quarter" idx="13" hasCustomPrompt="1"/>
          </p:nvPr>
        </p:nvSpPr>
        <p:spPr>
          <a:xfrm>
            <a:off x="550863" y="1730829"/>
            <a:ext cx="5545137" cy="618052"/>
          </a:xfrm>
        </p:spPr>
        <p:txBody>
          <a:bodyPr/>
          <a:lstStyle>
            <a:lvl1pPr marL="0" indent="0">
              <a:buNone/>
              <a:defRPr sz="4800" b="0" i="0">
                <a:solidFill>
                  <a:schemeClr val="bg1"/>
                </a:solidFill>
                <a:latin typeface="Gotham Medium" charset="0"/>
                <a:cs typeface="Gotham Medium" charset="0"/>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dirty="0"/>
              <a:t>Terima kasih</a:t>
            </a:r>
          </a:p>
        </p:txBody>
      </p:sp>
      <p:sp>
        <p:nvSpPr>
          <p:cNvPr id="12" name="TextBox 11"/>
          <p:cNvSpPr txBox="1"/>
          <p:nvPr userDrawn="1"/>
        </p:nvSpPr>
        <p:spPr>
          <a:xfrm>
            <a:off x="575418"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Gotham Book" charset="0"/>
                <a:ea typeface="Gotham Book" charset="0"/>
                <a:cs typeface="Gotham Book" charset="0"/>
              </a:rPr>
              <a:t>Gedung Energy Lt. 16 SCBD</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Jl. Jenderal Sudirman Kav. 52-53 Jakarta 12190.</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P.O. BOX 6917 Jakarta Selatan, Indonesia</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Telp (+6221) 27938750.</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Fax (+6221) 27936331.</a:t>
            </a:r>
            <a:br>
              <a:rPr lang="en-US" sz="1050" noProof="1">
                <a:solidFill>
                  <a:schemeClr val="bg1"/>
                </a:solidFill>
                <a:latin typeface="Gotham Book" charset="0"/>
                <a:ea typeface="Gotham Book" charset="0"/>
                <a:cs typeface="Gotham Book" charset="0"/>
              </a:rPr>
            </a:br>
            <a:r>
              <a:rPr lang="en-US" sz="1050" noProof="1">
                <a:solidFill>
                  <a:schemeClr val="bg1"/>
                </a:solidFill>
                <a:latin typeface="Gotham Book" charset="0"/>
                <a:ea typeface="Gotham Book" charset="0"/>
                <a:cs typeface="Gotham Book" charset="0"/>
              </a:rPr>
              <a:t>e-mail : corsec@mind.id</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0713"/>
            <a:ext cx="9074355" cy="576039"/>
          </a:xfrm>
          <a:prstGeom prst="rect">
            <a:avLst/>
          </a:prstGeom>
        </p:spPr>
        <p:txBody>
          <a:bodyPr vert="horz"/>
          <a:lstStyle>
            <a:lvl1pPr>
              <a:defRPr>
                <a:latin typeface="+mj-lt"/>
                <a:ea typeface="+mj-ea"/>
                <a:cs typeface="+mj-cs"/>
              </a:defRPr>
            </a:lvl1pPr>
          </a:lstStyle>
          <a:p>
            <a:br>
              <a:rPr lang="en-US"/>
            </a:br>
            <a:r>
              <a:rPr lang="en-US"/>
              <a:t>Click to edit Title text</a:t>
            </a:r>
            <a:endParaRPr lang="id-ID"/>
          </a:p>
        </p:txBody>
      </p:sp>
      <p:sp>
        <p:nvSpPr>
          <p:cNvPr id="3" name="Content Placeholder 2"/>
          <p:cNvSpPr>
            <a:spLocks noGrp="1"/>
          </p:cNvSpPr>
          <p:nvPr>
            <p:ph sz="half" idx="1" hasCustomPrompt="1"/>
          </p:nvPr>
        </p:nvSpPr>
        <p:spPr>
          <a:xfrm>
            <a:off x="334963" y="1704977"/>
            <a:ext cx="5684837" cy="3884264"/>
          </a:xfrm>
          <a:prstGeom prst="rect">
            <a:avLst/>
          </a:prstGeom>
        </p:spPr>
        <p:txBody>
          <a:bodyPr/>
          <a:lstStyle>
            <a:lvl1pPr marL="179705" indent="-179705">
              <a:lnSpc>
                <a:spcPts val="2200"/>
              </a:lnSpc>
              <a:spcBef>
                <a:spcPts val="600"/>
              </a:spcBef>
              <a:defRPr sz="2000">
                <a:latin typeface="+mn-lt"/>
                <a:ea typeface="+mn-ea"/>
                <a:cs typeface="+mn-cs"/>
              </a:defRPr>
            </a:lvl1pPr>
            <a:lvl2pPr marL="179705" indent="-179705">
              <a:lnSpc>
                <a:spcPts val="2200"/>
              </a:lnSpc>
              <a:spcBef>
                <a:spcPts val="600"/>
              </a:spcBef>
              <a:defRPr sz="1800">
                <a:latin typeface="+mn-lt"/>
                <a:ea typeface="+mn-ea"/>
                <a:cs typeface="+mn-cs"/>
              </a:defRPr>
            </a:lvl2pPr>
            <a:lvl3pPr marL="179705" indent="-179705">
              <a:lnSpc>
                <a:spcPts val="2200"/>
              </a:lnSpc>
              <a:spcBef>
                <a:spcPts val="600"/>
              </a:spcBef>
              <a:defRPr sz="1600">
                <a:latin typeface="+mn-lt"/>
                <a:ea typeface="+mn-ea"/>
                <a:cs typeface="+mn-cs"/>
              </a:defRPr>
            </a:lvl3pPr>
            <a:lvl4pPr marL="179705" indent="-179705">
              <a:lnSpc>
                <a:spcPts val="2200"/>
              </a:lnSpc>
              <a:spcBef>
                <a:spcPts val="600"/>
              </a:spcBef>
              <a:defRPr sz="1400">
                <a:latin typeface="+mn-lt"/>
                <a:ea typeface="+mn-ea"/>
                <a:cs typeface="+mn-cs"/>
              </a:defRPr>
            </a:lvl4pPr>
            <a:lvl5pPr marL="179705" indent="-179705">
              <a:lnSpc>
                <a:spcPts val="2200"/>
              </a:lnSpc>
              <a:spcBef>
                <a:spcPts val="600"/>
              </a:spcBef>
              <a:defRPr sz="1400">
                <a:latin typeface="+mn-lt"/>
                <a:ea typeface="+mn-ea"/>
                <a:cs typeface="+mn-cs"/>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hasCustomPrompt="1"/>
          </p:nvPr>
        </p:nvSpPr>
        <p:spPr>
          <a:xfrm>
            <a:off x="6172200" y="1704977"/>
            <a:ext cx="5648324" cy="3884264"/>
          </a:xfrm>
          <a:prstGeom prst="rect">
            <a:avLst/>
          </a:prstGeom>
        </p:spPr>
        <p:txBody>
          <a:bodyPr/>
          <a:lstStyle>
            <a:lvl1pPr marL="179705" indent="-179705">
              <a:lnSpc>
                <a:spcPts val="2200"/>
              </a:lnSpc>
              <a:spcBef>
                <a:spcPts val="600"/>
              </a:spcBef>
              <a:defRPr sz="2000">
                <a:latin typeface="+mn-lt"/>
                <a:ea typeface="+mn-ea"/>
                <a:cs typeface="+mn-cs"/>
              </a:defRPr>
            </a:lvl1pPr>
            <a:lvl2pPr marL="179705" indent="-179705">
              <a:lnSpc>
                <a:spcPts val="2200"/>
              </a:lnSpc>
              <a:spcBef>
                <a:spcPts val="600"/>
              </a:spcBef>
              <a:defRPr sz="1800">
                <a:latin typeface="+mn-lt"/>
                <a:ea typeface="+mn-ea"/>
                <a:cs typeface="+mn-cs"/>
              </a:defRPr>
            </a:lvl2pPr>
            <a:lvl3pPr marL="179705" indent="-179705">
              <a:lnSpc>
                <a:spcPts val="2200"/>
              </a:lnSpc>
              <a:spcBef>
                <a:spcPts val="600"/>
              </a:spcBef>
              <a:defRPr sz="1600">
                <a:latin typeface="+mn-lt"/>
                <a:ea typeface="+mn-ea"/>
                <a:cs typeface="+mn-cs"/>
              </a:defRPr>
            </a:lvl3pPr>
            <a:lvl4pPr marL="179705" indent="-179705">
              <a:lnSpc>
                <a:spcPts val="2200"/>
              </a:lnSpc>
              <a:spcBef>
                <a:spcPts val="600"/>
              </a:spcBef>
              <a:defRPr sz="1400">
                <a:latin typeface="+mn-lt"/>
                <a:ea typeface="+mn-ea"/>
                <a:cs typeface="+mn-cs"/>
              </a:defRPr>
            </a:lvl4pPr>
            <a:lvl5pPr marL="179705" indent="-179705">
              <a:lnSpc>
                <a:spcPts val="2200"/>
              </a:lnSpc>
              <a:spcBef>
                <a:spcPts val="600"/>
              </a:spcBef>
              <a:defRPr sz="1400">
                <a:latin typeface="+mn-lt"/>
                <a:ea typeface="+mn-ea"/>
                <a:cs typeface="+mn-cs"/>
              </a:defRPr>
            </a:lvl5p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9" name="Footer Placeholder 8"/>
          <p:cNvSpPr>
            <a:spLocks noGrp="1"/>
          </p:cNvSpPr>
          <p:nvPr>
            <p:ph type="ftr" sz="quarter" idx="11"/>
          </p:nvPr>
        </p:nvSpPr>
        <p:spPr/>
        <p:txBody>
          <a:bodyPr/>
          <a:lstStyle/>
          <a:p>
            <a:pPr algn="l"/>
            <a:endParaRPr lang="en-US">
              <a:solidFill>
                <a:schemeClr val="bg1">
                  <a:lumMod val="50000"/>
                </a:schemeClr>
              </a:solidFill>
            </a:endParaRPr>
          </a:p>
        </p:txBody>
      </p:sp>
      <p:sp>
        <p:nvSpPr>
          <p:cNvPr id="11" name="Date Placeholder 3"/>
          <p:cNvSpPr>
            <a:spLocks noGrp="1"/>
          </p:cNvSpPr>
          <p:nvPr>
            <p:ph type="dt" sz="half" idx="1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
        <p:nvSpPr>
          <p:cNvPr id="12"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mn-lt"/>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0713"/>
            <a:ext cx="9074355" cy="576039"/>
          </a:xfrm>
          <a:prstGeom prst="rect">
            <a:avLst/>
          </a:prstGeom>
        </p:spPr>
        <p:txBody>
          <a:bodyPr vert="horz"/>
          <a:lstStyle>
            <a:lvl1pPr>
              <a:defRPr>
                <a:solidFill>
                  <a:schemeClr val="tx2"/>
                </a:solidFill>
                <a:latin typeface="+mj-lt"/>
                <a:ea typeface="+mj-ea"/>
                <a:cs typeface="+mj-cs"/>
              </a:defRPr>
            </a:lvl1pPr>
          </a:lstStyle>
          <a:p>
            <a:br>
              <a:rPr lang="en-US"/>
            </a:br>
            <a:r>
              <a:rPr lang="en-US"/>
              <a:t>Click to edit Title custom layout</a:t>
            </a:r>
            <a:endParaRPr lang="id-ID"/>
          </a:p>
        </p:txBody>
      </p:sp>
      <p:sp>
        <p:nvSpPr>
          <p:cNvPr id="7" name="Footer Placeholder 6"/>
          <p:cNvSpPr>
            <a:spLocks noGrp="1"/>
          </p:cNvSpPr>
          <p:nvPr>
            <p:ph type="ftr" sz="quarter" idx="11"/>
          </p:nvPr>
        </p:nvSpPr>
        <p:spPr/>
        <p:txBody>
          <a:bodyPr/>
          <a:lstStyle/>
          <a:p>
            <a:pPr algn="l"/>
            <a:endParaRPr lang="en-US">
              <a:solidFill>
                <a:schemeClr val="bg1">
                  <a:lumMod val="50000"/>
                </a:schemeClr>
              </a:solidFill>
            </a:endParaRPr>
          </a:p>
        </p:txBody>
      </p:sp>
      <p:sp>
        <p:nvSpPr>
          <p:cNvPr id="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
        <p:nvSpPr>
          <p:cNvPr id="1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mn-lt"/>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oter Placeholder 5"/>
          <p:cNvSpPr>
            <a:spLocks noGrp="1"/>
          </p:cNvSpPr>
          <p:nvPr>
            <p:ph type="ftr" sz="quarter" idx="11"/>
          </p:nvPr>
        </p:nvSpPr>
        <p:spPr/>
        <p:txBody>
          <a:bodyPr/>
          <a:lstStyle/>
          <a:p>
            <a:pPr algn="l"/>
            <a:endParaRPr lang="en-US">
              <a:solidFill>
                <a:schemeClr val="bg1">
                  <a:lumMod val="50000"/>
                </a:schemeClr>
              </a:solidFill>
            </a:endParaRP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mn-lt"/>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mp; Coloums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3455"/>
            <a:ext cx="11485562" cy="717313"/>
          </a:xfrm>
        </p:spPr>
        <p:txBody>
          <a:bodyPr vert="horz"/>
          <a:lstStyle>
            <a:lvl1pPr>
              <a:defRPr>
                <a:latin typeface="+mj-lt"/>
                <a:ea typeface="+mj-ea"/>
                <a:cs typeface="+mj-cs"/>
              </a:defRPr>
            </a:lvl1pPr>
          </a:lstStyle>
          <a:p>
            <a:br>
              <a:rPr lang="en-US"/>
            </a:br>
            <a:r>
              <a:rPr lang="en-US"/>
              <a:t>Click to edit Title text. Ex. Strategy</a:t>
            </a:r>
            <a:endParaRPr lang="id-ID"/>
          </a:p>
        </p:txBody>
      </p:sp>
      <p:sp>
        <p:nvSpPr>
          <p:cNvPr id="10" name="Text Placeholder 9"/>
          <p:cNvSpPr>
            <a:spLocks noGrp="1"/>
          </p:cNvSpPr>
          <p:nvPr>
            <p:ph type="body" sz="quarter" idx="14" hasCustomPrompt="1"/>
          </p:nvPr>
        </p:nvSpPr>
        <p:spPr>
          <a:xfrm>
            <a:off x="334962" y="1604590"/>
            <a:ext cx="11485563" cy="720081"/>
          </a:xfrm>
        </p:spPr>
        <p:txBody>
          <a:bodyPr/>
          <a:lstStyle>
            <a:lvl1pPr marL="0" indent="0" algn="ctr">
              <a:buNone/>
              <a:defRPr sz="4000" b="1" i="0">
                <a:solidFill>
                  <a:schemeClr val="accent2"/>
                </a:solidFill>
                <a:latin typeface="+mj-lt"/>
                <a:ea typeface="+mn-ea"/>
                <a:cs typeface="+mn-cs"/>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a:t>
            </a:r>
          </a:p>
        </p:txBody>
      </p:sp>
      <p:sp>
        <p:nvSpPr>
          <p:cNvPr id="12" name="Text Placeholder 11"/>
          <p:cNvSpPr>
            <a:spLocks noGrp="1"/>
          </p:cNvSpPr>
          <p:nvPr>
            <p:ph type="body" sz="quarter" idx="15" hasCustomPrompt="1"/>
          </p:nvPr>
        </p:nvSpPr>
        <p:spPr>
          <a:xfrm>
            <a:off x="334963" y="2777924"/>
            <a:ext cx="3384277" cy="795167"/>
          </a:xfrm>
        </p:spPr>
        <p:txBody>
          <a:bodyPr rIns="0" bIns="0" anchor="ctr" anchorCtr="0"/>
          <a:lstStyle>
            <a:lvl1pPr marL="0" indent="0" algn="ctr">
              <a:lnSpc>
                <a:spcPct val="100000"/>
              </a:lnSpc>
              <a:buNone/>
              <a:defRPr sz="1800" b="0" i="0">
                <a:solidFill>
                  <a:schemeClr val="accent2"/>
                </a:solidFill>
                <a:latin typeface="+mn-lt"/>
                <a:ea typeface="+mn-ea"/>
                <a:cs typeface="+mn-cs"/>
              </a:defRPr>
            </a:lvl1pPr>
          </a:lstStyle>
          <a:p>
            <a:pPr lvl="0"/>
            <a:r>
              <a:rPr lang="en-US"/>
              <a:t>CLICK TO EDIT MASTER TEXT STYLES</a:t>
            </a:r>
            <a:endParaRPr lang="id-ID"/>
          </a:p>
        </p:txBody>
      </p:sp>
      <p:sp>
        <p:nvSpPr>
          <p:cNvPr id="13" name="Text Placeholder 11"/>
          <p:cNvSpPr>
            <a:spLocks noGrp="1"/>
          </p:cNvSpPr>
          <p:nvPr>
            <p:ph type="body" sz="quarter" idx="16" hasCustomPrompt="1"/>
          </p:nvPr>
        </p:nvSpPr>
        <p:spPr>
          <a:xfrm>
            <a:off x="4223792" y="2777924"/>
            <a:ext cx="3744416" cy="795167"/>
          </a:xfrm>
        </p:spPr>
        <p:txBody>
          <a:bodyPr rIns="0" bIns="0" anchor="ctr" anchorCtr="0"/>
          <a:lstStyle>
            <a:lvl1pPr marL="0" indent="0" algn="ctr">
              <a:lnSpc>
                <a:spcPct val="100000"/>
              </a:lnSpc>
              <a:buNone/>
              <a:defRPr sz="1800" b="0" i="0">
                <a:solidFill>
                  <a:schemeClr val="accent2"/>
                </a:solidFill>
                <a:latin typeface="+mn-lt"/>
                <a:ea typeface="+mn-ea"/>
                <a:cs typeface="+mn-cs"/>
              </a:defRPr>
            </a:lvl1pPr>
          </a:lstStyle>
          <a:p>
            <a:pPr lvl="0"/>
            <a:r>
              <a:rPr lang="en-US"/>
              <a:t>CLICK TO EDIT MASTER TEXT STYLES</a:t>
            </a:r>
            <a:endParaRPr lang="id-ID"/>
          </a:p>
        </p:txBody>
      </p:sp>
      <p:sp>
        <p:nvSpPr>
          <p:cNvPr id="14" name="Text Placeholder 11"/>
          <p:cNvSpPr>
            <a:spLocks noGrp="1"/>
          </p:cNvSpPr>
          <p:nvPr>
            <p:ph type="body" sz="quarter" idx="17" hasCustomPrompt="1"/>
          </p:nvPr>
        </p:nvSpPr>
        <p:spPr>
          <a:xfrm>
            <a:off x="8399736" y="2777924"/>
            <a:ext cx="3420789" cy="795167"/>
          </a:xfrm>
        </p:spPr>
        <p:txBody>
          <a:bodyPr rIns="0" bIns="0" anchor="ctr" anchorCtr="0"/>
          <a:lstStyle>
            <a:lvl1pPr marL="0" indent="0" algn="ctr">
              <a:lnSpc>
                <a:spcPct val="100000"/>
              </a:lnSpc>
              <a:buNone/>
              <a:defRPr sz="1800" b="0" i="0">
                <a:solidFill>
                  <a:schemeClr val="accent2"/>
                </a:solidFill>
                <a:latin typeface="+mn-lt"/>
                <a:ea typeface="+mn-ea"/>
                <a:cs typeface="+mn-cs"/>
              </a:defRPr>
            </a:lvl1pPr>
          </a:lstStyle>
          <a:p>
            <a:pPr lvl="0"/>
            <a:r>
              <a:rPr lang="en-US"/>
              <a:t>CLICK TO EDIT MASTER TEXT STYLES</a:t>
            </a:r>
            <a:endParaRPr lang="id-ID"/>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mn-lt"/>
                <a:ea typeface="+mn-ea"/>
                <a:cs typeface="+mn-cs"/>
              </a:defRPr>
            </a:lvl1pPr>
          </a:lstStyle>
          <a:p>
            <a:pPr lvl="0"/>
            <a:r>
              <a:rPr lang="en-US"/>
              <a:t>2.</a:t>
            </a:r>
            <a:endParaRPr lang="id-ID"/>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mn-lt"/>
                <a:ea typeface="+mn-ea"/>
                <a:cs typeface="+mn-cs"/>
              </a:defRPr>
            </a:lvl1pPr>
          </a:lstStyle>
          <a:p>
            <a:pPr lvl="0"/>
            <a:r>
              <a:rPr lang="en-US"/>
              <a:t>3.</a:t>
            </a:r>
            <a:endParaRPr lang="id-ID"/>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mn-lt"/>
                <a:ea typeface="+mn-ea"/>
                <a:cs typeface="+mn-cs"/>
              </a:defRPr>
            </a:lvl1pPr>
          </a:lstStyle>
          <a:p>
            <a:pPr lvl="0"/>
            <a:r>
              <a:rPr lang="en-US"/>
              <a:t>4.</a:t>
            </a:r>
            <a:endParaRPr lang="id-ID"/>
          </a:p>
        </p:txBody>
      </p:sp>
      <p:sp>
        <p:nvSpPr>
          <p:cNvPr id="20" name="Text Placeholder 11"/>
          <p:cNvSpPr>
            <a:spLocks noGrp="1"/>
          </p:cNvSpPr>
          <p:nvPr>
            <p:ph type="body" sz="quarter" idx="22" hasCustomPrompt="1"/>
          </p:nvPr>
        </p:nvSpPr>
        <p:spPr>
          <a:xfrm>
            <a:off x="7438813" y="3691633"/>
            <a:ext cx="673409" cy="588268"/>
          </a:xfrm>
        </p:spPr>
        <p:txBody>
          <a:bodyPr anchor="t" anchorCtr="0"/>
          <a:lstStyle>
            <a:lvl1pPr marL="0" indent="0" algn="ctr">
              <a:lnSpc>
                <a:spcPct val="100000"/>
              </a:lnSpc>
              <a:buNone/>
              <a:defRPr sz="4400" b="1" i="0">
                <a:solidFill>
                  <a:schemeClr val="tx1">
                    <a:lumMod val="50000"/>
                    <a:lumOff val="50000"/>
                  </a:schemeClr>
                </a:solidFill>
                <a:latin typeface="+mn-lt"/>
                <a:ea typeface="+mn-ea"/>
                <a:cs typeface="+mn-cs"/>
              </a:defRPr>
            </a:lvl1pPr>
          </a:lstStyle>
          <a:p>
            <a:pPr lvl="0"/>
            <a:r>
              <a:rPr lang="en-US"/>
              <a:t>5.</a:t>
            </a:r>
            <a:endParaRPr lang="id-ID"/>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p>
          <a:p>
            <a:pPr lvl="0"/>
            <a:r>
              <a:rPr lang="en-US"/>
              <a:t>Sixth level</a:t>
            </a:r>
          </a:p>
          <a:p>
            <a:pPr lvl="0"/>
            <a:r>
              <a:rPr lang="en-US"/>
              <a:t>Seventh level</a:t>
            </a:r>
            <a:endParaRPr lang="id-ID"/>
          </a:p>
        </p:txBody>
      </p:sp>
      <p:sp>
        <p:nvSpPr>
          <p:cNvPr id="28" name="Text Placeholder 11"/>
          <p:cNvSpPr>
            <a:spLocks noGrp="1"/>
          </p:cNvSpPr>
          <p:nvPr>
            <p:ph type="body" sz="quarter" idx="29" hasCustomPrompt="1"/>
          </p:nvPr>
        </p:nvSpPr>
        <p:spPr>
          <a:xfrm>
            <a:off x="334962" y="3691633"/>
            <a:ext cx="789233" cy="588268"/>
          </a:xfrm>
        </p:spPr>
        <p:txBody>
          <a:bodyPr lIns="0"/>
          <a:lstStyle>
            <a:lvl1pPr marL="0" indent="0" algn="ctr">
              <a:lnSpc>
                <a:spcPct val="100000"/>
              </a:lnSpc>
              <a:spcBef>
                <a:spcPts val="0"/>
              </a:spcBef>
              <a:buNone/>
              <a:defRPr sz="4400" b="1" i="0">
                <a:solidFill>
                  <a:schemeClr val="tx1">
                    <a:lumMod val="50000"/>
                    <a:lumOff val="50000"/>
                  </a:schemeClr>
                </a:solidFill>
                <a:latin typeface="+mn-lt"/>
                <a:ea typeface="+mn-ea"/>
                <a:cs typeface="+mn-cs"/>
              </a:defRPr>
            </a:lvl1pPr>
          </a:lstStyle>
          <a:p>
            <a:pPr lvl="0"/>
            <a:r>
              <a:rPr lang="en-US"/>
              <a:t>1.</a:t>
            </a:r>
            <a:endParaRPr lang="id-ID"/>
          </a:p>
        </p:txBody>
      </p:sp>
      <p:cxnSp>
        <p:nvCxnSpPr>
          <p:cNvPr id="32" name="Straight Connector 31"/>
          <p:cNvCxnSpPr/>
          <p:nvPr userDrawn="1"/>
        </p:nvCxnSpPr>
        <p:spPr>
          <a:xfrm flipV="1">
            <a:off x="200170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flipV="1">
            <a:off x="3790541"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flipV="1">
            <a:off x="5546062"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flipV="1">
            <a:off x="7328784" y="3691634"/>
            <a:ext cx="0" cy="252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a:xfrm>
            <a:off x="9056012" y="40720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a:off x="9056012" y="444981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9056012" y="483525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9056012" y="5198151"/>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9056012" y="5551140"/>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userDrawn="1"/>
        </p:nvCxnSpPr>
        <p:spPr>
          <a:xfrm>
            <a:off x="9056012" y="5915372"/>
            <a:ext cx="2610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
        <p:nvSpPr>
          <p:cNvPr id="3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mn-lt"/>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mp; Coloums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3455"/>
            <a:ext cx="11485562" cy="717313"/>
          </a:xfrm>
        </p:spPr>
        <p:txBody>
          <a:bodyPr vert="horz"/>
          <a:lstStyle>
            <a:lvl1pPr>
              <a:defRPr>
                <a:latin typeface="+mj-lt"/>
                <a:ea typeface="+mj-ea"/>
                <a:cs typeface="+mj-cs"/>
              </a:defRPr>
            </a:lvl1pPr>
          </a:lstStyle>
          <a:p>
            <a:br>
              <a:rPr lang="en-US"/>
            </a:br>
            <a:r>
              <a:rPr lang="en-US"/>
              <a:t>Click to edit Title text. Ex. Strategy</a:t>
            </a:r>
            <a:endParaRPr lang="id-ID"/>
          </a:p>
        </p:txBody>
      </p:sp>
      <p:sp>
        <p:nvSpPr>
          <p:cNvPr id="10" name="Text Placeholder 9"/>
          <p:cNvSpPr>
            <a:spLocks noGrp="1"/>
          </p:cNvSpPr>
          <p:nvPr>
            <p:ph type="body" sz="quarter" idx="14" hasCustomPrompt="1"/>
          </p:nvPr>
        </p:nvSpPr>
        <p:spPr>
          <a:xfrm>
            <a:off x="332913" y="1604182"/>
            <a:ext cx="11487612" cy="720081"/>
          </a:xfrm>
        </p:spPr>
        <p:txBody>
          <a:bodyPr/>
          <a:lstStyle>
            <a:lvl1pPr marL="0" indent="0" algn="ctr">
              <a:buNone/>
              <a:defRPr sz="4000" b="1" i="0">
                <a:solidFill>
                  <a:schemeClr val="accent2"/>
                </a:solidFill>
                <a:latin typeface="+mj-lt"/>
                <a:ea typeface="+mn-ea"/>
                <a:cs typeface="+mn-cs"/>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INING INDUSTRY INDONESIA</a:t>
            </a:r>
          </a:p>
        </p:txBody>
      </p:sp>
      <p:sp>
        <p:nvSpPr>
          <p:cNvPr id="12" name="Text Placeholder 11"/>
          <p:cNvSpPr>
            <a:spLocks noGrp="1"/>
          </p:cNvSpPr>
          <p:nvPr>
            <p:ph type="body" sz="quarter" idx="15" hasCustomPrompt="1"/>
          </p:nvPr>
        </p:nvSpPr>
        <p:spPr>
          <a:xfrm>
            <a:off x="332913" y="2780928"/>
            <a:ext cx="3386328" cy="792163"/>
          </a:xfrm>
        </p:spPr>
        <p:txBody>
          <a:bodyPr rIns="0" bIns="0" anchor="ctr" anchorCtr="0"/>
          <a:lstStyle>
            <a:lvl1pPr marL="0" indent="0" algn="ctr">
              <a:lnSpc>
                <a:spcPct val="100000"/>
              </a:lnSpc>
              <a:buNone/>
              <a:defRPr sz="1800" b="0" i="0">
                <a:solidFill>
                  <a:schemeClr val="accent2"/>
                </a:solidFill>
                <a:latin typeface="+mn-lt"/>
                <a:ea typeface="+mn-ea"/>
                <a:cs typeface="+mn-cs"/>
              </a:defRPr>
            </a:lvl1pPr>
          </a:lstStyle>
          <a:p>
            <a:pPr lvl="0"/>
            <a:r>
              <a:rPr lang="en-US"/>
              <a:t>CLICK TO EDIT MASTER TEXT STYLES</a:t>
            </a:r>
            <a:endParaRPr lang="id-ID"/>
          </a:p>
        </p:txBody>
      </p:sp>
      <p:sp>
        <p:nvSpPr>
          <p:cNvPr id="13" name="Text Placeholder 11"/>
          <p:cNvSpPr>
            <a:spLocks noGrp="1"/>
          </p:cNvSpPr>
          <p:nvPr>
            <p:ph type="body" sz="quarter" idx="16" hasCustomPrompt="1"/>
          </p:nvPr>
        </p:nvSpPr>
        <p:spPr>
          <a:xfrm>
            <a:off x="4223792" y="2780928"/>
            <a:ext cx="3744416" cy="792163"/>
          </a:xfrm>
        </p:spPr>
        <p:txBody>
          <a:bodyPr rIns="0" bIns="0" anchor="ctr" anchorCtr="0"/>
          <a:lstStyle>
            <a:lvl1pPr marL="0" indent="0" algn="ctr">
              <a:lnSpc>
                <a:spcPct val="100000"/>
              </a:lnSpc>
              <a:buNone/>
              <a:defRPr sz="1800" b="0" i="0" baseline="0">
                <a:solidFill>
                  <a:schemeClr val="accent2"/>
                </a:solidFill>
                <a:latin typeface="+mn-lt"/>
                <a:ea typeface="+mn-ea"/>
                <a:cs typeface="+mn-cs"/>
              </a:defRPr>
            </a:lvl1pPr>
          </a:lstStyle>
          <a:p>
            <a:pPr lvl="0"/>
            <a:r>
              <a:rPr lang="en-US"/>
              <a:t>PENGEMBANGAN BISNIS HILIRISASI</a:t>
            </a:r>
            <a:endParaRPr lang="id-ID"/>
          </a:p>
        </p:txBody>
      </p:sp>
      <p:sp>
        <p:nvSpPr>
          <p:cNvPr id="14" name="Text Placeholder 11"/>
          <p:cNvSpPr>
            <a:spLocks noGrp="1"/>
          </p:cNvSpPr>
          <p:nvPr>
            <p:ph type="body" sz="quarter" idx="17" hasCustomPrompt="1"/>
          </p:nvPr>
        </p:nvSpPr>
        <p:spPr>
          <a:xfrm>
            <a:off x="8399736" y="2780928"/>
            <a:ext cx="3420789" cy="792163"/>
          </a:xfrm>
        </p:spPr>
        <p:txBody>
          <a:bodyPr rIns="0" bIns="0" anchor="ctr" anchorCtr="0"/>
          <a:lstStyle>
            <a:lvl1pPr marL="0" indent="0" algn="ctr">
              <a:lnSpc>
                <a:spcPct val="100000"/>
              </a:lnSpc>
              <a:buNone/>
              <a:defRPr sz="1800" b="0" i="0">
                <a:solidFill>
                  <a:schemeClr val="accent2"/>
                </a:solidFill>
                <a:latin typeface="+mn-lt"/>
                <a:ea typeface="+mn-ea"/>
                <a:cs typeface="+mn-cs"/>
              </a:defRPr>
            </a:lvl1pPr>
          </a:lstStyle>
          <a:p>
            <a:pPr lvl="0"/>
            <a:r>
              <a:rPr lang="en-US"/>
              <a:t>CLICK TO EDIT MASTER TEXT STYLES</a:t>
            </a:r>
            <a:endParaRPr lang="id-ID"/>
          </a:p>
        </p:txBody>
      </p:sp>
      <p:sp>
        <p:nvSpPr>
          <p:cNvPr id="17" name="Text Placeholder 11"/>
          <p:cNvSpPr>
            <a:spLocks noGrp="1"/>
          </p:cNvSpPr>
          <p:nvPr>
            <p:ph type="body" sz="quarter" idx="19" hasCustomPrompt="1"/>
          </p:nvPr>
        </p:nvSpPr>
        <p:spPr>
          <a:xfrm>
            <a:off x="2108160" y="3691633"/>
            <a:ext cx="791282" cy="588268"/>
          </a:xfrm>
        </p:spPr>
        <p:txBody>
          <a:bodyPr lIns="0"/>
          <a:lstStyle>
            <a:lvl1pPr marL="0" indent="0" algn="ctr">
              <a:lnSpc>
                <a:spcPct val="100000"/>
              </a:lnSpc>
              <a:spcBef>
                <a:spcPts val="0"/>
              </a:spcBef>
              <a:buNone/>
              <a:defRPr sz="4400" b="1" i="0">
                <a:solidFill>
                  <a:schemeClr val="tx1">
                    <a:lumMod val="50000"/>
                    <a:lumOff val="50000"/>
                  </a:schemeClr>
                </a:solidFill>
                <a:latin typeface="+mn-lt"/>
                <a:ea typeface="+mn-ea"/>
                <a:cs typeface="+mn-cs"/>
              </a:defRPr>
            </a:lvl1pPr>
          </a:lstStyle>
          <a:p>
            <a:pPr lvl="0"/>
            <a:r>
              <a:rPr lang="en-US"/>
              <a:t>2.</a:t>
            </a:r>
            <a:endParaRPr lang="id-ID"/>
          </a:p>
        </p:txBody>
      </p:sp>
      <p:sp>
        <p:nvSpPr>
          <p:cNvPr id="18" name="Text Placeholder 11"/>
          <p:cNvSpPr>
            <a:spLocks noGrp="1"/>
          </p:cNvSpPr>
          <p:nvPr>
            <p:ph type="body" sz="quarter" idx="20" hasCustomPrompt="1"/>
          </p:nvPr>
        </p:nvSpPr>
        <p:spPr>
          <a:xfrm>
            <a:off x="3883406" y="3691633"/>
            <a:ext cx="788516" cy="588268"/>
          </a:xfrm>
        </p:spPr>
        <p:txBody>
          <a:bodyPr/>
          <a:lstStyle>
            <a:lvl1pPr marL="0" indent="0" algn="ctr">
              <a:lnSpc>
                <a:spcPct val="100000"/>
              </a:lnSpc>
              <a:buNone/>
              <a:defRPr sz="4400" b="1" i="0">
                <a:solidFill>
                  <a:schemeClr val="tx1">
                    <a:lumMod val="50000"/>
                    <a:lumOff val="50000"/>
                  </a:schemeClr>
                </a:solidFill>
                <a:latin typeface="+mn-lt"/>
                <a:ea typeface="+mn-ea"/>
                <a:cs typeface="+mn-cs"/>
              </a:defRPr>
            </a:lvl1pPr>
          </a:lstStyle>
          <a:p>
            <a:pPr lvl="0"/>
            <a:r>
              <a:rPr lang="en-US"/>
              <a:t>3.</a:t>
            </a:r>
            <a:endParaRPr lang="id-ID"/>
          </a:p>
        </p:txBody>
      </p:sp>
      <p:sp>
        <p:nvSpPr>
          <p:cNvPr id="19" name="Text Placeholder 11"/>
          <p:cNvSpPr>
            <a:spLocks noGrp="1"/>
          </p:cNvSpPr>
          <p:nvPr>
            <p:ph type="body" sz="quarter" idx="21" hasCustomPrompt="1"/>
          </p:nvPr>
        </p:nvSpPr>
        <p:spPr>
          <a:xfrm>
            <a:off x="5662852" y="3691633"/>
            <a:ext cx="788516" cy="588268"/>
          </a:xfrm>
        </p:spPr>
        <p:txBody>
          <a:bodyPr/>
          <a:lstStyle>
            <a:lvl1pPr marL="0" indent="0" algn="ctr">
              <a:lnSpc>
                <a:spcPct val="100000"/>
              </a:lnSpc>
              <a:buNone/>
              <a:defRPr sz="4400" b="1" i="0">
                <a:solidFill>
                  <a:schemeClr val="tx1">
                    <a:lumMod val="50000"/>
                    <a:lumOff val="50000"/>
                  </a:schemeClr>
                </a:solidFill>
                <a:latin typeface="+mn-lt"/>
                <a:ea typeface="+mn-ea"/>
                <a:cs typeface="+mn-cs"/>
              </a:defRPr>
            </a:lvl1pPr>
          </a:lstStyle>
          <a:p>
            <a:pPr lvl="0"/>
            <a:r>
              <a:rPr lang="en-US"/>
              <a:t>4.</a:t>
            </a:r>
            <a:endParaRPr lang="id-ID"/>
          </a:p>
        </p:txBody>
      </p:sp>
      <p:sp>
        <p:nvSpPr>
          <p:cNvPr id="20" name="Text Placeholder 11"/>
          <p:cNvSpPr>
            <a:spLocks noGrp="1"/>
          </p:cNvSpPr>
          <p:nvPr>
            <p:ph type="body" sz="quarter" idx="22" hasCustomPrompt="1"/>
          </p:nvPr>
        </p:nvSpPr>
        <p:spPr>
          <a:xfrm>
            <a:off x="7438814" y="3691633"/>
            <a:ext cx="673410" cy="588268"/>
          </a:xfrm>
        </p:spPr>
        <p:txBody>
          <a:bodyPr anchor="t" anchorCtr="0"/>
          <a:lstStyle>
            <a:lvl1pPr marL="0" indent="0" algn="ctr">
              <a:lnSpc>
                <a:spcPct val="100000"/>
              </a:lnSpc>
              <a:buNone/>
              <a:defRPr sz="4400" b="1" i="0">
                <a:solidFill>
                  <a:schemeClr val="tx1">
                    <a:lumMod val="50000"/>
                    <a:lumOff val="50000"/>
                  </a:schemeClr>
                </a:solidFill>
                <a:latin typeface="+mn-lt"/>
                <a:ea typeface="+mn-ea"/>
                <a:cs typeface="+mn-cs"/>
              </a:defRPr>
            </a:lvl1pPr>
          </a:lstStyle>
          <a:p>
            <a:pPr lvl="0"/>
            <a:r>
              <a:rPr lang="en-US"/>
              <a:t>5.</a:t>
            </a:r>
            <a:endParaRPr lang="id-ID"/>
          </a:p>
        </p:txBody>
      </p:sp>
      <p:sp>
        <p:nvSpPr>
          <p:cNvPr id="22" name="Text Placeholder 21"/>
          <p:cNvSpPr>
            <a:spLocks noGrp="1"/>
          </p:cNvSpPr>
          <p:nvPr>
            <p:ph type="body" sz="quarter" idx="23"/>
          </p:nvPr>
        </p:nvSpPr>
        <p:spPr>
          <a:xfrm>
            <a:off x="2110926"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3" name="Text Placeholder 21"/>
          <p:cNvSpPr>
            <a:spLocks noGrp="1"/>
          </p:cNvSpPr>
          <p:nvPr>
            <p:ph type="body" sz="quarter" idx="24"/>
          </p:nvPr>
        </p:nvSpPr>
        <p:spPr>
          <a:xfrm>
            <a:off x="334963"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4" name="Text Placeholder 21"/>
          <p:cNvSpPr>
            <a:spLocks noGrp="1"/>
          </p:cNvSpPr>
          <p:nvPr>
            <p:ph type="body" sz="quarter" idx="25"/>
          </p:nvPr>
        </p:nvSpPr>
        <p:spPr>
          <a:xfrm>
            <a:off x="3886889"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5" name="Text Placeholder 21"/>
          <p:cNvSpPr>
            <a:spLocks noGrp="1"/>
          </p:cNvSpPr>
          <p:nvPr>
            <p:ph type="body" sz="quarter" idx="26"/>
          </p:nvPr>
        </p:nvSpPr>
        <p:spPr>
          <a:xfrm>
            <a:off x="5662852" y="4336606"/>
            <a:ext cx="1577032"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Text Placeholder 21"/>
          <p:cNvSpPr>
            <a:spLocks noGrp="1"/>
          </p:cNvSpPr>
          <p:nvPr>
            <p:ph type="body" sz="quarter" idx="27"/>
          </p:nvPr>
        </p:nvSpPr>
        <p:spPr>
          <a:xfrm>
            <a:off x="7438814" y="4336606"/>
            <a:ext cx="1465498" cy="2059718"/>
          </a:xfrm>
        </p:spPr>
        <p:txBody>
          <a:bodyPr lIns="0" rIns="0" bIns="0">
            <a:noAutofit/>
          </a:bodyPr>
          <a:lstStyle>
            <a:lvl1pPr marL="0" indent="0" algn="l">
              <a:lnSpc>
                <a:spcPct val="120000"/>
              </a:lnSpc>
              <a:spcBef>
                <a:spcPts val="0"/>
              </a:spcBef>
              <a:buNone/>
              <a:defRPr sz="14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7" name="Text Placeholder 21"/>
          <p:cNvSpPr>
            <a:spLocks noGrp="1"/>
          </p:cNvSpPr>
          <p:nvPr>
            <p:ph type="body" sz="quarter" idx="28"/>
          </p:nvPr>
        </p:nvSpPr>
        <p:spPr>
          <a:xfrm>
            <a:off x="9056012" y="3778275"/>
            <a:ext cx="2539088" cy="2618049"/>
          </a:xfrm>
        </p:spPr>
        <p:txBody>
          <a:bodyPr lIns="0" rIns="0" bIns="0">
            <a:noAutofit/>
          </a:bodyPr>
          <a:lstStyle>
            <a:lvl1pPr marL="0" indent="0" algn="l">
              <a:lnSpc>
                <a:spcPts val="1300"/>
              </a:lnSpc>
              <a:spcBef>
                <a:spcPts val="0"/>
              </a:spcBef>
              <a:spcAft>
                <a:spcPts val="1600"/>
              </a:spcAft>
              <a:buNone/>
              <a:defRPr sz="11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p>
          <a:p>
            <a:pPr lvl="0"/>
            <a:r>
              <a:rPr lang="en-US"/>
              <a:t>Sixth level</a:t>
            </a:r>
          </a:p>
          <a:p>
            <a:pPr lvl="0"/>
            <a:r>
              <a:rPr lang="en-US"/>
              <a:t>Seventh level</a:t>
            </a:r>
            <a:endParaRPr lang="id-ID"/>
          </a:p>
        </p:txBody>
      </p:sp>
      <p:sp>
        <p:nvSpPr>
          <p:cNvPr id="28" name="Text Placeholder 11"/>
          <p:cNvSpPr>
            <a:spLocks noGrp="1"/>
          </p:cNvSpPr>
          <p:nvPr>
            <p:ph type="body" sz="quarter" idx="29" hasCustomPrompt="1"/>
          </p:nvPr>
        </p:nvSpPr>
        <p:spPr>
          <a:xfrm>
            <a:off x="332912" y="3691633"/>
            <a:ext cx="791283" cy="588268"/>
          </a:xfrm>
        </p:spPr>
        <p:txBody>
          <a:bodyPr lIns="0"/>
          <a:lstStyle>
            <a:lvl1pPr marL="0" indent="0" algn="ctr">
              <a:lnSpc>
                <a:spcPct val="100000"/>
              </a:lnSpc>
              <a:spcBef>
                <a:spcPts val="0"/>
              </a:spcBef>
              <a:buNone/>
              <a:defRPr sz="4400" b="1" i="0">
                <a:solidFill>
                  <a:schemeClr val="tx1">
                    <a:lumMod val="50000"/>
                    <a:lumOff val="50000"/>
                  </a:schemeClr>
                </a:solidFill>
                <a:latin typeface="+mn-lt"/>
                <a:ea typeface="+mn-ea"/>
                <a:cs typeface="+mn-cs"/>
              </a:defRPr>
            </a:lvl1pPr>
          </a:lstStyle>
          <a:p>
            <a:pPr lvl="0"/>
            <a:r>
              <a:rPr lang="en-US"/>
              <a:t>1.</a:t>
            </a:r>
            <a:endParaRPr lang="id-ID"/>
          </a:p>
        </p:txBody>
      </p:sp>
      <p:sp>
        <p:nvSpPr>
          <p:cNvPr id="21"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mn-lt"/>
                <a:ea typeface="Gotham Book" charset="0"/>
                <a:cs typeface="Gotham Book" charset="0"/>
              </a:defRPr>
            </a:lvl1pPr>
          </a:lstStyle>
          <a:p>
            <a:endParaRPr lang="id-ID"/>
          </a:p>
        </p:txBody>
      </p:sp>
      <p:sp>
        <p:nvSpPr>
          <p:cNvPr id="29"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mn-lt"/>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amp; Coloums Mix 1">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3455"/>
            <a:ext cx="4700588" cy="717313"/>
          </a:xfrm>
        </p:spPr>
        <p:txBody>
          <a:bodyPr vert="horz"/>
          <a:lstStyle>
            <a:lvl1pPr>
              <a:defRPr>
                <a:latin typeface="+mj-lt"/>
                <a:ea typeface="+mj-ea"/>
                <a:cs typeface="+mj-cs"/>
              </a:defRPr>
            </a:lvl1pPr>
          </a:lstStyle>
          <a:p>
            <a:br>
              <a:rPr lang="en-US"/>
            </a:br>
            <a:r>
              <a:rPr lang="en-US"/>
              <a:t>Click to edit Title text. Ex. MIND ID Group</a:t>
            </a:r>
            <a:endParaRPr lang="id-ID"/>
          </a:p>
        </p:txBody>
      </p:sp>
      <p:sp>
        <p:nvSpPr>
          <p:cNvPr id="17" name="Picture Placeholder 4"/>
          <p:cNvSpPr>
            <a:spLocks noGrp="1"/>
          </p:cNvSpPr>
          <p:nvPr>
            <p:ph type="pic" sz="quarter" idx="35"/>
          </p:nvPr>
        </p:nvSpPr>
        <p:spPr>
          <a:xfrm>
            <a:off x="334962" y="3086301"/>
            <a:ext cx="1308101" cy="751562"/>
          </a:xfrm>
          <a:prstGeom prst="roundRect">
            <a:avLst>
              <a:gd name="adj" fmla="val 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1712608"/>
            <a:ext cx="1308101" cy="629156"/>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21" name="Text Placeholder 21"/>
          <p:cNvSpPr>
            <a:spLocks noGrp="1"/>
          </p:cNvSpPr>
          <p:nvPr>
            <p:ph type="body" sz="quarter" idx="37"/>
          </p:nvPr>
        </p:nvSpPr>
        <p:spPr>
          <a:xfrm>
            <a:off x="33496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2" name="Picture Placeholder 4"/>
          <p:cNvSpPr>
            <a:spLocks noGrp="1"/>
          </p:cNvSpPr>
          <p:nvPr>
            <p:ph type="pic" sz="quarter" idx="38"/>
          </p:nvPr>
        </p:nvSpPr>
        <p:spPr>
          <a:xfrm>
            <a:off x="2031206" y="3086301"/>
            <a:ext cx="1308101" cy="751562"/>
          </a:xfrm>
          <a:prstGeom prst="roundRect">
            <a:avLst>
              <a:gd name="adj" fmla="val 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1712608"/>
            <a:ext cx="1308101" cy="629156"/>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25" name="Text Placeholder 21"/>
          <p:cNvSpPr>
            <a:spLocks noGrp="1"/>
          </p:cNvSpPr>
          <p:nvPr>
            <p:ph type="body" sz="quarter" idx="40"/>
          </p:nvPr>
        </p:nvSpPr>
        <p:spPr>
          <a:xfrm>
            <a:off x="2031206"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Picture Placeholder 4"/>
          <p:cNvSpPr>
            <a:spLocks noGrp="1"/>
          </p:cNvSpPr>
          <p:nvPr>
            <p:ph type="pic" sz="quarter" idx="41"/>
          </p:nvPr>
        </p:nvSpPr>
        <p:spPr>
          <a:xfrm>
            <a:off x="3727450" y="3086301"/>
            <a:ext cx="1308101" cy="751562"/>
          </a:xfrm>
          <a:prstGeom prst="roundRect">
            <a:avLst>
              <a:gd name="adj" fmla="val 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0" name="Picture Placeholder 4"/>
          <p:cNvSpPr>
            <a:spLocks noGrp="1"/>
          </p:cNvSpPr>
          <p:nvPr>
            <p:ph type="pic" sz="quarter" idx="44"/>
          </p:nvPr>
        </p:nvSpPr>
        <p:spPr>
          <a:xfrm>
            <a:off x="5423694" y="3086301"/>
            <a:ext cx="1308101" cy="751562"/>
          </a:xfrm>
          <a:prstGeom prst="roundRect">
            <a:avLst>
              <a:gd name="adj" fmla="val 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1712608"/>
            <a:ext cx="1308101" cy="629156"/>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2" name="Text Placeholder 21"/>
          <p:cNvSpPr>
            <a:spLocks noGrp="1"/>
          </p:cNvSpPr>
          <p:nvPr>
            <p:ph type="body" sz="quarter" idx="46"/>
          </p:nvPr>
        </p:nvSpPr>
        <p:spPr>
          <a:xfrm>
            <a:off x="542369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3" name="Picture Placeholder 4"/>
          <p:cNvSpPr>
            <a:spLocks noGrp="1"/>
          </p:cNvSpPr>
          <p:nvPr>
            <p:ph type="pic" sz="quarter" idx="47"/>
          </p:nvPr>
        </p:nvSpPr>
        <p:spPr>
          <a:xfrm>
            <a:off x="7119938" y="3086301"/>
            <a:ext cx="1308101" cy="751562"/>
          </a:xfrm>
          <a:prstGeom prst="roundRect">
            <a:avLst>
              <a:gd name="adj" fmla="val 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1712608"/>
            <a:ext cx="1308101" cy="629156"/>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5" name="Text Placeholder 21"/>
          <p:cNvSpPr>
            <a:spLocks noGrp="1"/>
          </p:cNvSpPr>
          <p:nvPr>
            <p:ph type="body" sz="quarter" idx="49"/>
          </p:nvPr>
        </p:nvSpPr>
        <p:spPr>
          <a:xfrm>
            <a:off x="7119938"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7" name="Picture Placeholder 4"/>
          <p:cNvSpPr>
            <a:spLocks noGrp="1"/>
          </p:cNvSpPr>
          <p:nvPr>
            <p:ph type="pic" sz="quarter" idx="50"/>
          </p:nvPr>
        </p:nvSpPr>
        <p:spPr>
          <a:xfrm>
            <a:off x="8816182" y="3086301"/>
            <a:ext cx="1308101" cy="751562"/>
          </a:xfrm>
          <a:prstGeom prst="roundRect">
            <a:avLst>
              <a:gd name="adj" fmla="val 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1712608"/>
            <a:ext cx="1308101" cy="629156"/>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9" name="Text Placeholder 21"/>
          <p:cNvSpPr>
            <a:spLocks noGrp="1"/>
          </p:cNvSpPr>
          <p:nvPr>
            <p:ph type="body" sz="quarter" idx="52"/>
          </p:nvPr>
        </p:nvSpPr>
        <p:spPr>
          <a:xfrm>
            <a:off x="8816182"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0" name="Picture Placeholder 4"/>
          <p:cNvSpPr>
            <a:spLocks noGrp="1"/>
          </p:cNvSpPr>
          <p:nvPr>
            <p:ph type="pic" sz="quarter" idx="53"/>
          </p:nvPr>
        </p:nvSpPr>
        <p:spPr>
          <a:xfrm>
            <a:off x="10512424" y="3086301"/>
            <a:ext cx="1308101" cy="751562"/>
          </a:xfrm>
          <a:prstGeom prst="roundRect">
            <a:avLst>
              <a:gd name="adj" fmla="val 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1712608"/>
            <a:ext cx="1308101" cy="629156"/>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42" name="Text Placeholder 21"/>
          <p:cNvSpPr>
            <a:spLocks noGrp="1"/>
          </p:cNvSpPr>
          <p:nvPr>
            <p:ph type="body" sz="quarter" idx="55"/>
          </p:nvPr>
        </p:nvSpPr>
        <p:spPr>
          <a:xfrm>
            <a:off x="10512424" y="3935379"/>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3" name="Text Placeholder 21"/>
          <p:cNvSpPr>
            <a:spLocks noGrp="1"/>
          </p:cNvSpPr>
          <p:nvPr>
            <p:ph type="body" sz="quarter" idx="56" hasCustomPrompt="1"/>
          </p:nvPr>
        </p:nvSpPr>
        <p:spPr>
          <a:xfrm>
            <a:off x="334961" y="5640779"/>
            <a:ext cx="11485564" cy="621798"/>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44" name="Picture Placeholder 6"/>
          <p:cNvSpPr>
            <a:spLocks noGrp="1"/>
          </p:cNvSpPr>
          <p:nvPr>
            <p:ph type="pic" sz="quarter" idx="58"/>
          </p:nvPr>
        </p:nvSpPr>
        <p:spPr>
          <a:xfrm>
            <a:off x="2031383" y="2598788"/>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2598788"/>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2598788"/>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2598788"/>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2598788"/>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2598788"/>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2598788"/>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1712626"/>
            <a:ext cx="1308101" cy="629247"/>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 name="Date Placeholder 2"/>
          <p:cNvSpPr>
            <a:spLocks noGrp="1"/>
          </p:cNvSpPr>
          <p:nvPr>
            <p:ph type="dt" sz="half" idx="65"/>
          </p:nvPr>
        </p:nvSpPr>
        <p:spPr/>
        <p:txBody>
          <a:bodyPr/>
          <a:lstStyle>
            <a:lvl1pPr>
              <a:defRPr>
                <a:latin typeface="+mn-lt"/>
              </a:defRPr>
            </a:lvl1pPr>
          </a:lstStyle>
          <a:p>
            <a:endParaRPr lang="id-ID"/>
          </a:p>
        </p:txBody>
      </p:sp>
      <p:sp>
        <p:nvSpPr>
          <p:cNvPr id="4" name="Footer Placeholder 3"/>
          <p:cNvSpPr>
            <a:spLocks noGrp="1"/>
          </p:cNvSpPr>
          <p:nvPr>
            <p:ph type="ftr" sz="quarter" idx="66"/>
          </p:nvPr>
        </p:nvSpPr>
        <p:spPr/>
        <p:txBody>
          <a:bodyPr/>
          <a:lstStyle/>
          <a:p>
            <a:pPr algn="l"/>
            <a:endParaRPr lang="en-US">
              <a:solidFill>
                <a:schemeClr val="bg1">
                  <a:lumMod val="50000"/>
                </a:schemeClr>
              </a:solidFill>
            </a:endParaRPr>
          </a:p>
        </p:txBody>
      </p:sp>
      <p:sp>
        <p:nvSpPr>
          <p:cNvPr id="5" name="Slide Number Placeholder 4"/>
          <p:cNvSpPr>
            <a:spLocks noGrp="1"/>
          </p:cNvSpPr>
          <p:nvPr>
            <p:ph type="sldNum" sz="quarter" idx="67"/>
          </p:nvPr>
        </p:nvSpPr>
        <p:spPr/>
        <p:txBody>
          <a:bodyPr/>
          <a:lstStyle>
            <a:lvl1pPr>
              <a:defRPr>
                <a:latin typeface="+mn-lt"/>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mp; Coloums Mix 2">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3455"/>
            <a:ext cx="4700588" cy="717313"/>
          </a:xfrm>
        </p:spPr>
        <p:txBody>
          <a:bodyPr vert="horz"/>
          <a:lstStyle>
            <a:lvl1pPr>
              <a:defRPr>
                <a:latin typeface="+mj-lt"/>
                <a:ea typeface="+mj-ea"/>
                <a:cs typeface="+mj-cs"/>
              </a:defRPr>
            </a:lvl1pPr>
          </a:lstStyle>
          <a:p>
            <a:br>
              <a:rPr lang="en-US"/>
            </a:br>
            <a:r>
              <a:rPr lang="en-US"/>
              <a:t>Click to edit Title text. Ex. MIND ID Group</a:t>
            </a:r>
            <a:endParaRPr lang="id-ID"/>
          </a:p>
        </p:txBody>
      </p:sp>
      <p:pic>
        <p:nvPicPr>
          <p:cNvPr id="36" name="Picture 35"/>
          <p:cNvPicPr>
            <a:picLocks noChangeAspect="1"/>
          </p:cNvPicPr>
          <p:nvPr userDrawn="1"/>
        </p:nvPicPr>
        <p:blipFill>
          <a:blip r:embed="rId5"/>
          <a:stretch>
            <a:fillRect/>
          </a:stretch>
        </p:blipFill>
        <p:spPr>
          <a:xfrm>
            <a:off x="5534706" y="1090969"/>
            <a:ext cx="1122589" cy="324000"/>
          </a:xfrm>
          <a:prstGeom prst="rect">
            <a:avLst/>
          </a:prstGeom>
        </p:spPr>
      </p:pic>
      <p:sp>
        <p:nvSpPr>
          <p:cNvPr id="17" name="Picture Placeholder 4"/>
          <p:cNvSpPr>
            <a:spLocks noGrp="1"/>
          </p:cNvSpPr>
          <p:nvPr>
            <p:ph type="pic" sz="quarter" idx="35"/>
          </p:nvPr>
        </p:nvSpPr>
        <p:spPr>
          <a:xfrm>
            <a:off x="334962" y="3460974"/>
            <a:ext cx="1308101" cy="751562"/>
          </a:xfrm>
          <a:prstGeom prst="roundRect">
            <a:avLst>
              <a:gd name="adj" fmla="val 50000"/>
            </a:avLst>
          </a:prstGeom>
        </p:spPr>
        <p:txBody>
          <a:bodyPr anchor="ctr"/>
          <a:lstStyle>
            <a:lvl1pPr algn="ctr">
              <a:defRPr sz="1400"/>
            </a:lvl1pPr>
          </a:lstStyle>
          <a:p>
            <a:endParaRPr lang="id-ID"/>
          </a:p>
        </p:txBody>
      </p:sp>
      <p:sp>
        <p:nvSpPr>
          <p:cNvPr id="18" name="Text Placeholder 11"/>
          <p:cNvSpPr>
            <a:spLocks noGrp="1"/>
          </p:cNvSpPr>
          <p:nvPr>
            <p:ph type="body" sz="quarter" idx="36" hasCustomPrompt="1"/>
          </p:nvPr>
        </p:nvSpPr>
        <p:spPr>
          <a:xfrm>
            <a:off x="334962" y="2124148"/>
            <a:ext cx="1308101" cy="770289"/>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21" name="Text Placeholder 21"/>
          <p:cNvSpPr>
            <a:spLocks noGrp="1"/>
          </p:cNvSpPr>
          <p:nvPr>
            <p:ph type="body" sz="quarter" idx="37"/>
          </p:nvPr>
        </p:nvSpPr>
        <p:spPr>
          <a:xfrm>
            <a:off x="33496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2" name="Picture Placeholder 4"/>
          <p:cNvSpPr>
            <a:spLocks noGrp="1"/>
          </p:cNvSpPr>
          <p:nvPr>
            <p:ph type="pic" sz="quarter" idx="38"/>
          </p:nvPr>
        </p:nvSpPr>
        <p:spPr>
          <a:xfrm>
            <a:off x="2031206" y="3460974"/>
            <a:ext cx="1308101" cy="751562"/>
          </a:xfrm>
          <a:prstGeom prst="roundRect">
            <a:avLst>
              <a:gd name="adj" fmla="val 50000"/>
            </a:avLst>
          </a:prstGeom>
        </p:spPr>
        <p:txBody>
          <a:bodyPr anchor="ctr"/>
          <a:lstStyle>
            <a:lvl1pPr algn="ctr">
              <a:defRPr sz="1400"/>
            </a:lvl1pPr>
          </a:lstStyle>
          <a:p>
            <a:endParaRPr lang="id-ID"/>
          </a:p>
        </p:txBody>
      </p:sp>
      <p:sp>
        <p:nvSpPr>
          <p:cNvPr id="24" name="Text Placeholder 11"/>
          <p:cNvSpPr>
            <a:spLocks noGrp="1"/>
          </p:cNvSpPr>
          <p:nvPr>
            <p:ph type="body" sz="quarter" idx="39" hasCustomPrompt="1"/>
          </p:nvPr>
        </p:nvSpPr>
        <p:spPr>
          <a:xfrm>
            <a:off x="2031206" y="2124148"/>
            <a:ext cx="1308101" cy="770289"/>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25" name="Text Placeholder 21"/>
          <p:cNvSpPr>
            <a:spLocks noGrp="1"/>
          </p:cNvSpPr>
          <p:nvPr>
            <p:ph type="body" sz="quarter" idx="40"/>
          </p:nvPr>
        </p:nvSpPr>
        <p:spPr>
          <a:xfrm>
            <a:off x="2031206"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26" name="Picture Placeholder 4"/>
          <p:cNvSpPr>
            <a:spLocks noGrp="1"/>
          </p:cNvSpPr>
          <p:nvPr>
            <p:ph type="pic" sz="quarter" idx="41"/>
          </p:nvPr>
        </p:nvSpPr>
        <p:spPr>
          <a:xfrm>
            <a:off x="3727450" y="3460974"/>
            <a:ext cx="1308101" cy="751562"/>
          </a:xfrm>
          <a:prstGeom prst="roundRect">
            <a:avLst>
              <a:gd name="adj" fmla="val 50000"/>
            </a:avLst>
          </a:prstGeom>
        </p:spPr>
        <p:txBody>
          <a:bodyPr anchor="ctr"/>
          <a:lstStyle>
            <a:lvl1pPr algn="ctr">
              <a:defRPr sz="1400"/>
            </a:lvl1pPr>
          </a:lstStyle>
          <a:p>
            <a:endParaRPr lang="id-ID"/>
          </a:p>
        </p:txBody>
      </p:sp>
      <p:sp>
        <p:nvSpPr>
          <p:cNvPr id="29" name="Text Placeholder 21"/>
          <p:cNvSpPr>
            <a:spLocks noGrp="1"/>
          </p:cNvSpPr>
          <p:nvPr>
            <p:ph type="body" sz="quarter" idx="43"/>
          </p:nvPr>
        </p:nvSpPr>
        <p:spPr>
          <a:xfrm>
            <a:off x="3727450"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0" name="Picture Placeholder 4"/>
          <p:cNvSpPr>
            <a:spLocks noGrp="1"/>
          </p:cNvSpPr>
          <p:nvPr>
            <p:ph type="pic" sz="quarter" idx="44"/>
          </p:nvPr>
        </p:nvSpPr>
        <p:spPr>
          <a:xfrm>
            <a:off x="5423694" y="3460974"/>
            <a:ext cx="1308101" cy="751562"/>
          </a:xfrm>
          <a:prstGeom prst="roundRect">
            <a:avLst>
              <a:gd name="adj" fmla="val 50000"/>
            </a:avLst>
          </a:prstGeom>
        </p:spPr>
        <p:txBody>
          <a:bodyPr anchor="ctr"/>
          <a:lstStyle>
            <a:lvl1pPr algn="ctr">
              <a:defRPr sz="1400"/>
            </a:lvl1pPr>
          </a:lstStyle>
          <a:p>
            <a:endParaRPr lang="id-ID"/>
          </a:p>
        </p:txBody>
      </p:sp>
      <p:sp>
        <p:nvSpPr>
          <p:cNvPr id="31" name="Text Placeholder 11"/>
          <p:cNvSpPr>
            <a:spLocks noGrp="1"/>
          </p:cNvSpPr>
          <p:nvPr>
            <p:ph type="body" sz="quarter" idx="45" hasCustomPrompt="1"/>
          </p:nvPr>
        </p:nvSpPr>
        <p:spPr>
          <a:xfrm>
            <a:off x="5423694" y="2124148"/>
            <a:ext cx="1308101" cy="770289"/>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2" name="Text Placeholder 21"/>
          <p:cNvSpPr>
            <a:spLocks noGrp="1"/>
          </p:cNvSpPr>
          <p:nvPr>
            <p:ph type="body" sz="quarter" idx="46"/>
          </p:nvPr>
        </p:nvSpPr>
        <p:spPr>
          <a:xfrm>
            <a:off x="542369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3" name="Picture Placeholder 4"/>
          <p:cNvSpPr>
            <a:spLocks noGrp="1"/>
          </p:cNvSpPr>
          <p:nvPr>
            <p:ph type="pic" sz="quarter" idx="47"/>
          </p:nvPr>
        </p:nvSpPr>
        <p:spPr>
          <a:xfrm>
            <a:off x="7119938" y="3460974"/>
            <a:ext cx="1308101" cy="751562"/>
          </a:xfrm>
          <a:prstGeom prst="roundRect">
            <a:avLst>
              <a:gd name="adj" fmla="val 50000"/>
            </a:avLst>
          </a:prstGeom>
        </p:spPr>
        <p:txBody>
          <a:bodyPr anchor="ctr"/>
          <a:lstStyle>
            <a:lvl1pPr algn="ctr">
              <a:defRPr sz="1400"/>
            </a:lvl1pPr>
          </a:lstStyle>
          <a:p>
            <a:endParaRPr lang="id-ID"/>
          </a:p>
        </p:txBody>
      </p:sp>
      <p:sp>
        <p:nvSpPr>
          <p:cNvPr id="34" name="Text Placeholder 11"/>
          <p:cNvSpPr>
            <a:spLocks noGrp="1"/>
          </p:cNvSpPr>
          <p:nvPr>
            <p:ph type="body" sz="quarter" idx="48" hasCustomPrompt="1"/>
          </p:nvPr>
        </p:nvSpPr>
        <p:spPr>
          <a:xfrm>
            <a:off x="7119938" y="2124148"/>
            <a:ext cx="1308101" cy="770289"/>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5" name="Text Placeholder 21"/>
          <p:cNvSpPr>
            <a:spLocks noGrp="1"/>
          </p:cNvSpPr>
          <p:nvPr>
            <p:ph type="body" sz="quarter" idx="49"/>
          </p:nvPr>
        </p:nvSpPr>
        <p:spPr>
          <a:xfrm>
            <a:off x="7119938"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37" name="Picture Placeholder 4"/>
          <p:cNvSpPr>
            <a:spLocks noGrp="1"/>
          </p:cNvSpPr>
          <p:nvPr>
            <p:ph type="pic" sz="quarter" idx="50"/>
          </p:nvPr>
        </p:nvSpPr>
        <p:spPr>
          <a:xfrm>
            <a:off x="8816182" y="3460974"/>
            <a:ext cx="1308101" cy="751562"/>
          </a:xfrm>
          <a:prstGeom prst="roundRect">
            <a:avLst>
              <a:gd name="adj" fmla="val 50000"/>
            </a:avLst>
          </a:prstGeom>
        </p:spPr>
        <p:txBody>
          <a:bodyPr anchor="ctr"/>
          <a:lstStyle>
            <a:lvl1pPr algn="ctr">
              <a:defRPr sz="1400"/>
            </a:lvl1pPr>
          </a:lstStyle>
          <a:p>
            <a:endParaRPr lang="id-ID"/>
          </a:p>
        </p:txBody>
      </p:sp>
      <p:sp>
        <p:nvSpPr>
          <p:cNvPr id="38" name="Text Placeholder 11"/>
          <p:cNvSpPr>
            <a:spLocks noGrp="1"/>
          </p:cNvSpPr>
          <p:nvPr>
            <p:ph type="body" sz="quarter" idx="51" hasCustomPrompt="1"/>
          </p:nvPr>
        </p:nvSpPr>
        <p:spPr>
          <a:xfrm>
            <a:off x="8816182" y="2124148"/>
            <a:ext cx="1308101" cy="770289"/>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9" name="Text Placeholder 21"/>
          <p:cNvSpPr>
            <a:spLocks noGrp="1"/>
          </p:cNvSpPr>
          <p:nvPr>
            <p:ph type="body" sz="quarter" idx="52"/>
          </p:nvPr>
        </p:nvSpPr>
        <p:spPr>
          <a:xfrm>
            <a:off x="8816182"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0" name="Picture Placeholder 4"/>
          <p:cNvSpPr>
            <a:spLocks noGrp="1"/>
          </p:cNvSpPr>
          <p:nvPr>
            <p:ph type="pic" sz="quarter" idx="53"/>
          </p:nvPr>
        </p:nvSpPr>
        <p:spPr>
          <a:xfrm>
            <a:off x="10512424" y="3460974"/>
            <a:ext cx="1308101" cy="751562"/>
          </a:xfrm>
          <a:prstGeom prst="roundRect">
            <a:avLst>
              <a:gd name="adj" fmla="val 50000"/>
            </a:avLst>
          </a:prstGeom>
        </p:spPr>
        <p:txBody>
          <a:bodyPr anchor="ctr"/>
          <a:lstStyle>
            <a:lvl1pPr algn="ctr">
              <a:defRPr sz="1400"/>
            </a:lvl1pPr>
          </a:lstStyle>
          <a:p>
            <a:endParaRPr lang="id-ID"/>
          </a:p>
        </p:txBody>
      </p:sp>
      <p:sp>
        <p:nvSpPr>
          <p:cNvPr id="41" name="Text Placeholder 11"/>
          <p:cNvSpPr>
            <a:spLocks noGrp="1"/>
          </p:cNvSpPr>
          <p:nvPr>
            <p:ph type="body" sz="quarter" idx="54" hasCustomPrompt="1"/>
          </p:nvPr>
        </p:nvSpPr>
        <p:spPr>
          <a:xfrm>
            <a:off x="10512424" y="2124148"/>
            <a:ext cx="1308101" cy="770289"/>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42" name="Text Placeholder 21"/>
          <p:cNvSpPr>
            <a:spLocks noGrp="1"/>
          </p:cNvSpPr>
          <p:nvPr>
            <p:ph type="body" sz="quarter" idx="55"/>
          </p:nvPr>
        </p:nvSpPr>
        <p:spPr>
          <a:xfrm>
            <a:off x="10512424" y="4277638"/>
            <a:ext cx="1308101" cy="1293821"/>
          </a:xfrm>
        </p:spPr>
        <p:txBody>
          <a:bodyPr lIns="46800" tIns="46800" rIns="46800" bIns="46800">
            <a:noAutofit/>
          </a:bodyPr>
          <a:lstStyle>
            <a:lvl1pPr marL="107950" indent="-107950" algn="l">
              <a:lnSpc>
                <a:spcPts val="1100"/>
              </a:lnSpc>
              <a:spcBef>
                <a:spcPts val="600"/>
              </a:spcBef>
              <a:buSzPct val="150000"/>
              <a:buFont typeface="Arial" panose="020B0604020202090204" pitchFamily="34" charset="0"/>
              <a:buChar char="•"/>
              <a:defRPr sz="900">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id-ID"/>
          </a:p>
        </p:txBody>
      </p:sp>
      <p:sp>
        <p:nvSpPr>
          <p:cNvPr id="43" name="Text Placeholder 21"/>
          <p:cNvSpPr>
            <a:spLocks noGrp="1"/>
          </p:cNvSpPr>
          <p:nvPr>
            <p:ph type="body" sz="quarter" idx="56" hasCustomPrompt="1"/>
          </p:nvPr>
        </p:nvSpPr>
        <p:spPr>
          <a:xfrm>
            <a:off x="334961" y="5890437"/>
            <a:ext cx="11485564" cy="372140"/>
          </a:xfrm>
        </p:spPr>
        <p:txBody>
          <a:bodyPr lIns="46800" tIns="46800" rIns="46800" bIns="46800">
            <a:noAutofit/>
          </a:bodyPr>
          <a:lstStyle>
            <a:lvl1pPr marL="0" indent="0" algn="l">
              <a:lnSpc>
                <a:spcPts val="1000"/>
              </a:lnSpc>
              <a:spcBef>
                <a:spcPts val="300"/>
              </a:spcBef>
              <a:buSzPct val="150000"/>
              <a:buFont typeface="Arial" panose="020B0604020202090204" pitchFamily="34" charset="0"/>
              <a:buNone/>
              <a:defRPr sz="800" b="0" i="0">
                <a:solidFill>
                  <a:schemeClr val="accent2"/>
                </a:solidFill>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caption text </a:t>
            </a:r>
          </a:p>
        </p:txBody>
      </p:sp>
      <p:sp>
        <p:nvSpPr>
          <p:cNvPr id="44" name="Picture Placeholder 6"/>
          <p:cNvSpPr>
            <a:spLocks noGrp="1"/>
          </p:cNvSpPr>
          <p:nvPr>
            <p:ph type="pic" sz="quarter" idx="58"/>
          </p:nvPr>
        </p:nvSpPr>
        <p:spPr>
          <a:xfrm>
            <a:off x="2031383" y="3018669"/>
            <a:ext cx="1308100" cy="340452"/>
          </a:xfrm>
        </p:spPr>
        <p:txBody>
          <a:bodyPr anchor="ctr"/>
          <a:lstStyle>
            <a:lvl1pPr marL="0" indent="0" algn="ctr">
              <a:buNone/>
              <a:defRPr sz="1200"/>
            </a:lvl1pPr>
          </a:lstStyle>
          <a:p>
            <a:endParaRPr lang="id-ID"/>
          </a:p>
        </p:txBody>
      </p:sp>
      <p:sp>
        <p:nvSpPr>
          <p:cNvPr id="45" name="Picture Placeholder 6"/>
          <p:cNvSpPr>
            <a:spLocks noGrp="1"/>
          </p:cNvSpPr>
          <p:nvPr>
            <p:ph type="pic" sz="quarter" idx="59"/>
          </p:nvPr>
        </p:nvSpPr>
        <p:spPr>
          <a:xfrm>
            <a:off x="334961" y="3018669"/>
            <a:ext cx="1308100" cy="340452"/>
          </a:xfrm>
        </p:spPr>
        <p:txBody>
          <a:bodyPr anchor="ctr"/>
          <a:lstStyle>
            <a:lvl1pPr marL="0" indent="0" algn="ctr">
              <a:buNone/>
              <a:defRPr sz="1200"/>
            </a:lvl1pPr>
          </a:lstStyle>
          <a:p>
            <a:endParaRPr lang="id-ID"/>
          </a:p>
        </p:txBody>
      </p:sp>
      <p:sp>
        <p:nvSpPr>
          <p:cNvPr id="46" name="Picture Placeholder 6"/>
          <p:cNvSpPr>
            <a:spLocks noGrp="1"/>
          </p:cNvSpPr>
          <p:nvPr>
            <p:ph type="pic" sz="quarter" idx="60"/>
          </p:nvPr>
        </p:nvSpPr>
        <p:spPr>
          <a:xfrm>
            <a:off x="3727805" y="3018669"/>
            <a:ext cx="1308100" cy="340452"/>
          </a:xfrm>
        </p:spPr>
        <p:txBody>
          <a:bodyPr anchor="ctr"/>
          <a:lstStyle>
            <a:lvl1pPr marL="0" indent="0" algn="ctr">
              <a:buNone/>
              <a:defRPr sz="1200"/>
            </a:lvl1pPr>
          </a:lstStyle>
          <a:p>
            <a:endParaRPr lang="id-ID"/>
          </a:p>
        </p:txBody>
      </p:sp>
      <p:sp>
        <p:nvSpPr>
          <p:cNvPr id="47" name="Picture Placeholder 6"/>
          <p:cNvSpPr>
            <a:spLocks noGrp="1"/>
          </p:cNvSpPr>
          <p:nvPr>
            <p:ph type="pic" sz="quarter" idx="61"/>
          </p:nvPr>
        </p:nvSpPr>
        <p:spPr>
          <a:xfrm>
            <a:off x="5424227" y="3018669"/>
            <a:ext cx="1308100" cy="340452"/>
          </a:xfrm>
        </p:spPr>
        <p:txBody>
          <a:bodyPr anchor="ctr"/>
          <a:lstStyle>
            <a:lvl1pPr marL="0" indent="0" algn="ctr">
              <a:buNone/>
              <a:defRPr sz="1200"/>
            </a:lvl1pPr>
          </a:lstStyle>
          <a:p>
            <a:endParaRPr lang="id-ID"/>
          </a:p>
        </p:txBody>
      </p:sp>
      <p:sp>
        <p:nvSpPr>
          <p:cNvPr id="48" name="Picture Placeholder 6"/>
          <p:cNvSpPr>
            <a:spLocks noGrp="1"/>
          </p:cNvSpPr>
          <p:nvPr>
            <p:ph type="pic" sz="quarter" idx="62"/>
          </p:nvPr>
        </p:nvSpPr>
        <p:spPr>
          <a:xfrm>
            <a:off x="7120649" y="3018669"/>
            <a:ext cx="1308100" cy="340452"/>
          </a:xfrm>
        </p:spPr>
        <p:txBody>
          <a:bodyPr anchor="ctr"/>
          <a:lstStyle>
            <a:lvl1pPr marL="0" indent="0" algn="ctr">
              <a:buNone/>
              <a:defRPr sz="1200"/>
            </a:lvl1pPr>
          </a:lstStyle>
          <a:p>
            <a:endParaRPr lang="id-ID"/>
          </a:p>
        </p:txBody>
      </p:sp>
      <p:sp>
        <p:nvSpPr>
          <p:cNvPr id="49" name="Picture Placeholder 6"/>
          <p:cNvSpPr>
            <a:spLocks noGrp="1"/>
          </p:cNvSpPr>
          <p:nvPr>
            <p:ph type="pic" sz="quarter" idx="63"/>
          </p:nvPr>
        </p:nvSpPr>
        <p:spPr>
          <a:xfrm>
            <a:off x="8817071" y="3018669"/>
            <a:ext cx="1308100" cy="340452"/>
          </a:xfrm>
        </p:spPr>
        <p:txBody>
          <a:bodyPr anchor="ctr"/>
          <a:lstStyle>
            <a:lvl1pPr marL="0" indent="0" algn="ctr">
              <a:buNone/>
              <a:defRPr sz="1200"/>
            </a:lvl1pPr>
          </a:lstStyle>
          <a:p>
            <a:endParaRPr lang="id-ID"/>
          </a:p>
        </p:txBody>
      </p:sp>
      <p:sp>
        <p:nvSpPr>
          <p:cNvPr id="50" name="Picture Placeholder 6"/>
          <p:cNvSpPr>
            <a:spLocks noGrp="1"/>
          </p:cNvSpPr>
          <p:nvPr>
            <p:ph type="pic" sz="quarter" idx="64"/>
          </p:nvPr>
        </p:nvSpPr>
        <p:spPr>
          <a:xfrm>
            <a:off x="10513495" y="3018669"/>
            <a:ext cx="1308100" cy="340452"/>
          </a:xfrm>
        </p:spPr>
        <p:txBody>
          <a:bodyPr anchor="ctr"/>
          <a:lstStyle>
            <a:lvl1pPr marL="0" indent="0" algn="ctr">
              <a:buNone/>
              <a:defRPr sz="1200"/>
            </a:lvl1pPr>
          </a:lstStyle>
          <a:p>
            <a:endParaRPr lang="id-ID"/>
          </a:p>
        </p:txBody>
      </p:sp>
      <p:sp>
        <p:nvSpPr>
          <p:cNvPr id="27" name="Text Placeholder 11"/>
          <p:cNvSpPr>
            <a:spLocks noGrp="1"/>
          </p:cNvSpPr>
          <p:nvPr>
            <p:ph type="body" sz="quarter" idx="42" hasCustomPrompt="1"/>
          </p:nvPr>
        </p:nvSpPr>
        <p:spPr>
          <a:xfrm>
            <a:off x="3727450" y="2124147"/>
            <a:ext cx="1308101" cy="770400"/>
          </a:xfrm>
          <a:prstGeom prst="roundRect">
            <a:avLst>
              <a:gd name="adj" fmla="val 50000"/>
            </a:avLst>
          </a:prstGeom>
          <a:solidFill>
            <a:srgbClr val="15325B"/>
          </a:solidFill>
        </p:spPr>
        <p:txBody>
          <a:bodyPr rIns="0" bIns="0" anchor="ctr" anchorCtr="0"/>
          <a:lstStyle>
            <a:lvl1pPr marL="0" indent="0" algn="ctr">
              <a:lnSpc>
                <a:spcPct val="100000"/>
              </a:lnSpc>
              <a:buNone/>
              <a:defRPr sz="1600" b="0" i="0">
                <a:solidFill>
                  <a:schemeClr val="bg1"/>
                </a:solidFill>
                <a:latin typeface="+mn-lt"/>
                <a:ea typeface="+mn-ea"/>
                <a:cs typeface="+mn-cs"/>
              </a:defRPr>
            </a:lvl1pPr>
          </a:lstStyle>
          <a:p>
            <a:pPr lvl="0"/>
            <a:r>
              <a:rPr lang="en-US"/>
              <a:t>100%</a:t>
            </a:r>
            <a:endParaRPr lang="id-ID"/>
          </a:p>
        </p:txBody>
      </p:sp>
      <p:sp>
        <p:nvSpPr>
          <p:cNvPr id="3" name="Date Placeholder 2"/>
          <p:cNvSpPr>
            <a:spLocks noGrp="1"/>
          </p:cNvSpPr>
          <p:nvPr>
            <p:ph type="dt" sz="half" idx="65"/>
          </p:nvPr>
        </p:nvSpPr>
        <p:spPr/>
        <p:txBody>
          <a:bodyPr/>
          <a:lstStyle>
            <a:lvl1pPr>
              <a:defRPr>
                <a:latin typeface="+mn-lt"/>
              </a:defRPr>
            </a:lvl1pPr>
          </a:lstStyle>
          <a:p>
            <a:endParaRPr lang="id-ID"/>
          </a:p>
        </p:txBody>
      </p:sp>
      <p:sp>
        <p:nvSpPr>
          <p:cNvPr id="4" name="Footer Placeholder 3"/>
          <p:cNvSpPr>
            <a:spLocks noGrp="1"/>
          </p:cNvSpPr>
          <p:nvPr>
            <p:ph type="ftr" sz="quarter" idx="66"/>
          </p:nvPr>
        </p:nvSpPr>
        <p:spPr/>
        <p:txBody>
          <a:bodyPr/>
          <a:lstStyle/>
          <a:p>
            <a:pPr algn="l"/>
            <a:endParaRPr lang="en-US">
              <a:solidFill>
                <a:schemeClr val="bg1">
                  <a:lumMod val="50000"/>
                </a:schemeClr>
              </a:solidFill>
            </a:endParaRPr>
          </a:p>
        </p:txBody>
      </p:sp>
      <p:sp>
        <p:nvSpPr>
          <p:cNvPr id="5" name="Slide Number Placeholder 4"/>
          <p:cNvSpPr>
            <a:spLocks noGrp="1"/>
          </p:cNvSpPr>
          <p:nvPr>
            <p:ph type="sldNum" sz="quarter" idx="67"/>
          </p:nvPr>
        </p:nvSpPr>
        <p:spPr/>
        <p:txBody>
          <a:bodyPr/>
          <a:lstStyle>
            <a:lvl1pPr>
              <a:defRPr>
                <a:latin typeface="+mn-lt"/>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mp; a Pictur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51069" y="2690488"/>
            <a:ext cx="5817155" cy="3705838"/>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dirty="0"/>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nibh euismod tincidunt ut laoreet dolore magna aliquam hendrerit in vulputate velit esse molestie consequat, vel illum dolore eu feugiat nulla facilisis at vero eros et accumsan et iusto odio dignissim qui blandit praesent luptatum zzril delenit augue duis dolore te feugait nulla facilisi..</a:t>
            </a:r>
          </a:p>
          <a:p>
            <a:endParaRPr lang="id-ID" dirty="0"/>
          </a:p>
        </p:txBody>
      </p:sp>
      <p:sp>
        <p:nvSpPr>
          <p:cNvPr id="18" name="Title 1"/>
          <p:cNvSpPr>
            <a:spLocks noGrp="1"/>
          </p:cNvSpPr>
          <p:nvPr>
            <p:ph type="title" hasCustomPrompt="1"/>
          </p:nvPr>
        </p:nvSpPr>
        <p:spPr>
          <a:xfrm>
            <a:off x="351069" y="1397531"/>
            <a:ext cx="5817155" cy="1131717"/>
          </a:xfrm>
          <a:prstGeom prst="rect">
            <a:avLst/>
          </a:prstGeom>
        </p:spPr>
        <p:txBody>
          <a:bodyPr lIns="0">
            <a:normAutofit/>
          </a:bodyPr>
          <a:lstStyle>
            <a:lvl1pPr>
              <a:lnSpc>
                <a:spcPts val="4000"/>
              </a:lnSpc>
              <a:defRPr sz="2800" b="0" i="0">
                <a:solidFill>
                  <a:schemeClr val="accent2"/>
                </a:solidFill>
                <a:latin typeface="Gotham Medium" charset="0"/>
                <a:ea typeface="Gotham Medium" charset="0"/>
                <a:cs typeface="Gotham Medium" charset="0"/>
              </a:defRPr>
            </a:lvl1pPr>
          </a:lstStyle>
          <a:p>
            <a:pPr lvl="0">
              <a:defRPr/>
            </a:pPr>
            <a:r>
              <a:rPr lang="id-ID" sz="3200" dirty="0" err="1">
                <a:solidFill>
                  <a:srgbClr val="005DA0"/>
                </a:solidFill>
                <a:latin typeface="Gotham Medium" charset="0"/>
                <a:ea typeface="Gotham Medium" charset="0"/>
                <a:cs typeface="Gotham Medium" charset="0"/>
              </a:rPr>
              <a:t>Click</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to</a:t>
            </a:r>
            <a:r>
              <a:rPr lang="id-ID" sz="3200" dirty="0">
                <a:solidFill>
                  <a:srgbClr val="005DA0"/>
                </a:solidFill>
                <a:latin typeface="Gotham Medium" charset="0"/>
                <a:ea typeface="Gotham Medium" charset="0"/>
                <a:cs typeface="Gotham Medium" charset="0"/>
              </a:rPr>
              <a:t> edit </a:t>
            </a:r>
            <a:r>
              <a:rPr lang="id-ID" sz="3200" dirty="0" err="1">
                <a:solidFill>
                  <a:srgbClr val="005DA0"/>
                </a:solidFill>
                <a:latin typeface="Gotham Medium" charset="0"/>
                <a:ea typeface="Gotham Medium" charset="0"/>
                <a:cs typeface="Gotham Medium" charset="0"/>
              </a:rPr>
              <a:t>Title</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text</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maximum</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is</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two</a:t>
            </a:r>
            <a:r>
              <a:rPr lang="id-ID" sz="3200" dirty="0">
                <a:solidFill>
                  <a:srgbClr val="005DA0"/>
                </a:solidFill>
                <a:latin typeface="Gotham Medium" charset="0"/>
                <a:ea typeface="Gotham Medium" charset="0"/>
                <a:cs typeface="Gotham Medium" charset="0"/>
              </a:rPr>
              <a:t> </a:t>
            </a:r>
            <a:r>
              <a:rPr lang="id-ID" sz="3200" dirty="0" err="1">
                <a:solidFill>
                  <a:srgbClr val="005DA0"/>
                </a:solidFill>
                <a:latin typeface="Gotham Medium" charset="0"/>
                <a:ea typeface="Gotham Medium" charset="0"/>
                <a:cs typeface="Gotham Medium" charset="0"/>
              </a:rPr>
              <a:t>lines</a:t>
            </a:r>
            <a:r>
              <a:rPr lang="id-ID" sz="3200" dirty="0">
                <a:solidFill>
                  <a:srgbClr val="005DA0"/>
                </a:solidFill>
                <a:latin typeface="Gotham Medium" charset="0"/>
                <a:ea typeface="Gotham Medium" charset="0"/>
                <a:cs typeface="Gotham Medium" charset="0"/>
              </a:rPr>
              <a:t>.</a:t>
            </a:r>
            <a:endParaRPr lang="en-US" sz="3200" noProof="1">
              <a:solidFill>
                <a:srgbClr val="005DA0"/>
              </a:solidFill>
              <a:latin typeface="Gotham Medium" charset="0"/>
              <a:ea typeface="Gotham Medium" charset="0"/>
              <a:cs typeface="Gotham Medium" charset="0"/>
            </a:endParaRPr>
          </a:p>
        </p:txBody>
      </p:sp>
      <p:sp>
        <p:nvSpPr>
          <p:cNvPr id="4" name="Picture Placeholder 3"/>
          <p:cNvSpPr>
            <a:spLocks noGrp="1"/>
          </p:cNvSpPr>
          <p:nvPr>
            <p:ph type="pic" sz="quarter" idx="13" hasCustomPrompt="1"/>
          </p:nvPr>
        </p:nvSpPr>
        <p:spPr>
          <a:xfrm>
            <a:off x="6672064" y="1560512"/>
            <a:ext cx="5519936" cy="4433639"/>
          </a:xfrm>
          <a:ln>
            <a:noFill/>
          </a:ln>
        </p:spPr>
        <p:txBody>
          <a:bodyPr anchor="ctr"/>
          <a:lstStyle>
            <a:lvl1pPr marL="457200" indent="-457200" algn="ctr">
              <a:buFont typeface="Arial" panose="020B0604020202090204" pitchFamily="34" charset="0"/>
              <a:buChar char="•"/>
              <a:defRPr sz="2000"/>
            </a:lvl1pPr>
          </a:lstStyle>
          <a:p>
            <a:r>
              <a:rPr lang="id-ID"/>
              <a:t>Picture </a:t>
            </a:r>
            <a:r>
              <a:rPr lang="en-US"/>
              <a:t>ratio </a:t>
            </a:r>
            <a:r>
              <a:rPr lang="id-ID"/>
              <a:t>4:3</a:t>
            </a:r>
          </a:p>
        </p:txBody>
      </p:sp>
      <p:sp>
        <p:nvSpPr>
          <p:cNvPr id="5" name="Footer Placeholder 4"/>
          <p:cNvSpPr>
            <a:spLocks noGrp="1"/>
          </p:cNvSpPr>
          <p:nvPr>
            <p:ph type="ftr" sz="quarter" idx="15"/>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amp; Coloums Mix 3">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3455"/>
            <a:ext cx="8995965" cy="645305"/>
          </a:xfrm>
        </p:spPr>
        <p:txBody>
          <a:bodyPr vert="horz"/>
          <a:lstStyle>
            <a:lvl1pPr>
              <a:defRPr>
                <a:latin typeface="+mj-lt"/>
                <a:ea typeface="+mj-ea"/>
                <a:cs typeface="+mj-cs"/>
              </a:defRPr>
            </a:lvl1p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lvl1pPr>
              <a:defRPr>
                <a:solidFill>
                  <a:schemeClr val="bg1">
                    <a:lumMod val="85000"/>
                  </a:schemeClr>
                </a:solidFill>
                <a:latin typeface="+mn-lt"/>
              </a:defRPr>
            </a:lvl1pPr>
          </a:lstStyle>
          <a:p>
            <a:endParaRPr lang="id-ID"/>
          </a:p>
        </p:txBody>
      </p:sp>
      <p:sp>
        <p:nvSpPr>
          <p:cNvPr id="4" name="Slide Number Placeholder 3"/>
          <p:cNvSpPr>
            <a:spLocks noGrp="1"/>
          </p:cNvSpPr>
          <p:nvPr>
            <p:ph type="sldNum" sz="quarter" idx="11"/>
          </p:nvPr>
        </p:nvSpPr>
        <p:spPr/>
        <p:txBody>
          <a:bodyPr/>
          <a:lstStyle>
            <a:lvl1pPr>
              <a:defRPr>
                <a:solidFill>
                  <a:schemeClr val="bg1">
                    <a:lumMod val="85000"/>
                  </a:schemeClr>
                </a:solidFill>
                <a:latin typeface="+mn-lt"/>
              </a:defRPr>
            </a:lvl1p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lvl1pPr>
              <a:defRPr>
                <a:solidFill>
                  <a:schemeClr val="bg1">
                    <a:lumMod val="85000"/>
                  </a:schemeClr>
                </a:solidFill>
                <a:latin typeface="+mn-lt"/>
              </a:defRPr>
            </a:lvl1pPr>
          </a:lstStyle>
          <a:p>
            <a:pPr algn="l"/>
            <a:endParaRPr lang="en-US"/>
          </a:p>
        </p:txBody>
      </p:sp>
      <p:sp>
        <p:nvSpPr>
          <p:cNvPr id="9" name="Picture Placeholder 6"/>
          <p:cNvSpPr>
            <a:spLocks noGrp="1"/>
          </p:cNvSpPr>
          <p:nvPr>
            <p:ph type="pic" sz="quarter" idx="59"/>
          </p:nvPr>
        </p:nvSpPr>
        <p:spPr>
          <a:xfrm>
            <a:off x="867648" y="1270000"/>
            <a:ext cx="2348032" cy="483228"/>
          </a:xfrm>
        </p:spPr>
        <p:txBody>
          <a:bodyPr anchor="ctr"/>
          <a:lstStyle>
            <a:lvl1pPr marL="0" indent="0" algn="ctr">
              <a:buNone/>
              <a:defRPr sz="1200"/>
            </a:lvl1pPr>
          </a:lstStyle>
          <a:p>
            <a:endParaRPr lang="id-ID"/>
          </a:p>
        </p:txBody>
      </p:sp>
      <p:sp>
        <p:nvSpPr>
          <p:cNvPr id="14" name="Text Placeholder 21"/>
          <p:cNvSpPr>
            <a:spLocks noGrp="1"/>
          </p:cNvSpPr>
          <p:nvPr>
            <p:ph type="body" sz="quarter" idx="63" hasCustomPrompt="1"/>
          </p:nvPr>
        </p:nvSpPr>
        <p:spPr>
          <a:xfrm>
            <a:off x="86764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atin typeface="+mn-lt"/>
                <a:ea typeface="+mn-ea"/>
                <a:cs typeface="+mn-cs"/>
              </a:defRPr>
            </a:lvl1pPr>
            <a:lvl2pPr marL="506095" indent="0" algn="l">
              <a:lnSpc>
                <a:spcPts val="1400"/>
              </a:lnSpc>
              <a:spcBef>
                <a:spcPts val="0"/>
              </a:spcBef>
              <a:buNone/>
              <a:defRPr sz="1400">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15" name="Text Placeholder 21"/>
          <p:cNvSpPr>
            <a:spLocks noGrp="1"/>
          </p:cNvSpPr>
          <p:nvPr>
            <p:ph type="body" sz="quarter" idx="64" hasCustomPrompt="1"/>
          </p:nvPr>
        </p:nvSpPr>
        <p:spPr>
          <a:xfrm>
            <a:off x="86764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18" name="Text Placeholder 21"/>
          <p:cNvSpPr>
            <a:spLocks noGrp="1"/>
          </p:cNvSpPr>
          <p:nvPr>
            <p:ph type="body" sz="quarter" idx="65" hasCustomPrompt="1"/>
          </p:nvPr>
        </p:nvSpPr>
        <p:spPr>
          <a:xfrm>
            <a:off x="86764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latin typeface="+mn-lt"/>
                <a:ea typeface="+mn-ea"/>
                <a:cs typeface="+mn-cs"/>
              </a:defRPr>
            </a:lvl1pPr>
            <a:lvl2pPr marL="506095" indent="0" algn="l">
              <a:lnSpc>
                <a:spcPts val="1400"/>
              </a:lnSpc>
              <a:spcBef>
                <a:spcPts val="0"/>
              </a:spcBef>
              <a:buNone/>
              <a:defRPr sz="1400">
                <a:solidFill>
                  <a:schemeClr val="bg1"/>
                </a:solidFill>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en-US"/>
          </a:p>
        </p:txBody>
      </p:sp>
      <p:sp>
        <p:nvSpPr>
          <p:cNvPr id="19" name="Picture Placeholder 6"/>
          <p:cNvSpPr>
            <a:spLocks noGrp="1"/>
          </p:cNvSpPr>
          <p:nvPr>
            <p:ph type="pic" sz="quarter" idx="66"/>
          </p:nvPr>
        </p:nvSpPr>
        <p:spPr>
          <a:xfrm>
            <a:off x="3641328" y="1270000"/>
            <a:ext cx="2348032" cy="483228"/>
          </a:xfrm>
        </p:spPr>
        <p:txBody>
          <a:bodyPr anchor="ctr"/>
          <a:lstStyle>
            <a:lvl1pPr marL="0" indent="0" algn="ctr">
              <a:buNone/>
              <a:defRPr sz="1200"/>
            </a:lvl1pPr>
          </a:lstStyle>
          <a:p>
            <a:endParaRPr lang="id-ID"/>
          </a:p>
        </p:txBody>
      </p:sp>
      <p:sp>
        <p:nvSpPr>
          <p:cNvPr id="20" name="Text Placeholder 21"/>
          <p:cNvSpPr>
            <a:spLocks noGrp="1"/>
          </p:cNvSpPr>
          <p:nvPr>
            <p:ph type="body" sz="quarter" idx="67" hasCustomPrompt="1"/>
          </p:nvPr>
        </p:nvSpPr>
        <p:spPr>
          <a:xfrm>
            <a:off x="36413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atin typeface="+mn-lt"/>
                <a:ea typeface="+mn-ea"/>
                <a:cs typeface="+mn-cs"/>
              </a:defRPr>
            </a:lvl1pPr>
            <a:lvl2pPr marL="506095" indent="0" algn="l">
              <a:lnSpc>
                <a:spcPts val="1400"/>
              </a:lnSpc>
              <a:spcBef>
                <a:spcPts val="0"/>
              </a:spcBef>
              <a:buNone/>
              <a:defRPr sz="1400">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1" name="Text Placeholder 21"/>
          <p:cNvSpPr>
            <a:spLocks noGrp="1"/>
          </p:cNvSpPr>
          <p:nvPr>
            <p:ph type="body" sz="quarter" idx="68" hasCustomPrompt="1"/>
          </p:nvPr>
        </p:nvSpPr>
        <p:spPr>
          <a:xfrm>
            <a:off x="36413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22" name="Text Placeholder 21"/>
          <p:cNvSpPr>
            <a:spLocks noGrp="1"/>
          </p:cNvSpPr>
          <p:nvPr>
            <p:ph type="body" sz="quarter" idx="69" hasCustomPrompt="1"/>
          </p:nvPr>
        </p:nvSpPr>
        <p:spPr>
          <a:xfrm>
            <a:off x="36413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latin typeface="+mn-lt"/>
                <a:ea typeface="+mn-ea"/>
                <a:cs typeface="+mn-cs"/>
              </a:defRPr>
            </a:lvl1pPr>
            <a:lvl2pPr marL="506095" indent="0" algn="l">
              <a:lnSpc>
                <a:spcPts val="1400"/>
              </a:lnSpc>
              <a:spcBef>
                <a:spcPts val="0"/>
              </a:spcBef>
              <a:buNone/>
              <a:defRPr sz="1400">
                <a:solidFill>
                  <a:schemeClr val="bg1"/>
                </a:solidFill>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27" name="Picture Placeholder 6"/>
          <p:cNvSpPr>
            <a:spLocks noGrp="1"/>
          </p:cNvSpPr>
          <p:nvPr>
            <p:ph type="pic" sz="quarter" idx="70"/>
          </p:nvPr>
        </p:nvSpPr>
        <p:spPr>
          <a:xfrm>
            <a:off x="6465808" y="1270000"/>
            <a:ext cx="2348032" cy="483228"/>
          </a:xfrm>
        </p:spPr>
        <p:txBody>
          <a:bodyPr anchor="ctr"/>
          <a:lstStyle>
            <a:lvl1pPr marL="0" indent="0" algn="ctr">
              <a:buNone/>
              <a:defRPr sz="1200"/>
            </a:lvl1pPr>
          </a:lstStyle>
          <a:p>
            <a:endParaRPr lang="id-ID"/>
          </a:p>
        </p:txBody>
      </p:sp>
      <p:sp>
        <p:nvSpPr>
          <p:cNvPr id="28" name="Text Placeholder 21"/>
          <p:cNvSpPr>
            <a:spLocks noGrp="1"/>
          </p:cNvSpPr>
          <p:nvPr>
            <p:ph type="body" sz="quarter" idx="71" hasCustomPrompt="1"/>
          </p:nvPr>
        </p:nvSpPr>
        <p:spPr>
          <a:xfrm>
            <a:off x="646580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atin typeface="+mn-lt"/>
                <a:ea typeface="+mn-ea"/>
                <a:cs typeface="+mn-cs"/>
              </a:defRPr>
            </a:lvl1pPr>
            <a:lvl2pPr marL="506095" indent="0" algn="l">
              <a:lnSpc>
                <a:spcPts val="1400"/>
              </a:lnSpc>
              <a:spcBef>
                <a:spcPts val="0"/>
              </a:spcBef>
              <a:buNone/>
              <a:defRPr sz="1400">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29" name="Text Placeholder 21"/>
          <p:cNvSpPr>
            <a:spLocks noGrp="1"/>
          </p:cNvSpPr>
          <p:nvPr>
            <p:ph type="body" sz="quarter" idx="72" hasCustomPrompt="1"/>
          </p:nvPr>
        </p:nvSpPr>
        <p:spPr>
          <a:xfrm>
            <a:off x="646580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0" name="Text Placeholder 21"/>
          <p:cNvSpPr>
            <a:spLocks noGrp="1"/>
          </p:cNvSpPr>
          <p:nvPr>
            <p:ph type="body" sz="quarter" idx="73" hasCustomPrompt="1"/>
          </p:nvPr>
        </p:nvSpPr>
        <p:spPr>
          <a:xfrm>
            <a:off x="646580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latin typeface="+mn-lt"/>
                <a:ea typeface="+mn-ea"/>
                <a:cs typeface="+mn-cs"/>
              </a:defRPr>
            </a:lvl1pPr>
            <a:lvl2pPr marL="506095" indent="0" algn="l">
              <a:lnSpc>
                <a:spcPts val="1400"/>
              </a:lnSpc>
              <a:spcBef>
                <a:spcPts val="0"/>
              </a:spcBef>
              <a:buNone/>
              <a:defRPr sz="1400">
                <a:solidFill>
                  <a:schemeClr val="bg1"/>
                </a:solidFill>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1" name="Picture Placeholder 6"/>
          <p:cNvSpPr>
            <a:spLocks noGrp="1"/>
          </p:cNvSpPr>
          <p:nvPr>
            <p:ph type="pic" sz="quarter" idx="74"/>
          </p:nvPr>
        </p:nvSpPr>
        <p:spPr>
          <a:xfrm>
            <a:off x="9330928" y="1270000"/>
            <a:ext cx="2348032" cy="483228"/>
          </a:xfrm>
        </p:spPr>
        <p:txBody>
          <a:bodyPr anchor="ctr"/>
          <a:lstStyle>
            <a:lvl1pPr marL="0" indent="0" algn="ctr">
              <a:buNone/>
              <a:defRPr sz="1200"/>
            </a:lvl1pPr>
          </a:lstStyle>
          <a:p>
            <a:endParaRPr lang="id-ID"/>
          </a:p>
        </p:txBody>
      </p:sp>
      <p:sp>
        <p:nvSpPr>
          <p:cNvPr id="32" name="Text Placeholder 21"/>
          <p:cNvSpPr>
            <a:spLocks noGrp="1"/>
          </p:cNvSpPr>
          <p:nvPr>
            <p:ph type="body" sz="quarter" idx="75" hasCustomPrompt="1"/>
          </p:nvPr>
        </p:nvSpPr>
        <p:spPr>
          <a:xfrm>
            <a:off x="9330928" y="1847200"/>
            <a:ext cx="2348032" cy="1830720"/>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latin typeface="+mn-lt"/>
                <a:ea typeface="+mn-ea"/>
                <a:cs typeface="+mn-cs"/>
              </a:defRPr>
            </a:lvl1pPr>
            <a:lvl2pPr marL="506095" indent="0" algn="l">
              <a:lnSpc>
                <a:spcPts val="1400"/>
              </a:lnSpc>
              <a:spcBef>
                <a:spcPts val="0"/>
              </a:spcBef>
              <a:buNone/>
              <a:defRPr sz="1400">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tx1">
                    <a:lumMod val="65000"/>
                    <a:lumOff val="35000"/>
                  </a:schemeClr>
                </a:solidFill>
                <a:latin typeface="Gotham Book" charset="0"/>
                <a:ea typeface="Gotham Book" charset="0"/>
                <a:cs typeface="Gotham Book" charset="0"/>
              </a:rPr>
              <a:t>Penurunan cadangan emas disertai permintaan retail lokal yang kuat</a:t>
            </a:r>
            <a:r>
              <a:rPr lang="en-US"/>
              <a:t> </a:t>
            </a:r>
            <a:endParaRPr lang="id-ID"/>
          </a:p>
        </p:txBody>
      </p:sp>
      <p:sp>
        <p:nvSpPr>
          <p:cNvPr id="33" name="Text Placeholder 21"/>
          <p:cNvSpPr>
            <a:spLocks noGrp="1"/>
          </p:cNvSpPr>
          <p:nvPr>
            <p:ph type="body" sz="quarter" idx="76" hasCustomPrompt="1"/>
          </p:nvPr>
        </p:nvSpPr>
        <p:spPr>
          <a:xfrm>
            <a:off x="9330928" y="3696320"/>
            <a:ext cx="2348032" cy="668784"/>
          </a:xfrm>
        </p:spPr>
        <p:txBody>
          <a:bodyPr lIns="46800" tIns="46800" rIns="46800" bIns="46800" anchor="ctr">
            <a:noAutofit/>
          </a:bodyPr>
          <a:lstStyle>
            <a:lvl1pPr marL="0" indent="0" algn="ctr">
              <a:lnSpc>
                <a:spcPts val="1200"/>
              </a:lnSpc>
              <a:spcBef>
                <a:spcPts val="0"/>
              </a:spcBef>
              <a:spcAft>
                <a:spcPts val="300"/>
              </a:spcAft>
              <a:buSzPct val="120000"/>
              <a:buFont typeface="Arial" panose="020B0604020202090204" pitchFamily="34" charset="0"/>
              <a:buNone/>
              <a:defRPr sz="1050" b="1" i="0">
                <a:solidFill>
                  <a:schemeClr val="bg1"/>
                </a:solidFill>
                <a:latin typeface="+mn-lt"/>
                <a:ea typeface="+mn-ea"/>
                <a:cs typeface="+mn-cs"/>
              </a:defRPr>
            </a:lvl1pPr>
            <a:lvl2pPr marL="506095" indent="0" algn="l">
              <a:lnSpc>
                <a:spcPct val="1200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a:t>
            </a:r>
            <a:r>
              <a:rPr lang="en-US" err="1"/>
              <a:t>Hightlight</a:t>
            </a:r>
            <a:r>
              <a:rPr lang="en-US"/>
              <a:t> text styles. Ex. </a:t>
            </a:r>
            <a:r>
              <a:rPr lang="en-US" err="1"/>
              <a:t>Restrukturisasi</a:t>
            </a:r>
            <a:r>
              <a:rPr lang="en-US"/>
              <a:t> </a:t>
            </a:r>
            <a:r>
              <a:rPr lang="en-US" err="1"/>
              <a:t>Bisnis</a:t>
            </a:r>
            <a:endParaRPr lang="id-ID"/>
          </a:p>
        </p:txBody>
      </p:sp>
      <p:sp>
        <p:nvSpPr>
          <p:cNvPr id="34" name="Text Placeholder 21"/>
          <p:cNvSpPr>
            <a:spLocks noGrp="1"/>
          </p:cNvSpPr>
          <p:nvPr>
            <p:ph type="body" sz="quarter" idx="77" hasCustomPrompt="1"/>
          </p:nvPr>
        </p:nvSpPr>
        <p:spPr>
          <a:xfrm>
            <a:off x="9330928" y="4397360"/>
            <a:ext cx="2348032" cy="1797824"/>
          </a:xfrm>
        </p:spPr>
        <p:txBody>
          <a:bodyPr lIns="46800" tIns="46800" rIns="46800" bIns="46800">
            <a:noAutofit/>
          </a:bodyPr>
          <a:lstStyle>
            <a:lvl1pPr marL="90170" indent="-90170" algn="l">
              <a:lnSpc>
                <a:spcPts val="1100"/>
              </a:lnSpc>
              <a:spcBef>
                <a:spcPts val="0"/>
              </a:spcBef>
              <a:spcAft>
                <a:spcPts val="300"/>
              </a:spcAft>
              <a:buSzPct val="120000"/>
              <a:buFont typeface="Arial" panose="020B0604020202090204" pitchFamily="34" charset="0"/>
              <a:buChar char="•"/>
              <a:defRPr sz="850">
                <a:solidFill>
                  <a:schemeClr val="bg1"/>
                </a:solidFill>
                <a:latin typeface="+mn-lt"/>
                <a:ea typeface="+mn-ea"/>
                <a:cs typeface="+mn-cs"/>
              </a:defRPr>
            </a:lvl1pPr>
            <a:lvl2pPr marL="506095" indent="0" algn="l">
              <a:lnSpc>
                <a:spcPts val="1400"/>
              </a:lnSpc>
              <a:spcBef>
                <a:spcPts val="0"/>
              </a:spcBef>
              <a:buNone/>
              <a:defRPr sz="1400">
                <a:solidFill>
                  <a:schemeClr val="bg1"/>
                </a:solidFill>
                <a:latin typeface="+mn-lt"/>
                <a:ea typeface="+mn-ea"/>
                <a:cs typeface="+mn-cs"/>
              </a:defRPr>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Body text styles.  Ex.</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Cadangan nikel yang berlimpah dan pertumbuhan permintaan jangka panjang seiring dengan adopsi tren kendaraan elektrik (EV)</a:t>
            </a:r>
          </a:p>
          <a:p>
            <a:pPr marL="92075" lvl="1" indent="-92075">
              <a:lnSpc>
                <a:spcPts val="1100"/>
              </a:lnSpc>
              <a:spcAft>
                <a:spcPts val="300"/>
              </a:spcAft>
              <a:buFont typeface="Arial" panose="020B0604020202090204" pitchFamily="34" charset="0"/>
              <a:buChar char="•"/>
            </a:pPr>
            <a:r>
              <a:rPr lang="id-ID" sz="850" noProof="1">
                <a:solidFill>
                  <a:schemeClr val="bg1"/>
                </a:solidFill>
                <a:latin typeface="Gotham Book" charset="0"/>
                <a:ea typeface="Gotham Book" charset="0"/>
                <a:cs typeface="Gotham Book" charset="0"/>
              </a:rPr>
              <a:t>Penurunan cadangan emas disertai permintaan retail lokal yang kuat</a:t>
            </a:r>
          </a:p>
          <a:p>
            <a:pPr lvl="0"/>
            <a:endParaRPr lang="id-ID"/>
          </a:p>
        </p:txBody>
      </p:sp>
      <p:sp>
        <p:nvSpPr>
          <p:cNvPr id="36" name="Text Placeholder 21"/>
          <p:cNvSpPr>
            <a:spLocks noGrp="1"/>
          </p:cNvSpPr>
          <p:nvPr>
            <p:ph type="body" sz="quarter" idx="78" hasCustomPrompt="1"/>
          </p:nvPr>
        </p:nvSpPr>
        <p:spPr>
          <a:xfrm>
            <a:off x="336520" y="182880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latin typeface="+mn-lt"/>
                <a:ea typeface="+mn-ea"/>
                <a:cs typeface="+mn-cs"/>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
        <p:nvSpPr>
          <p:cNvPr id="39" name="Text Placeholder 21"/>
          <p:cNvSpPr>
            <a:spLocks noGrp="1"/>
          </p:cNvSpPr>
          <p:nvPr>
            <p:ph type="body" sz="quarter" idx="79" hasCustomPrompt="1"/>
          </p:nvPr>
        </p:nvSpPr>
        <p:spPr>
          <a:xfrm>
            <a:off x="336520" y="4582160"/>
            <a:ext cx="430888" cy="1471183"/>
          </a:xfrm>
        </p:spPr>
        <p:txBody>
          <a:bodyPr vert="vert270" lIns="46800" tIns="46800" rIns="46800" bIns="46800">
            <a:noAutofit/>
          </a:bodyPr>
          <a:lstStyle>
            <a:lvl1pPr marL="0" indent="0" algn="l">
              <a:lnSpc>
                <a:spcPts val="1100"/>
              </a:lnSpc>
              <a:spcBef>
                <a:spcPts val="0"/>
              </a:spcBef>
              <a:spcAft>
                <a:spcPts val="300"/>
              </a:spcAft>
              <a:buSzPct val="120000"/>
              <a:buFont typeface="Arial" panose="020B0604020202090204" pitchFamily="34" charset="0"/>
              <a:buNone/>
              <a:defRPr sz="1100" b="1" i="0">
                <a:solidFill>
                  <a:schemeClr val="bg1"/>
                </a:solidFill>
                <a:latin typeface="+mn-lt"/>
                <a:ea typeface="+mn-ea"/>
                <a:cs typeface="+mn-cs"/>
              </a:defRPr>
            </a:lvl1pPr>
            <a:lvl2pPr marL="506095" indent="0" algn="l">
              <a:lnSpc>
                <a:spcPts val="1400"/>
              </a:lnSpc>
              <a:spcBef>
                <a:spcPts val="0"/>
              </a:spcBef>
              <a:buNone/>
              <a:defRPr sz="1400"/>
            </a:lvl2pPr>
            <a:lvl3pPr marL="963295" indent="0" algn="l">
              <a:lnSpc>
                <a:spcPct val="120000"/>
              </a:lnSpc>
              <a:spcBef>
                <a:spcPts val="0"/>
              </a:spcBef>
              <a:buNone/>
              <a:defRPr sz="1400"/>
            </a:lvl3pPr>
            <a:lvl4pPr marL="1420495" indent="0" algn="l">
              <a:lnSpc>
                <a:spcPct val="120000"/>
              </a:lnSpc>
              <a:spcBef>
                <a:spcPts val="0"/>
              </a:spcBef>
              <a:buNone/>
              <a:defRPr sz="1400"/>
            </a:lvl4pPr>
            <a:lvl5pPr marL="1877695" indent="0" algn="l">
              <a:lnSpc>
                <a:spcPct val="120000"/>
              </a:lnSpc>
              <a:spcBef>
                <a:spcPts val="0"/>
              </a:spcBef>
              <a:buNone/>
              <a:defRPr sz="1400"/>
            </a:lvl5pPr>
          </a:lstStyle>
          <a:p>
            <a:pPr lvl="0"/>
            <a:r>
              <a:rPr lang="en-US"/>
              <a:t>Click to Edit Title Text</a:t>
            </a:r>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Map">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Picture Placeholder 30"/>
          <p:cNvSpPr>
            <a:spLocks noGrp="1"/>
          </p:cNvSpPr>
          <p:nvPr>
            <p:ph type="pic" sz="quarter" idx="29" hasCustomPrompt="1"/>
          </p:nvPr>
        </p:nvSpPr>
        <p:spPr>
          <a:xfrm>
            <a:off x="334961" y="1917659"/>
            <a:ext cx="11485563" cy="3042702"/>
          </a:xfrm>
        </p:spPr>
        <p:txBody>
          <a:bodyPr anchor="ctr"/>
          <a:lstStyle>
            <a:lvl1pPr algn="ctr">
              <a:defRPr sz="1800">
                <a:latin typeface="+mn-lt"/>
                <a:ea typeface="+mn-ea"/>
                <a:cs typeface="+mn-cs"/>
              </a:defRPr>
            </a:lvl1pPr>
          </a:lstStyle>
          <a:p>
            <a:r>
              <a:rPr lang="id-ID"/>
              <a:t>Picture Map</a:t>
            </a:r>
          </a:p>
        </p:txBody>
      </p:sp>
      <p:sp>
        <p:nvSpPr>
          <p:cNvPr id="2" name="Title 1"/>
          <p:cNvSpPr>
            <a:spLocks noGrp="1"/>
          </p:cNvSpPr>
          <p:nvPr>
            <p:ph type="title" hasCustomPrompt="1"/>
          </p:nvPr>
        </p:nvSpPr>
        <p:spPr>
          <a:xfrm>
            <a:off x="334963" y="623455"/>
            <a:ext cx="9074355" cy="645305"/>
          </a:xfrm>
        </p:spPr>
        <p:txBody>
          <a:bodyPr vert="horz"/>
          <a:lstStyle>
            <a:lvl1pPr>
              <a:defRPr>
                <a:latin typeface="+mj-lt"/>
                <a:ea typeface="+mj-ea"/>
                <a:cs typeface="+mj-cs"/>
              </a:defRPr>
            </a:lvl1p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lvl1pPr>
              <a:defRPr>
                <a:latin typeface="+mn-lt"/>
              </a:defRPr>
            </a:lvl1pPr>
          </a:lstStyle>
          <a:p>
            <a:endParaRPr lang="id-ID"/>
          </a:p>
        </p:txBody>
      </p:sp>
      <p:sp>
        <p:nvSpPr>
          <p:cNvPr id="4" name="Slide Number Placeholder 3"/>
          <p:cNvSpPr>
            <a:spLocks noGrp="1"/>
          </p:cNvSpPr>
          <p:nvPr>
            <p:ph type="sldNum" sz="quarter" idx="11"/>
          </p:nvPr>
        </p:nvSpPr>
        <p:spPr/>
        <p:txBody>
          <a:bodyPr/>
          <a:lstStyle>
            <a:lvl1pPr>
              <a:defRPr>
                <a:latin typeface="+mn-lt"/>
              </a:defRPr>
            </a:lvl1p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761036" cy="287086"/>
          </a:xfrm>
        </p:spPr>
        <p:txBody>
          <a:bodyPr/>
          <a:lstStyle>
            <a:lvl1pPr marL="0" indent="0">
              <a:buNone/>
              <a:defRPr sz="1600" b="1"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19" name="Text Placeholder 8"/>
          <p:cNvSpPr>
            <a:spLocks noGrp="1"/>
          </p:cNvSpPr>
          <p:nvPr>
            <p:ph type="body" sz="quarter" idx="18" hasCustomPrompt="1"/>
          </p:nvPr>
        </p:nvSpPr>
        <p:spPr>
          <a:xfrm>
            <a:off x="3624734"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0" name="Text Placeholder 8"/>
          <p:cNvSpPr>
            <a:spLocks noGrp="1"/>
          </p:cNvSpPr>
          <p:nvPr>
            <p:ph type="body" sz="quarter" idx="19" hasCustomPrompt="1"/>
          </p:nvPr>
        </p:nvSpPr>
        <p:spPr>
          <a:xfrm>
            <a:off x="6914505"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2" name="Text Placeholder 8"/>
          <p:cNvSpPr>
            <a:spLocks noGrp="1"/>
          </p:cNvSpPr>
          <p:nvPr>
            <p:ph type="body" sz="quarter" idx="21" hasCustomPrompt="1"/>
          </p:nvPr>
        </p:nvSpPr>
        <p:spPr>
          <a:xfrm>
            <a:off x="10235952" y="1923924"/>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4" name="Text Placeholder 8"/>
          <p:cNvSpPr>
            <a:spLocks noGrp="1"/>
          </p:cNvSpPr>
          <p:nvPr>
            <p:ph type="body" sz="quarter" idx="23" hasCustomPrompt="1"/>
          </p:nvPr>
        </p:nvSpPr>
        <p:spPr>
          <a:xfrm>
            <a:off x="3624734"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5" name="Text Placeholder 8"/>
          <p:cNvSpPr>
            <a:spLocks noGrp="1"/>
          </p:cNvSpPr>
          <p:nvPr>
            <p:ph type="body" sz="quarter" idx="24" hasCustomPrompt="1"/>
          </p:nvPr>
        </p:nvSpPr>
        <p:spPr>
          <a:xfrm>
            <a:off x="6914505"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6" name="Text Placeholder 8"/>
          <p:cNvSpPr>
            <a:spLocks noGrp="1"/>
          </p:cNvSpPr>
          <p:nvPr>
            <p:ph type="body" sz="quarter" idx="25" hasCustomPrompt="1"/>
          </p:nvPr>
        </p:nvSpPr>
        <p:spPr>
          <a:xfrm>
            <a:off x="10235952" y="4509961"/>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7" name="Text Placeholder 8"/>
          <p:cNvSpPr>
            <a:spLocks noGrp="1"/>
          </p:cNvSpPr>
          <p:nvPr>
            <p:ph type="body" sz="quarter" idx="26" hasCustomPrompt="1"/>
          </p:nvPr>
        </p:nvSpPr>
        <p:spPr>
          <a:xfrm>
            <a:off x="334963" y="5013176"/>
            <a:ext cx="6481117"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28" name="Text Placeholder 8"/>
          <p:cNvSpPr>
            <a:spLocks noGrp="1"/>
          </p:cNvSpPr>
          <p:nvPr>
            <p:ph type="body" sz="quarter" idx="27" hasCustomPrompt="1"/>
          </p:nvPr>
        </p:nvSpPr>
        <p:spPr>
          <a:xfrm>
            <a:off x="334963" y="5663201"/>
            <a:ext cx="11485562" cy="166099"/>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tx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tx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a:p>
          <a:p>
            <a:pPr lvl="0"/>
            <a:endParaRPr lang="en-US"/>
          </a:p>
          <a:p>
            <a:pPr lvl="0"/>
            <a:endParaRPr lang="en-US"/>
          </a:p>
          <a:p>
            <a:pPr lvl="0"/>
            <a:endParaRPr lang="en-US"/>
          </a:p>
          <a:p>
            <a:pPr lvl="0"/>
            <a:endParaRPr lang="en-US"/>
          </a:p>
        </p:txBody>
      </p:sp>
      <p:sp>
        <p:nvSpPr>
          <p:cNvPr id="5" name="TextBox 4"/>
          <p:cNvSpPr txBox="1"/>
          <p:nvPr userDrawn="1"/>
        </p:nvSpPr>
        <p:spPr>
          <a:xfrm>
            <a:off x="-176645" y="426027"/>
            <a:ext cx="0" cy="0"/>
          </a:xfrm>
          <a:prstGeom prst="rect">
            <a:avLst/>
          </a:prstGeom>
        </p:spPr>
        <p:txBody>
          <a:bodyPr vert="horz" wrap="none" lIns="0" tIns="45720" rIns="91440" bIns="45720" rtlCol="0" anchor="ctr">
            <a:noAutofit/>
          </a:bodyPr>
          <a:lstStyle/>
          <a:p>
            <a:endParaRPr lang="en-US" sz="1600" b="0" i="0">
              <a:solidFill>
                <a:schemeClr val="accent1"/>
              </a:solidFill>
              <a:latin typeface="+mn-lt"/>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Two Map">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Picture Placeholder 30"/>
          <p:cNvSpPr>
            <a:spLocks noGrp="1"/>
          </p:cNvSpPr>
          <p:nvPr>
            <p:ph type="pic" sz="quarter" idx="29" hasCustomPrompt="1"/>
          </p:nvPr>
        </p:nvSpPr>
        <p:spPr>
          <a:xfrm>
            <a:off x="334962" y="1917659"/>
            <a:ext cx="5617022" cy="3042702"/>
          </a:xfrm>
        </p:spPr>
        <p:txBody>
          <a:bodyPr anchor="ctr"/>
          <a:lstStyle>
            <a:lvl1pPr algn="ctr">
              <a:defRPr sz="1800">
                <a:latin typeface="+mn-lt"/>
                <a:ea typeface="+mn-ea"/>
                <a:cs typeface="+mn-cs"/>
              </a:defRPr>
            </a:lvl1pPr>
          </a:lstStyle>
          <a:p>
            <a:r>
              <a:rPr lang="id-ID"/>
              <a:t>Picture Map</a:t>
            </a:r>
          </a:p>
        </p:txBody>
      </p:sp>
      <p:sp>
        <p:nvSpPr>
          <p:cNvPr id="2" name="Title 1"/>
          <p:cNvSpPr>
            <a:spLocks noGrp="1"/>
          </p:cNvSpPr>
          <p:nvPr>
            <p:ph type="title" hasCustomPrompt="1"/>
          </p:nvPr>
        </p:nvSpPr>
        <p:spPr>
          <a:xfrm>
            <a:off x="334963" y="623455"/>
            <a:ext cx="9074355" cy="645305"/>
          </a:xfrm>
        </p:spPr>
        <p:txBody>
          <a:bodyPr vert="horz"/>
          <a:lstStyle>
            <a:lvl1pPr>
              <a:defRPr>
                <a:latin typeface="+mj-lt"/>
                <a:ea typeface="+mj-ea"/>
                <a:cs typeface="+mj-cs"/>
              </a:defRPr>
            </a:lvl1p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lvl1pPr>
              <a:defRPr>
                <a:latin typeface="+mn-lt"/>
              </a:defRPr>
            </a:lvl1pPr>
          </a:lstStyle>
          <a:p>
            <a:endParaRPr lang="id-ID"/>
          </a:p>
        </p:txBody>
      </p:sp>
      <p:sp>
        <p:nvSpPr>
          <p:cNvPr id="4" name="Slide Number Placeholder 3"/>
          <p:cNvSpPr>
            <a:spLocks noGrp="1"/>
          </p:cNvSpPr>
          <p:nvPr>
            <p:ph type="sldNum" sz="quarter" idx="11"/>
          </p:nvPr>
        </p:nvSpPr>
        <p:spPr/>
        <p:txBody>
          <a:bodyPr/>
          <a:lstStyle>
            <a:lvl1pPr>
              <a:defRPr>
                <a:latin typeface="+mn-lt"/>
              </a:defRPr>
            </a:lvl1pPr>
          </a:lstStyle>
          <a:p>
            <a:r>
              <a:rPr lang="id-ID"/>
              <a:t>|          </a:t>
            </a:r>
            <a:fld id="{7904F5B5-DD6E-6442-8C14-4BFE420CE974}" type="slidenum">
              <a:rPr lang="id-ID" smtClean="0"/>
              <a:t>‹#›</a:t>
            </a:fld>
            <a:endParaRPr lang="id-ID"/>
          </a:p>
        </p:txBody>
      </p:sp>
      <p:sp>
        <p:nvSpPr>
          <p:cNvPr id="10" name="Text Placeholder 8"/>
          <p:cNvSpPr>
            <a:spLocks noGrp="1"/>
          </p:cNvSpPr>
          <p:nvPr>
            <p:ph type="body" sz="quarter" idx="14" hasCustomPrompt="1"/>
          </p:nvPr>
        </p:nvSpPr>
        <p:spPr>
          <a:xfrm>
            <a:off x="334964" y="1354667"/>
            <a:ext cx="5617020" cy="287086"/>
          </a:xfrm>
        </p:spPr>
        <p:txBody>
          <a:bodyPr/>
          <a:lstStyle>
            <a:lvl1pPr marL="0" indent="0">
              <a:buNone/>
              <a:defRPr sz="1600" b="1"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18" name="Text Placeholder 8"/>
          <p:cNvSpPr>
            <a:spLocks noGrp="1"/>
          </p:cNvSpPr>
          <p:nvPr>
            <p:ph type="body" sz="quarter" idx="17" hasCustomPrompt="1"/>
          </p:nvPr>
        </p:nvSpPr>
        <p:spPr>
          <a:xfrm>
            <a:off x="334963"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19" name="Text Placeholder 8"/>
          <p:cNvSpPr>
            <a:spLocks noGrp="1"/>
          </p:cNvSpPr>
          <p:nvPr>
            <p:ph type="body" sz="quarter" idx="18" hasCustomPrompt="1"/>
          </p:nvPr>
        </p:nvSpPr>
        <p:spPr>
          <a:xfrm>
            <a:off x="23589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3" name="Text Placeholder 8"/>
          <p:cNvSpPr>
            <a:spLocks noGrp="1"/>
          </p:cNvSpPr>
          <p:nvPr>
            <p:ph type="body" sz="quarter" idx="22" hasCustomPrompt="1"/>
          </p:nvPr>
        </p:nvSpPr>
        <p:spPr>
          <a:xfrm>
            <a:off x="334963"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4" name="Text Placeholder 8"/>
          <p:cNvSpPr>
            <a:spLocks noGrp="1"/>
          </p:cNvSpPr>
          <p:nvPr>
            <p:ph type="body" sz="quarter" idx="23" hasCustomPrompt="1"/>
          </p:nvPr>
        </p:nvSpPr>
        <p:spPr>
          <a:xfrm>
            <a:off x="23589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27" name="Text Placeholder 8"/>
          <p:cNvSpPr>
            <a:spLocks noGrp="1"/>
          </p:cNvSpPr>
          <p:nvPr>
            <p:ph type="body" sz="quarter" idx="26" hasCustomPrompt="1"/>
          </p:nvPr>
        </p:nvSpPr>
        <p:spPr>
          <a:xfrm>
            <a:off x="334963" y="5013176"/>
            <a:ext cx="5617021"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28" name="Text Placeholder 8"/>
          <p:cNvSpPr>
            <a:spLocks noGrp="1"/>
          </p:cNvSpPr>
          <p:nvPr>
            <p:ph type="body" sz="quarter" idx="27" hasCustomPrompt="1"/>
          </p:nvPr>
        </p:nvSpPr>
        <p:spPr>
          <a:xfrm>
            <a:off x="334963" y="5663201"/>
            <a:ext cx="11485562" cy="142063"/>
          </a:xfrm>
        </p:spPr>
        <p:txBody>
          <a:bodyPr rIns="0" bIns="0" anchor="t"/>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1" i="0">
                <a:solidFill>
                  <a:schemeClr val="tx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lvl="0"/>
            <a:endParaRPr lang="en-US"/>
          </a:p>
        </p:txBody>
      </p:sp>
      <p:sp>
        <p:nvSpPr>
          <p:cNvPr id="29" name="Text Placeholder 8"/>
          <p:cNvSpPr>
            <a:spLocks noGrp="1"/>
          </p:cNvSpPr>
          <p:nvPr>
            <p:ph type="body" sz="quarter" idx="28" hasCustomPrompt="1"/>
          </p:nvPr>
        </p:nvSpPr>
        <p:spPr>
          <a:xfrm>
            <a:off x="334963" y="5872163"/>
            <a:ext cx="11485562" cy="528637"/>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900" b="0" i="0">
                <a:solidFill>
                  <a:schemeClr val="tx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 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endParaRPr lang="en-US"/>
          </a:p>
          <a:p>
            <a:pPr lvl="0"/>
            <a:endParaRPr lang="en-US"/>
          </a:p>
          <a:p>
            <a:pPr lvl="0"/>
            <a:endParaRPr lang="en-US"/>
          </a:p>
          <a:p>
            <a:pPr lvl="0"/>
            <a:endParaRPr lang="en-US"/>
          </a:p>
          <a:p>
            <a:pPr lvl="0"/>
            <a:endParaRPr lang="en-US"/>
          </a:p>
        </p:txBody>
      </p:sp>
      <p:sp>
        <p:nvSpPr>
          <p:cNvPr id="21" name="Picture Placeholder 30"/>
          <p:cNvSpPr>
            <a:spLocks noGrp="1"/>
          </p:cNvSpPr>
          <p:nvPr>
            <p:ph type="pic" sz="quarter" idx="30" hasCustomPrompt="1"/>
          </p:nvPr>
        </p:nvSpPr>
        <p:spPr>
          <a:xfrm>
            <a:off x="6272212" y="1917659"/>
            <a:ext cx="5537645" cy="3042702"/>
          </a:xfrm>
        </p:spPr>
        <p:txBody>
          <a:bodyPr anchor="ctr"/>
          <a:lstStyle>
            <a:lvl1pPr algn="ctr">
              <a:defRPr sz="1800">
                <a:latin typeface="+mn-lt"/>
                <a:ea typeface="+mn-ea"/>
                <a:cs typeface="+mn-cs"/>
              </a:defRPr>
            </a:lvl1pPr>
          </a:lstStyle>
          <a:p>
            <a:r>
              <a:rPr lang="id-ID"/>
              <a:t>Picture Map</a:t>
            </a:r>
          </a:p>
        </p:txBody>
      </p:sp>
      <p:sp>
        <p:nvSpPr>
          <p:cNvPr id="30" name="Text Placeholder 8"/>
          <p:cNvSpPr>
            <a:spLocks noGrp="1"/>
          </p:cNvSpPr>
          <p:nvPr>
            <p:ph type="body" sz="quarter" idx="31" hasCustomPrompt="1"/>
          </p:nvPr>
        </p:nvSpPr>
        <p:spPr>
          <a:xfrm>
            <a:off x="6272212" y="1354667"/>
            <a:ext cx="5537645" cy="287086"/>
          </a:xfrm>
        </p:spPr>
        <p:txBody>
          <a:bodyPr/>
          <a:lstStyle>
            <a:lvl1pPr marL="0" indent="0">
              <a:buNone/>
              <a:defRPr sz="1600" b="1"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p:txBody>
      </p:sp>
      <p:sp>
        <p:nvSpPr>
          <p:cNvPr id="32" name="Text Placeholder 8"/>
          <p:cNvSpPr>
            <a:spLocks noGrp="1"/>
          </p:cNvSpPr>
          <p:nvPr>
            <p:ph type="body" sz="quarter" idx="32" hasCustomPrompt="1"/>
          </p:nvPr>
        </p:nvSpPr>
        <p:spPr>
          <a:xfrm>
            <a:off x="4382889"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3" name="Text Placeholder 8"/>
          <p:cNvSpPr>
            <a:spLocks noGrp="1"/>
          </p:cNvSpPr>
          <p:nvPr>
            <p:ph type="body" sz="quarter" idx="33" hasCustomPrompt="1"/>
          </p:nvPr>
        </p:nvSpPr>
        <p:spPr>
          <a:xfrm>
            <a:off x="4382889"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4" name="Text Placeholder 8"/>
          <p:cNvSpPr>
            <a:spLocks noGrp="1"/>
          </p:cNvSpPr>
          <p:nvPr>
            <p:ph type="body" sz="quarter" idx="34" hasCustomPrompt="1"/>
          </p:nvPr>
        </p:nvSpPr>
        <p:spPr>
          <a:xfrm>
            <a:off x="6240019" y="5013176"/>
            <a:ext cx="5580506" cy="374119"/>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Caption text styles Click to edit Caption text styles Click to edit Caption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Caption text styles Click to edit Caption text styles Click to edit Caption text styles</a:t>
            </a:r>
          </a:p>
          <a:p>
            <a:pPr lvl="0"/>
            <a:endParaRPr lang="en-US"/>
          </a:p>
          <a:p>
            <a:pPr lvl="0"/>
            <a:endParaRPr lang="en-US"/>
          </a:p>
        </p:txBody>
      </p:sp>
      <p:sp>
        <p:nvSpPr>
          <p:cNvPr id="35" name="Text Placeholder 8"/>
          <p:cNvSpPr>
            <a:spLocks noGrp="1"/>
          </p:cNvSpPr>
          <p:nvPr>
            <p:ph type="body" sz="quarter" idx="35" hasCustomPrompt="1"/>
          </p:nvPr>
        </p:nvSpPr>
        <p:spPr>
          <a:xfrm>
            <a:off x="6249988"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6" name="Text Placeholder 8"/>
          <p:cNvSpPr>
            <a:spLocks noGrp="1"/>
          </p:cNvSpPr>
          <p:nvPr>
            <p:ph type="body" sz="quarter" idx="36" hasCustomPrompt="1"/>
          </p:nvPr>
        </p:nvSpPr>
        <p:spPr>
          <a:xfrm>
            <a:off x="8240807"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7" name="Text Placeholder 8"/>
          <p:cNvSpPr>
            <a:spLocks noGrp="1"/>
          </p:cNvSpPr>
          <p:nvPr>
            <p:ph type="body" sz="quarter" idx="37" hasCustomPrompt="1"/>
          </p:nvPr>
        </p:nvSpPr>
        <p:spPr>
          <a:xfrm>
            <a:off x="6249988"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8" name="Text Placeholder 8"/>
          <p:cNvSpPr>
            <a:spLocks noGrp="1"/>
          </p:cNvSpPr>
          <p:nvPr>
            <p:ph type="body" sz="quarter" idx="38" hasCustomPrompt="1"/>
          </p:nvPr>
        </p:nvSpPr>
        <p:spPr>
          <a:xfrm>
            <a:off x="8240807"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39" name="Text Placeholder 8"/>
          <p:cNvSpPr>
            <a:spLocks noGrp="1"/>
          </p:cNvSpPr>
          <p:nvPr>
            <p:ph type="body" sz="quarter" idx="39" hasCustomPrompt="1"/>
          </p:nvPr>
        </p:nvSpPr>
        <p:spPr>
          <a:xfrm>
            <a:off x="10231626" y="1917659"/>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
        <p:nvSpPr>
          <p:cNvPr id="40" name="Text Placeholder 8"/>
          <p:cNvSpPr>
            <a:spLocks noGrp="1"/>
          </p:cNvSpPr>
          <p:nvPr>
            <p:ph type="body" sz="quarter" idx="40" hasCustomPrompt="1"/>
          </p:nvPr>
        </p:nvSpPr>
        <p:spPr>
          <a:xfrm>
            <a:off x="10231626" y="4503696"/>
            <a:ext cx="1584573" cy="456665"/>
          </a:xfrm>
        </p:spPr>
        <p:txBody>
          <a:bodyPr/>
          <a:lstStyle>
            <a:lvl1pPr marL="0" marR="0" indent="0" algn="l" defTabSz="914400" rtl="0" eaLnBrk="1" fontAlgn="auto" latinLnBrk="0" hangingPunct="1">
              <a:lnSpc>
                <a:spcPts val="1000"/>
              </a:lnSpc>
              <a:spcBef>
                <a:spcPts val="0"/>
              </a:spcBef>
              <a:spcAft>
                <a:spcPts val="0"/>
              </a:spcAft>
              <a:buClrTx/>
              <a:buSzTx/>
              <a:buFont typeface="Arial" panose="020B0604020202090204"/>
              <a:buNone/>
              <a:defRPr sz="800" b="0" i="0">
                <a:solidFill>
                  <a:schemeClr val="accent2"/>
                </a:solidFill>
                <a:latin typeface="+mn-lt"/>
                <a:ea typeface="+mn-ea"/>
                <a:cs typeface="+mn-cs"/>
              </a:defRPr>
            </a:lvl1pPr>
            <a:lvl2pPr marL="457200" indent="0">
              <a:buNone/>
              <a:defRPr sz="2400" b="1" i="0">
                <a:latin typeface="Gotham Bold" pitchFamily="2" charset="0"/>
                <a:cs typeface="Gotham Bold" pitchFamily="2" charset="0"/>
              </a:defRPr>
            </a:lvl2pPr>
            <a:lvl3pPr marL="914400" indent="0">
              <a:buNone/>
              <a:defRPr sz="1600" b="1" i="0">
                <a:latin typeface="Gotham Bold" pitchFamily="2" charset="0"/>
                <a:cs typeface="Gotham Bold" pitchFamily="2" charset="0"/>
              </a:defRPr>
            </a:lvl3pPr>
            <a:lvl4pPr marL="1371600" indent="0">
              <a:buNone/>
              <a:defRPr sz="1600" b="1" i="0">
                <a:latin typeface="Gotham Bold" pitchFamily="2" charset="0"/>
                <a:cs typeface="Gotham Bold" pitchFamily="2" charset="0"/>
              </a:defRPr>
            </a:lvl4pPr>
            <a:lvl5pPr marL="1828800" indent="0">
              <a:buNone/>
              <a:defRPr sz="1600" b="1" i="0">
                <a:latin typeface="Gotham Bold" pitchFamily="2" charset="0"/>
                <a:cs typeface="Gotham Bold" pitchFamily="2" charset="0"/>
              </a:defRPr>
            </a:lvl5pPr>
          </a:lstStyle>
          <a:p>
            <a:pPr lvl="0"/>
            <a:r>
              <a:rPr lang="en-US"/>
              <a:t>Click to edit Body text styles</a:t>
            </a:r>
          </a:p>
          <a:p>
            <a:pPr lvl="0"/>
            <a:r>
              <a:rPr lang="en-US"/>
              <a:t>Click to edit Body text styles</a:t>
            </a:r>
          </a:p>
          <a:p>
            <a:pPr marL="0" marR="0" lvl="0" indent="0" algn="l" defTabSz="914400" rtl="0" eaLnBrk="1" fontAlgn="auto" latinLnBrk="0" hangingPunct="1">
              <a:lnSpc>
                <a:spcPts val="1000"/>
              </a:lnSpc>
              <a:spcBef>
                <a:spcPts val="0"/>
              </a:spcBef>
              <a:spcAft>
                <a:spcPts val="0"/>
              </a:spcAft>
              <a:buClrTx/>
              <a:buSzTx/>
              <a:buFont typeface="Arial" panose="020B0604020202090204"/>
              <a:buNone/>
              <a:defRPr/>
            </a:pPr>
            <a:r>
              <a:rPr lang="en-US"/>
              <a:t>Click to edit Body text styles</a:t>
            </a:r>
          </a:p>
          <a:p>
            <a:pPr lvl="0"/>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with Tab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963" y="623455"/>
            <a:ext cx="9074355" cy="501289"/>
          </a:xfrm>
        </p:spPr>
        <p:txBody>
          <a:bodyPr vert="horz"/>
          <a:lstStyle>
            <a:lvl1pPr>
              <a:defRPr>
                <a:latin typeface="+mj-lt"/>
                <a:ea typeface="+mj-ea"/>
                <a:cs typeface="+mj-cs"/>
              </a:defRPr>
            </a:lvl1p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lvl1pPr>
              <a:defRPr>
                <a:latin typeface="+mn-lt"/>
              </a:defRPr>
            </a:lvl1pPr>
          </a:lstStyle>
          <a:p>
            <a:endParaRPr lang="id-ID"/>
          </a:p>
        </p:txBody>
      </p:sp>
      <p:sp>
        <p:nvSpPr>
          <p:cNvPr id="4" name="Slide Number Placeholder 3"/>
          <p:cNvSpPr>
            <a:spLocks noGrp="1"/>
          </p:cNvSpPr>
          <p:nvPr>
            <p:ph type="sldNum" sz="quarter" idx="11"/>
          </p:nvPr>
        </p:nvSpPr>
        <p:spPr/>
        <p:txBody>
          <a:bodyPr/>
          <a:lstStyle>
            <a:lvl1pPr>
              <a:defRPr>
                <a:latin typeface="+mn-lt"/>
              </a:defRPr>
            </a:lvl1pPr>
          </a:lstStyle>
          <a:p>
            <a:r>
              <a:rPr lang="id-ID"/>
              <a:t>|          </a:t>
            </a:r>
            <a:fld id="{7904F5B5-DD6E-6442-8C14-4BFE420CE974}" type="slidenum">
              <a:rPr lang="id-ID" smtClean="0"/>
              <a:t>‹#›</a:t>
            </a:fld>
            <a:endParaRPr lang="id-ID"/>
          </a:p>
        </p:txBody>
      </p:sp>
      <p:sp>
        <p:nvSpPr>
          <p:cNvPr id="8" name="Text Placeholder 7"/>
          <p:cNvSpPr>
            <a:spLocks noGrp="1"/>
          </p:cNvSpPr>
          <p:nvPr>
            <p:ph type="body" sz="quarter" idx="13" hasCustomPrompt="1"/>
          </p:nvPr>
        </p:nvSpPr>
        <p:spPr>
          <a:xfrm>
            <a:off x="334963" y="1158241"/>
            <a:ext cx="11485562" cy="345440"/>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000">
                <a:latin typeface="+mn-lt"/>
                <a:ea typeface="+mn-ea"/>
                <a:cs typeface="+mn-cs"/>
              </a:defRPr>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a:t>Click to edit Master text styles. Ex. </a:t>
            </a:r>
            <a:r>
              <a:rPr lang="en-US" sz="1000" noProof="1">
                <a:solidFill>
                  <a:schemeClr val="tx1">
                    <a:lumMod val="65000"/>
                    <a:lumOff val="35000"/>
                  </a:schemeClr>
                </a:solidFill>
                <a:latin typeface="Gotham Book" charset="0"/>
                <a:ea typeface="Gotham Book" charset="0"/>
                <a:cs typeface="Gotham Book" charset="0"/>
                <a:sym typeface="Arial" panose="020B0604020202090204" pitchFamily="34" charset="0"/>
              </a:rPr>
              <a:t>Membangun sumber daya yang berkelanjutan dalam skala besar untuk Indonesia - Menggandakan volume hulu, memperluas aset hilir - mewujudkan Noble Purpose untuk mengeksplorasi kemakmuran; meningkat secara berkelanjutan hingga ~&gt; 8 x EBITDA (MIND ID &gt; 5x), dan secara signifikan memperluas 7 …</a:t>
            </a:r>
            <a:endParaRPr lang="en-US"/>
          </a:p>
        </p:txBody>
      </p:sp>
      <p:sp>
        <p:nvSpPr>
          <p:cNvPr id="10" name="Text Placeholder 7"/>
          <p:cNvSpPr>
            <a:spLocks noGrp="1"/>
          </p:cNvSpPr>
          <p:nvPr>
            <p:ph type="body" sz="quarter" idx="14" hasCustomPrompt="1"/>
          </p:nvPr>
        </p:nvSpPr>
        <p:spPr>
          <a:xfrm>
            <a:off x="334963" y="1717041"/>
            <a:ext cx="11485562" cy="175251"/>
          </a:xfrm>
        </p:spPr>
        <p:txBody>
          <a:bodyPr/>
          <a:lstStyle>
            <a:lvl1pPr marL="0" marR="0" indent="0" algn="l" defTabSz="914400" rtl="0" eaLnBrk="1" fontAlgn="auto" latinLnBrk="0" hangingPunct="1">
              <a:lnSpc>
                <a:spcPts val="1200"/>
              </a:lnSpc>
              <a:spcBef>
                <a:spcPts val="0"/>
              </a:spcBef>
              <a:spcAft>
                <a:spcPts val="300"/>
              </a:spcAft>
              <a:buClrTx/>
              <a:buSzTx/>
              <a:buFont typeface="Arial" panose="020B0604020202090204"/>
              <a:buNone/>
              <a:defRPr sz="1200" b="1" i="0">
                <a:solidFill>
                  <a:schemeClr val="accent2"/>
                </a:solidFill>
                <a:latin typeface="+mn-lt"/>
                <a:ea typeface="+mn-ea"/>
                <a:cs typeface="+mn-cs"/>
              </a:defRPr>
            </a:lvl1pPr>
            <a:lvl2pPr>
              <a:defRPr sz="900"/>
            </a:lvl2pPr>
            <a:lvl3pPr>
              <a:defRPr sz="900"/>
            </a:lvl3pPr>
            <a:lvl4pPr>
              <a:defRPr sz="900"/>
            </a:lvl4pPr>
            <a:lvl5pPr>
              <a:defRPr sz="900"/>
            </a:lvl5pPr>
          </a:lstStyle>
          <a:p>
            <a:pPr marL="0" marR="0" lvl="0" indent="0" algn="l" defTabSz="914400" rtl="0" eaLnBrk="1" fontAlgn="auto" latinLnBrk="0" hangingPunct="1">
              <a:lnSpc>
                <a:spcPts val="1200"/>
              </a:lnSpc>
              <a:spcBef>
                <a:spcPts val="0"/>
              </a:spcBef>
              <a:spcAft>
                <a:spcPts val="300"/>
              </a:spcAft>
              <a:buClrTx/>
              <a:buSzTx/>
              <a:buFont typeface="Arial" panose="020B0604020202090204"/>
              <a:buNone/>
              <a:defRPr/>
            </a:pPr>
            <a:r>
              <a:rPr lang="en-US"/>
              <a:t>Click to edit Title table text styles. Ex. </a:t>
            </a:r>
            <a:r>
              <a:rPr kumimoji="0" lang="en-US" sz="1200" b="1" u="none" strike="noStrike" kern="0" cap="none" spc="0" normalizeH="0" baseline="0" noProof="1">
                <a:ln>
                  <a:noFill/>
                </a:ln>
                <a:solidFill>
                  <a:srgbClr val="0862A4"/>
                </a:solidFill>
                <a:effectLst/>
                <a:uLnTx/>
                <a:uFillTx/>
                <a:latin typeface="Gotham Bold" pitchFamily="2" charset="0"/>
                <a:ea typeface="Gotham Bold" pitchFamily="2" charset="0"/>
                <a:cs typeface="Gotham Bold" pitchFamily="2" charset="0"/>
              </a:rPr>
              <a:t>Strategi terintegrasi </a:t>
            </a:r>
            <a:endParaRPr lang="en-US"/>
          </a:p>
        </p:txBody>
      </p:sp>
      <p:sp>
        <p:nvSpPr>
          <p:cNvPr id="12" name="Table Placeholder 11"/>
          <p:cNvSpPr>
            <a:spLocks noGrp="1"/>
          </p:cNvSpPr>
          <p:nvPr>
            <p:ph type="tbl" sz="quarter" idx="15"/>
          </p:nvPr>
        </p:nvSpPr>
        <p:spPr>
          <a:xfrm>
            <a:off x="334963" y="1988840"/>
            <a:ext cx="11485562" cy="4147800"/>
          </a:xfrm>
        </p:spPr>
        <p:txBody>
          <a:bodyPr anchor="ctr"/>
          <a:lstStyle>
            <a:lvl1pPr algn="ctr">
              <a:defRPr sz="2800"/>
            </a:lvl1pPr>
          </a:lstStyle>
          <a:p>
            <a:endParaRPr lang="id-ID"/>
          </a:p>
        </p:txBody>
      </p:sp>
      <p:sp>
        <p:nvSpPr>
          <p:cNvPr id="15" name="Text Placeholder 14"/>
          <p:cNvSpPr>
            <a:spLocks noGrp="1"/>
          </p:cNvSpPr>
          <p:nvPr>
            <p:ph type="body" sz="quarter" idx="16" hasCustomPrompt="1"/>
          </p:nvPr>
        </p:nvSpPr>
        <p:spPr>
          <a:xfrm>
            <a:off x="334963" y="6217921"/>
            <a:ext cx="7993285" cy="451439"/>
          </a:xfrm>
        </p:spPr>
        <p:txBody>
          <a:bodyPr/>
          <a:lstStyle>
            <a:lvl1pPr marL="144145" marR="0" indent="-144145" algn="l" defTabSz="914400" rtl="0" eaLnBrk="1" fontAlgn="auto" latinLnBrk="0" hangingPunct="1">
              <a:lnSpc>
                <a:spcPct val="100000"/>
              </a:lnSpc>
              <a:spcBef>
                <a:spcPts val="0"/>
              </a:spcBef>
              <a:spcAft>
                <a:spcPts val="0"/>
              </a:spcAft>
              <a:buClrTx/>
              <a:buSzTx/>
              <a:buFont typeface="+mj-lt"/>
              <a:buAutoNum type="arabicPeriod"/>
              <a:defRPr sz="800">
                <a:latin typeface="+mn-lt"/>
                <a:ea typeface="+mn-ea"/>
                <a:cs typeface="+mn-cs"/>
              </a:defRPr>
            </a:lvl1pPr>
            <a:lvl2pPr indent="0">
              <a:lnSpc>
                <a:spcPct val="100000"/>
              </a:lnSpc>
              <a:defRPr sz="800"/>
            </a:lvl2pPr>
            <a:lvl3pPr indent="0">
              <a:lnSpc>
                <a:spcPct val="100000"/>
              </a:lnSpc>
              <a:defRPr sz="800"/>
            </a:lvl3pPr>
            <a:lvl4pPr indent="0">
              <a:lnSpc>
                <a:spcPct val="100000"/>
              </a:lnSpc>
              <a:defRPr sz="800"/>
            </a:lvl4pPr>
            <a:lvl5pPr indent="0">
              <a:lnSpc>
                <a:spcPct val="100000"/>
              </a:lnSpc>
              <a:defRPr sz="800"/>
            </a:lvl5pPr>
          </a:lstStyle>
          <a:p>
            <a:pPr lvl="0"/>
            <a:r>
              <a:rPr lang="en-US"/>
              <a:t>Click to edit Caption text styles</a:t>
            </a:r>
          </a:p>
          <a:p>
            <a:pPr lvl="0"/>
            <a:r>
              <a:rPr lang="en-US"/>
              <a:t>Click to edit Caption text styles</a:t>
            </a:r>
          </a:p>
          <a:p>
            <a:pPr marL="144145" marR="0" lvl="0" indent="-144145" algn="l" defTabSz="914400" rtl="0" eaLnBrk="1" fontAlgn="auto" latinLnBrk="0" hangingPunct="1">
              <a:lnSpc>
                <a:spcPct val="100000"/>
              </a:lnSpc>
              <a:spcBef>
                <a:spcPts val="0"/>
              </a:spcBef>
              <a:spcAft>
                <a:spcPts val="0"/>
              </a:spcAft>
              <a:buClrTx/>
              <a:buSzTx/>
              <a:buFont typeface="+mj-lt"/>
              <a:buAutoNum type="arabicPeriod"/>
              <a:defRPr/>
            </a:pPr>
            <a:r>
              <a:rPr lang="en-US"/>
              <a:t>Click to edit Caption text styles</a:t>
            </a:r>
          </a:p>
          <a:p>
            <a:pPr lvl="0"/>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Coloum">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alphaModFix amt="25000"/>
          </a:blip>
          <a:stretch>
            <a:fillRect/>
          </a:stretch>
        </p:blipFill>
        <p:spPr>
          <a:xfrm>
            <a:off x="0" y="0"/>
            <a:ext cx="12192000" cy="6858000"/>
          </a:xfrm>
          <a:prstGeom prst="rect">
            <a:avLst/>
          </a:prstGeom>
        </p:spPr>
      </p:pic>
      <p:sp>
        <p:nvSpPr>
          <p:cNvPr id="2" name="Title 1"/>
          <p:cNvSpPr>
            <a:spLocks noGrp="1"/>
          </p:cNvSpPr>
          <p:nvPr>
            <p:ph type="title" hasCustomPrompt="1"/>
          </p:nvPr>
        </p:nvSpPr>
        <p:spPr/>
        <p:txBody>
          <a:bodyPr vert="horz"/>
          <a:lstStyle>
            <a:lvl1pPr>
              <a:defRPr>
                <a:latin typeface="+mj-lt"/>
                <a:ea typeface="+mj-ea"/>
                <a:cs typeface="+mj-cs"/>
              </a:defRPr>
            </a:lvl1pPr>
          </a:lstStyle>
          <a:p>
            <a:br>
              <a:rPr lang="en-US"/>
            </a:br>
            <a:r>
              <a:rPr lang="en-US"/>
              <a:t>Click to edit Title text</a:t>
            </a:r>
            <a:endParaRPr lang="id-ID"/>
          </a:p>
        </p:txBody>
      </p:sp>
      <p:sp>
        <p:nvSpPr>
          <p:cNvPr id="3" name="Date Placeholder 2"/>
          <p:cNvSpPr>
            <a:spLocks noGrp="1"/>
          </p:cNvSpPr>
          <p:nvPr>
            <p:ph type="dt" sz="half" idx="10"/>
          </p:nvPr>
        </p:nvSpPr>
        <p:spPr/>
        <p:txBody>
          <a:bodyPr/>
          <a:lstStyle>
            <a:lvl1pPr>
              <a:defRPr>
                <a:latin typeface="+mn-lt"/>
              </a:defRPr>
            </a:lvl1pPr>
          </a:lstStyle>
          <a:p>
            <a:endParaRPr lang="id-ID"/>
          </a:p>
        </p:txBody>
      </p:sp>
      <p:sp>
        <p:nvSpPr>
          <p:cNvPr id="4" name="Slide Number Placeholder 3"/>
          <p:cNvSpPr>
            <a:spLocks noGrp="1"/>
          </p:cNvSpPr>
          <p:nvPr>
            <p:ph type="sldNum" sz="quarter" idx="11"/>
          </p:nvPr>
        </p:nvSpPr>
        <p:spPr/>
        <p:txBody>
          <a:bodyPr/>
          <a:lstStyle>
            <a:lvl1pPr>
              <a:defRPr>
                <a:latin typeface="+mn-lt"/>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a:latin typeface="+mj-lt"/>
                <a:ea typeface="+mj-ea"/>
                <a:cs typeface="+mj-cs"/>
              </a:defRPr>
            </a:lvl1pPr>
          </a:lstStyle>
          <a:p>
            <a:br>
              <a:rPr lang="en-US"/>
            </a:br>
            <a:r>
              <a:rPr lang="en-US"/>
              <a:t>Click to edit Chart Title text</a:t>
            </a:r>
            <a:endParaRPr lang="id-ID"/>
          </a:p>
        </p:txBody>
      </p:sp>
      <p:sp>
        <p:nvSpPr>
          <p:cNvPr id="3" name="Date Placeholder 2"/>
          <p:cNvSpPr>
            <a:spLocks noGrp="1"/>
          </p:cNvSpPr>
          <p:nvPr>
            <p:ph type="dt" sz="half" idx="10"/>
          </p:nvPr>
        </p:nvSpPr>
        <p:spPr/>
        <p:txBody>
          <a:bodyPr/>
          <a:lstStyle>
            <a:lvl1pPr>
              <a:defRPr>
                <a:latin typeface="+mn-lt"/>
              </a:defRPr>
            </a:lvl1pPr>
          </a:lstStyle>
          <a:p>
            <a:endParaRPr lang="id-ID"/>
          </a:p>
        </p:txBody>
      </p:sp>
      <p:sp>
        <p:nvSpPr>
          <p:cNvPr id="4" name="Slide Number Placeholder 3"/>
          <p:cNvSpPr>
            <a:spLocks noGrp="1"/>
          </p:cNvSpPr>
          <p:nvPr>
            <p:ph type="sldNum" sz="quarter" idx="11"/>
          </p:nvPr>
        </p:nvSpPr>
        <p:spPr/>
        <p:txBody>
          <a:bodyPr/>
          <a:lstStyle>
            <a:lvl1pPr>
              <a:defRPr>
                <a:latin typeface="+mn-lt"/>
              </a:defRPr>
            </a:lvl1p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endParaRPr lang="en-US">
              <a:solidFill>
                <a:schemeClr val="bg1">
                  <a:lumMod val="50000"/>
                </a:schemeClr>
              </a:solidFill>
            </a:endParaRPr>
          </a:p>
        </p:txBody>
      </p:sp>
      <p:sp>
        <p:nvSpPr>
          <p:cNvPr id="9"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mn-lt"/>
                <a:ea typeface="+mn-ea"/>
                <a:cs typeface="+mn-cs"/>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a:t>Click to edit Title text styles</a:t>
            </a:r>
          </a:p>
        </p:txBody>
      </p:sp>
      <p:sp>
        <p:nvSpPr>
          <p:cNvPr id="11" name="Chart Placeholder 10"/>
          <p:cNvSpPr>
            <a:spLocks noGrp="1"/>
          </p:cNvSpPr>
          <p:nvPr>
            <p:ph type="chart" sz="quarter" idx="14"/>
          </p:nvPr>
        </p:nvSpPr>
        <p:spPr>
          <a:xfrm>
            <a:off x="253064" y="1916464"/>
            <a:ext cx="3682696" cy="1728192"/>
          </a:xfrm>
        </p:spPr>
        <p:txBody>
          <a:bodyPr anchor="ctr"/>
          <a:lstStyle>
            <a:lvl1pPr algn="ctr">
              <a:defRPr sz="1800"/>
            </a:lvl1pPr>
          </a:lstStyle>
          <a:p>
            <a:endParaRPr lang="id-ID"/>
          </a:p>
        </p:txBody>
      </p:sp>
      <p:sp>
        <p:nvSpPr>
          <p:cNvPr id="18" name="Chart Placeholder 10"/>
          <p:cNvSpPr>
            <a:spLocks noGrp="1"/>
          </p:cNvSpPr>
          <p:nvPr>
            <p:ph type="chart" sz="quarter" idx="15"/>
          </p:nvPr>
        </p:nvSpPr>
        <p:spPr>
          <a:xfrm>
            <a:off x="8137829" y="1916464"/>
            <a:ext cx="3682696" cy="1728192"/>
          </a:xfrm>
        </p:spPr>
        <p:txBody>
          <a:bodyPr anchor="ctr"/>
          <a:lstStyle>
            <a:lvl1pPr algn="ctr">
              <a:defRPr sz="1800"/>
            </a:lvl1pPr>
          </a:lstStyle>
          <a:p>
            <a:endParaRPr lang="id-ID"/>
          </a:p>
        </p:txBody>
      </p:sp>
      <p:sp>
        <p:nvSpPr>
          <p:cNvPr id="21" name="Chart Placeholder 10"/>
          <p:cNvSpPr>
            <a:spLocks noGrp="1"/>
          </p:cNvSpPr>
          <p:nvPr>
            <p:ph type="chart" sz="quarter" idx="16"/>
          </p:nvPr>
        </p:nvSpPr>
        <p:spPr>
          <a:xfrm>
            <a:off x="4195221" y="1916464"/>
            <a:ext cx="3682696" cy="1728192"/>
          </a:xfrm>
        </p:spPr>
        <p:txBody>
          <a:bodyPr anchor="ctr"/>
          <a:lstStyle>
            <a:lvl1pPr algn="ctr">
              <a:defRPr sz="1800"/>
            </a:lvl1pPr>
          </a:lstStyle>
          <a:p>
            <a:endParaRPr lang="id-ID"/>
          </a:p>
        </p:txBody>
      </p:sp>
      <p:sp>
        <p:nvSpPr>
          <p:cNvPr id="22" name="Chart Placeholder 10"/>
          <p:cNvSpPr>
            <a:spLocks noGrp="1"/>
          </p:cNvSpPr>
          <p:nvPr>
            <p:ph type="chart" sz="quarter" idx="17"/>
          </p:nvPr>
        </p:nvSpPr>
        <p:spPr>
          <a:xfrm>
            <a:off x="253064" y="4076704"/>
            <a:ext cx="3682696" cy="1728192"/>
          </a:xfrm>
        </p:spPr>
        <p:txBody>
          <a:bodyPr anchor="ctr"/>
          <a:lstStyle>
            <a:lvl1pPr algn="ctr">
              <a:defRPr sz="1800"/>
            </a:lvl1pPr>
          </a:lstStyle>
          <a:p>
            <a:endParaRPr lang="id-ID"/>
          </a:p>
        </p:txBody>
      </p:sp>
      <p:sp>
        <p:nvSpPr>
          <p:cNvPr id="23" name="Chart Placeholder 10"/>
          <p:cNvSpPr>
            <a:spLocks noGrp="1"/>
          </p:cNvSpPr>
          <p:nvPr>
            <p:ph type="chart" sz="quarter" idx="18"/>
          </p:nvPr>
        </p:nvSpPr>
        <p:spPr>
          <a:xfrm>
            <a:off x="8137829" y="4076704"/>
            <a:ext cx="3682696" cy="1728192"/>
          </a:xfrm>
        </p:spPr>
        <p:txBody>
          <a:bodyPr anchor="ctr"/>
          <a:lstStyle>
            <a:lvl1pPr algn="ctr">
              <a:defRPr sz="1800"/>
            </a:lvl1pPr>
          </a:lstStyle>
          <a:p>
            <a:endParaRPr lang="id-ID"/>
          </a:p>
        </p:txBody>
      </p:sp>
      <p:sp>
        <p:nvSpPr>
          <p:cNvPr id="24" name="Chart Placeholder 10"/>
          <p:cNvSpPr>
            <a:spLocks noGrp="1"/>
          </p:cNvSpPr>
          <p:nvPr>
            <p:ph type="chart" sz="quarter" idx="19"/>
          </p:nvPr>
        </p:nvSpPr>
        <p:spPr>
          <a:xfrm>
            <a:off x="4195221" y="4076704"/>
            <a:ext cx="3682696" cy="1728192"/>
          </a:xfrm>
        </p:spPr>
        <p:txBody>
          <a:bodyPr anchor="ctr"/>
          <a:lstStyle>
            <a:lvl1pPr algn="ctr">
              <a:defRPr sz="1800"/>
            </a:lvl1pPr>
          </a:lstStyle>
          <a:p>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orking-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a:latin typeface="+mj-lt"/>
                <a:ea typeface="+mj-ea"/>
                <a:cs typeface="+mj-cs"/>
              </a:defRPr>
            </a:lvl1pPr>
          </a:lstStyle>
          <a:p>
            <a:br>
              <a:rPr lang="en-US"/>
            </a:br>
            <a:r>
              <a:rPr lang="en-US"/>
              <a:t>Click to edit Working-out Title text</a:t>
            </a:r>
            <a:endParaRPr lang="id-ID"/>
          </a:p>
        </p:txBody>
      </p:sp>
      <p:sp>
        <p:nvSpPr>
          <p:cNvPr id="3" name="Date Placeholder 2"/>
          <p:cNvSpPr>
            <a:spLocks noGrp="1"/>
          </p:cNvSpPr>
          <p:nvPr>
            <p:ph type="dt" sz="half" idx="10"/>
          </p:nvPr>
        </p:nvSpPr>
        <p:spPr/>
        <p:txBody>
          <a:bodyPr/>
          <a:lstStyle>
            <a:lvl1pPr>
              <a:defRPr>
                <a:latin typeface="+mn-lt"/>
              </a:defRPr>
            </a:lvl1pPr>
          </a:lstStyle>
          <a:p>
            <a:endParaRPr lang="id-ID"/>
          </a:p>
        </p:txBody>
      </p:sp>
      <p:sp>
        <p:nvSpPr>
          <p:cNvPr id="4" name="Slide Number Placeholder 3"/>
          <p:cNvSpPr>
            <a:spLocks noGrp="1"/>
          </p:cNvSpPr>
          <p:nvPr>
            <p:ph type="sldNum" sz="quarter" idx="11"/>
          </p:nvPr>
        </p:nvSpPr>
        <p:spPr/>
        <p:txBody>
          <a:bodyPr/>
          <a:lstStyle>
            <a:lvl1pPr>
              <a:defRPr>
                <a:latin typeface="+mn-lt"/>
              </a:defRPr>
            </a:lvl1pPr>
          </a:lstStyle>
          <a:p>
            <a:r>
              <a:rPr lang="id-ID"/>
              <a:t>|          </a:t>
            </a:r>
            <a:fld id="{7904F5B5-DD6E-6442-8C14-4BFE420CE974}" type="slidenum">
              <a:rPr lang="id-ID" smtClean="0"/>
              <a:t>‹#›</a:t>
            </a:fld>
            <a:endParaRPr lang="id-ID"/>
          </a:p>
        </p:txBody>
      </p:sp>
      <p:sp>
        <p:nvSpPr>
          <p:cNvPr id="5" name="Footer Placeholder 4"/>
          <p:cNvSpPr>
            <a:spLocks noGrp="1"/>
          </p:cNvSpPr>
          <p:nvPr>
            <p:ph type="ftr" sz="quarter" idx="12"/>
          </p:nvPr>
        </p:nvSpPr>
        <p:spPr/>
        <p:txBody>
          <a:bodyPr/>
          <a:lstStyle/>
          <a:p>
            <a:pPr algn="l"/>
            <a:endParaRPr lang="en-US">
              <a:solidFill>
                <a:schemeClr val="bg1">
                  <a:lumMod val="50000"/>
                </a:schemeClr>
              </a:solidFill>
            </a:endParaRPr>
          </a:p>
        </p:txBody>
      </p:sp>
      <p:sp>
        <p:nvSpPr>
          <p:cNvPr id="13" name="Text Placeholder 8"/>
          <p:cNvSpPr>
            <a:spLocks noGrp="1"/>
          </p:cNvSpPr>
          <p:nvPr>
            <p:ph type="body" sz="quarter" idx="13" hasCustomPrompt="1"/>
          </p:nvPr>
        </p:nvSpPr>
        <p:spPr>
          <a:xfrm>
            <a:off x="334963" y="1484416"/>
            <a:ext cx="11485562" cy="216392"/>
          </a:xfrm>
        </p:spPr>
        <p:txBody>
          <a:bodyPr/>
          <a:lstStyle>
            <a:lvl1pPr marL="0" indent="0">
              <a:lnSpc>
                <a:spcPts val="1200"/>
              </a:lnSpc>
              <a:spcAft>
                <a:spcPts val="300"/>
              </a:spcAft>
              <a:buNone/>
              <a:defRPr sz="1600" b="1" i="0">
                <a:solidFill>
                  <a:schemeClr val="accent2"/>
                </a:solidFill>
                <a:latin typeface="+mn-lt"/>
                <a:ea typeface="+mn-ea"/>
                <a:cs typeface="+mn-cs"/>
              </a:defRPr>
            </a:lvl1pPr>
            <a:lvl2pPr marL="0" indent="0">
              <a:lnSpc>
                <a:spcPts val="1200"/>
              </a:lnSpc>
              <a:spcAft>
                <a:spcPts val="300"/>
              </a:spcAft>
              <a:buNone/>
              <a:defRPr sz="1600"/>
            </a:lvl2pPr>
            <a:lvl3pPr marL="0" indent="0">
              <a:lnSpc>
                <a:spcPts val="1200"/>
              </a:lnSpc>
              <a:spcAft>
                <a:spcPts val="300"/>
              </a:spcAft>
              <a:buNone/>
              <a:defRPr sz="1600"/>
            </a:lvl3pPr>
            <a:lvl4pPr marL="0" indent="0">
              <a:lnSpc>
                <a:spcPts val="1200"/>
              </a:lnSpc>
              <a:spcAft>
                <a:spcPts val="300"/>
              </a:spcAft>
              <a:buNone/>
              <a:defRPr sz="1600"/>
            </a:lvl4pPr>
            <a:lvl5pPr marL="0" indent="0">
              <a:lnSpc>
                <a:spcPts val="1200"/>
              </a:lnSpc>
              <a:spcAft>
                <a:spcPts val="300"/>
              </a:spcAft>
              <a:buNone/>
              <a:defRPr sz="1600"/>
            </a:lvl5pPr>
          </a:lstStyle>
          <a:p>
            <a:pPr lvl="0"/>
            <a:r>
              <a:rPr lang="en-US"/>
              <a:t>Click to edit Title text styles</a:t>
            </a:r>
          </a:p>
        </p:txBody>
      </p:sp>
      <p:pic>
        <p:nvPicPr>
          <p:cNvPr id="14" name="Picture 13"/>
          <p:cNvPicPr>
            <a:picLocks noChangeAspect="1"/>
          </p:cNvPicPr>
          <p:nvPr userDrawn="1"/>
        </p:nvPicPr>
        <p:blipFill>
          <a:blip r:embed="rId5"/>
          <a:srcRect/>
          <a:stretch>
            <a:fillRect/>
          </a:stretch>
        </p:blipFill>
        <p:spPr>
          <a:xfrm>
            <a:off x="759101" y="2381992"/>
            <a:ext cx="720000" cy="720000"/>
          </a:xfrm>
          <a:prstGeom prst="rect">
            <a:avLst/>
          </a:prstGeom>
        </p:spPr>
      </p:pic>
      <p:sp>
        <p:nvSpPr>
          <p:cNvPr id="17" name="TextBox 16"/>
          <p:cNvSpPr txBox="1"/>
          <p:nvPr userDrawn="1"/>
        </p:nvSpPr>
        <p:spPr>
          <a:xfrm>
            <a:off x="5837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mn-lt"/>
                <a:ea typeface="+mn-ea"/>
                <a:cs typeface="+mn-cs"/>
              </a:rPr>
              <a:t>Aset</a:t>
            </a:r>
          </a:p>
        </p:txBody>
      </p:sp>
      <p:sp>
        <p:nvSpPr>
          <p:cNvPr id="32" name="Text Placeholder 10"/>
          <p:cNvSpPr>
            <a:spLocks noGrp="1"/>
          </p:cNvSpPr>
          <p:nvPr>
            <p:ph type="body" sz="quarter" idx="17" hasCustomPrompt="1"/>
          </p:nvPr>
        </p:nvSpPr>
        <p:spPr>
          <a:xfrm>
            <a:off x="373428" y="3135883"/>
            <a:ext cx="1512000" cy="365125"/>
          </a:xfrm>
        </p:spPr>
        <p:txBody>
          <a:bodyPr anchor="t"/>
          <a:lstStyle>
            <a:lvl1pPr marL="0" indent="0" algn="ctr">
              <a:lnSpc>
                <a:spcPts val="2800"/>
              </a:lnSpc>
              <a:spcBef>
                <a:spcPts val="0"/>
              </a:spcBef>
              <a:buNone/>
              <a:defRPr sz="2400" b="1" i="0">
                <a:solidFill>
                  <a:schemeClr val="accent3"/>
                </a:solidFill>
                <a:latin typeface="+mn-lt"/>
                <a:ea typeface="+mn-ea"/>
                <a:cs typeface="+mn-cs"/>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46" name="Picture 45"/>
          <p:cNvPicPr>
            <a:picLocks noChangeAspect="1"/>
          </p:cNvPicPr>
          <p:nvPr userDrawn="1"/>
        </p:nvPicPr>
        <p:blipFill>
          <a:blip r:embed="rId6"/>
          <a:srcRect/>
          <a:stretch>
            <a:fillRect/>
          </a:stretch>
        </p:blipFill>
        <p:spPr>
          <a:xfrm>
            <a:off x="2787597" y="2381992"/>
            <a:ext cx="720000" cy="720000"/>
          </a:xfrm>
          <a:prstGeom prst="rect">
            <a:avLst/>
          </a:prstGeom>
        </p:spPr>
      </p:pic>
      <p:sp>
        <p:nvSpPr>
          <p:cNvPr id="47" name="TextBox 46"/>
          <p:cNvSpPr txBox="1"/>
          <p:nvPr userDrawn="1"/>
        </p:nvSpPr>
        <p:spPr>
          <a:xfrm>
            <a:off x="2612230"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mn-lt"/>
                <a:ea typeface="+mn-ea"/>
                <a:cs typeface="+mn-cs"/>
              </a:rPr>
              <a:t>Pendapatan</a:t>
            </a:r>
          </a:p>
        </p:txBody>
      </p:sp>
      <p:sp>
        <p:nvSpPr>
          <p:cNvPr id="48" name="Text Placeholder 10"/>
          <p:cNvSpPr>
            <a:spLocks noGrp="1"/>
          </p:cNvSpPr>
          <p:nvPr>
            <p:ph type="body" sz="quarter" idx="18" hasCustomPrompt="1"/>
          </p:nvPr>
        </p:nvSpPr>
        <p:spPr>
          <a:xfrm>
            <a:off x="2401924" y="3135883"/>
            <a:ext cx="1512000" cy="365125"/>
          </a:xfrm>
        </p:spPr>
        <p:txBody>
          <a:bodyPr anchor="t"/>
          <a:lstStyle>
            <a:lvl1pPr marL="0" indent="0" algn="ctr">
              <a:lnSpc>
                <a:spcPts val="2800"/>
              </a:lnSpc>
              <a:spcBef>
                <a:spcPts val="0"/>
              </a:spcBef>
              <a:buNone/>
              <a:defRPr sz="2400" b="1" i="0">
                <a:solidFill>
                  <a:schemeClr val="accent3"/>
                </a:solidFill>
                <a:latin typeface="+mn-lt"/>
                <a:ea typeface="+mn-ea"/>
                <a:cs typeface="+mn-cs"/>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49" name="Picture 48"/>
          <p:cNvPicPr>
            <a:picLocks noChangeAspect="1"/>
          </p:cNvPicPr>
          <p:nvPr userDrawn="1"/>
        </p:nvPicPr>
        <p:blipFill>
          <a:blip r:embed="rId7"/>
          <a:srcRect/>
          <a:stretch>
            <a:fillRect/>
          </a:stretch>
        </p:blipFill>
        <p:spPr>
          <a:xfrm>
            <a:off x="4721501" y="2381992"/>
            <a:ext cx="720000" cy="720000"/>
          </a:xfrm>
          <a:prstGeom prst="rect">
            <a:avLst/>
          </a:prstGeom>
        </p:spPr>
      </p:pic>
      <p:sp>
        <p:nvSpPr>
          <p:cNvPr id="50" name="TextBox 49"/>
          <p:cNvSpPr txBox="1"/>
          <p:nvPr userDrawn="1"/>
        </p:nvSpPr>
        <p:spPr>
          <a:xfrm>
            <a:off x="4546134" y="2151727"/>
            <a:ext cx="1070734" cy="186494"/>
          </a:xfrm>
          <a:prstGeom prst="rect">
            <a:avLst/>
          </a:prstGeom>
          <a:noFill/>
        </p:spPr>
        <p:txBody>
          <a:bodyPr wrap="none" lIns="0" rIns="0" bIns="0" rtlCol="0" anchor="b">
            <a:noAutofit/>
          </a:bodyPr>
          <a:lstStyle/>
          <a:p>
            <a:pPr algn="ctr"/>
            <a:r>
              <a:rPr lang="id-ID" sz="1000" b="1" i="0">
                <a:solidFill>
                  <a:schemeClr val="accent1"/>
                </a:solidFill>
                <a:latin typeface="+mn-lt"/>
                <a:ea typeface="+mn-ea"/>
                <a:cs typeface="+mn-cs"/>
              </a:rPr>
              <a:t>EBITDA</a:t>
            </a:r>
          </a:p>
        </p:txBody>
      </p:sp>
      <p:sp>
        <p:nvSpPr>
          <p:cNvPr id="51" name="Text Placeholder 10"/>
          <p:cNvSpPr>
            <a:spLocks noGrp="1"/>
          </p:cNvSpPr>
          <p:nvPr>
            <p:ph type="body" sz="quarter" idx="19" hasCustomPrompt="1"/>
          </p:nvPr>
        </p:nvSpPr>
        <p:spPr>
          <a:xfrm>
            <a:off x="4335828" y="3135883"/>
            <a:ext cx="1512000" cy="365125"/>
          </a:xfrm>
        </p:spPr>
        <p:txBody>
          <a:bodyPr anchor="t"/>
          <a:lstStyle>
            <a:lvl1pPr marL="0" indent="0" algn="ctr">
              <a:lnSpc>
                <a:spcPts val="2800"/>
              </a:lnSpc>
              <a:spcBef>
                <a:spcPts val="0"/>
              </a:spcBef>
              <a:buNone/>
              <a:defRPr sz="2400" b="1" i="0">
                <a:solidFill>
                  <a:schemeClr val="accent3"/>
                </a:solidFill>
                <a:latin typeface="+mn-lt"/>
                <a:ea typeface="+mn-ea"/>
                <a:cs typeface="+mn-cs"/>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52" name="Picture 51"/>
          <p:cNvPicPr>
            <a:picLocks noChangeAspect="1"/>
          </p:cNvPicPr>
          <p:nvPr userDrawn="1"/>
        </p:nvPicPr>
        <p:blipFill>
          <a:blip r:embed="rId8"/>
          <a:srcRect/>
          <a:stretch>
            <a:fillRect/>
          </a:stretch>
        </p:blipFill>
        <p:spPr>
          <a:xfrm>
            <a:off x="6655404" y="2381992"/>
            <a:ext cx="720000" cy="720000"/>
          </a:xfrm>
          <a:prstGeom prst="rect">
            <a:avLst/>
          </a:prstGeom>
        </p:spPr>
      </p:pic>
      <p:sp>
        <p:nvSpPr>
          <p:cNvPr id="53" name="TextBox 52"/>
          <p:cNvSpPr txBox="1"/>
          <p:nvPr userDrawn="1"/>
        </p:nvSpPr>
        <p:spPr>
          <a:xfrm>
            <a:off x="6480037" y="2151727"/>
            <a:ext cx="1070734" cy="186494"/>
          </a:xfrm>
          <a:prstGeom prst="rect">
            <a:avLst/>
          </a:prstGeom>
          <a:noFill/>
        </p:spPr>
        <p:txBody>
          <a:bodyPr wrap="none" lIns="0" rIns="0" bIns="0" rtlCol="0" anchor="b">
            <a:noAutofit/>
          </a:bodyPr>
          <a:lstStyle/>
          <a:p>
            <a:pPr algn="ctr"/>
            <a:r>
              <a:rPr lang="id-ID" sz="1000" b="1" i="0" err="1">
                <a:solidFill>
                  <a:schemeClr val="accent1"/>
                </a:solidFill>
                <a:latin typeface="+mn-lt"/>
                <a:ea typeface="+mn-ea"/>
                <a:cs typeface="+mn-cs"/>
              </a:rPr>
              <a:t>Value</a:t>
            </a:r>
            <a:endParaRPr lang="id-ID" sz="1000" b="1" i="0">
              <a:solidFill>
                <a:schemeClr val="accent1"/>
              </a:solidFill>
              <a:latin typeface="+mn-lt"/>
              <a:ea typeface="+mn-ea"/>
              <a:cs typeface="+mn-cs"/>
            </a:endParaRPr>
          </a:p>
        </p:txBody>
      </p:sp>
      <p:sp>
        <p:nvSpPr>
          <p:cNvPr id="54" name="Text Placeholder 10"/>
          <p:cNvSpPr>
            <a:spLocks noGrp="1"/>
          </p:cNvSpPr>
          <p:nvPr>
            <p:ph type="body" sz="quarter" idx="20" hasCustomPrompt="1"/>
          </p:nvPr>
        </p:nvSpPr>
        <p:spPr>
          <a:xfrm>
            <a:off x="6269731" y="3135883"/>
            <a:ext cx="1512000" cy="365125"/>
          </a:xfrm>
        </p:spPr>
        <p:txBody>
          <a:bodyPr anchor="t"/>
          <a:lstStyle>
            <a:lvl1pPr marL="0" indent="0" algn="ctr">
              <a:lnSpc>
                <a:spcPts val="2800"/>
              </a:lnSpc>
              <a:spcBef>
                <a:spcPts val="0"/>
              </a:spcBef>
              <a:buNone/>
              <a:defRPr sz="2400" b="1" i="0">
                <a:solidFill>
                  <a:schemeClr val="accent3"/>
                </a:solidFill>
                <a:latin typeface="+mn-lt"/>
                <a:ea typeface="+mn-ea"/>
                <a:cs typeface="+mn-cs"/>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57" name="Picture 56"/>
          <p:cNvPicPr>
            <a:picLocks noChangeAspect="1"/>
          </p:cNvPicPr>
          <p:nvPr userDrawn="1"/>
        </p:nvPicPr>
        <p:blipFill>
          <a:blip r:embed="rId9"/>
          <a:srcRect/>
          <a:stretch>
            <a:fillRect/>
          </a:stretch>
        </p:blipFill>
        <p:spPr>
          <a:xfrm>
            <a:off x="759101" y="4263344"/>
            <a:ext cx="720000" cy="720000"/>
          </a:xfrm>
          <a:prstGeom prst="rect">
            <a:avLst/>
          </a:prstGeom>
        </p:spPr>
      </p:pic>
      <p:sp>
        <p:nvSpPr>
          <p:cNvPr id="58" name="TextBox 57"/>
          <p:cNvSpPr txBox="1"/>
          <p:nvPr userDrawn="1"/>
        </p:nvSpPr>
        <p:spPr>
          <a:xfrm>
            <a:off x="5837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mn-lt"/>
                <a:ea typeface="+mn-ea"/>
                <a:cs typeface="+mn-cs"/>
              </a:rPr>
              <a:t>Persen</a:t>
            </a:r>
          </a:p>
        </p:txBody>
      </p:sp>
      <p:sp>
        <p:nvSpPr>
          <p:cNvPr id="59" name="Text Placeholder 10"/>
          <p:cNvSpPr>
            <a:spLocks noGrp="1"/>
          </p:cNvSpPr>
          <p:nvPr>
            <p:ph type="body" sz="quarter" idx="21" hasCustomPrompt="1"/>
          </p:nvPr>
        </p:nvSpPr>
        <p:spPr>
          <a:xfrm>
            <a:off x="373428" y="5017235"/>
            <a:ext cx="1512000" cy="365125"/>
          </a:xfrm>
        </p:spPr>
        <p:txBody>
          <a:bodyPr anchor="t"/>
          <a:lstStyle>
            <a:lvl1pPr marL="0" indent="0" algn="ctr">
              <a:lnSpc>
                <a:spcPts val="2800"/>
              </a:lnSpc>
              <a:spcBef>
                <a:spcPts val="0"/>
              </a:spcBef>
              <a:buNone/>
              <a:defRPr sz="2400" b="1" i="0">
                <a:solidFill>
                  <a:schemeClr val="accent3"/>
                </a:solidFill>
                <a:latin typeface="+mn-lt"/>
                <a:ea typeface="+mn-ea"/>
                <a:cs typeface="+mn-cs"/>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84" name="Picture 83"/>
          <p:cNvPicPr>
            <a:picLocks noChangeAspect="1"/>
          </p:cNvPicPr>
          <p:nvPr userDrawn="1"/>
        </p:nvPicPr>
        <p:blipFill>
          <a:blip r:embed="rId10"/>
          <a:srcRect/>
          <a:stretch>
            <a:fillRect/>
          </a:stretch>
        </p:blipFill>
        <p:spPr>
          <a:xfrm>
            <a:off x="2787597" y="4263344"/>
            <a:ext cx="720000" cy="720000"/>
          </a:xfrm>
          <a:prstGeom prst="rect">
            <a:avLst/>
          </a:prstGeom>
        </p:spPr>
      </p:pic>
      <p:sp>
        <p:nvSpPr>
          <p:cNvPr id="85" name="TextBox 84"/>
          <p:cNvSpPr txBox="1"/>
          <p:nvPr userDrawn="1"/>
        </p:nvSpPr>
        <p:spPr>
          <a:xfrm>
            <a:off x="2612230" y="4033079"/>
            <a:ext cx="1070734" cy="186494"/>
          </a:xfrm>
          <a:prstGeom prst="rect">
            <a:avLst/>
          </a:prstGeom>
          <a:noFill/>
        </p:spPr>
        <p:txBody>
          <a:bodyPr wrap="none" lIns="0" rIns="0" bIns="0" rtlCol="0" anchor="b">
            <a:noAutofit/>
          </a:bodyPr>
          <a:lstStyle/>
          <a:p>
            <a:pPr algn="ctr"/>
            <a:r>
              <a:rPr lang="id-ID" sz="1000" b="1" i="0" err="1">
                <a:solidFill>
                  <a:schemeClr val="accent1"/>
                </a:solidFill>
                <a:latin typeface="+mn-lt"/>
                <a:ea typeface="+mn-ea"/>
                <a:cs typeface="+mn-cs"/>
              </a:rPr>
              <a:t>Grow</a:t>
            </a:r>
            <a:endParaRPr lang="id-ID" sz="1000" b="1" i="0">
              <a:solidFill>
                <a:schemeClr val="accent1"/>
              </a:solidFill>
              <a:latin typeface="+mn-lt"/>
              <a:ea typeface="+mn-ea"/>
              <a:cs typeface="+mn-cs"/>
            </a:endParaRPr>
          </a:p>
        </p:txBody>
      </p:sp>
      <p:sp>
        <p:nvSpPr>
          <p:cNvPr id="86" name="Text Placeholder 10"/>
          <p:cNvSpPr>
            <a:spLocks noGrp="1"/>
          </p:cNvSpPr>
          <p:nvPr>
            <p:ph type="body" sz="quarter" idx="22" hasCustomPrompt="1"/>
          </p:nvPr>
        </p:nvSpPr>
        <p:spPr>
          <a:xfrm>
            <a:off x="2401924" y="5017235"/>
            <a:ext cx="1512000" cy="365125"/>
          </a:xfrm>
        </p:spPr>
        <p:txBody>
          <a:bodyPr anchor="t"/>
          <a:lstStyle>
            <a:lvl1pPr marL="0" indent="0" algn="ctr">
              <a:lnSpc>
                <a:spcPts val="2800"/>
              </a:lnSpc>
              <a:spcBef>
                <a:spcPts val="0"/>
              </a:spcBef>
              <a:buNone/>
              <a:defRPr sz="2400" b="1" i="0">
                <a:solidFill>
                  <a:schemeClr val="accent3"/>
                </a:solidFill>
                <a:latin typeface="+mn-lt"/>
                <a:ea typeface="+mn-ea"/>
                <a:cs typeface="+mn-cs"/>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pic>
        <p:nvPicPr>
          <p:cNvPr id="87" name="Picture 86"/>
          <p:cNvPicPr>
            <a:picLocks noChangeAspect="1"/>
          </p:cNvPicPr>
          <p:nvPr userDrawn="1"/>
        </p:nvPicPr>
        <p:blipFill>
          <a:blip r:embed="rId11"/>
          <a:srcRect/>
          <a:stretch>
            <a:fillRect/>
          </a:stretch>
        </p:blipFill>
        <p:spPr>
          <a:xfrm>
            <a:off x="4721501" y="4263344"/>
            <a:ext cx="720000" cy="720000"/>
          </a:xfrm>
          <a:prstGeom prst="rect">
            <a:avLst/>
          </a:prstGeom>
        </p:spPr>
      </p:pic>
      <p:sp>
        <p:nvSpPr>
          <p:cNvPr id="88" name="TextBox 87"/>
          <p:cNvSpPr txBox="1"/>
          <p:nvPr userDrawn="1"/>
        </p:nvSpPr>
        <p:spPr>
          <a:xfrm>
            <a:off x="4546134" y="4033079"/>
            <a:ext cx="1070734" cy="186494"/>
          </a:xfrm>
          <a:prstGeom prst="rect">
            <a:avLst/>
          </a:prstGeom>
          <a:noFill/>
        </p:spPr>
        <p:txBody>
          <a:bodyPr wrap="none" lIns="0" rIns="0" bIns="0" rtlCol="0" anchor="b">
            <a:noAutofit/>
          </a:bodyPr>
          <a:lstStyle/>
          <a:p>
            <a:pPr algn="ctr"/>
            <a:r>
              <a:rPr lang="id-ID" sz="1000" b="1" i="0">
                <a:solidFill>
                  <a:schemeClr val="accent1"/>
                </a:solidFill>
                <a:latin typeface="+mn-lt"/>
                <a:ea typeface="+mn-ea"/>
                <a:cs typeface="+mn-cs"/>
              </a:rPr>
              <a:t>Pendapatan</a:t>
            </a:r>
          </a:p>
        </p:txBody>
      </p:sp>
      <p:sp>
        <p:nvSpPr>
          <p:cNvPr id="89" name="Text Placeholder 10"/>
          <p:cNvSpPr>
            <a:spLocks noGrp="1"/>
          </p:cNvSpPr>
          <p:nvPr>
            <p:ph type="body" sz="quarter" idx="23" hasCustomPrompt="1"/>
          </p:nvPr>
        </p:nvSpPr>
        <p:spPr>
          <a:xfrm>
            <a:off x="4335828" y="5017235"/>
            <a:ext cx="1512000" cy="365125"/>
          </a:xfrm>
        </p:spPr>
        <p:txBody>
          <a:bodyPr anchor="t"/>
          <a:lstStyle>
            <a:lvl1pPr marL="0" indent="0" algn="ctr">
              <a:lnSpc>
                <a:spcPts val="2800"/>
              </a:lnSpc>
              <a:spcBef>
                <a:spcPts val="0"/>
              </a:spcBef>
              <a:buNone/>
              <a:defRPr sz="2400" b="1" i="0">
                <a:solidFill>
                  <a:schemeClr val="accent3"/>
                </a:solidFill>
                <a:latin typeface="+mn-lt"/>
                <a:ea typeface="+mn-ea"/>
                <a:cs typeface="+mn-cs"/>
              </a:defRPr>
            </a:lvl1pPr>
            <a:lvl2pPr indent="0">
              <a:lnSpc>
                <a:spcPts val="2800"/>
              </a:lnSpc>
              <a:spcBef>
                <a:spcPts val="0"/>
              </a:spcBef>
              <a:buNone/>
              <a:defRPr b="1" i="0">
                <a:latin typeface="Gotham Bold" pitchFamily="2" charset="0"/>
                <a:cs typeface="Gotham Bold" pitchFamily="2" charset="0"/>
              </a:defRPr>
            </a:lvl2pPr>
            <a:lvl3pPr indent="0">
              <a:lnSpc>
                <a:spcPts val="2800"/>
              </a:lnSpc>
              <a:spcBef>
                <a:spcPts val="0"/>
              </a:spcBef>
              <a:buNone/>
              <a:defRPr b="1" i="0">
                <a:latin typeface="Gotham Bold" pitchFamily="2" charset="0"/>
                <a:cs typeface="Gotham Bold" pitchFamily="2" charset="0"/>
              </a:defRPr>
            </a:lvl3pPr>
            <a:lvl4pPr indent="0">
              <a:lnSpc>
                <a:spcPts val="2800"/>
              </a:lnSpc>
              <a:spcBef>
                <a:spcPts val="0"/>
              </a:spcBef>
              <a:buNone/>
              <a:defRPr b="1" i="0">
                <a:latin typeface="Gotham Bold" pitchFamily="2" charset="0"/>
                <a:cs typeface="Gotham Bold" pitchFamily="2" charset="0"/>
              </a:defRPr>
            </a:lvl4pPr>
            <a:lvl5pPr indent="0">
              <a:lnSpc>
                <a:spcPts val="2800"/>
              </a:lnSpc>
              <a:spcBef>
                <a:spcPts val="0"/>
              </a:spcBef>
              <a:buNone/>
              <a:defRPr b="1" i="0">
                <a:latin typeface="Gotham Bold" pitchFamily="2" charset="0"/>
                <a:cs typeface="Gotham Bold" pitchFamily="2" charset="0"/>
              </a:defRPr>
            </a:lvl5pPr>
          </a:lstStyle>
          <a:p>
            <a:pPr lvl="0"/>
            <a:r>
              <a:rPr lang="en-US"/>
              <a:t>Values</a:t>
            </a:r>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ND ID Presentation Color Schem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ounded Rectangle 5"/>
          <p:cNvSpPr/>
          <p:nvPr userDrawn="1"/>
        </p:nvSpPr>
        <p:spPr>
          <a:xfrm>
            <a:off x="514144" y="1650267"/>
            <a:ext cx="937601" cy="2286209"/>
          </a:xfrm>
          <a:prstGeom prst="roundRect">
            <a:avLst>
              <a:gd name="adj" fmla="val 50000"/>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7" name="Rounded Rectangle 6"/>
          <p:cNvSpPr/>
          <p:nvPr userDrawn="1"/>
        </p:nvSpPr>
        <p:spPr>
          <a:xfrm>
            <a:off x="1749893" y="1650267"/>
            <a:ext cx="937601" cy="2286209"/>
          </a:xfrm>
          <a:prstGeom prst="roundRect">
            <a:avLst>
              <a:gd name="adj" fmla="val 50000"/>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8" name="Rounded Rectangle 7"/>
          <p:cNvSpPr/>
          <p:nvPr userDrawn="1"/>
        </p:nvSpPr>
        <p:spPr>
          <a:xfrm>
            <a:off x="3067549" y="1650267"/>
            <a:ext cx="937601" cy="2286209"/>
          </a:xfrm>
          <a:prstGeom prst="roundRect">
            <a:avLst>
              <a:gd name="adj" fmla="val 50000"/>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9" name="Rounded Rectangle 8"/>
          <p:cNvSpPr/>
          <p:nvPr userDrawn="1"/>
        </p:nvSpPr>
        <p:spPr>
          <a:xfrm>
            <a:off x="4418996" y="1650267"/>
            <a:ext cx="937601" cy="2286209"/>
          </a:xfrm>
          <a:prstGeom prst="roundRect">
            <a:avLst>
              <a:gd name="adj" fmla="val 50000"/>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10" name="TextBox 9"/>
          <p:cNvSpPr txBox="1"/>
          <p:nvPr userDrawn="1"/>
        </p:nvSpPr>
        <p:spPr>
          <a:xfrm>
            <a:off x="565103" y="4225592"/>
            <a:ext cx="968342"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22 50 92</a:t>
            </a:r>
            <a:endParaRPr lang="id-ID" sz="1400" b="0" i="0">
              <a:solidFill>
                <a:schemeClr val="tx1">
                  <a:lumMod val="65000"/>
                  <a:lumOff val="35000"/>
                </a:schemeClr>
              </a:solidFill>
              <a:latin typeface="+mn-lt"/>
              <a:ea typeface="+mn-ea"/>
              <a:cs typeface="+mn-cs"/>
            </a:endParaRPr>
          </a:p>
        </p:txBody>
      </p:sp>
      <p:sp>
        <p:nvSpPr>
          <p:cNvPr id="11" name="TextBox 10"/>
          <p:cNvSpPr txBox="1"/>
          <p:nvPr userDrawn="1"/>
        </p:nvSpPr>
        <p:spPr>
          <a:xfrm>
            <a:off x="1757517" y="4225592"/>
            <a:ext cx="936475"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8 98 164</a:t>
            </a:r>
            <a:endParaRPr lang="id-ID" sz="1400" b="0" i="0">
              <a:solidFill>
                <a:schemeClr val="tx1">
                  <a:lumMod val="65000"/>
                  <a:lumOff val="35000"/>
                </a:schemeClr>
              </a:solidFill>
              <a:latin typeface="+mn-lt"/>
              <a:ea typeface="+mn-ea"/>
              <a:cs typeface="+mn-cs"/>
            </a:endParaRPr>
          </a:p>
        </p:txBody>
      </p:sp>
      <p:sp>
        <p:nvSpPr>
          <p:cNvPr id="12" name="TextBox 11"/>
          <p:cNvSpPr txBox="1"/>
          <p:nvPr userDrawn="1"/>
        </p:nvSpPr>
        <p:spPr>
          <a:xfrm>
            <a:off x="3085212" y="4225592"/>
            <a:ext cx="1154483" cy="523220"/>
          </a:xfrm>
          <a:prstGeom prst="rect">
            <a:avLst/>
          </a:prstGeom>
          <a:noFill/>
        </p:spPr>
        <p:txBody>
          <a:bodyPr wrap="none" rtlCol="0">
            <a:spAutoFit/>
          </a:bodyPr>
          <a:lstStyle/>
          <a:p>
            <a:r>
              <a:rPr lang="cs-CZ" sz="1400" b="0" i="0">
                <a:solidFill>
                  <a:schemeClr val="tx1">
                    <a:lumMod val="65000"/>
                    <a:lumOff val="35000"/>
                  </a:schemeClr>
                </a:solidFill>
                <a:latin typeface="+mn-lt"/>
                <a:ea typeface="+mn-ea"/>
                <a:cs typeface="+mn-cs"/>
              </a:rPr>
              <a:t>RGB</a:t>
            </a:r>
          </a:p>
          <a:p>
            <a:r>
              <a:rPr lang="cs-CZ" sz="1400" b="0" i="0">
                <a:solidFill>
                  <a:schemeClr val="tx1">
                    <a:lumMod val="65000"/>
                    <a:lumOff val="35000"/>
                  </a:schemeClr>
                </a:solidFill>
                <a:latin typeface="+mn-lt"/>
                <a:ea typeface="+mn-ea"/>
                <a:cs typeface="+mn-cs"/>
              </a:rPr>
              <a:t>60 166 222</a:t>
            </a:r>
            <a:endParaRPr lang="id-ID" sz="1400" b="0" i="0">
              <a:solidFill>
                <a:schemeClr val="tx1">
                  <a:lumMod val="65000"/>
                  <a:lumOff val="35000"/>
                </a:schemeClr>
              </a:solidFill>
              <a:latin typeface="+mn-lt"/>
              <a:ea typeface="+mn-ea"/>
              <a:cs typeface="+mn-cs"/>
            </a:endParaRPr>
          </a:p>
        </p:txBody>
      </p:sp>
      <p:sp>
        <p:nvSpPr>
          <p:cNvPr id="13" name="TextBox 12"/>
          <p:cNvSpPr txBox="1"/>
          <p:nvPr userDrawn="1"/>
        </p:nvSpPr>
        <p:spPr>
          <a:xfrm>
            <a:off x="4456316" y="4225592"/>
            <a:ext cx="1296189"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206 224 237</a:t>
            </a:r>
            <a:endParaRPr lang="id-ID" sz="1400" b="0" i="0">
              <a:solidFill>
                <a:schemeClr val="tx1">
                  <a:lumMod val="65000"/>
                  <a:lumOff val="35000"/>
                </a:schemeClr>
              </a:solidFill>
              <a:latin typeface="+mn-lt"/>
              <a:ea typeface="+mn-ea"/>
              <a:cs typeface="+mn-cs"/>
            </a:endParaRPr>
          </a:p>
        </p:txBody>
      </p:sp>
      <p:sp>
        <p:nvSpPr>
          <p:cNvPr id="14" name="Rounded Rectangle 13"/>
          <p:cNvSpPr/>
          <p:nvPr userDrawn="1"/>
        </p:nvSpPr>
        <p:spPr>
          <a:xfrm>
            <a:off x="5807968" y="1650267"/>
            <a:ext cx="937601" cy="2286209"/>
          </a:xfrm>
          <a:prstGeom prst="roundRect">
            <a:avLst>
              <a:gd name="adj" fmla="val 50000"/>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15" name="TextBox 14"/>
          <p:cNvSpPr txBox="1"/>
          <p:nvPr userDrawn="1"/>
        </p:nvSpPr>
        <p:spPr>
          <a:xfrm>
            <a:off x="5807968" y="4225592"/>
            <a:ext cx="1062022" cy="523220"/>
          </a:xfrm>
          <a:prstGeom prst="rect">
            <a:avLst/>
          </a:prstGeom>
          <a:noFill/>
        </p:spPr>
        <p:txBody>
          <a:bodyPr wrap="none" rtlCol="0">
            <a:spAutoFit/>
          </a:bodyPr>
          <a:lstStyle/>
          <a:p>
            <a:r>
              <a:rPr lang="is-IS" sz="1400" b="0" i="0">
                <a:solidFill>
                  <a:schemeClr val="tx1">
                    <a:lumMod val="65000"/>
                    <a:lumOff val="35000"/>
                  </a:schemeClr>
                </a:solidFill>
                <a:latin typeface="+mn-lt"/>
                <a:ea typeface="+mn-ea"/>
                <a:cs typeface="+mn-cs"/>
              </a:rPr>
              <a:t>RGB</a:t>
            </a:r>
          </a:p>
          <a:p>
            <a:r>
              <a:rPr lang="is-IS" sz="1400" b="0" i="0">
                <a:solidFill>
                  <a:schemeClr val="tx1">
                    <a:lumMod val="65000"/>
                    <a:lumOff val="35000"/>
                  </a:schemeClr>
                </a:solidFill>
                <a:latin typeface="+mn-lt"/>
                <a:ea typeface="+mn-ea"/>
                <a:cs typeface="+mn-cs"/>
              </a:rPr>
              <a:t>237 28 36</a:t>
            </a:r>
            <a:endParaRPr lang="id-ID" sz="1400" b="0" i="0">
              <a:solidFill>
                <a:schemeClr val="tx1">
                  <a:lumMod val="65000"/>
                  <a:lumOff val="35000"/>
                </a:schemeClr>
              </a:solidFill>
              <a:latin typeface="+mn-lt"/>
              <a:ea typeface="+mn-ea"/>
              <a:cs typeface="+mn-cs"/>
            </a:endParaRPr>
          </a:p>
        </p:txBody>
      </p:sp>
      <p:sp>
        <p:nvSpPr>
          <p:cNvPr id="18" name="Title 17"/>
          <p:cNvSpPr>
            <a:spLocks noGrp="1"/>
          </p:cNvSpPr>
          <p:nvPr>
            <p:ph type="title" hasCustomPrompt="1"/>
          </p:nvPr>
        </p:nvSpPr>
        <p:spPr>
          <a:xfrm>
            <a:off x="334963" y="623455"/>
            <a:ext cx="6410606" cy="645305"/>
          </a:xfrm>
        </p:spPr>
        <p:txBody>
          <a:bodyPr vert="horz"/>
          <a:lstStyle>
            <a:lvl1pPr>
              <a:defRPr baseline="0">
                <a:latin typeface="+mj-lt"/>
                <a:ea typeface="+mj-ea"/>
                <a:cs typeface="+mj-cs"/>
              </a:defRPr>
            </a:lvl1pPr>
          </a:lstStyle>
          <a:p>
            <a:br>
              <a:rPr lang="en-US"/>
            </a:br>
            <a:r>
              <a:rPr lang="en-US"/>
              <a:t>Visual Assets -  Presentation Color Scheme</a:t>
            </a:r>
          </a:p>
        </p:txBody>
      </p:sp>
      <p:sp>
        <p:nvSpPr>
          <p:cNvPr id="19" name="Oval 18"/>
          <p:cNvSpPr/>
          <p:nvPr userDrawn="1"/>
        </p:nvSpPr>
        <p:spPr>
          <a:xfrm>
            <a:off x="531919" y="5038149"/>
            <a:ext cx="930719" cy="930719"/>
          </a:xfrm>
          <a:prstGeom prst="ellipse">
            <a:avLst/>
          </a:prstGeom>
          <a:solidFill>
            <a:srgbClr val="163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0" name="Oval 19"/>
          <p:cNvSpPr/>
          <p:nvPr userDrawn="1"/>
        </p:nvSpPr>
        <p:spPr>
          <a:xfrm>
            <a:off x="1761733" y="5038149"/>
            <a:ext cx="930719" cy="930719"/>
          </a:xfrm>
          <a:prstGeom prst="ellipse">
            <a:avLst/>
          </a:prstGeom>
          <a:solidFill>
            <a:srgbClr val="0862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1" name="Oval 20"/>
          <p:cNvSpPr/>
          <p:nvPr userDrawn="1"/>
        </p:nvSpPr>
        <p:spPr>
          <a:xfrm>
            <a:off x="3075578" y="5038149"/>
            <a:ext cx="930719" cy="930719"/>
          </a:xfrm>
          <a:prstGeom prst="ellipse">
            <a:avLst/>
          </a:prstGeom>
          <a:solidFill>
            <a:srgbClr val="3CA6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2" name="Oval 21"/>
          <p:cNvSpPr/>
          <p:nvPr userDrawn="1"/>
        </p:nvSpPr>
        <p:spPr>
          <a:xfrm>
            <a:off x="4419478" y="5038149"/>
            <a:ext cx="930719" cy="930719"/>
          </a:xfrm>
          <a:prstGeom prst="ellipse">
            <a:avLst/>
          </a:prstGeom>
          <a:solidFill>
            <a:srgbClr val="CEE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23" name="Oval 22"/>
          <p:cNvSpPr/>
          <p:nvPr userDrawn="1"/>
        </p:nvSpPr>
        <p:spPr>
          <a:xfrm>
            <a:off x="5808450" y="5038149"/>
            <a:ext cx="930719" cy="930719"/>
          </a:xfrm>
          <a:prstGeom prst="ellipse">
            <a:avLst/>
          </a:prstGeom>
          <a:solidFill>
            <a:srgbClr val="ED1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mn-lt"/>
              <a:ea typeface="+mn-ea"/>
              <a:cs typeface="+mn-cs"/>
            </a:endParaRPr>
          </a:p>
        </p:txBody>
      </p:sp>
      <p:sp>
        <p:nvSpPr>
          <p:cNvPr id="33" name="Date Placeholder 32"/>
          <p:cNvSpPr>
            <a:spLocks noGrp="1"/>
          </p:cNvSpPr>
          <p:nvPr>
            <p:ph type="dt" sz="half" idx="10"/>
          </p:nvPr>
        </p:nvSpPr>
        <p:spPr/>
        <p:txBody>
          <a:bodyPr/>
          <a:lstStyle>
            <a:lvl1pPr>
              <a:defRPr>
                <a:latin typeface="+mn-lt"/>
              </a:defRPr>
            </a:lvl1pPr>
          </a:lstStyle>
          <a:p>
            <a:endParaRPr lang="id-ID"/>
          </a:p>
        </p:txBody>
      </p:sp>
      <p:sp>
        <p:nvSpPr>
          <p:cNvPr id="34" name="Footer Placeholder 33"/>
          <p:cNvSpPr>
            <a:spLocks noGrp="1"/>
          </p:cNvSpPr>
          <p:nvPr>
            <p:ph type="ftr" sz="quarter" idx="11"/>
          </p:nvPr>
        </p:nvSpPr>
        <p:spPr/>
        <p:txBody>
          <a:bodyPr/>
          <a:lstStyle/>
          <a:p>
            <a:pPr algn="l"/>
            <a:endParaRPr lang="en-US">
              <a:solidFill>
                <a:schemeClr val="bg1">
                  <a:lumMod val="50000"/>
                </a:schemeClr>
              </a:solidFill>
            </a:endParaRPr>
          </a:p>
        </p:txBody>
      </p:sp>
      <p:sp>
        <p:nvSpPr>
          <p:cNvPr id="35" name="Slide Number Placeholder 34"/>
          <p:cNvSpPr>
            <a:spLocks noGrp="1"/>
          </p:cNvSpPr>
          <p:nvPr>
            <p:ph type="sldNum" sz="quarter" idx="12"/>
          </p:nvPr>
        </p:nvSpPr>
        <p:spPr/>
        <p:txBody>
          <a:bodyPr/>
          <a:lstStyle>
            <a:lvl1pPr>
              <a:defRPr>
                <a:latin typeface="+mn-lt"/>
              </a:defRPr>
            </a:lvl1pPr>
          </a:lstStyle>
          <a:p>
            <a:r>
              <a:rPr lang="id-ID"/>
              <a:t>|          </a:t>
            </a:r>
            <a:fld id="{7904F5B5-DD6E-6442-8C14-4BFE420CE974}" type="slidenum">
              <a:rPr lang="id-ID" smtClean="0"/>
              <a:t>‹#›</a:t>
            </a:fld>
            <a:endParaRPr lang="id-ID"/>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MIND ID Presentation Color Schem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tle 17"/>
          <p:cNvSpPr>
            <a:spLocks noGrp="1"/>
          </p:cNvSpPr>
          <p:nvPr>
            <p:ph type="title" hasCustomPrompt="1"/>
          </p:nvPr>
        </p:nvSpPr>
        <p:spPr>
          <a:xfrm>
            <a:off x="334963" y="623456"/>
            <a:ext cx="3500281" cy="523420"/>
          </a:xfrm>
        </p:spPr>
        <p:txBody>
          <a:bodyPr vert="horz"/>
          <a:lstStyle>
            <a:lvl1pPr>
              <a:defRPr baseline="0">
                <a:latin typeface="+mj-lt"/>
                <a:ea typeface="+mj-ea"/>
                <a:cs typeface="+mj-cs"/>
              </a:defRPr>
            </a:lvl1pPr>
          </a:lstStyle>
          <a:p>
            <a:br>
              <a:rPr lang="en-US"/>
            </a:br>
            <a:r>
              <a:rPr lang="en-US"/>
              <a:t>Visual Assets - Iconography Bank</a:t>
            </a:r>
          </a:p>
        </p:txBody>
      </p:sp>
      <p:sp>
        <p:nvSpPr>
          <p:cNvPr id="36" name="TextBox 35"/>
          <p:cNvSpPr txBox="1"/>
          <p:nvPr userDrawn="1"/>
        </p:nvSpPr>
        <p:spPr>
          <a:xfrm>
            <a:off x="334963" y="1347211"/>
            <a:ext cx="4286280" cy="370551"/>
          </a:xfrm>
          <a:prstGeom prst="rect">
            <a:avLst/>
          </a:prstGeom>
          <a:noFill/>
        </p:spPr>
        <p:txBody>
          <a:bodyPr wrap="square" lIns="0" rtlCol="0" anchor="ctr">
            <a:spAutoFit/>
          </a:bodyPr>
          <a:lstStyle/>
          <a:p>
            <a:pPr lvl="0">
              <a:lnSpc>
                <a:spcPts val="2400"/>
              </a:lnSpc>
              <a:defRPr/>
            </a:pPr>
            <a:r>
              <a:rPr lang="en-US" sz="1400" noProof="1">
                <a:solidFill>
                  <a:schemeClr val="accent2"/>
                </a:solidFill>
                <a:latin typeface="+mn-lt"/>
                <a:ea typeface="+mn-ea"/>
                <a:cs typeface="+mn-cs"/>
              </a:rPr>
              <a:t>Primary</a:t>
            </a:r>
          </a:p>
        </p:txBody>
      </p:sp>
      <p:sp>
        <p:nvSpPr>
          <p:cNvPr id="44" name="TextBox 43"/>
          <p:cNvSpPr txBox="1"/>
          <p:nvPr userDrawn="1"/>
        </p:nvSpPr>
        <p:spPr>
          <a:xfrm>
            <a:off x="334963" y="4803595"/>
            <a:ext cx="4286280" cy="370551"/>
          </a:xfrm>
          <a:prstGeom prst="rect">
            <a:avLst/>
          </a:prstGeom>
          <a:noFill/>
        </p:spPr>
        <p:txBody>
          <a:bodyPr wrap="square" lIns="0" rtlCol="0" anchor="ctr">
            <a:spAutoFit/>
          </a:bodyPr>
          <a:lstStyle/>
          <a:p>
            <a:pPr lvl="0">
              <a:lnSpc>
                <a:spcPts val="2400"/>
              </a:lnSpc>
              <a:defRPr/>
            </a:pPr>
            <a:r>
              <a:rPr lang="en-US" sz="1400" noProof="1">
                <a:solidFill>
                  <a:schemeClr val="accent2"/>
                </a:solidFill>
                <a:latin typeface="+mn-lt"/>
                <a:ea typeface="+mn-ea"/>
                <a:cs typeface="+mn-cs"/>
              </a:rPr>
              <a:t>Secondary</a:t>
            </a:r>
          </a:p>
        </p:txBody>
      </p:sp>
      <p:sp>
        <p:nvSpPr>
          <p:cNvPr id="3" name="Date Placeholder 2"/>
          <p:cNvSpPr>
            <a:spLocks noGrp="1"/>
          </p:cNvSpPr>
          <p:nvPr>
            <p:ph type="dt" sz="half" idx="10"/>
          </p:nvPr>
        </p:nvSpPr>
        <p:spPr/>
        <p:txBody>
          <a:bodyPr/>
          <a:lstStyle>
            <a:lvl1pPr>
              <a:defRPr>
                <a:latin typeface="+mn-lt"/>
              </a:defRPr>
            </a:lvl1pPr>
          </a:lstStyle>
          <a:p>
            <a:endParaRPr lang="id-ID"/>
          </a:p>
        </p:txBody>
      </p:sp>
      <p:sp>
        <p:nvSpPr>
          <p:cNvPr id="4" name="Footer Placeholder 3"/>
          <p:cNvSpPr>
            <a:spLocks noGrp="1"/>
          </p:cNvSpPr>
          <p:nvPr>
            <p:ph type="ftr" sz="quarter" idx="11"/>
          </p:nvPr>
        </p:nvSpPr>
        <p:spPr/>
        <p:txBody>
          <a:bodyPr/>
          <a:lstStyle/>
          <a:p>
            <a:pPr algn="l"/>
            <a:endParaRPr lang="en-US">
              <a:solidFill>
                <a:schemeClr val="bg1">
                  <a:lumMod val="50000"/>
                </a:schemeClr>
              </a:solidFill>
            </a:endParaRPr>
          </a:p>
        </p:txBody>
      </p:sp>
      <p:sp>
        <p:nvSpPr>
          <p:cNvPr id="5" name="Slide Number Placeholder 4"/>
          <p:cNvSpPr>
            <a:spLocks noGrp="1"/>
          </p:cNvSpPr>
          <p:nvPr>
            <p:ph type="sldNum" sz="quarter" idx="12"/>
          </p:nvPr>
        </p:nvSpPr>
        <p:spPr/>
        <p:txBody>
          <a:bodyPr/>
          <a:lstStyle>
            <a:lvl1pPr>
              <a:defRPr>
                <a:latin typeface="+mn-lt"/>
              </a:defRPr>
            </a:lvl1pPr>
          </a:lstStyle>
          <a:p>
            <a:r>
              <a:rPr lang="id-ID"/>
              <a:t>|          </a:t>
            </a:r>
            <a:fld id="{7904F5B5-DD6E-6442-8C14-4BFE420CE974}" type="slidenum">
              <a:rPr lang="id-ID" smtClean="0"/>
              <a:t>‹#›</a:t>
            </a:fld>
            <a:endParaRPr lang="id-ID"/>
          </a:p>
        </p:txBody>
      </p:sp>
      <p:sp>
        <p:nvSpPr>
          <p:cNvPr id="17" name="Text Placeholder 16"/>
          <p:cNvSpPr>
            <a:spLocks noGrp="1"/>
          </p:cNvSpPr>
          <p:nvPr>
            <p:ph type="body" sz="quarter" idx="13" hasCustomPrompt="1"/>
          </p:nvPr>
        </p:nvSpPr>
        <p:spPr>
          <a:xfrm>
            <a:off x="2024680" y="2684134"/>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6" name="Text Placeholder 16"/>
          <p:cNvSpPr>
            <a:spLocks noGrp="1"/>
          </p:cNvSpPr>
          <p:nvPr>
            <p:ph type="body" sz="quarter" idx="14" hasCustomPrompt="1"/>
          </p:nvPr>
        </p:nvSpPr>
        <p:spPr>
          <a:xfrm>
            <a:off x="346736" y="2684134"/>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7" name="Text Placeholder 16"/>
          <p:cNvSpPr>
            <a:spLocks noGrp="1"/>
          </p:cNvSpPr>
          <p:nvPr>
            <p:ph type="body" sz="quarter" idx="15" hasCustomPrompt="1"/>
          </p:nvPr>
        </p:nvSpPr>
        <p:spPr>
          <a:xfrm>
            <a:off x="3702624" y="2684134"/>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8" name="Text Placeholder 16"/>
          <p:cNvSpPr>
            <a:spLocks noGrp="1"/>
          </p:cNvSpPr>
          <p:nvPr>
            <p:ph type="body" sz="quarter" idx="16" hasCustomPrompt="1"/>
          </p:nvPr>
        </p:nvSpPr>
        <p:spPr>
          <a:xfrm>
            <a:off x="5380568" y="2684134"/>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49" name="Text Placeholder 16"/>
          <p:cNvSpPr>
            <a:spLocks noGrp="1"/>
          </p:cNvSpPr>
          <p:nvPr>
            <p:ph type="body" sz="quarter" idx="17" hasCustomPrompt="1"/>
          </p:nvPr>
        </p:nvSpPr>
        <p:spPr>
          <a:xfrm>
            <a:off x="2024680" y="3997401"/>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0" name="Text Placeholder 16"/>
          <p:cNvSpPr>
            <a:spLocks noGrp="1"/>
          </p:cNvSpPr>
          <p:nvPr>
            <p:ph type="body" sz="quarter" idx="18" hasCustomPrompt="1"/>
          </p:nvPr>
        </p:nvSpPr>
        <p:spPr>
          <a:xfrm>
            <a:off x="346736" y="3997401"/>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1" name="Text Placeholder 16"/>
          <p:cNvSpPr>
            <a:spLocks noGrp="1"/>
          </p:cNvSpPr>
          <p:nvPr>
            <p:ph type="body" sz="quarter" idx="19" hasCustomPrompt="1"/>
          </p:nvPr>
        </p:nvSpPr>
        <p:spPr>
          <a:xfrm>
            <a:off x="3702624" y="3997401"/>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52" name="Text Placeholder 16"/>
          <p:cNvSpPr>
            <a:spLocks noGrp="1"/>
          </p:cNvSpPr>
          <p:nvPr>
            <p:ph type="body" sz="quarter" idx="20" hasCustomPrompt="1"/>
          </p:nvPr>
        </p:nvSpPr>
        <p:spPr>
          <a:xfrm>
            <a:off x="5380568" y="3997401"/>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90" name="Text Placeholder 16"/>
          <p:cNvSpPr>
            <a:spLocks noGrp="1"/>
          </p:cNvSpPr>
          <p:nvPr>
            <p:ph type="body" sz="quarter" idx="22" hasCustomPrompt="1"/>
          </p:nvPr>
        </p:nvSpPr>
        <p:spPr>
          <a:xfrm>
            <a:off x="7058512" y="2684134"/>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sp>
        <p:nvSpPr>
          <p:cNvPr id="94" name="Text Placeholder 16"/>
          <p:cNvSpPr>
            <a:spLocks noGrp="1"/>
          </p:cNvSpPr>
          <p:nvPr>
            <p:ph type="body" sz="quarter" idx="26" hasCustomPrompt="1"/>
          </p:nvPr>
        </p:nvSpPr>
        <p:spPr>
          <a:xfrm>
            <a:off x="7058512" y="3997401"/>
            <a:ext cx="1395564" cy="246716"/>
          </a:xfrm>
        </p:spPr>
        <p:txBody>
          <a:bodyPr rIns="0" bIns="0" anchor="ctr"/>
          <a:lstStyle>
            <a:lvl1pPr marL="0" indent="0" algn="ctr">
              <a:buNone/>
              <a:defRPr sz="900" b="0" i="0">
                <a:latin typeface="+mn-lt"/>
                <a:ea typeface="+mn-ea"/>
                <a:cs typeface="+mn-cs"/>
              </a:defRPr>
            </a:lvl1pPr>
            <a:lvl2pPr marL="457200" indent="0">
              <a:buNone/>
              <a:defRPr sz="900" b="0" i="0">
                <a:latin typeface="Gotham Book" pitchFamily="2" charset="77"/>
              </a:defRPr>
            </a:lvl2pPr>
            <a:lvl3pPr marL="914400" indent="0">
              <a:buNone/>
              <a:defRPr sz="900" b="0" i="0">
                <a:latin typeface="Gotham Book" pitchFamily="2" charset="77"/>
              </a:defRPr>
            </a:lvl3pPr>
            <a:lvl4pPr marL="1371600" indent="0">
              <a:buNone/>
              <a:defRPr sz="900" b="0" i="0">
                <a:latin typeface="Gotham Book" pitchFamily="2" charset="77"/>
              </a:defRPr>
            </a:lvl4pPr>
            <a:lvl5pPr marL="1828800" indent="0">
              <a:buNone/>
              <a:defRPr sz="900" b="0" i="0">
                <a:latin typeface="Gotham Book" pitchFamily="2" charset="77"/>
              </a:defRPr>
            </a:lvl5pPr>
          </a:lstStyle>
          <a:p>
            <a:pPr lvl="0"/>
            <a:r>
              <a:rPr lang="en-US"/>
              <a:t>Naming</a:t>
            </a:r>
            <a:endParaRPr lang="id-ID"/>
          </a:p>
        </p:txBody>
      </p:sp>
      <p:pic>
        <p:nvPicPr>
          <p:cNvPr id="53" name="Picture 28"/>
          <p:cNvPicPr>
            <a:picLocks noChangeAspect="1"/>
          </p:cNvPicPr>
          <p:nvPr userDrawn="1"/>
        </p:nvPicPr>
        <p:blipFill>
          <a:blip r:embed="rId5"/>
          <a:srcRect/>
          <a:stretch>
            <a:fillRect/>
          </a:stretch>
        </p:blipFill>
        <p:spPr>
          <a:xfrm>
            <a:off x="2230091" y="1696956"/>
            <a:ext cx="1002126" cy="1002126"/>
          </a:xfrm>
          <a:prstGeom prst="rect">
            <a:avLst/>
          </a:prstGeom>
        </p:spPr>
      </p:pic>
      <p:pic>
        <p:nvPicPr>
          <p:cNvPr id="54" name="Picture 28"/>
          <p:cNvPicPr>
            <a:picLocks noChangeAspect="1"/>
          </p:cNvPicPr>
          <p:nvPr userDrawn="1"/>
        </p:nvPicPr>
        <p:blipFill>
          <a:blip r:embed="rId6"/>
          <a:srcRect/>
          <a:stretch>
            <a:fillRect/>
          </a:stretch>
        </p:blipFill>
        <p:spPr>
          <a:xfrm>
            <a:off x="552147" y="1696956"/>
            <a:ext cx="1002126" cy="1002126"/>
          </a:xfrm>
          <a:prstGeom prst="rect">
            <a:avLst/>
          </a:prstGeom>
        </p:spPr>
      </p:pic>
      <p:pic>
        <p:nvPicPr>
          <p:cNvPr id="55" name="Picture 28"/>
          <p:cNvPicPr>
            <a:picLocks noChangeAspect="1"/>
          </p:cNvPicPr>
          <p:nvPr userDrawn="1"/>
        </p:nvPicPr>
        <p:blipFill>
          <a:blip r:embed="rId7"/>
          <a:srcRect/>
          <a:stretch>
            <a:fillRect/>
          </a:stretch>
        </p:blipFill>
        <p:spPr>
          <a:xfrm>
            <a:off x="3877919" y="1696956"/>
            <a:ext cx="1002126" cy="1002126"/>
          </a:xfrm>
          <a:prstGeom prst="rect">
            <a:avLst/>
          </a:prstGeom>
        </p:spPr>
      </p:pic>
      <p:pic>
        <p:nvPicPr>
          <p:cNvPr id="56" name="Picture 28"/>
          <p:cNvPicPr>
            <a:picLocks noChangeAspect="1"/>
          </p:cNvPicPr>
          <p:nvPr userDrawn="1"/>
        </p:nvPicPr>
        <p:blipFill>
          <a:blip r:embed="rId8"/>
          <a:srcRect/>
          <a:stretch>
            <a:fillRect/>
          </a:stretch>
        </p:blipFill>
        <p:spPr>
          <a:xfrm>
            <a:off x="5565738" y="1696956"/>
            <a:ext cx="1002126" cy="1002126"/>
          </a:xfrm>
          <a:prstGeom prst="rect">
            <a:avLst/>
          </a:prstGeom>
        </p:spPr>
      </p:pic>
      <p:pic>
        <p:nvPicPr>
          <p:cNvPr id="57" name="Picture 28"/>
          <p:cNvPicPr>
            <a:picLocks noChangeAspect="1"/>
          </p:cNvPicPr>
          <p:nvPr userDrawn="1"/>
        </p:nvPicPr>
        <p:blipFill>
          <a:blip r:embed="rId9"/>
          <a:srcRect/>
          <a:stretch>
            <a:fillRect/>
          </a:stretch>
        </p:blipFill>
        <p:spPr>
          <a:xfrm>
            <a:off x="7237672" y="1696956"/>
            <a:ext cx="1002126" cy="1002126"/>
          </a:xfrm>
          <a:prstGeom prst="rect">
            <a:avLst/>
          </a:prstGeom>
        </p:spPr>
      </p:pic>
      <p:pic>
        <p:nvPicPr>
          <p:cNvPr id="58" name="Picture 28"/>
          <p:cNvPicPr>
            <a:picLocks noChangeAspect="1"/>
          </p:cNvPicPr>
          <p:nvPr userDrawn="1"/>
        </p:nvPicPr>
        <p:blipFill>
          <a:blip r:embed="rId10"/>
          <a:srcRect/>
          <a:stretch>
            <a:fillRect/>
          </a:stretch>
        </p:blipFill>
        <p:spPr>
          <a:xfrm>
            <a:off x="2230091" y="3017972"/>
            <a:ext cx="1002126" cy="1002126"/>
          </a:xfrm>
          <a:prstGeom prst="rect">
            <a:avLst/>
          </a:prstGeom>
        </p:spPr>
      </p:pic>
      <p:pic>
        <p:nvPicPr>
          <p:cNvPr id="59" name="Picture 28"/>
          <p:cNvPicPr>
            <a:picLocks noChangeAspect="1"/>
          </p:cNvPicPr>
          <p:nvPr userDrawn="1"/>
        </p:nvPicPr>
        <p:blipFill>
          <a:blip r:embed="rId11"/>
          <a:srcRect/>
          <a:stretch>
            <a:fillRect/>
          </a:stretch>
        </p:blipFill>
        <p:spPr>
          <a:xfrm>
            <a:off x="552147" y="3017972"/>
            <a:ext cx="1002126" cy="1002126"/>
          </a:xfrm>
          <a:prstGeom prst="rect">
            <a:avLst/>
          </a:prstGeom>
        </p:spPr>
      </p:pic>
      <p:pic>
        <p:nvPicPr>
          <p:cNvPr id="60" name="Picture 28"/>
          <p:cNvPicPr>
            <a:picLocks noChangeAspect="1"/>
          </p:cNvPicPr>
          <p:nvPr userDrawn="1"/>
        </p:nvPicPr>
        <p:blipFill>
          <a:blip r:embed="rId12"/>
          <a:srcRect/>
          <a:stretch>
            <a:fillRect/>
          </a:stretch>
        </p:blipFill>
        <p:spPr>
          <a:xfrm>
            <a:off x="3877919" y="3017972"/>
            <a:ext cx="1002126" cy="1002126"/>
          </a:xfrm>
          <a:prstGeom prst="rect">
            <a:avLst/>
          </a:prstGeom>
        </p:spPr>
      </p:pic>
      <p:pic>
        <p:nvPicPr>
          <p:cNvPr id="61" name="Picture 28"/>
          <p:cNvPicPr>
            <a:picLocks noChangeAspect="1"/>
          </p:cNvPicPr>
          <p:nvPr userDrawn="1"/>
        </p:nvPicPr>
        <p:blipFill>
          <a:blip r:embed="rId13"/>
          <a:srcRect/>
          <a:stretch>
            <a:fillRect/>
          </a:stretch>
        </p:blipFill>
        <p:spPr>
          <a:xfrm>
            <a:off x="5565738" y="3017972"/>
            <a:ext cx="1002126" cy="1002126"/>
          </a:xfrm>
          <a:prstGeom prst="rect">
            <a:avLst/>
          </a:prstGeom>
        </p:spPr>
      </p:pic>
      <p:pic>
        <p:nvPicPr>
          <p:cNvPr id="62" name="Picture 28"/>
          <p:cNvPicPr>
            <a:picLocks noChangeAspect="1"/>
          </p:cNvPicPr>
          <p:nvPr userDrawn="1"/>
        </p:nvPicPr>
        <p:blipFill>
          <a:blip r:embed="rId14"/>
          <a:srcRect/>
          <a:stretch>
            <a:fillRect/>
          </a:stretch>
        </p:blipFill>
        <p:spPr>
          <a:xfrm>
            <a:off x="7237672" y="3017972"/>
            <a:ext cx="1002126" cy="1002126"/>
          </a:xfrm>
          <a:prstGeom prst="rect">
            <a:avLst/>
          </a:prstGeom>
        </p:spPr>
      </p:pic>
      <p:pic>
        <p:nvPicPr>
          <p:cNvPr id="63" name="Picture 28"/>
          <p:cNvPicPr>
            <a:picLocks noChangeAspect="1"/>
          </p:cNvPicPr>
          <p:nvPr userDrawn="1"/>
        </p:nvPicPr>
        <p:blipFill>
          <a:blip r:embed="rId15"/>
          <a:srcRect/>
          <a:stretch>
            <a:fillRect/>
          </a:stretch>
        </p:blipFill>
        <p:spPr>
          <a:xfrm>
            <a:off x="352706" y="5383499"/>
            <a:ext cx="620297" cy="620297"/>
          </a:xfrm>
          <a:prstGeom prst="rect">
            <a:avLst/>
          </a:prstGeom>
        </p:spPr>
      </p:pic>
      <p:pic>
        <p:nvPicPr>
          <p:cNvPr id="64" name="Picture 28"/>
          <p:cNvPicPr>
            <a:picLocks noChangeAspect="1"/>
          </p:cNvPicPr>
          <p:nvPr userDrawn="1"/>
        </p:nvPicPr>
        <p:blipFill>
          <a:blip r:embed="rId16"/>
          <a:srcRect/>
          <a:stretch>
            <a:fillRect/>
          </a:stretch>
        </p:blipFill>
        <p:spPr>
          <a:xfrm>
            <a:off x="1247366" y="5383499"/>
            <a:ext cx="620297" cy="620297"/>
          </a:xfrm>
          <a:prstGeom prst="rect">
            <a:avLst/>
          </a:prstGeom>
        </p:spPr>
      </p:pic>
      <p:pic>
        <p:nvPicPr>
          <p:cNvPr id="65" name="Picture 28"/>
          <p:cNvPicPr>
            <a:picLocks noChangeAspect="1"/>
          </p:cNvPicPr>
          <p:nvPr userDrawn="1"/>
        </p:nvPicPr>
        <p:blipFill>
          <a:blip r:embed="rId17"/>
          <a:srcRect/>
          <a:stretch>
            <a:fillRect/>
          </a:stretch>
        </p:blipFill>
        <p:spPr>
          <a:xfrm>
            <a:off x="2142026" y="5383499"/>
            <a:ext cx="620297" cy="620297"/>
          </a:xfrm>
          <a:prstGeom prst="rect">
            <a:avLst/>
          </a:prstGeom>
        </p:spPr>
      </p:pic>
      <p:pic>
        <p:nvPicPr>
          <p:cNvPr id="66" name="Picture 28"/>
          <p:cNvPicPr>
            <a:picLocks noChangeAspect="1"/>
          </p:cNvPicPr>
          <p:nvPr userDrawn="1"/>
        </p:nvPicPr>
        <p:blipFill>
          <a:blip r:embed="rId18"/>
          <a:srcRect/>
          <a:stretch>
            <a:fillRect/>
          </a:stretch>
        </p:blipFill>
        <p:spPr>
          <a:xfrm>
            <a:off x="3036686" y="5383499"/>
            <a:ext cx="620297" cy="620297"/>
          </a:xfrm>
          <a:prstGeom prst="rect">
            <a:avLst/>
          </a:prstGeom>
        </p:spPr>
      </p:pic>
      <p:pic>
        <p:nvPicPr>
          <p:cNvPr id="67" name="Picture 28"/>
          <p:cNvPicPr>
            <a:picLocks noChangeAspect="1"/>
          </p:cNvPicPr>
          <p:nvPr userDrawn="1"/>
        </p:nvPicPr>
        <p:blipFill>
          <a:blip r:embed="rId19"/>
          <a:srcRect/>
          <a:stretch>
            <a:fillRect/>
          </a:stretch>
        </p:blipFill>
        <p:spPr>
          <a:xfrm>
            <a:off x="3931346" y="5383499"/>
            <a:ext cx="620297" cy="620297"/>
          </a:xfrm>
          <a:prstGeom prst="rect">
            <a:avLst/>
          </a:prstGeom>
        </p:spPr>
      </p:pic>
      <p:pic>
        <p:nvPicPr>
          <p:cNvPr id="68" name="Picture 28"/>
          <p:cNvPicPr>
            <a:picLocks noChangeAspect="1"/>
          </p:cNvPicPr>
          <p:nvPr userDrawn="1"/>
        </p:nvPicPr>
        <p:blipFill>
          <a:blip r:embed="rId20"/>
          <a:srcRect/>
          <a:stretch>
            <a:fillRect/>
          </a:stretch>
        </p:blipFill>
        <p:spPr>
          <a:xfrm>
            <a:off x="4826006" y="5383499"/>
            <a:ext cx="620297" cy="620297"/>
          </a:xfrm>
          <a:prstGeom prst="rect">
            <a:avLst/>
          </a:prstGeom>
        </p:spPr>
      </p:pic>
      <p:pic>
        <p:nvPicPr>
          <p:cNvPr id="69" name="Picture 28"/>
          <p:cNvPicPr>
            <a:picLocks noChangeAspect="1"/>
          </p:cNvPicPr>
          <p:nvPr userDrawn="1"/>
        </p:nvPicPr>
        <p:blipFill>
          <a:blip r:embed="rId21"/>
          <a:srcRect/>
          <a:stretch>
            <a:fillRect/>
          </a:stretch>
        </p:blipFill>
        <p:spPr>
          <a:xfrm>
            <a:off x="5720668" y="5383499"/>
            <a:ext cx="620297" cy="620297"/>
          </a:xfrm>
          <a:prstGeom prst="rect">
            <a:avLst/>
          </a:prstGeom>
        </p:spPr>
      </p:pic>
      <p:pic>
        <p:nvPicPr>
          <p:cNvPr id="70" name="Picture 28"/>
          <p:cNvPicPr>
            <a:picLocks noChangeAspect="1"/>
          </p:cNvPicPr>
          <p:nvPr userDrawn="1"/>
        </p:nvPicPr>
        <p:blipFill>
          <a:blip r:embed="rId22"/>
          <a:srcRect/>
          <a:stretch>
            <a:fillRect/>
          </a:stretch>
        </p:blipFill>
        <p:spPr>
          <a:xfrm>
            <a:off x="6615330" y="5383499"/>
            <a:ext cx="620297" cy="620297"/>
          </a:xfrm>
          <a:prstGeom prst="rect">
            <a:avLst/>
          </a:prstGeom>
        </p:spPr>
      </p:pic>
      <p:pic>
        <p:nvPicPr>
          <p:cNvPr id="71" name="Picture 28"/>
          <p:cNvPicPr>
            <a:picLocks noChangeAspect="1"/>
          </p:cNvPicPr>
          <p:nvPr userDrawn="1"/>
        </p:nvPicPr>
        <p:blipFill>
          <a:blip r:embed="rId23"/>
          <a:srcRect/>
          <a:stretch>
            <a:fillRect/>
          </a:stretch>
        </p:blipFill>
        <p:spPr>
          <a:xfrm>
            <a:off x="7509652" y="5383499"/>
            <a:ext cx="620297" cy="620297"/>
          </a:xfrm>
          <a:prstGeom prst="rect">
            <a:avLst/>
          </a:prstGeom>
        </p:spPr>
      </p:pic>
      <p:pic>
        <p:nvPicPr>
          <p:cNvPr id="72" name="Picture 28"/>
          <p:cNvPicPr>
            <a:picLocks noChangeAspect="1"/>
          </p:cNvPicPr>
          <p:nvPr userDrawn="1"/>
        </p:nvPicPr>
        <p:blipFill>
          <a:blip r:embed="rId24"/>
          <a:srcRect/>
          <a:stretch>
            <a:fillRect/>
          </a:stretch>
        </p:blipFill>
        <p:spPr>
          <a:xfrm>
            <a:off x="8403974" y="5383499"/>
            <a:ext cx="620297" cy="62029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p:nvPr>
        </p:nvSpPr>
        <p:spPr>
          <a:xfrm>
            <a:off x="334962" y="2085628"/>
            <a:ext cx="11485562"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334962" y="623454"/>
            <a:ext cx="11485562" cy="649224"/>
          </a:xfrm>
        </p:spPr>
        <p:txBody>
          <a:bodyPr vert="horz"/>
          <a:lstStyle>
            <a:lvl1pPr>
              <a:defRPr sz="2400">
                <a:latin typeface="+mj-lt"/>
                <a:ea typeface="+mj-ea"/>
                <a:cs typeface="+mj-cs"/>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mp; Picture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38444" y="1268413"/>
            <a:ext cx="5682081" cy="2160587"/>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dirty="0"/>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Lorem ipsum dolor sit amet, cons ectetuer adipiscing elit, sed diam nonummy. 14pt/spc-exctly22pt</a:t>
            </a:r>
            <a:endParaRPr lang="id-ID" dirty="0"/>
          </a:p>
        </p:txBody>
      </p:sp>
      <p:sp>
        <p:nvSpPr>
          <p:cNvPr id="7" name="Text Placeholder 6"/>
          <p:cNvSpPr>
            <a:spLocks noGrp="1"/>
          </p:cNvSpPr>
          <p:nvPr>
            <p:ph type="body" sz="quarter" idx="15" hasCustomPrompt="1"/>
          </p:nvPr>
        </p:nvSpPr>
        <p:spPr>
          <a:xfrm>
            <a:off x="352424" y="1274618"/>
            <a:ext cx="5417200" cy="1454727"/>
          </a:xfrm>
        </p:spPr>
        <p:txBody>
          <a:bodyPr/>
          <a:lstStyle>
            <a:lvl1pPr marL="0" indent="0">
              <a:lnSpc>
                <a:spcPct val="100000"/>
              </a:lnSpc>
              <a:spcBef>
                <a:spcPts val="1000"/>
              </a:spcBef>
              <a:buNone/>
              <a:defRPr b="0" i="0">
                <a:solidFill>
                  <a:schemeClr val="accent2"/>
                </a:solidFill>
                <a:latin typeface="Gotham Medium" charset="0"/>
                <a:ea typeface="Gotham Medium" charset="0"/>
                <a:cs typeface="Gotham Medium" charset="0"/>
              </a:defRPr>
            </a:lvl1pPr>
          </a:lstStyle>
          <a:p>
            <a:pPr lvl="0"/>
            <a:r>
              <a:rPr lang="en-US" dirty="0"/>
              <a:t>Click to edit Title text with. some pictures, maximum is three lines.</a:t>
            </a:r>
            <a:endParaRPr lang="id-ID" dirty="0"/>
          </a:p>
        </p:txBody>
      </p:sp>
      <p:sp>
        <p:nvSpPr>
          <p:cNvPr id="4" name="Picture Placeholder 3"/>
          <p:cNvSpPr>
            <a:spLocks noGrp="1"/>
          </p:cNvSpPr>
          <p:nvPr>
            <p:ph type="pic" sz="quarter" idx="13" hasCustomPrompt="1"/>
          </p:nvPr>
        </p:nvSpPr>
        <p:spPr>
          <a:xfrm>
            <a:off x="-3916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19" name="Picture Placeholder 3"/>
          <p:cNvSpPr>
            <a:spLocks noGrp="1"/>
          </p:cNvSpPr>
          <p:nvPr>
            <p:ph type="pic" sz="quarter" idx="16" hasCustomPrompt="1"/>
          </p:nvPr>
        </p:nvSpPr>
        <p:spPr>
          <a:xfrm>
            <a:off x="404612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 </a:t>
            </a:r>
            <a:r>
              <a:rPr lang="id-ID"/>
              <a:t>4:3</a:t>
            </a:r>
          </a:p>
        </p:txBody>
      </p:sp>
      <p:sp>
        <p:nvSpPr>
          <p:cNvPr id="20" name="Picture Placeholder 3"/>
          <p:cNvSpPr>
            <a:spLocks noGrp="1"/>
          </p:cNvSpPr>
          <p:nvPr>
            <p:ph type="pic" sz="quarter" idx="17" hasCustomPrompt="1"/>
          </p:nvPr>
        </p:nvSpPr>
        <p:spPr>
          <a:xfrm>
            <a:off x="8131400" y="3797309"/>
            <a:ext cx="4085280" cy="3060691"/>
          </a:xfrm>
          <a:noFill/>
          <a:ln>
            <a:noFill/>
          </a:ln>
        </p:spPr>
        <p:txBody>
          <a:bodyPr anchor="ctr"/>
          <a:lstStyle>
            <a:lvl1pPr marL="457200" indent="-457200" algn="ctr">
              <a:buFont typeface="Arial" panose="020B0604020202090204" pitchFamily="34" charset="0"/>
              <a:buChar char="•"/>
              <a:defRPr sz="1600"/>
            </a:lvl1pPr>
          </a:lstStyle>
          <a:p>
            <a:r>
              <a:rPr lang="id-ID"/>
              <a:t>Picture </a:t>
            </a:r>
            <a:r>
              <a:rPr lang="en-US"/>
              <a:t>ratio</a:t>
            </a:r>
            <a:r>
              <a:rPr lang="id-ID"/>
              <a:t> 4:3</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70302020209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2400">
                <a:solidFill>
                  <a:schemeClr val="tx2"/>
                </a:solidFill>
                <a:latin typeface="+mj-lt"/>
                <a:ea typeface="+mj-ea"/>
                <a:cs typeface="+mj-cs"/>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70302020209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70302020209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3" name="Title 3"/>
          <p:cNvSpPr>
            <a:spLocks noGrp="1"/>
          </p:cNvSpPr>
          <p:nvPr>
            <p:ph type="title" hasCustomPrompt="1"/>
          </p:nvPr>
        </p:nvSpPr>
        <p:spPr>
          <a:xfrm>
            <a:off x="630000" y="622800"/>
            <a:ext cx="62568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70302020209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70302020209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70302020209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a:solidFill>
                <a:schemeClr val="bg1">
                  <a:lumMod val="50000"/>
                </a:schemeClr>
              </a:solidFill>
              <a:latin typeface="+mn-lt"/>
              <a:ea typeface="+mn-ea"/>
              <a:cs typeface="+mn-cs"/>
              <a:sym typeface="Trebuchet MS" panose="020B070302020209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70302020209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a:solidFill>
                <a:schemeClr val="bg1">
                  <a:lumMod val="50000"/>
                </a:schemeClr>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baseline="0">
                <a:solidFill>
                  <a:schemeClr val="tx2"/>
                </a:solidFill>
                <a:latin typeface="+mj-lt"/>
                <a:ea typeface="+mj-ea"/>
                <a:cs typeface="+mj-cs"/>
                <a:sym typeface="Trebuchet MS" panose="020B070302020209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2400" baseline="0">
                <a:solidFill>
                  <a:srgbClr val="FFFFFF"/>
                </a:solidFill>
                <a:latin typeface="+mj-lt"/>
                <a:ea typeface="+mj-ea"/>
                <a:cs typeface="+mj-cs"/>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amp; Mix Preview">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352423" y="1274619"/>
            <a:ext cx="5599561" cy="1002254"/>
          </a:xfrm>
        </p:spPr>
        <p:txBody>
          <a:bodyPr/>
          <a:lstStyle>
            <a:lvl1pPr marL="0" indent="0">
              <a:lnSpc>
                <a:spcPct val="100000"/>
              </a:lnSpc>
              <a:spcBef>
                <a:spcPts val="1000"/>
              </a:spcBef>
              <a:buNone/>
              <a:defRPr sz="2800" b="0" i="0">
                <a:solidFill>
                  <a:schemeClr val="accent2"/>
                </a:solidFill>
                <a:latin typeface="Gotham Medium" charset="0"/>
                <a:ea typeface="Gotham Medium" charset="0"/>
                <a:cs typeface="Gotham Medium" charset="0"/>
              </a:defRPr>
            </a:lvl1pPr>
          </a:lstStyle>
          <a:p>
            <a:pPr lvl="0"/>
            <a:r>
              <a:rPr lang="en-US" dirty="0"/>
              <a:t>Click to edit Title text, maximum is two lines.</a:t>
            </a:r>
            <a:endParaRPr lang="id-ID" dirty="0"/>
          </a:p>
        </p:txBody>
      </p:sp>
      <p:sp>
        <p:nvSpPr>
          <p:cNvPr id="3" name="Subtitle 2"/>
          <p:cNvSpPr>
            <a:spLocks noGrp="1"/>
          </p:cNvSpPr>
          <p:nvPr>
            <p:ph type="subTitle" idx="1" hasCustomPrompt="1"/>
          </p:nvPr>
        </p:nvSpPr>
        <p:spPr>
          <a:xfrm>
            <a:off x="367881" y="2528876"/>
            <a:ext cx="5584104" cy="1764220"/>
          </a:xfrm>
          <a:prstGeom prst="rect">
            <a:avLst/>
          </a:prstGeom>
          <a:noFill/>
          <a:ln>
            <a:noFill/>
          </a:ln>
        </p:spPr>
        <p:txBody>
          <a:bodyPr>
            <a:normAutofit/>
          </a:bodyPr>
          <a:lstStyle>
            <a:lvl1pPr marL="0" marR="0" indent="0" algn="l" defTabSz="914400" rtl="0" eaLnBrk="1" fontAlgn="auto" latinLnBrk="0" hangingPunct="1">
              <a:lnSpc>
                <a:spcPts val="2200"/>
              </a:lnSpc>
              <a:spcBef>
                <a:spcPts val="0"/>
              </a:spcBef>
              <a:spcAft>
                <a:spcPts val="0"/>
              </a:spcAft>
              <a:buClrTx/>
              <a:buSzTx/>
              <a:buFont typeface="Arial" panose="020B0604020202090204"/>
              <a:buNone/>
              <a:defRPr sz="1400" b="0" i="0" baseline="0">
                <a:solidFill>
                  <a:schemeClr val="tx1">
                    <a:lumMod val="65000"/>
                    <a:lumOff val="35000"/>
                  </a:schemeClr>
                </a:solidFill>
                <a:latin typeface="Gotham Book" charset="0"/>
                <a:ea typeface="Gotham Book" charset="0"/>
                <a:cs typeface="Gotham Book"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lnSpc>
                <a:spcPts val="2200"/>
              </a:lnSpc>
              <a:defRPr/>
            </a:pPr>
            <a:r>
              <a:rPr lang="en-US" dirty="0"/>
              <a:t>Click to edit Master subtitle style: </a:t>
            </a:r>
            <a:r>
              <a:rPr lang="en-US" sz="1400" noProof="1">
                <a:solidFill>
                  <a:schemeClr val="tx1">
                    <a:lumMod val="65000"/>
                    <a:lumOff val="35000"/>
                  </a:schemeClr>
                </a:solidFill>
                <a:latin typeface="Gotham Book" charset="0"/>
                <a:ea typeface="Gotham Book" charset="0"/>
                <a:cs typeface="Gotham Book" charset="0"/>
              </a:rPr>
              <a:t>Lorem ipsum dolor sit amet, consectetuer adipiscing elit, sed diam nonummy nibh euismod tincidunt ut laoreet dolore magna aliquam erat volutpat. Ut wisi enim ad minim veniam, quis nostrud exerci tation ullamcorper suscipit lobortis nisl ut aliquip duis dolore te feugait nulla facilisi. 14pt/spc-exctly22pt</a:t>
            </a:r>
            <a:endParaRPr lang="id-ID" dirty="0"/>
          </a:p>
        </p:txBody>
      </p:sp>
      <p:sp>
        <p:nvSpPr>
          <p:cNvPr id="5" name="Chart Placeholder 4"/>
          <p:cNvSpPr>
            <a:spLocks noGrp="1"/>
          </p:cNvSpPr>
          <p:nvPr>
            <p:ph type="chart" sz="quarter" idx="16"/>
          </p:nvPr>
        </p:nvSpPr>
        <p:spPr>
          <a:xfrm>
            <a:off x="379358" y="4469517"/>
            <a:ext cx="3536610" cy="1810691"/>
          </a:xfrm>
        </p:spPr>
        <p:txBody>
          <a:bodyPr anchor="ctr"/>
          <a:lstStyle>
            <a:lvl1pPr algn="ctr">
              <a:defRPr sz="2400"/>
            </a:lvl1pPr>
          </a:lstStyle>
          <a:p>
            <a:endParaRPr lang="id-ID"/>
          </a:p>
        </p:txBody>
      </p:sp>
      <p:sp>
        <p:nvSpPr>
          <p:cNvPr id="8" name="Picture Placeholder 7"/>
          <p:cNvSpPr>
            <a:spLocks noGrp="1"/>
          </p:cNvSpPr>
          <p:nvPr>
            <p:ph type="pic" sz="quarter" idx="17" hasCustomPrompt="1"/>
          </p:nvPr>
        </p:nvSpPr>
        <p:spPr>
          <a:xfrm>
            <a:off x="6664803" y="1047314"/>
            <a:ext cx="5133982" cy="3837077"/>
          </a:xfrm>
        </p:spPr>
        <p:txBody>
          <a:bodyPr anchor="ctr"/>
          <a:lstStyle>
            <a:lvl1pPr algn="ctr">
              <a:defRPr sz="1600" baseline="0"/>
            </a:lvl1pPr>
          </a:lstStyle>
          <a:p>
            <a:r>
              <a:rPr lang="id-ID"/>
              <a:t>Picture ratio 4:3</a:t>
            </a:r>
          </a:p>
        </p:txBody>
      </p:sp>
      <p:sp>
        <p:nvSpPr>
          <p:cNvPr id="18" name="Picture Placeholder 7"/>
          <p:cNvSpPr>
            <a:spLocks noGrp="1"/>
          </p:cNvSpPr>
          <p:nvPr>
            <p:ph type="pic" sz="quarter" idx="18" hasCustomPrompt="1"/>
          </p:nvPr>
        </p:nvSpPr>
        <p:spPr>
          <a:xfrm>
            <a:off x="6664803" y="4973901"/>
            <a:ext cx="2536725" cy="1884099"/>
          </a:xfrm>
        </p:spPr>
        <p:txBody>
          <a:bodyPr anchor="ctr"/>
          <a:lstStyle>
            <a:lvl1pPr algn="ctr">
              <a:defRPr sz="1600"/>
            </a:lvl1pPr>
          </a:lstStyle>
          <a:p>
            <a:r>
              <a:rPr lang="id-ID"/>
              <a:t>Picture ratio 4:3</a:t>
            </a:r>
          </a:p>
        </p:txBody>
      </p:sp>
      <p:sp>
        <p:nvSpPr>
          <p:cNvPr id="21" name="Picture Placeholder 7"/>
          <p:cNvSpPr>
            <a:spLocks noGrp="1"/>
          </p:cNvSpPr>
          <p:nvPr>
            <p:ph type="pic" sz="quarter" idx="19" hasCustomPrompt="1"/>
          </p:nvPr>
        </p:nvSpPr>
        <p:spPr>
          <a:xfrm>
            <a:off x="9263444" y="4973901"/>
            <a:ext cx="2536725" cy="1884099"/>
          </a:xfrm>
        </p:spPr>
        <p:txBody>
          <a:bodyPr anchor="ctr"/>
          <a:lstStyle>
            <a:lvl1pPr marL="228600" marR="0" indent="-228600" algn="ctr" defTabSz="914400" rtl="0" eaLnBrk="1" fontAlgn="auto" latinLnBrk="0" hangingPunct="1">
              <a:lnSpc>
                <a:spcPct val="90000"/>
              </a:lnSpc>
              <a:spcBef>
                <a:spcPts val="1000"/>
              </a:spcBef>
              <a:spcAft>
                <a:spcPts val="0"/>
              </a:spcAft>
              <a:buClrTx/>
              <a:buSzTx/>
              <a:buFont typeface="Arial" panose="020B0604020202090204"/>
              <a:buChar char="•"/>
              <a:defRPr sz="1600"/>
            </a:lvl1pPr>
          </a:lstStyle>
          <a:p>
            <a:r>
              <a:rPr lang="id-ID"/>
              <a:t>Picture ratio 4:3</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800" kern="1200">
              <a:solidFill>
                <a:schemeClr val="bg1"/>
              </a:solidFill>
              <a:latin typeface="+mn-lt"/>
              <a:ea typeface="+mn-ea"/>
              <a:cs typeface="+mn-cs"/>
              <a:sym typeface="Trebuchet MS" panose="020B070302020209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70302020209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70302020209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16" name="Title 2"/>
          <p:cNvSpPr>
            <a:spLocks noGrp="1"/>
          </p:cNvSpPr>
          <p:nvPr>
            <p:ph type="title" hasCustomPrompt="1"/>
          </p:nvPr>
        </p:nvSpPr>
        <p:spPr>
          <a:xfrm>
            <a:off x="630000" y="622800"/>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16" name="Title 2"/>
          <p:cNvSpPr>
            <a:spLocks noGrp="1"/>
          </p:cNvSpPr>
          <p:nvPr>
            <p:ph type="title" hasCustomPrompt="1"/>
          </p:nvPr>
        </p:nvSpPr>
        <p:spPr>
          <a:xfrm>
            <a:off x="630000" y="622800"/>
            <a:ext cx="4673646"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70302020209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11" name="Title 3"/>
          <p:cNvSpPr>
            <a:spLocks noGrp="1"/>
          </p:cNvSpPr>
          <p:nvPr>
            <p:ph type="title" hasCustomPrompt="1"/>
          </p:nvPr>
        </p:nvSpPr>
        <p:spPr>
          <a:xfrm>
            <a:off x="630000" y="622800"/>
            <a:ext cx="62568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chemeClr val="tx2">
                    <a:lumMod val="100000"/>
                  </a:schemeClr>
                </a:solidFill>
                <a:latin typeface="+mj-lt"/>
                <a:ea typeface="+mj-ea"/>
                <a:cs typeface="+mj-cs"/>
                <a:sym typeface="Trebuchet MS" panose="020B070302020209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703020202090204" pitchFamily="34" charset="0"/>
            </a:endParaRPr>
          </a:p>
        </p:txBody>
      </p:sp>
      <p:sp>
        <p:nvSpPr>
          <p:cNvPr id="11" name="Title 3"/>
          <p:cNvSpPr>
            <a:spLocks noGrp="1"/>
          </p:cNvSpPr>
          <p:nvPr>
            <p:ph type="title" hasCustomPrompt="1"/>
          </p:nvPr>
        </p:nvSpPr>
        <p:spPr>
          <a:xfrm>
            <a:off x="630000" y="622800"/>
            <a:ext cx="6256800" cy="332399"/>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400" b="0" i="0" u="none" kern="1200" spc="0">
                <a:solidFill>
                  <a:srgbClr val="FFFFFF"/>
                </a:solidFill>
                <a:latin typeface="+mj-lt"/>
                <a:ea typeface="+mj-ea"/>
                <a:cs typeface="+mj-cs"/>
                <a:sym typeface="Trebuchet MS" panose="020B070302020209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703020202090204" pitchFamily="34" charset="0"/>
              </a:defRPr>
            </a:lvl1pPr>
          </a:lstStyle>
          <a:p>
            <a:r>
              <a:rPr lang="en-US"/>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70302020209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703020202090204" pitchFamily="34" charset="0"/>
              </a:defRPr>
            </a:lvl1pPr>
          </a:lstStyle>
          <a:p>
            <a:r>
              <a:rPr lang="en-US"/>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4" name="Title 3"/>
          <p:cNvSpPr>
            <a:spLocks noGrp="1"/>
          </p:cNvSpPr>
          <p:nvPr>
            <p:ph type="title" hasCustomPrompt="1"/>
          </p:nvPr>
        </p:nvSpPr>
        <p:spPr>
          <a:xfrm>
            <a:off x="630000" y="622800"/>
            <a:ext cx="10933200" cy="470898"/>
          </a:xfrm>
        </p:spPr>
        <p:txBody>
          <a:bodyPr vert="horz"/>
          <a:lstStyle>
            <a:lvl1pPr>
              <a:defRPr sz="2400">
                <a:solidFill>
                  <a:schemeClr val="bg1"/>
                </a:solidFill>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dirty="0"/>
            </a:br>
            <a:r>
              <a:rPr lang="en-US" dirty="0"/>
              <a:t>Click to edit Title text</a:t>
            </a:r>
            <a:endParaRPr lang="id-ID" dirty="0"/>
          </a:p>
        </p:txBody>
      </p:sp>
      <p:sp>
        <p:nvSpPr>
          <p:cNvPr id="5" name="Text Placeholder 4"/>
          <p:cNvSpPr>
            <a:spLocks noGrp="1"/>
          </p:cNvSpPr>
          <p:nvPr>
            <p:ph type="body" sz="quarter" idx="3" hasCustomPrompt="1"/>
          </p:nvPr>
        </p:nvSpPr>
        <p:spPr>
          <a:xfrm>
            <a:off x="6172199" y="1681163"/>
            <a:ext cx="5648325"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 text styles</a:t>
            </a:r>
          </a:p>
        </p:txBody>
      </p:sp>
      <p:sp>
        <p:nvSpPr>
          <p:cNvPr id="6" name="Content Placeholder 5"/>
          <p:cNvSpPr>
            <a:spLocks noGrp="1"/>
          </p:cNvSpPr>
          <p:nvPr>
            <p:ph sz="quarter" idx="4" hasCustomPrompt="1"/>
          </p:nvPr>
        </p:nvSpPr>
        <p:spPr>
          <a:xfrm>
            <a:off x="6172199"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17" name="Footer Placeholder 1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9" name="Text Placeholder 4"/>
          <p:cNvSpPr>
            <a:spLocks noGrp="1"/>
          </p:cNvSpPr>
          <p:nvPr>
            <p:ph type="body" sz="quarter" idx="13" hasCustomPrompt="1"/>
          </p:nvPr>
        </p:nvSpPr>
        <p:spPr>
          <a:xfrm>
            <a:off x="353291" y="1681163"/>
            <a:ext cx="5636450" cy="576039"/>
          </a:xfrm>
          <a:prstGeom prst="rect">
            <a:avLst/>
          </a:prstGeom>
        </p:spPr>
        <p:txBody>
          <a:bodyPr anchor="t" anchorCtr="0"/>
          <a:lstStyle>
            <a:lvl1pPr marL="0" indent="0">
              <a:lnSpc>
                <a:spcPct val="100000"/>
              </a:lnSpc>
              <a:buNone/>
              <a:defRPr sz="2400" b="0" i="0">
                <a:solidFill>
                  <a:schemeClr val="accent2"/>
                </a:solidFill>
                <a:latin typeface="Gotham Medium" charset="0"/>
                <a:cs typeface="Gotham Medium"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itle text styles</a:t>
            </a:r>
          </a:p>
        </p:txBody>
      </p:sp>
      <p:sp>
        <p:nvSpPr>
          <p:cNvPr id="21" name="Content Placeholder 5"/>
          <p:cNvSpPr>
            <a:spLocks noGrp="1"/>
          </p:cNvSpPr>
          <p:nvPr>
            <p:ph sz="quarter" idx="14" hasCustomPrompt="1"/>
          </p:nvPr>
        </p:nvSpPr>
        <p:spPr>
          <a:xfrm>
            <a:off x="341415" y="2505075"/>
            <a:ext cx="5648325" cy="3084166"/>
          </a:xfrm>
          <a:prstGeom prst="rect">
            <a:avLst/>
          </a:prstGeom>
        </p:spPr>
        <p:txBody>
          <a:bodyPr/>
          <a:lstStyle>
            <a:lvl1pPr marL="179705" indent="-179705">
              <a:lnSpc>
                <a:spcPts val="2200"/>
              </a:lnSpc>
              <a:spcBef>
                <a:spcPts val="600"/>
              </a:spcBef>
              <a:defRPr sz="2000" b="0" i="0">
                <a:latin typeface="Gotham Book" pitchFamily="2" charset="77"/>
              </a:defRPr>
            </a:lvl1pPr>
            <a:lvl2pPr marL="179705" indent="-179705">
              <a:lnSpc>
                <a:spcPts val="2200"/>
              </a:lnSpc>
              <a:spcBef>
                <a:spcPts val="600"/>
              </a:spcBef>
              <a:defRPr sz="1800" b="0" i="0">
                <a:latin typeface="Gotham Book" pitchFamily="2" charset="77"/>
              </a:defRPr>
            </a:lvl2pPr>
            <a:lvl3pPr marL="179705" indent="-179705">
              <a:lnSpc>
                <a:spcPts val="2200"/>
              </a:lnSpc>
              <a:spcBef>
                <a:spcPts val="600"/>
              </a:spcBef>
              <a:defRPr sz="1600" b="0" i="0">
                <a:latin typeface="Gotham Book" pitchFamily="2" charset="77"/>
              </a:defRPr>
            </a:lvl3pPr>
            <a:lvl4pPr marL="179705" indent="-179705">
              <a:lnSpc>
                <a:spcPts val="2200"/>
              </a:lnSpc>
              <a:spcBef>
                <a:spcPts val="600"/>
              </a:spcBef>
              <a:defRPr sz="1400" b="0" i="0">
                <a:latin typeface="Gotham Book" pitchFamily="2" charset="77"/>
              </a:defRPr>
            </a:lvl4pPr>
            <a:lvl5pPr marL="179705" indent="-179705">
              <a:lnSpc>
                <a:spcPts val="2200"/>
              </a:lnSpc>
              <a:spcBef>
                <a:spcPts val="600"/>
              </a:spcBef>
              <a:defRPr sz="1400" b="0" i="0">
                <a:latin typeface="Gotham Book" pitchFamily="2" charset="77"/>
              </a:defRPr>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10"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1" name="Slide Number Placeholder 5"/>
          <p:cNvSpPr>
            <a:spLocks noGrp="1"/>
          </p:cNvSpPr>
          <p:nvPr>
            <p:ph type="sldNum" sz="quarter" idx="15"/>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a:xfrm>
            <a:off x="0" y="0"/>
            <a:ext cx="12192000" cy="6858000"/>
          </a:xfrm>
          <a:prstGeom prst="rect">
            <a:avLst/>
          </a:prstGeom>
          <a:solidFill>
            <a:srgbClr val="1532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1"/>
              </a:solidFill>
              <a:latin typeface="+mn-lt"/>
              <a:ea typeface="+mn-ea"/>
              <a:cs typeface="+mn-cs"/>
            </a:endParaRPr>
          </a:p>
        </p:txBody>
      </p:sp>
      <p:pic>
        <p:nvPicPr>
          <p:cNvPr id="11" name="Picture 10"/>
          <p:cNvPicPr>
            <a:picLocks noChangeAspect="1"/>
          </p:cNvPicPr>
          <p:nvPr userDrawn="1"/>
        </p:nvPicPr>
        <p:blipFill>
          <a:blip r:embed="rId5"/>
          <a:stretch>
            <a:fillRect/>
          </a:stretch>
        </p:blipFill>
        <p:spPr>
          <a:xfrm>
            <a:off x="9480376" y="5882751"/>
            <a:ext cx="1725229" cy="504000"/>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flipV="1">
            <a:off x="5696712" y="0"/>
            <a:ext cx="6495288" cy="6144768"/>
          </a:xfrm>
          <a:prstGeom prst="rect">
            <a:avLst/>
          </a:prstGeom>
        </p:spPr>
      </p:pic>
      <p:pic>
        <p:nvPicPr>
          <p:cNvPr id="13" name="Picture 12"/>
          <p:cNvPicPr>
            <a:picLocks noChangeAspect="1"/>
          </p:cNvPicPr>
          <p:nvPr userDrawn="1"/>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550863" y="5962650"/>
            <a:ext cx="1336258" cy="260867"/>
          </a:xfrm>
          <a:prstGeom prst="rect">
            <a:avLst/>
          </a:prstGeom>
        </p:spPr>
      </p:pic>
      <p:sp>
        <p:nvSpPr>
          <p:cNvPr id="14" name="Text Placeholder 8"/>
          <p:cNvSpPr>
            <a:spLocks noGrp="1"/>
          </p:cNvSpPr>
          <p:nvPr>
            <p:ph type="body" sz="quarter" idx="13" hasCustomPrompt="1"/>
          </p:nvPr>
        </p:nvSpPr>
        <p:spPr>
          <a:xfrm>
            <a:off x="550863" y="1730829"/>
            <a:ext cx="5545137" cy="771878"/>
          </a:xfrm>
        </p:spPr>
        <p:txBody>
          <a:bodyPr>
            <a:spAutoFit/>
          </a:bodyPr>
          <a:lstStyle>
            <a:lvl1pPr marL="0" indent="0">
              <a:buNone/>
              <a:defRPr sz="4800" b="0" i="0">
                <a:solidFill>
                  <a:schemeClr val="bg1"/>
                </a:solidFill>
                <a:latin typeface="+mj-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id-ID" noProof="0"/>
              <a:t>Terima kasih</a:t>
            </a:r>
          </a:p>
        </p:txBody>
      </p:sp>
      <p:sp>
        <p:nvSpPr>
          <p:cNvPr id="16" name="TextBox 15"/>
          <p:cNvSpPr txBox="1"/>
          <p:nvPr userDrawn="1"/>
        </p:nvSpPr>
        <p:spPr>
          <a:xfrm>
            <a:off x="575418" y="3429000"/>
            <a:ext cx="2321292" cy="1800200"/>
          </a:xfrm>
          <a:prstGeom prst="rect">
            <a:avLst/>
          </a:prstGeom>
          <a:noFill/>
        </p:spPr>
        <p:txBody>
          <a:bodyPr wrap="square" lIns="0" tIns="0" rtlCol="0">
            <a:noAutofit/>
          </a:bodyPr>
          <a:lstStyle/>
          <a:p>
            <a:pPr>
              <a:lnSpc>
                <a:spcPts val="1500"/>
              </a:lnSpc>
            </a:pPr>
            <a:r>
              <a:rPr lang="en-US" sz="1050" noProof="1">
                <a:solidFill>
                  <a:schemeClr val="bg1"/>
                </a:solidFill>
                <a:latin typeface="+mn-lt"/>
                <a:ea typeface="+mn-ea"/>
                <a:cs typeface="+mn-cs"/>
              </a:rPr>
              <a:t>Gedung Energy Lt. 16 SCBD</a:t>
            </a:r>
            <a:br>
              <a:rPr lang="en-US" sz="1050" noProof="1">
                <a:solidFill>
                  <a:schemeClr val="bg1"/>
                </a:solidFill>
                <a:latin typeface="+mn-lt"/>
                <a:ea typeface="+mn-ea"/>
                <a:cs typeface="+mn-cs"/>
              </a:rPr>
            </a:br>
            <a:r>
              <a:rPr lang="en-US" sz="1050" noProof="1">
                <a:solidFill>
                  <a:schemeClr val="bg1"/>
                </a:solidFill>
                <a:latin typeface="+mn-lt"/>
                <a:ea typeface="+mn-ea"/>
                <a:cs typeface="+mn-cs"/>
              </a:rPr>
              <a:t>Jl. Jenderal Sudirman Kav. 52-53 Jakarta 12190.</a:t>
            </a:r>
            <a:br>
              <a:rPr lang="en-US" sz="1050" noProof="1">
                <a:solidFill>
                  <a:schemeClr val="bg1"/>
                </a:solidFill>
                <a:latin typeface="+mn-lt"/>
                <a:ea typeface="+mn-ea"/>
                <a:cs typeface="+mn-cs"/>
              </a:rPr>
            </a:br>
            <a:r>
              <a:rPr lang="en-US" sz="1050" noProof="1">
                <a:solidFill>
                  <a:schemeClr val="bg1"/>
                </a:solidFill>
                <a:latin typeface="+mn-lt"/>
                <a:ea typeface="+mn-ea"/>
                <a:cs typeface="+mn-cs"/>
              </a:rPr>
              <a:t>P.O. BOX 6917 Jakarta Selatan, Indonesia</a:t>
            </a:r>
            <a:br>
              <a:rPr lang="en-US" sz="1050" noProof="1">
                <a:solidFill>
                  <a:schemeClr val="bg1"/>
                </a:solidFill>
                <a:latin typeface="+mn-lt"/>
                <a:ea typeface="+mn-ea"/>
                <a:cs typeface="+mn-cs"/>
              </a:rPr>
            </a:br>
            <a:r>
              <a:rPr lang="en-US" sz="1050" noProof="1">
                <a:solidFill>
                  <a:schemeClr val="bg1"/>
                </a:solidFill>
                <a:latin typeface="+mn-lt"/>
                <a:ea typeface="+mn-ea"/>
                <a:cs typeface="+mn-cs"/>
              </a:rPr>
              <a:t>Telp (+6221) 27938750.</a:t>
            </a:r>
            <a:br>
              <a:rPr lang="en-US" sz="1050" noProof="1">
                <a:solidFill>
                  <a:schemeClr val="bg1"/>
                </a:solidFill>
                <a:latin typeface="+mn-lt"/>
                <a:ea typeface="+mn-ea"/>
                <a:cs typeface="+mn-cs"/>
              </a:rPr>
            </a:br>
            <a:r>
              <a:rPr lang="en-US" sz="1050" noProof="1">
                <a:solidFill>
                  <a:schemeClr val="bg1"/>
                </a:solidFill>
                <a:latin typeface="+mn-lt"/>
                <a:ea typeface="+mn-ea"/>
                <a:cs typeface="+mn-cs"/>
              </a:rPr>
              <a:t>Fax (+6221) 27936331.</a:t>
            </a:r>
            <a:br>
              <a:rPr lang="en-US" sz="1050" noProof="1">
                <a:solidFill>
                  <a:schemeClr val="bg1"/>
                </a:solidFill>
                <a:latin typeface="+mn-lt"/>
                <a:ea typeface="+mn-ea"/>
                <a:cs typeface="+mn-cs"/>
              </a:rPr>
            </a:br>
            <a:r>
              <a:rPr lang="en-US" sz="1050" noProof="1">
                <a:solidFill>
                  <a:schemeClr val="bg1"/>
                </a:solidFill>
                <a:latin typeface="+mn-lt"/>
                <a:ea typeface="+mn-ea"/>
                <a:cs typeface="+mn-cs"/>
              </a:rPr>
              <a:t>e-mail : corsec@mind.id</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70302020209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70302020209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70302020209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703020202090204" pitchFamily="34" charset="0"/>
            </a:endParaRPr>
          </a:p>
        </p:txBody>
      </p:sp>
      <p:pic>
        <p:nvPicPr>
          <p:cNvPr id="16" name="Picture Placeholder 9"/>
          <p:cNvPicPr>
            <a:picLocks noChangeAspect="1"/>
          </p:cNvPicPr>
          <p:nvPr userDrawn="1"/>
        </p:nvPicPr>
        <p:blipFill>
          <a:blip r:embed="rId6">
            <a:extLst>
              <a:ext uri="{28A0092B-C50C-407E-A947-70E740481C1C}">
                <a14:useLocalDpi xmlns:a14="http://schemas.microsoft.com/office/drawing/2010/main" val="0"/>
              </a:ext>
            </a:extLst>
          </a:blip>
          <a:srcRect t="29550" b="29550"/>
          <a:stretch>
            <a:fillRect/>
          </a:stretch>
        </p:blipFill>
        <p:spPr>
          <a:xfrm>
            <a:off x="0" y="4385450"/>
            <a:ext cx="10883900" cy="2472550"/>
          </a:xfrm>
          <a:prstGeom prst="rect">
            <a:avLst/>
          </a:prstGeom>
        </p:spPr>
      </p:pic>
      <p:pic>
        <p:nvPicPr>
          <p:cNvPr id="17" name="Graphic 16"/>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51384" y="298363"/>
            <a:ext cx="1800200" cy="320398"/>
          </a:xfrm>
          <a:prstGeom prst="rect">
            <a:avLst/>
          </a:prstGeom>
        </p:spPr>
      </p:pic>
      <p:pic>
        <p:nvPicPr>
          <p:cNvPr id="19" name="Picture 18"/>
          <p:cNvPicPr>
            <a:picLocks noChangeAspect="1"/>
          </p:cNvPicPr>
          <p:nvPr userDrawn="1"/>
        </p:nvPicPr>
        <p:blipFill>
          <a:blip r:embed="rId9"/>
          <a:stretch>
            <a:fillRect/>
          </a:stretch>
        </p:blipFill>
        <p:spPr>
          <a:xfrm>
            <a:off x="551384" y="1422493"/>
            <a:ext cx="2736304" cy="789746"/>
          </a:xfrm>
          <a:prstGeom prst="rect">
            <a:avLst/>
          </a:prstGeom>
        </p:spPr>
      </p:pic>
      <p:sp>
        <p:nvSpPr>
          <p:cNvPr id="23" name="Text Placeholder 6"/>
          <p:cNvSpPr>
            <a:spLocks noGrp="1"/>
          </p:cNvSpPr>
          <p:nvPr>
            <p:ph type="body" sz="quarter" idx="12" hasCustomPrompt="1"/>
          </p:nvPr>
        </p:nvSpPr>
        <p:spPr bwMode="black">
          <a:xfrm>
            <a:off x="4702097" y="3830886"/>
            <a:ext cx="2995280" cy="365125"/>
          </a:xfrm>
          <a:prstGeom prst="rect">
            <a:avLst/>
          </a:prstGeom>
          <a:noFill/>
        </p:spPr>
        <p:txBody>
          <a:bodyPr anchor="ctr"/>
          <a:lstStyle>
            <a:lvl1pPr algn="l">
              <a:lnSpc>
                <a:spcPct val="110000"/>
              </a:lnSpc>
              <a:buNone/>
              <a:defRPr sz="1400" b="0" cap="all" baseline="0">
                <a:solidFill>
                  <a:srgbClr val="0862A3"/>
                </a:solidFill>
                <a:latin typeface="+mn-lt"/>
                <a:ea typeface="+mn-ea"/>
                <a:cs typeface="+mn-cs"/>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4" name="Subtitle 2"/>
          <p:cNvSpPr>
            <a:spLocks noGrp="1"/>
          </p:cNvSpPr>
          <p:nvPr>
            <p:ph type="subTitle" idx="1" hasCustomPrompt="1"/>
          </p:nvPr>
        </p:nvSpPr>
        <p:spPr bwMode="white">
          <a:xfrm>
            <a:off x="4707274" y="3113928"/>
            <a:ext cx="6646526" cy="561668"/>
          </a:xfrm>
          <a:prstGeom prst="rect">
            <a:avLst/>
          </a:prstGeom>
        </p:spPr>
        <p:txBody>
          <a:bodyPr anchor="ctr"/>
          <a:lstStyle>
            <a:lvl1pPr marL="0" indent="0" algn="l">
              <a:lnSpc>
                <a:spcPct val="110000"/>
              </a:lnSpc>
              <a:buNone/>
              <a:defRPr sz="2400" baseline="0">
                <a:solidFill>
                  <a:srgbClr val="15325B"/>
                </a:solidFill>
                <a:latin typeface="+mn-lt"/>
                <a:ea typeface="+mn-ea"/>
                <a:cs typeface="+mn-cs"/>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5" name="Title 1"/>
          <p:cNvSpPr>
            <a:spLocks noGrp="1"/>
          </p:cNvSpPr>
          <p:nvPr>
            <p:ph type="ctrTitle" hasCustomPrompt="1"/>
          </p:nvPr>
        </p:nvSpPr>
        <p:spPr bwMode="ltGray">
          <a:xfrm>
            <a:off x="4702097" y="1262063"/>
            <a:ext cx="6651704" cy="1772080"/>
          </a:xfrm>
          <a:prstGeom prst="rect">
            <a:avLst/>
          </a:prstGeom>
        </p:spPr>
        <p:txBody>
          <a:bodyPr vert="horz" anchor="b">
            <a:normAutofit/>
          </a:bodyPr>
          <a:lstStyle>
            <a:lvl1pPr algn="l">
              <a:lnSpc>
                <a:spcPct val="93000"/>
              </a:lnSpc>
              <a:defRPr sz="3600" b="1" baseline="0">
                <a:solidFill>
                  <a:srgbClr val="15325B"/>
                </a:solidFill>
                <a:latin typeface="+mj-lt"/>
                <a:ea typeface="+mj-ea"/>
                <a:cs typeface="+mj-cs"/>
                <a:sym typeface="Trebuchet MS" panose="020B0703020202090204" pitchFamily="34" charset="0"/>
              </a:defRPr>
            </a:lvl1pPr>
          </a:lstStyle>
          <a:p>
            <a:r>
              <a:rPr lang="en-US"/>
              <a:t>Title in Title Case</a:t>
            </a:r>
          </a:p>
        </p:txBody>
      </p:sp>
      <p:pic>
        <p:nvPicPr>
          <p:cNvPr id="28" name="Picture 27"/>
          <p:cNvPicPr>
            <a:picLocks noChangeAspect="1"/>
          </p:cNvPicPr>
          <p:nvPr userDrawn="1"/>
        </p:nvPicPr>
        <p:blipFill>
          <a:blip r:embed="rId10"/>
          <a:stretch>
            <a:fillRect/>
          </a:stretch>
        </p:blipFill>
        <p:spPr>
          <a:xfrm>
            <a:off x="9575800" y="3073400"/>
            <a:ext cx="2616200" cy="378460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8" name="Title 7"/>
          <p:cNvSpPr>
            <a:spLocks noGrp="1"/>
          </p:cNvSpPr>
          <p:nvPr>
            <p:ph type="title" hasCustomPrompt="1"/>
          </p:nvPr>
        </p:nvSpPr>
        <p:spPr>
          <a:xfrm>
            <a:off x="334962" y="623454"/>
            <a:ext cx="11485562" cy="576072"/>
          </a:xfrm>
        </p:spPr>
        <p:txBody>
          <a:bodyPr vert="horz" anchor="ctr"/>
          <a:lstStyle>
            <a:lvl1pPr>
              <a:defRPr>
                <a:latin typeface="+mj-lt"/>
                <a:ea typeface="+mj-ea"/>
                <a:cs typeface="+mj-cs"/>
                <a:sym typeface="Trebuchet MS" panose="020B0703020202090204" pitchFamily="34" charset="0"/>
              </a:defRPr>
            </a:lvl1pPr>
          </a:lstStyle>
          <a:p>
            <a:r>
              <a:rPr lang="en-US"/>
              <a:t>Click to add title</a:t>
            </a:r>
          </a:p>
        </p:txBody>
      </p:sp>
      <p:sp>
        <p:nvSpPr>
          <p:cNvPr id="63" name="TextBox 62"/>
          <p:cNvSpPr txBox="1"/>
          <p:nvPr userDrawn="1"/>
        </p:nvSpPr>
        <p:spPr bwMode="white">
          <a:xfrm>
            <a:off x="11439524" y="6607564"/>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tx1"/>
                </a:solidFill>
                <a:latin typeface="+mn-lt"/>
                <a:ea typeface="+mn-ea"/>
                <a:cs typeface="+mn-cs"/>
                <a:sym typeface="Trebuchet MS" panose="020B0703020202090204" pitchFamily="34" charset="0"/>
              </a:rPr>
              <a:t>‹#›</a:t>
            </a:fld>
            <a:endParaRPr lang="en-US" sz="1000" kern="1200">
              <a:solidFill>
                <a:schemeClr val="tx1"/>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10"/>
          </p:nvPr>
        </p:nvSpPr>
        <p:spPr>
          <a:xfrm>
            <a:off x="334962" y="2085628"/>
            <a:ext cx="11485562"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7"/>
          <p:cNvSpPr>
            <a:spLocks noGrp="1"/>
          </p:cNvSpPr>
          <p:nvPr>
            <p:ph type="title" hasCustomPrompt="1"/>
          </p:nvPr>
        </p:nvSpPr>
        <p:spPr>
          <a:xfrm>
            <a:off x="334962" y="623454"/>
            <a:ext cx="11485562" cy="576072"/>
          </a:xfrm>
        </p:spPr>
        <p:txBody>
          <a:bodyPr vert="horz" anchor="ctr"/>
          <a:lstStyle>
            <a:lvl1pPr>
              <a:defRPr>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a:solidFill>
                <a:schemeClr val="bg1"/>
              </a:solidFill>
              <a:latin typeface="+mn-lt"/>
              <a:ea typeface="+mn-ea"/>
              <a:cs typeface="+mn-cs"/>
              <a:sym typeface="Trebuchet MS" panose="020B070302020209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70302020209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p>
            <a:br>
              <a:rPr lang="en-US" dirty="0"/>
            </a:br>
            <a:r>
              <a:rPr lang="en-US" dirty="0"/>
              <a:t>Click to edit Title text</a:t>
            </a:r>
            <a:endParaRPr lang="id-ID" dirty="0"/>
          </a:p>
        </p:txBody>
      </p:sp>
      <p:sp>
        <p:nvSpPr>
          <p:cNvPr id="3" name="Content Placeholder 2"/>
          <p:cNvSpPr>
            <a:spLocks noGrp="1"/>
          </p:cNvSpPr>
          <p:nvPr>
            <p:ph sz="half" idx="1" hasCustomPrompt="1"/>
          </p:nvPr>
        </p:nvSpPr>
        <p:spPr>
          <a:xfrm>
            <a:off x="334963" y="1704977"/>
            <a:ext cx="5684837"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4" name="Content Placeholder 3"/>
          <p:cNvSpPr>
            <a:spLocks noGrp="1"/>
          </p:cNvSpPr>
          <p:nvPr>
            <p:ph sz="half" idx="2" hasCustomPrompt="1"/>
          </p:nvPr>
        </p:nvSpPr>
        <p:spPr>
          <a:xfrm>
            <a:off x="6172200" y="1704977"/>
            <a:ext cx="5648324" cy="3884264"/>
          </a:xfrm>
          <a:prstGeom prst="rect">
            <a:avLst/>
          </a:prstGeom>
        </p:spPr>
        <p:txBody>
          <a:bodyPr/>
          <a:lstStyle>
            <a:lvl1pPr marL="179705" indent="-179705">
              <a:lnSpc>
                <a:spcPts val="2200"/>
              </a:lnSpc>
              <a:spcBef>
                <a:spcPts val="600"/>
              </a:spcBef>
              <a:defRPr sz="2000"/>
            </a:lvl1pPr>
            <a:lvl2pPr marL="179705" indent="-179705">
              <a:lnSpc>
                <a:spcPts val="2200"/>
              </a:lnSpc>
              <a:spcBef>
                <a:spcPts val="600"/>
              </a:spcBef>
              <a:defRPr sz="1800"/>
            </a:lvl2pPr>
            <a:lvl3pPr marL="179705" indent="-179705">
              <a:lnSpc>
                <a:spcPts val="2200"/>
              </a:lnSpc>
              <a:spcBef>
                <a:spcPts val="600"/>
              </a:spcBef>
              <a:defRPr sz="1600"/>
            </a:lvl3pPr>
            <a:lvl4pPr marL="179705" indent="-179705">
              <a:lnSpc>
                <a:spcPts val="2200"/>
              </a:lnSpc>
              <a:spcBef>
                <a:spcPts val="600"/>
              </a:spcBef>
              <a:defRPr sz="1400"/>
            </a:lvl4pPr>
            <a:lvl5pPr marL="179705" indent="-179705">
              <a:lnSpc>
                <a:spcPts val="2200"/>
              </a:lnSpc>
              <a:spcBef>
                <a:spcPts val="600"/>
              </a:spcBef>
              <a:defRPr sz="1400"/>
            </a:lvl5pPr>
          </a:lstStyle>
          <a:p>
            <a:pPr lvl="0"/>
            <a:r>
              <a:rPr lang="en-US" dirty="0"/>
              <a:t>Click to edit Body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9" name="Footer Placeholder 8"/>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11" name="Date Placeholder 3"/>
          <p:cNvSpPr>
            <a:spLocks noGrp="1"/>
          </p:cNvSpPr>
          <p:nvPr>
            <p:ph type="dt" sz="half" idx="1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2"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Trebuchet MS" panose="020B070302020209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70302020209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70302020209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70302020209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a:solidFill>
                <a:schemeClr val="bg1">
                  <a:lumMod val="50000"/>
                </a:schemeClr>
              </a:solidFill>
              <a:latin typeface="+mn-lt"/>
              <a:ea typeface="+mn-ea"/>
              <a:cs typeface="+mn-cs"/>
              <a:sym typeface="Trebuchet MS" panose="020B070302020209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70302020209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70302020209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70302020209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a:solidFill>
                <a:schemeClr val="bg1">
                  <a:lumMod val="50000"/>
                </a:schemeClr>
              </a:solidFill>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Trebuchet MS" panose="020B070302020209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6" name="TextBox 15"/>
          <p:cNvSpPr txBox="1"/>
          <p:nvPr userDrawn="1"/>
        </p:nvSpPr>
        <p:spPr>
          <a:xfrm>
            <a:off x="11657787" y="661458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800" kern="1200">
              <a:solidFill>
                <a:schemeClr val="bg1"/>
              </a:solidFill>
              <a:latin typeface="+mn-lt"/>
              <a:ea typeface="+mn-ea"/>
              <a:cs typeface="+mn-cs"/>
              <a:sym typeface="Trebuchet MS" panose="020B070302020209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70302020209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963" y="620713"/>
            <a:ext cx="9074355" cy="576039"/>
          </a:xfrm>
          <a:prstGeom prst="rect">
            <a:avLst/>
          </a:prstGeom>
        </p:spPr>
        <p:txBody>
          <a:bodyPr/>
          <a:lstStyle>
            <a:lvl1pPr>
              <a:defRPr>
                <a:solidFill>
                  <a:schemeClr val="accent1"/>
                </a:solidFill>
              </a:defRPr>
            </a:lvl1pPr>
          </a:lstStyle>
          <a:p>
            <a:br>
              <a:rPr lang="en-US" dirty="0"/>
            </a:br>
            <a:r>
              <a:rPr lang="en-US" dirty="0"/>
              <a:t>Click to edit Title custom layout</a:t>
            </a:r>
            <a:endParaRPr lang="id-ID" dirty="0"/>
          </a:p>
        </p:txBody>
      </p:sp>
      <p:sp>
        <p:nvSpPr>
          <p:cNvPr id="7" name="Footer Placeholder 6"/>
          <p:cNvSpPr>
            <a:spLocks noGrp="1"/>
          </p:cNvSpPr>
          <p:nvPr>
            <p:ph type="ftr" sz="quarter" idx="11"/>
          </p:nvPr>
        </p:nvSpPr>
        <p:spPr/>
        <p:txBody>
          <a:body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sp>
        <p:nvSpPr>
          <p:cNvPr id="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10"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70302020209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70302020209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latin typeface="+mj-lt"/>
                <a:ea typeface="+mj-ea"/>
                <a:cs typeface="+mj-cs"/>
                <a:sym typeface="Trebuchet MS" panose="020B070302020209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70302020209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703020202090204" pitchFamily="34" charset="0"/>
              </a:defRPr>
            </a:lvl1pPr>
          </a:lstStyle>
          <a:p>
            <a:r>
              <a:rPr lang="en-US"/>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70302020209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70302020209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703020202090204" pitchFamily="34" charset="0"/>
              </a:defRPr>
            </a:lvl1pPr>
          </a:lstStyle>
          <a:p>
            <a:r>
              <a:rPr lang="en-US"/>
              <a:t>Click to add big statement text</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70302020209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a:latin typeface="+mn-lt"/>
              <a:ea typeface="+mn-ea"/>
              <a:cs typeface="+mn-cs"/>
              <a:sym typeface="Trebuchet MS" panose="020B0703020202090204" pitchFamily="34" charset="0"/>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703020202090204" pitchFamily="34" charset="0"/>
              </a:defRPr>
            </a:lvl1pPr>
          </a:lstStyle>
          <a:p>
            <a:endParaRPr lang="en-US"/>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703020202090204" pitchFamily="34" charset="0"/>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703020202090204" pitchFamily="34" charset="0"/>
            </a:endParaRPr>
          </a:p>
        </p:txBody>
      </p:sp>
      <p:sp>
        <p:nvSpPr>
          <p:cNvPr id="20" name="TextBox 19"/>
          <p:cNvSpPr txBox="1"/>
          <p:nvPr userDrawn="1"/>
        </p:nvSpPr>
        <p:spPr>
          <a:xfrm>
            <a:off x="630000" y="2577934"/>
            <a:ext cx="301744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j-lt"/>
                <a:ea typeface="+mn-ea"/>
                <a:cs typeface="+mn-cs"/>
                <a:sym typeface="Trebuchet MS" panose="020B070302020209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a:solidFill>
                <a:schemeClr val="bg1"/>
              </a:solidFill>
              <a:latin typeface="+mn-lt"/>
              <a:ea typeface="+mn-ea"/>
              <a:cs typeface="+mn-cs"/>
              <a:sym typeface="Trebuchet MS" panose="020B070302020209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0.xml"/><Relationship Id="rId21" Type="http://schemas.openxmlformats.org/officeDocument/2006/relationships/slideLayout" Target="../slideLayouts/slideLayout45.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63" Type="http://schemas.openxmlformats.org/officeDocument/2006/relationships/slideLayout" Target="../slideLayouts/slideLayout87.xml"/><Relationship Id="rId68" Type="http://schemas.openxmlformats.org/officeDocument/2006/relationships/slideLayout" Target="../slideLayouts/slideLayout92.xml"/><Relationship Id="rId84" Type="http://schemas.openxmlformats.org/officeDocument/2006/relationships/slideLayout" Target="../slideLayouts/slideLayout108.xml"/><Relationship Id="rId89" Type="http://schemas.openxmlformats.org/officeDocument/2006/relationships/slideLayout" Target="../slideLayouts/slideLayout113.xml"/><Relationship Id="rId16" Type="http://schemas.openxmlformats.org/officeDocument/2006/relationships/slideLayout" Target="../slideLayouts/slideLayout40.xml"/><Relationship Id="rId11" Type="http://schemas.openxmlformats.org/officeDocument/2006/relationships/slideLayout" Target="../slideLayouts/slideLayout35.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53" Type="http://schemas.openxmlformats.org/officeDocument/2006/relationships/slideLayout" Target="../slideLayouts/slideLayout77.xml"/><Relationship Id="rId58" Type="http://schemas.openxmlformats.org/officeDocument/2006/relationships/slideLayout" Target="../slideLayouts/slideLayout82.xml"/><Relationship Id="rId74" Type="http://schemas.openxmlformats.org/officeDocument/2006/relationships/slideLayout" Target="../slideLayouts/slideLayout98.xml"/><Relationship Id="rId79" Type="http://schemas.openxmlformats.org/officeDocument/2006/relationships/slideLayout" Target="../slideLayouts/slideLayout103.xml"/><Relationship Id="rId5" Type="http://schemas.openxmlformats.org/officeDocument/2006/relationships/slideLayout" Target="../slideLayouts/slideLayout29.xml"/><Relationship Id="rId90" Type="http://schemas.openxmlformats.org/officeDocument/2006/relationships/theme" Target="../theme/theme2.xml"/><Relationship Id="rId95" Type="http://schemas.openxmlformats.org/officeDocument/2006/relationships/image" Target="../media/image4.svg"/><Relationship Id="rId22" Type="http://schemas.openxmlformats.org/officeDocument/2006/relationships/slideLayout" Target="../slideLayouts/slideLayout46.xml"/><Relationship Id="rId27" Type="http://schemas.openxmlformats.org/officeDocument/2006/relationships/slideLayout" Target="../slideLayouts/slideLayout51.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64" Type="http://schemas.openxmlformats.org/officeDocument/2006/relationships/slideLayout" Target="../slideLayouts/slideLayout88.xml"/><Relationship Id="rId69" Type="http://schemas.openxmlformats.org/officeDocument/2006/relationships/slideLayout" Target="../slideLayouts/slideLayout93.xml"/><Relationship Id="rId8" Type="http://schemas.openxmlformats.org/officeDocument/2006/relationships/slideLayout" Target="../slideLayouts/slideLayout32.xml"/><Relationship Id="rId51" Type="http://schemas.openxmlformats.org/officeDocument/2006/relationships/slideLayout" Target="../slideLayouts/slideLayout75.xml"/><Relationship Id="rId72" Type="http://schemas.openxmlformats.org/officeDocument/2006/relationships/slideLayout" Target="../slideLayouts/slideLayout96.xml"/><Relationship Id="rId80" Type="http://schemas.openxmlformats.org/officeDocument/2006/relationships/slideLayout" Target="../slideLayouts/slideLayout104.xml"/><Relationship Id="rId85" Type="http://schemas.openxmlformats.org/officeDocument/2006/relationships/slideLayout" Target="../slideLayouts/slideLayout109.xml"/><Relationship Id="rId93" Type="http://schemas.openxmlformats.org/officeDocument/2006/relationships/image" Target="../media/image19.emf"/><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59" Type="http://schemas.openxmlformats.org/officeDocument/2006/relationships/slideLayout" Target="../slideLayouts/slideLayout83.xml"/><Relationship Id="rId67" Type="http://schemas.openxmlformats.org/officeDocument/2006/relationships/slideLayout" Target="../slideLayouts/slideLayout91.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slideLayout" Target="../slideLayouts/slideLayout78.xml"/><Relationship Id="rId62" Type="http://schemas.openxmlformats.org/officeDocument/2006/relationships/slideLayout" Target="../slideLayouts/slideLayout86.xml"/><Relationship Id="rId70" Type="http://schemas.openxmlformats.org/officeDocument/2006/relationships/slideLayout" Target="../slideLayouts/slideLayout94.xml"/><Relationship Id="rId75" Type="http://schemas.openxmlformats.org/officeDocument/2006/relationships/slideLayout" Target="../slideLayouts/slideLayout99.xml"/><Relationship Id="rId83" Type="http://schemas.openxmlformats.org/officeDocument/2006/relationships/slideLayout" Target="../slideLayouts/slideLayout107.xml"/><Relationship Id="rId88" Type="http://schemas.openxmlformats.org/officeDocument/2006/relationships/slideLayout" Target="../slideLayouts/slideLayout112.xml"/><Relationship Id="rId91" Type="http://schemas.openxmlformats.org/officeDocument/2006/relationships/tags" Target="../tags/tag3.xml"/><Relationship Id="rId96" Type="http://schemas.openxmlformats.org/officeDocument/2006/relationships/image" Target="../media/image2.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 Id="rId57" Type="http://schemas.openxmlformats.org/officeDocument/2006/relationships/slideLayout" Target="../slideLayouts/slideLayout81.xml"/><Relationship Id="rId10" Type="http://schemas.openxmlformats.org/officeDocument/2006/relationships/slideLayout" Target="../slideLayouts/slideLayout34.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slideLayout" Target="../slideLayouts/slideLayout76.xml"/><Relationship Id="rId60" Type="http://schemas.openxmlformats.org/officeDocument/2006/relationships/slideLayout" Target="../slideLayouts/slideLayout84.xml"/><Relationship Id="rId65" Type="http://schemas.openxmlformats.org/officeDocument/2006/relationships/slideLayout" Target="../slideLayouts/slideLayout89.xml"/><Relationship Id="rId73" Type="http://schemas.openxmlformats.org/officeDocument/2006/relationships/slideLayout" Target="../slideLayouts/slideLayout97.xml"/><Relationship Id="rId78" Type="http://schemas.openxmlformats.org/officeDocument/2006/relationships/slideLayout" Target="../slideLayouts/slideLayout102.xml"/><Relationship Id="rId81" Type="http://schemas.openxmlformats.org/officeDocument/2006/relationships/slideLayout" Target="../slideLayouts/slideLayout105.xml"/><Relationship Id="rId86" Type="http://schemas.openxmlformats.org/officeDocument/2006/relationships/slideLayout" Target="../slideLayouts/slideLayout110.xml"/><Relationship Id="rId94" Type="http://schemas.openxmlformats.org/officeDocument/2006/relationships/image" Target="../media/image3.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9" Type="http://schemas.openxmlformats.org/officeDocument/2006/relationships/slideLayout" Target="../slideLayouts/slideLayout63.xml"/><Relationship Id="rId34" Type="http://schemas.openxmlformats.org/officeDocument/2006/relationships/slideLayout" Target="../slideLayouts/slideLayout58.xml"/><Relationship Id="rId50" Type="http://schemas.openxmlformats.org/officeDocument/2006/relationships/slideLayout" Target="../slideLayouts/slideLayout74.xml"/><Relationship Id="rId55" Type="http://schemas.openxmlformats.org/officeDocument/2006/relationships/slideLayout" Target="../slideLayouts/slideLayout79.xml"/><Relationship Id="rId76" Type="http://schemas.openxmlformats.org/officeDocument/2006/relationships/slideLayout" Target="../slideLayouts/slideLayout100.xml"/><Relationship Id="rId7" Type="http://schemas.openxmlformats.org/officeDocument/2006/relationships/slideLayout" Target="../slideLayouts/slideLayout31.xml"/><Relationship Id="rId71" Type="http://schemas.openxmlformats.org/officeDocument/2006/relationships/slideLayout" Target="../slideLayouts/slideLayout95.xml"/><Relationship Id="rId92" Type="http://schemas.openxmlformats.org/officeDocument/2006/relationships/oleObject" Target="../embeddings/oleObject2.bin"/><Relationship Id="rId2" Type="http://schemas.openxmlformats.org/officeDocument/2006/relationships/slideLayout" Target="../slideLayouts/slideLayout26.xml"/><Relationship Id="rId29" Type="http://schemas.openxmlformats.org/officeDocument/2006/relationships/slideLayout" Target="../slideLayouts/slideLayout53.xml"/><Relationship Id="rId24" Type="http://schemas.openxmlformats.org/officeDocument/2006/relationships/slideLayout" Target="../slideLayouts/slideLayout48.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66" Type="http://schemas.openxmlformats.org/officeDocument/2006/relationships/slideLayout" Target="../slideLayouts/slideLayout90.xml"/><Relationship Id="rId87" Type="http://schemas.openxmlformats.org/officeDocument/2006/relationships/slideLayout" Target="../slideLayouts/slideLayout111.xml"/><Relationship Id="rId61" Type="http://schemas.openxmlformats.org/officeDocument/2006/relationships/slideLayout" Target="../slideLayouts/slideLayout85.xml"/><Relationship Id="rId82" Type="http://schemas.openxmlformats.org/officeDocument/2006/relationships/slideLayout" Target="../slideLayouts/slideLayout106.xml"/><Relationship Id="rId19" Type="http://schemas.openxmlformats.org/officeDocument/2006/relationships/slideLayout" Target="../slideLayouts/slideLayout43.xml"/><Relationship Id="rId14" Type="http://schemas.openxmlformats.org/officeDocument/2006/relationships/slideLayout" Target="../slideLayouts/slideLayout38.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56" Type="http://schemas.openxmlformats.org/officeDocument/2006/relationships/slideLayout" Target="../slideLayouts/slideLayout80.xml"/><Relationship Id="rId77"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image" Target="../media/image4.svg"/><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oleObject" Target="../embeddings/oleObject92.bin"/><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image" Target="../media/image3.png"/><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tags" Target="../tags/tag9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image" Target="../media/image2.emf"/><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theme" Target="../theme/theme3.xml"/><Relationship Id="rId30" Type="http://schemas.openxmlformats.org/officeDocument/2006/relationships/image" Target="../media/image1.emf"/><Relationship Id="rId8" Type="http://schemas.openxmlformats.org/officeDocument/2006/relationships/slideLayout" Target="../slideLayouts/slideLayout12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65.xml"/><Relationship Id="rId21" Type="http://schemas.openxmlformats.org/officeDocument/2006/relationships/slideLayout" Target="../slideLayouts/slideLayout160.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63" Type="http://schemas.openxmlformats.org/officeDocument/2006/relationships/slideLayout" Target="../slideLayouts/slideLayout202.xml"/><Relationship Id="rId68" Type="http://schemas.openxmlformats.org/officeDocument/2006/relationships/slideLayout" Target="../slideLayouts/slideLayout207.xml"/><Relationship Id="rId16" Type="http://schemas.openxmlformats.org/officeDocument/2006/relationships/slideLayout" Target="../slideLayouts/slideLayout15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3" Type="http://schemas.openxmlformats.org/officeDocument/2006/relationships/slideLayout" Target="../slideLayouts/slideLayout192.xml"/><Relationship Id="rId58" Type="http://schemas.openxmlformats.org/officeDocument/2006/relationships/slideLayout" Target="../slideLayouts/slideLayout197.xml"/><Relationship Id="rId66" Type="http://schemas.openxmlformats.org/officeDocument/2006/relationships/slideLayout" Target="../slideLayouts/slideLayout205.xml"/><Relationship Id="rId74" Type="http://schemas.openxmlformats.org/officeDocument/2006/relationships/tags" Target="../tags/tag99.xml"/><Relationship Id="rId79" Type="http://schemas.openxmlformats.org/officeDocument/2006/relationships/image" Target="../media/image6.svg"/><Relationship Id="rId5" Type="http://schemas.openxmlformats.org/officeDocument/2006/relationships/slideLayout" Target="../slideLayouts/slideLayout144.xml"/><Relationship Id="rId61" Type="http://schemas.openxmlformats.org/officeDocument/2006/relationships/slideLayout" Target="../slideLayouts/slideLayout200.xml"/><Relationship Id="rId19" Type="http://schemas.openxmlformats.org/officeDocument/2006/relationships/slideLayout" Target="../slideLayouts/slideLayout15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56" Type="http://schemas.openxmlformats.org/officeDocument/2006/relationships/slideLayout" Target="../slideLayouts/slideLayout195.xml"/><Relationship Id="rId64" Type="http://schemas.openxmlformats.org/officeDocument/2006/relationships/slideLayout" Target="../slideLayouts/slideLayout203.xml"/><Relationship Id="rId69" Type="http://schemas.openxmlformats.org/officeDocument/2006/relationships/slideLayout" Target="../slideLayouts/slideLayout208.xml"/><Relationship Id="rId77" Type="http://schemas.openxmlformats.org/officeDocument/2006/relationships/image" Target="../media/image19.emf"/><Relationship Id="rId8" Type="http://schemas.openxmlformats.org/officeDocument/2006/relationships/slideLayout" Target="../slideLayouts/slideLayout147.xml"/><Relationship Id="rId51" Type="http://schemas.openxmlformats.org/officeDocument/2006/relationships/slideLayout" Target="../slideLayouts/slideLayout190.xml"/><Relationship Id="rId72" Type="http://schemas.openxmlformats.org/officeDocument/2006/relationships/slideLayout" Target="../slideLayouts/slideLayout211.xml"/><Relationship Id="rId80" Type="http://schemas.openxmlformats.org/officeDocument/2006/relationships/image" Target="../media/image2.emf"/><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59" Type="http://schemas.openxmlformats.org/officeDocument/2006/relationships/slideLayout" Target="../slideLayouts/slideLayout198.xml"/><Relationship Id="rId67" Type="http://schemas.openxmlformats.org/officeDocument/2006/relationships/slideLayout" Target="../slideLayouts/slideLayout206.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54" Type="http://schemas.openxmlformats.org/officeDocument/2006/relationships/slideLayout" Target="../slideLayouts/slideLayout193.xml"/><Relationship Id="rId62" Type="http://schemas.openxmlformats.org/officeDocument/2006/relationships/slideLayout" Target="../slideLayouts/slideLayout201.xml"/><Relationship Id="rId70" Type="http://schemas.openxmlformats.org/officeDocument/2006/relationships/slideLayout" Target="../slideLayouts/slideLayout209.xml"/><Relationship Id="rId75" Type="http://schemas.openxmlformats.org/officeDocument/2006/relationships/tags" Target="../tags/tag100.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57" Type="http://schemas.openxmlformats.org/officeDocument/2006/relationships/slideLayout" Target="../slideLayouts/slideLayout196.xml"/><Relationship Id="rId10" Type="http://schemas.openxmlformats.org/officeDocument/2006/relationships/slideLayout" Target="../slideLayouts/slideLayout149.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slideLayout" Target="../slideLayouts/slideLayout191.xml"/><Relationship Id="rId60" Type="http://schemas.openxmlformats.org/officeDocument/2006/relationships/slideLayout" Target="../slideLayouts/slideLayout199.xml"/><Relationship Id="rId65" Type="http://schemas.openxmlformats.org/officeDocument/2006/relationships/slideLayout" Target="../slideLayouts/slideLayout204.xml"/><Relationship Id="rId73" Type="http://schemas.openxmlformats.org/officeDocument/2006/relationships/theme" Target="../theme/theme4.xml"/><Relationship Id="rId78" Type="http://schemas.openxmlformats.org/officeDocument/2006/relationships/image" Target="../media/image3.pn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39" Type="http://schemas.openxmlformats.org/officeDocument/2006/relationships/slideLayout" Target="../slideLayouts/slideLayout178.xml"/><Relationship Id="rId34" Type="http://schemas.openxmlformats.org/officeDocument/2006/relationships/slideLayout" Target="../slideLayouts/slideLayout173.xml"/><Relationship Id="rId50" Type="http://schemas.openxmlformats.org/officeDocument/2006/relationships/slideLayout" Target="../slideLayouts/slideLayout189.xml"/><Relationship Id="rId55" Type="http://schemas.openxmlformats.org/officeDocument/2006/relationships/slideLayout" Target="../slideLayouts/slideLayout194.xml"/><Relationship Id="rId76" Type="http://schemas.openxmlformats.org/officeDocument/2006/relationships/oleObject" Target="../embeddings/oleObject93.bin"/><Relationship Id="rId7" Type="http://schemas.openxmlformats.org/officeDocument/2006/relationships/slideLayout" Target="../slideLayouts/slideLayout146.xml"/><Relationship Id="rId71" Type="http://schemas.openxmlformats.org/officeDocument/2006/relationships/slideLayout" Target="../slideLayouts/slideLayout210.xml"/><Relationship Id="rId2" Type="http://schemas.openxmlformats.org/officeDocument/2006/relationships/slideLayout" Target="../slideLayouts/slideLayout141.xml"/><Relationship Id="rId29" Type="http://schemas.openxmlformats.org/officeDocument/2006/relationships/slideLayout" Target="../slideLayouts/slideLayout1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image" Target="../media/image3.png"/><Relationship Id="rId3" Type="http://schemas.openxmlformats.org/officeDocument/2006/relationships/slideLayout" Target="../slideLayouts/slideLayout214.xml"/><Relationship Id="rId21" Type="http://schemas.openxmlformats.org/officeDocument/2006/relationships/theme" Target="../theme/theme5.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image" Target="../media/image2.emf"/><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image" Target="../media/image80.emf"/><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oleObject" Target="../embeddings/oleObject166.bin"/><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tags" Target="../tags/tag178.xml"/><Relationship Id="rId27" Type="http://schemas.openxmlformats.org/officeDocument/2006/relationships/image" Target="../media/image6.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tags" Target="../tags/tag180.xml"/><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theme" Target="../theme/theme6.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image" Target="../media/image1.emf"/><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10" Type="http://schemas.openxmlformats.org/officeDocument/2006/relationships/slideLayout" Target="../slideLayouts/slideLayout241.xml"/><Relationship Id="rId19" Type="http://schemas.openxmlformats.org/officeDocument/2006/relationships/oleObject" Target="../embeddings/oleObject168.bin"/><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26" Type="http://schemas.openxmlformats.org/officeDocument/2006/relationships/tags" Target="../tags/tag181.xml"/><Relationship Id="rId3" Type="http://schemas.openxmlformats.org/officeDocument/2006/relationships/slideLayout" Target="../slideLayouts/slideLayout250.xml"/><Relationship Id="rId21" Type="http://schemas.openxmlformats.org/officeDocument/2006/relationships/slideLayout" Target="../slideLayouts/slideLayout268.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theme" Target="../theme/theme7.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slideLayout" Target="../slideLayouts/slideLayout267.xml"/><Relationship Id="rId29" Type="http://schemas.openxmlformats.org/officeDocument/2006/relationships/image" Target="../media/image2.emf"/><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24" Type="http://schemas.openxmlformats.org/officeDocument/2006/relationships/slideLayout" Target="../slideLayouts/slideLayout271.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image" Target="../media/image1.emf"/><Relationship Id="rId10" Type="http://schemas.openxmlformats.org/officeDocument/2006/relationships/slideLayout" Target="../slideLayouts/slideLayout257.xml"/><Relationship Id="rId19" Type="http://schemas.openxmlformats.org/officeDocument/2006/relationships/slideLayout" Target="../slideLayouts/slideLayout266.xml"/><Relationship Id="rId31" Type="http://schemas.openxmlformats.org/officeDocument/2006/relationships/image" Target="../media/image4.svg"/><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 Id="rId22" Type="http://schemas.openxmlformats.org/officeDocument/2006/relationships/slideLayout" Target="../slideLayouts/slideLayout269.xml"/><Relationship Id="rId27" Type="http://schemas.openxmlformats.org/officeDocument/2006/relationships/oleObject" Target="../embeddings/oleObject169.bin"/><Relationship Id="rId30" Type="http://schemas.openxmlformats.org/officeDocument/2006/relationships/image" Target="../media/image3.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84.xml"/><Relationship Id="rId18" Type="http://schemas.openxmlformats.org/officeDocument/2006/relationships/slideLayout" Target="../slideLayouts/slideLayout289.xml"/><Relationship Id="rId26" Type="http://schemas.openxmlformats.org/officeDocument/2006/relationships/slideLayout" Target="../slideLayouts/slideLayout297.xml"/><Relationship Id="rId21" Type="http://schemas.openxmlformats.org/officeDocument/2006/relationships/slideLayout" Target="../slideLayouts/slideLayout292.xml"/><Relationship Id="rId34" Type="http://schemas.openxmlformats.org/officeDocument/2006/relationships/oleObject" Target="../embeddings/oleObject170.bin"/><Relationship Id="rId7" Type="http://schemas.openxmlformats.org/officeDocument/2006/relationships/slideLayout" Target="../slideLayouts/slideLayout278.xml"/><Relationship Id="rId12" Type="http://schemas.openxmlformats.org/officeDocument/2006/relationships/slideLayout" Target="../slideLayouts/slideLayout283.xml"/><Relationship Id="rId17" Type="http://schemas.openxmlformats.org/officeDocument/2006/relationships/slideLayout" Target="../slideLayouts/slideLayout288.xml"/><Relationship Id="rId25" Type="http://schemas.openxmlformats.org/officeDocument/2006/relationships/slideLayout" Target="../slideLayouts/slideLayout296.xml"/><Relationship Id="rId33" Type="http://schemas.openxmlformats.org/officeDocument/2006/relationships/tags" Target="../tags/tag182.xml"/><Relationship Id="rId38" Type="http://schemas.openxmlformats.org/officeDocument/2006/relationships/image" Target="../media/image4.svg"/><Relationship Id="rId2" Type="http://schemas.openxmlformats.org/officeDocument/2006/relationships/slideLayout" Target="../slideLayouts/slideLayout273.xml"/><Relationship Id="rId16" Type="http://schemas.openxmlformats.org/officeDocument/2006/relationships/slideLayout" Target="../slideLayouts/slideLayout287.xml"/><Relationship Id="rId20" Type="http://schemas.openxmlformats.org/officeDocument/2006/relationships/slideLayout" Target="../slideLayouts/slideLayout291.xml"/><Relationship Id="rId29" Type="http://schemas.openxmlformats.org/officeDocument/2006/relationships/slideLayout" Target="../slideLayouts/slideLayout300.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24" Type="http://schemas.openxmlformats.org/officeDocument/2006/relationships/slideLayout" Target="../slideLayouts/slideLayout295.xml"/><Relationship Id="rId32" Type="http://schemas.openxmlformats.org/officeDocument/2006/relationships/theme" Target="../theme/theme8.xml"/><Relationship Id="rId37" Type="http://schemas.openxmlformats.org/officeDocument/2006/relationships/image" Target="../media/image3.png"/><Relationship Id="rId5" Type="http://schemas.openxmlformats.org/officeDocument/2006/relationships/slideLayout" Target="../slideLayouts/slideLayout276.xml"/><Relationship Id="rId15" Type="http://schemas.openxmlformats.org/officeDocument/2006/relationships/slideLayout" Target="../slideLayouts/slideLayout286.xml"/><Relationship Id="rId23" Type="http://schemas.openxmlformats.org/officeDocument/2006/relationships/slideLayout" Target="../slideLayouts/slideLayout294.xml"/><Relationship Id="rId28" Type="http://schemas.openxmlformats.org/officeDocument/2006/relationships/slideLayout" Target="../slideLayouts/slideLayout299.xml"/><Relationship Id="rId36" Type="http://schemas.openxmlformats.org/officeDocument/2006/relationships/image" Target="../media/image2.emf"/><Relationship Id="rId10" Type="http://schemas.openxmlformats.org/officeDocument/2006/relationships/slideLayout" Target="../slideLayouts/slideLayout281.xml"/><Relationship Id="rId19" Type="http://schemas.openxmlformats.org/officeDocument/2006/relationships/slideLayout" Target="../slideLayouts/slideLayout290.xml"/><Relationship Id="rId31" Type="http://schemas.openxmlformats.org/officeDocument/2006/relationships/slideLayout" Target="../slideLayouts/slideLayout302.xml"/><Relationship Id="rId4" Type="http://schemas.openxmlformats.org/officeDocument/2006/relationships/slideLayout" Target="../slideLayouts/slideLayout275.xml"/><Relationship Id="rId9" Type="http://schemas.openxmlformats.org/officeDocument/2006/relationships/slideLayout" Target="../slideLayouts/slideLayout280.xml"/><Relationship Id="rId14" Type="http://schemas.openxmlformats.org/officeDocument/2006/relationships/slideLayout" Target="../slideLayouts/slideLayout285.xml"/><Relationship Id="rId22" Type="http://schemas.openxmlformats.org/officeDocument/2006/relationships/slideLayout" Target="../slideLayouts/slideLayout293.xml"/><Relationship Id="rId27" Type="http://schemas.openxmlformats.org/officeDocument/2006/relationships/slideLayout" Target="../slideLayouts/slideLayout298.xml"/><Relationship Id="rId30" Type="http://schemas.openxmlformats.org/officeDocument/2006/relationships/slideLayout" Target="../slideLayouts/slideLayout301.xml"/><Relationship Id="rId35" Type="http://schemas.openxmlformats.org/officeDocument/2006/relationships/image" Target="../media/image108.emf"/><Relationship Id="rId8" Type="http://schemas.openxmlformats.org/officeDocument/2006/relationships/slideLayout" Target="../slideLayouts/slideLayout279.xml"/><Relationship Id="rId3" Type="http://schemas.openxmlformats.org/officeDocument/2006/relationships/slideLayout" Target="../slideLayouts/slideLayout2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tags" Target="../tags/tag183.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theme" Target="../theme/theme9.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29" Type="http://schemas.openxmlformats.org/officeDocument/2006/relationships/image" Target="../media/image2.emf"/><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image" Target="../media/image1.emf"/><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31" Type="http://schemas.openxmlformats.org/officeDocument/2006/relationships/image" Target="../media/image4.svg"/><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oleObject" Target="../embeddings/oleObject17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0" name="think-cell data - do not delete"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334963" y="623455"/>
            <a:ext cx="11485562" cy="645305"/>
          </a:xfrm>
          <a:prstGeom prst="rect">
            <a:avLst/>
          </a:prstGeom>
        </p:spPr>
        <p:txBody>
          <a:bodyPr vert="horz" lIns="0" tIns="0" rIns="91440" bIns="45720" rtlCol="0" anchor="t">
            <a:noAutofit/>
          </a:bodyPr>
          <a:lstStyle/>
          <a:p>
            <a:br>
              <a:rPr lang="en-US"/>
            </a:br>
            <a:r>
              <a:rPr lang="en-US"/>
              <a:t>Click to edit Title text</a:t>
            </a:r>
            <a:endParaRPr lang="id-ID"/>
          </a:p>
        </p:txBody>
      </p:sp>
      <p:sp>
        <p:nvSpPr>
          <p:cNvPr id="18" name="Text Placeholder 2"/>
          <p:cNvSpPr>
            <a:spLocks noGrp="1"/>
          </p:cNvSpPr>
          <p:nvPr>
            <p:ph type="body" idx="1"/>
          </p:nvPr>
        </p:nvSpPr>
        <p:spPr>
          <a:xfrm>
            <a:off x="334963" y="1695010"/>
            <a:ext cx="11485562" cy="3991083"/>
          </a:xfrm>
          <a:prstGeom prst="rect">
            <a:avLst/>
          </a:prstGeom>
        </p:spPr>
        <p:txBody>
          <a:bodyPr vert="horz" lIns="0" tIns="0" rIns="91440" bIns="45720" rtlCol="0">
            <a:noAutofit/>
          </a:body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2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pic>
        <p:nvPicPr>
          <p:cNvPr id="47" name="Picture 46"/>
          <p:cNvPicPr>
            <a:picLocks noChangeAspect="1"/>
          </p:cNvPicPr>
          <p:nvPr userDrawn="1"/>
        </p:nvPicPr>
        <p:blipFill>
          <a:blip r:embed="rId29"/>
          <a:stretch>
            <a:fillRect/>
          </a:stretch>
        </p:blipFill>
        <p:spPr>
          <a:xfrm>
            <a:off x="10452782" y="255357"/>
            <a:ext cx="1356866" cy="391616"/>
          </a:xfrm>
          <a:prstGeom prst="rect">
            <a:avLst/>
          </a:prstGeom>
        </p:spPr>
      </p:pic>
      <p:sp>
        <p:nvSpPr>
          <p:cNvPr id="59" name="Footer Placeholder 58"/>
          <p:cNvSpPr>
            <a:spLocks noGrp="1"/>
          </p:cNvSpPr>
          <p:nvPr>
            <p:ph type="ftr" sz="quarter" idx="3"/>
          </p:nvPr>
        </p:nvSpPr>
        <p:spPr>
          <a:xfrm>
            <a:off x="334963" y="6396327"/>
            <a:ext cx="6553125" cy="365125"/>
          </a:xfrm>
          <a:prstGeom prst="rect">
            <a:avLst/>
          </a:prstGeom>
        </p:spPr>
        <p:txBody>
          <a:bodyPr vert="horz" lIns="0" tIns="45720" rIns="0" bIns="45720" rtlCol="0" anchor="b"/>
          <a:lstStyle>
            <a:lvl1pPr algn="r">
              <a:defRPr sz="900" b="0" i="0">
                <a:solidFill>
                  <a:schemeClr val="tx1">
                    <a:lumMod val="65000"/>
                    <a:lumOff val="35000"/>
                  </a:schemeClr>
                </a:solidFill>
                <a:latin typeface="Gotham Book" charset="0"/>
                <a:ea typeface="Gotham Book" charset="0"/>
                <a:cs typeface="Gotham Book" charset="0"/>
              </a:defRPr>
            </a:lvl1p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pic>
        <p:nvPicPr>
          <p:cNvPr id="9" name="Graphic 8"/>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334963" y="298363"/>
            <a:ext cx="1356866" cy="24149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Lst>
  <p:hf hdr="0"/>
  <p:txStyles>
    <p:titleStyle>
      <a:lvl1pPr algn="l" defTabSz="914400" rtl="0" eaLnBrk="1" latinLnBrk="0" hangingPunct="1">
        <a:lnSpc>
          <a:spcPts val="2000"/>
        </a:lnSpc>
        <a:spcBef>
          <a:spcPct val="0"/>
        </a:spcBef>
        <a:buNone/>
        <a:defRPr sz="1600" b="0" i="0" kern="1200">
          <a:solidFill>
            <a:schemeClr val="accent1"/>
          </a:solidFill>
          <a:latin typeface="Gotham Medium" charset="0"/>
          <a:ea typeface="Gotham Medium" charset="0"/>
          <a:cs typeface="Gotham Medium" charset="0"/>
        </a:defRPr>
      </a:lvl1pPr>
    </p:titleStyle>
    <p:bodyStyle>
      <a:lvl1pPr marL="228600" indent="-228600" algn="l" defTabSz="914400" rtl="0" eaLnBrk="1" latinLnBrk="0" hangingPunct="1">
        <a:lnSpc>
          <a:spcPct val="90000"/>
        </a:lnSpc>
        <a:spcBef>
          <a:spcPts val="1000"/>
        </a:spcBef>
        <a:buFont typeface="Arial" panose="020B0604020202090204"/>
        <a:buChar char="•"/>
        <a:defRPr sz="2800" b="0" i="0" kern="1200">
          <a:solidFill>
            <a:schemeClr val="tx1">
              <a:lumMod val="65000"/>
              <a:lumOff val="35000"/>
            </a:schemeClr>
          </a:solidFill>
          <a:latin typeface="Gotham Book" charset="0"/>
          <a:ea typeface="Gotham Book" charset="0"/>
          <a:cs typeface="Gotham Book" charset="0"/>
        </a:defRPr>
      </a:lvl1pPr>
      <a:lvl2pPr marL="685800" indent="-228600" algn="l" defTabSz="914400" rtl="0" eaLnBrk="1" latinLnBrk="0" hangingPunct="1">
        <a:lnSpc>
          <a:spcPct val="90000"/>
        </a:lnSpc>
        <a:spcBef>
          <a:spcPts val="500"/>
        </a:spcBef>
        <a:buFont typeface="Arial" panose="020B0604020202090204"/>
        <a:buChar char="•"/>
        <a:defRPr sz="2400" b="0" i="0" kern="1200">
          <a:solidFill>
            <a:schemeClr val="tx1">
              <a:lumMod val="65000"/>
              <a:lumOff val="35000"/>
            </a:schemeClr>
          </a:solidFill>
          <a:latin typeface="Gotham Book" charset="0"/>
          <a:ea typeface="Gotham Book" charset="0"/>
          <a:cs typeface="Gotham Book" charset="0"/>
        </a:defRPr>
      </a:lvl2pPr>
      <a:lvl3pPr marL="1143000" indent="-228600" algn="l" defTabSz="914400" rtl="0" eaLnBrk="1" latinLnBrk="0" hangingPunct="1">
        <a:lnSpc>
          <a:spcPct val="90000"/>
        </a:lnSpc>
        <a:spcBef>
          <a:spcPts val="500"/>
        </a:spcBef>
        <a:buFont typeface="Arial" panose="020B0604020202090204"/>
        <a:buChar char="•"/>
        <a:defRPr sz="2000" b="0" i="0" kern="1200">
          <a:solidFill>
            <a:schemeClr val="tx1">
              <a:lumMod val="65000"/>
              <a:lumOff val="35000"/>
            </a:schemeClr>
          </a:solidFill>
          <a:latin typeface="Gotham Book" charset="0"/>
          <a:ea typeface="Gotham Book" charset="0"/>
          <a:cs typeface="Gotham Book" charset="0"/>
        </a:defRPr>
      </a:lvl3pPr>
      <a:lvl4pPr marL="16002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4pPr>
      <a:lvl5pPr marL="20574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2" imgW="0" imgH="0" progId="TCLayout.ActiveDocument.1">
                  <p:embed/>
                </p:oleObj>
              </mc:Choice>
              <mc:Fallback>
                <p:oleObj name="think-cell Slide" r:id="rId92" imgW="0" imgH="0" progId="TCLayout.ActiveDocument.1">
                  <p:embed/>
                  <p:pic>
                    <p:nvPicPr>
                      <p:cNvPr id="0" name="Object 1" hidden="1"/>
                      <p:cNvPicPr/>
                      <p:nvPr/>
                    </p:nvPicPr>
                    <p:blipFill>
                      <a:blip r:embed="rId93"/>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334962" y="1825625"/>
            <a:ext cx="1148556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0" name="Graphic 9"/>
          <p:cNvPicPr>
            <a:picLocks noChangeAspect="1"/>
          </p:cNvPicPr>
          <p:nvPr userDrawn="1"/>
        </p:nvPicPr>
        <p:blipFill>
          <a:blip r:embed="rId94">
            <a:extLst>
              <a:ext uri="{96DAC541-7B7A-43D3-8B79-37D633B846F1}">
                <asvg:svgBlip xmlns:asvg="http://schemas.microsoft.com/office/drawing/2016/SVG/main" r:embed="rId95"/>
              </a:ext>
            </a:extLst>
          </a:blip>
          <a:stretch>
            <a:fillRect/>
          </a:stretch>
        </p:blipFill>
        <p:spPr>
          <a:xfrm>
            <a:off x="334963" y="298363"/>
            <a:ext cx="1356866" cy="241494"/>
          </a:xfrm>
          <a:prstGeom prst="rect">
            <a:avLst/>
          </a:prstGeom>
        </p:spPr>
      </p:pic>
      <p:pic>
        <p:nvPicPr>
          <p:cNvPr id="13" name="Picture 12"/>
          <p:cNvPicPr>
            <a:picLocks noChangeAspect="1"/>
          </p:cNvPicPr>
          <p:nvPr userDrawn="1"/>
        </p:nvPicPr>
        <p:blipFill>
          <a:blip r:embed="rId96"/>
          <a:stretch>
            <a:fillRect/>
          </a:stretch>
        </p:blipFill>
        <p:spPr>
          <a:xfrm>
            <a:off x="10452782" y="305201"/>
            <a:ext cx="1356866" cy="391616"/>
          </a:xfrm>
          <a:prstGeom prst="rect">
            <a:avLst/>
          </a:prstGeom>
        </p:spPr>
      </p:pic>
      <p:sp>
        <p:nvSpPr>
          <p:cNvPr id="9" name="Title Placeholder 1"/>
          <p:cNvSpPr>
            <a:spLocks noGrp="1"/>
          </p:cNvSpPr>
          <p:nvPr>
            <p:ph type="title"/>
          </p:nvPr>
        </p:nvSpPr>
        <p:spPr>
          <a:xfrm>
            <a:off x="334962" y="623454"/>
            <a:ext cx="11485562" cy="649224"/>
          </a:xfrm>
          <a:prstGeom prst="rect">
            <a:avLst/>
          </a:prstGeom>
        </p:spPr>
        <p:txBody>
          <a:bodyPr vert="horz" wrap="square" lIns="0" tIns="0" rIns="0" bIns="0" rtlCol="0" anchor="ctr">
            <a:noAutofit/>
          </a:bodyPr>
          <a:lstStyle/>
          <a:p>
            <a:r>
              <a:rPr lang="en-US"/>
              <a:t>Click to add title</a:t>
            </a:r>
          </a:p>
        </p:txBody>
      </p:sp>
      <p:sp>
        <p:nvSpPr>
          <p:cNvPr id="12" name="TextBox 11"/>
          <p:cNvSpPr txBox="1"/>
          <p:nvPr userDrawn="1"/>
        </p:nvSpPr>
        <p:spPr>
          <a:xfrm>
            <a:off x="11136559" y="6396327"/>
            <a:ext cx="683965" cy="365125"/>
          </a:xfrm>
          <a:prstGeom prst="rect">
            <a:avLst/>
          </a:prstGeom>
          <a:noFill/>
        </p:spPr>
        <p:txBody>
          <a:bodyPr wrap="square" lIns="0" tIns="0" rIns="0" bIns="0" rtlCol="0" anchor="b">
            <a:no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en-US" sz="1000" kern="1200">
                <a:solidFill>
                  <a:schemeClr val="bg1">
                    <a:lumMod val="50000"/>
                  </a:schemeClr>
                </a:solidFill>
                <a:latin typeface="+mn-lt"/>
                <a:ea typeface="+mn-ea"/>
                <a:cs typeface="+mn-cs"/>
                <a:sym typeface="Trebuchet MS" panose="020B0703020202090204" pitchFamily="34" charset="0"/>
              </a:rPr>
              <a:t>|</a:t>
            </a:r>
            <a:r>
              <a:rPr lang="en-US" sz="1000" kern="1200">
                <a:solidFill>
                  <a:srgbClr val="FF0000"/>
                </a:solidFill>
                <a:latin typeface="+mn-lt"/>
                <a:ea typeface="+mn-ea"/>
                <a:cs typeface="+mn-cs"/>
                <a:sym typeface="Trebuchet MS" panose="020B0703020202090204" pitchFamily="34" charset="0"/>
              </a:rPr>
              <a:t>         </a:t>
            </a:r>
          </a:p>
        </p:txBody>
      </p:sp>
      <p:sp>
        <p:nvSpPr>
          <p:cNvPr id="11" name="Date Placeholder 3"/>
          <p:cNvSpPr>
            <a:spLocks noGrp="1"/>
          </p:cNvSpPr>
          <p:nvPr>
            <p:ph type="dt" sz="half" idx="2"/>
          </p:nvPr>
        </p:nvSpPr>
        <p:spPr>
          <a:xfrm>
            <a:off x="9336360" y="6396327"/>
            <a:ext cx="1800200" cy="365125"/>
          </a:xfrm>
          <a:prstGeom prst="rect">
            <a:avLst/>
          </a:prstGeom>
        </p:spPr>
        <p:txBody>
          <a:bodyPr vert="horz" wrap="square" lIns="0" tIns="0" rIns="0" bIns="0" rtlCol="0" anchor="b">
            <a:noAutofit/>
          </a:bodyPr>
          <a:lstStyle>
            <a:lvl1pPr algn="l">
              <a:defRPr sz="1000">
                <a:solidFill>
                  <a:schemeClr val="bg1">
                    <a:lumMod val="50000"/>
                  </a:schemeClr>
                </a:solidFill>
                <a:latin typeface="+mn-lt"/>
                <a:sym typeface="Trebuchet MS" panose="020B0703020202090204" pitchFamily="34" charset="0"/>
              </a:defRPr>
            </a:lvl1pPr>
          </a:lstStyle>
          <a:p>
            <a:endParaRPr lang="en-US"/>
          </a:p>
        </p:txBody>
      </p:sp>
      <p:sp>
        <p:nvSpPr>
          <p:cNvPr id="29" name="Footer Placeholder 58"/>
          <p:cNvSpPr>
            <a:spLocks noGrp="1"/>
          </p:cNvSpPr>
          <p:nvPr>
            <p:ph type="ftr" sz="quarter" idx="3"/>
          </p:nvPr>
        </p:nvSpPr>
        <p:spPr>
          <a:xfrm>
            <a:off x="334963" y="6396327"/>
            <a:ext cx="6553125" cy="365125"/>
          </a:xfrm>
          <a:prstGeom prst="rect">
            <a:avLst/>
          </a:prstGeom>
        </p:spPr>
        <p:txBody>
          <a:bodyPr vert="horz" lIns="0" tIns="45720" rIns="0" bIns="45720" rtlCol="0" anchor="b"/>
          <a:lstStyle>
            <a:lvl1pPr algn="r">
              <a:defRPr sz="900" b="0" i="0">
                <a:solidFill>
                  <a:schemeClr val="tx1">
                    <a:lumMod val="65000"/>
                    <a:lumOff val="35000"/>
                  </a:schemeClr>
                </a:solidFill>
                <a:latin typeface="Gotham Book" charset="0"/>
                <a:ea typeface="Gotham Book" charset="0"/>
                <a:cs typeface="Gotham Book" charset="0"/>
              </a:defRPr>
            </a:lvl1pPr>
          </a:lstStyle>
          <a:p>
            <a:pPr algn="l"/>
            <a:endParaRPr lang="en-US">
              <a:solidFill>
                <a:schemeClr val="bg1">
                  <a:lumMod val="50000"/>
                </a:schemeClr>
              </a:solidFill>
            </a:endParaRPr>
          </a:p>
        </p:txBody>
      </p:sp>
      <p:sp>
        <p:nvSpPr>
          <p:cNvPr id="14" name="TextBox 13"/>
          <p:cNvSpPr txBox="1"/>
          <p:nvPr userDrawn="1"/>
        </p:nvSpPr>
        <p:spPr>
          <a:xfrm>
            <a:off x="11657787" y="661458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a:solidFill>
                <a:schemeClr val="bg1">
                  <a:lumMod val="50000"/>
                </a:schemeClr>
              </a:solidFill>
              <a:latin typeface="+mn-lt"/>
              <a:ea typeface="+mn-ea"/>
              <a:cs typeface="+mn-cs"/>
              <a:sym typeface="Trebuchet MS" panose="020B0703020202090204" pitchFamily="34" charset="0"/>
            </a:endParaRPr>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 id="2147483727" r:id="rId54"/>
    <p:sldLayoutId id="2147483728" r:id="rId55"/>
    <p:sldLayoutId id="2147483729" r:id="rId56"/>
    <p:sldLayoutId id="2147483730" r:id="rId57"/>
    <p:sldLayoutId id="2147483731" r:id="rId58"/>
    <p:sldLayoutId id="2147483732" r:id="rId59"/>
    <p:sldLayoutId id="2147483733" r:id="rId60"/>
    <p:sldLayoutId id="2147483734" r:id="rId61"/>
    <p:sldLayoutId id="2147483735" r:id="rId62"/>
    <p:sldLayoutId id="2147483736" r:id="rId63"/>
    <p:sldLayoutId id="2147483737" r:id="rId64"/>
    <p:sldLayoutId id="2147483738" r:id="rId65"/>
    <p:sldLayoutId id="2147483739" r:id="rId66"/>
    <p:sldLayoutId id="2147483740" r:id="rId67"/>
    <p:sldLayoutId id="2147483741" r:id="rId68"/>
    <p:sldLayoutId id="2147483742" r:id="rId69"/>
    <p:sldLayoutId id="2147483743" r:id="rId70"/>
    <p:sldLayoutId id="2147483744" r:id="rId71"/>
    <p:sldLayoutId id="2147483745" r:id="rId72"/>
    <p:sldLayoutId id="2147483746" r:id="rId73"/>
    <p:sldLayoutId id="2147483747" r:id="rId74"/>
    <p:sldLayoutId id="2147483748" r:id="rId75"/>
    <p:sldLayoutId id="2147483749" r:id="rId76"/>
    <p:sldLayoutId id="2147483750" r:id="rId77"/>
    <p:sldLayoutId id="2147483751" r:id="rId78"/>
    <p:sldLayoutId id="2147483752" r:id="rId79"/>
    <p:sldLayoutId id="2147483753" r:id="rId80"/>
    <p:sldLayoutId id="2147483754" r:id="rId81"/>
    <p:sldLayoutId id="2147483755" r:id="rId82"/>
    <p:sldLayoutId id="2147483756" r:id="rId83"/>
    <p:sldLayoutId id="2147483757" r:id="rId84"/>
    <p:sldLayoutId id="2147483758" r:id="rId85"/>
    <p:sldLayoutId id="2147483759" r:id="rId86"/>
    <p:sldLayoutId id="2147483760" r:id="rId87"/>
    <p:sldLayoutId id="2147483761" r:id="rId88"/>
    <p:sldLayoutId id="2147483762" r:id="rId8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703020202090204" pitchFamily="34" charset="0"/>
        <a:buChar char="–"/>
        <a:defRPr lang="en-US" sz="12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0" imgH="0" progId="TCLayout.ActiveDocument.1">
                  <p:embed/>
                </p:oleObj>
              </mc:Choice>
              <mc:Fallback>
                <p:oleObj name="think-cell Slide" r:id="rId29" imgW="0" imgH="0" progId="TCLayout.ActiveDocument.1">
                  <p:embed/>
                  <p:pic>
                    <p:nvPicPr>
                      <p:cNvPr id="0" name="Object 2"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334963" y="623455"/>
            <a:ext cx="11485562" cy="645305"/>
          </a:xfrm>
          <a:prstGeom prst="rect">
            <a:avLst/>
          </a:prstGeom>
        </p:spPr>
        <p:txBody>
          <a:bodyPr vert="horz" lIns="0" tIns="0" rIns="91440" bIns="45720" rtlCol="0" anchor="t">
            <a:noAutofit/>
          </a:bodyPr>
          <a:lstStyle/>
          <a:p>
            <a:br>
              <a:rPr lang="en-US"/>
            </a:br>
            <a:r>
              <a:rPr lang="en-US"/>
              <a:t>Click to edit Title text</a:t>
            </a:r>
            <a:endParaRPr lang="id-ID"/>
          </a:p>
        </p:txBody>
      </p:sp>
      <p:sp>
        <p:nvSpPr>
          <p:cNvPr id="18" name="Text Placeholder 2"/>
          <p:cNvSpPr>
            <a:spLocks noGrp="1"/>
          </p:cNvSpPr>
          <p:nvPr>
            <p:ph type="body" idx="1"/>
          </p:nvPr>
        </p:nvSpPr>
        <p:spPr>
          <a:xfrm>
            <a:off x="334963" y="1695010"/>
            <a:ext cx="11485562" cy="3991083"/>
          </a:xfrm>
          <a:prstGeom prst="rect">
            <a:avLst/>
          </a:prstGeom>
        </p:spPr>
        <p:txBody>
          <a:bodyPr vert="horz" lIns="0" tIns="0" rIns="91440" bIns="45720" rtlCol="0">
            <a:noAutofit/>
          </a:body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2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pic>
        <p:nvPicPr>
          <p:cNvPr id="47" name="Picture 46"/>
          <p:cNvPicPr>
            <a:picLocks noChangeAspect="1"/>
          </p:cNvPicPr>
          <p:nvPr/>
        </p:nvPicPr>
        <p:blipFill>
          <a:blip r:embed="rId31" cstate="screen"/>
          <a:stretch>
            <a:fillRect/>
          </a:stretch>
        </p:blipFill>
        <p:spPr>
          <a:xfrm>
            <a:off x="10452782" y="305201"/>
            <a:ext cx="1356866" cy="391616"/>
          </a:xfrm>
          <a:prstGeom prst="rect">
            <a:avLst/>
          </a:prstGeom>
        </p:spPr>
      </p:pic>
      <p:sp>
        <p:nvSpPr>
          <p:cNvPr id="59" name="Footer Placeholder 58"/>
          <p:cNvSpPr>
            <a:spLocks noGrp="1"/>
          </p:cNvSpPr>
          <p:nvPr>
            <p:ph type="ftr" sz="quarter" idx="3"/>
          </p:nvPr>
        </p:nvSpPr>
        <p:spPr>
          <a:xfrm>
            <a:off x="334963" y="6396327"/>
            <a:ext cx="6553125" cy="365125"/>
          </a:xfrm>
          <a:prstGeom prst="rect">
            <a:avLst/>
          </a:prstGeom>
        </p:spPr>
        <p:txBody>
          <a:bodyPr vert="horz" lIns="0" tIns="45720" rIns="0" bIns="45720" rtlCol="0" anchor="b"/>
          <a:lstStyle>
            <a:lvl1pPr algn="r">
              <a:defRPr sz="900" b="0" i="0">
                <a:solidFill>
                  <a:schemeClr val="tx1">
                    <a:lumMod val="65000"/>
                    <a:lumOff val="35000"/>
                  </a:schemeClr>
                </a:solidFill>
                <a:latin typeface="Gotham Book" charset="0"/>
                <a:ea typeface="Gotham Book" charset="0"/>
                <a:cs typeface="Gotham Book" charset="0"/>
              </a:defRPr>
            </a:lvl1p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pic>
        <p:nvPicPr>
          <p:cNvPr id="9" name="Graphic 8"/>
          <p:cNvPicPr>
            <a:picLocks noChangeAspect="1"/>
          </p:cNvPicPr>
          <p:nvPr/>
        </p:nvPicPr>
        <p:blipFill>
          <a:blip r:embed="rId32" cstate="screen">
            <a:extLst>
              <a:ext uri="{96DAC541-7B7A-43D3-8B79-37D633B846F1}">
                <asvg:svgBlip xmlns:asvg="http://schemas.microsoft.com/office/drawing/2016/SVG/main" r:embed="rId33"/>
              </a:ext>
            </a:extLst>
          </a:blip>
          <a:stretch>
            <a:fillRect/>
          </a:stretch>
        </p:blipFill>
        <p:spPr>
          <a:xfrm>
            <a:off x="334963" y="298363"/>
            <a:ext cx="1356866" cy="241494"/>
          </a:xfrm>
          <a:prstGeom prst="rect">
            <a:avLst/>
          </a:prstGeom>
        </p:spPr>
      </p:pic>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Lst>
  <p:hf hdr="0"/>
  <p:txStyles>
    <p:titleStyle>
      <a:lvl1pPr algn="l" defTabSz="914400" rtl="0" eaLnBrk="1" latinLnBrk="0" hangingPunct="1">
        <a:lnSpc>
          <a:spcPts val="2000"/>
        </a:lnSpc>
        <a:spcBef>
          <a:spcPct val="0"/>
        </a:spcBef>
        <a:buNone/>
        <a:defRPr sz="1600" b="0" i="0" kern="1200">
          <a:solidFill>
            <a:schemeClr val="accent1"/>
          </a:solidFill>
          <a:latin typeface="Gotham Medium" charset="0"/>
          <a:ea typeface="Gotham Medium" charset="0"/>
          <a:cs typeface="Gotham Medium" charset="0"/>
        </a:defRPr>
      </a:lvl1pPr>
    </p:titleStyle>
    <p:bodyStyle>
      <a:lvl1pPr marL="228600" indent="-228600" algn="l" defTabSz="914400" rtl="0" eaLnBrk="1" latinLnBrk="0" hangingPunct="1">
        <a:lnSpc>
          <a:spcPct val="90000"/>
        </a:lnSpc>
        <a:spcBef>
          <a:spcPts val="1000"/>
        </a:spcBef>
        <a:buFont typeface="Arial" panose="020B0604020202090204"/>
        <a:buChar char="•"/>
        <a:defRPr sz="2800" b="0" i="0" kern="1200">
          <a:solidFill>
            <a:schemeClr val="tx1">
              <a:lumMod val="65000"/>
              <a:lumOff val="35000"/>
            </a:schemeClr>
          </a:solidFill>
          <a:latin typeface="Gotham Book" charset="0"/>
          <a:ea typeface="Gotham Book" charset="0"/>
          <a:cs typeface="Gotham Book" charset="0"/>
        </a:defRPr>
      </a:lvl1pPr>
      <a:lvl2pPr marL="685800" indent="-228600" algn="l" defTabSz="914400" rtl="0" eaLnBrk="1" latinLnBrk="0" hangingPunct="1">
        <a:lnSpc>
          <a:spcPct val="90000"/>
        </a:lnSpc>
        <a:spcBef>
          <a:spcPts val="500"/>
        </a:spcBef>
        <a:buFont typeface="Arial" panose="020B0604020202090204"/>
        <a:buChar char="•"/>
        <a:defRPr sz="2400" b="0" i="0" kern="1200">
          <a:solidFill>
            <a:schemeClr val="tx1">
              <a:lumMod val="65000"/>
              <a:lumOff val="35000"/>
            </a:schemeClr>
          </a:solidFill>
          <a:latin typeface="Gotham Book" charset="0"/>
          <a:ea typeface="Gotham Book" charset="0"/>
          <a:cs typeface="Gotham Book" charset="0"/>
        </a:defRPr>
      </a:lvl2pPr>
      <a:lvl3pPr marL="1143000" indent="-228600" algn="l" defTabSz="914400" rtl="0" eaLnBrk="1" latinLnBrk="0" hangingPunct="1">
        <a:lnSpc>
          <a:spcPct val="90000"/>
        </a:lnSpc>
        <a:spcBef>
          <a:spcPts val="500"/>
        </a:spcBef>
        <a:buFont typeface="Arial" panose="020B0604020202090204"/>
        <a:buChar char="•"/>
        <a:defRPr sz="2000" b="0" i="0" kern="1200">
          <a:solidFill>
            <a:schemeClr val="tx1">
              <a:lumMod val="65000"/>
              <a:lumOff val="35000"/>
            </a:schemeClr>
          </a:solidFill>
          <a:latin typeface="Gotham Book" charset="0"/>
          <a:ea typeface="Gotham Book" charset="0"/>
          <a:cs typeface="Gotham Book" charset="0"/>
        </a:defRPr>
      </a:lvl3pPr>
      <a:lvl4pPr marL="16002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4pPr>
      <a:lvl5pPr marL="20574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6" imgW="0" imgH="0" progId="TCLayout.ActiveDocument.1">
                  <p:embed/>
                </p:oleObj>
              </mc:Choice>
              <mc:Fallback>
                <p:oleObj name="think-cell Slide" r:id="rId76" imgW="0" imgH="0" progId="TCLayout.ActiveDocument.1">
                  <p:embed/>
                  <p:pic>
                    <p:nvPicPr>
                      <p:cNvPr id="0" name="Object 1" hidden="1"/>
                      <p:cNvPicPr/>
                      <p:nvPr/>
                    </p:nvPicPr>
                    <p:blipFill>
                      <a:blip r:embed="rId77"/>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endParaRPr lang="en-US" sz="2400" b="0" i="0" baseline="0" dirty="0">
              <a:solidFill>
                <a:srgbClr val="FFFFFF"/>
              </a:solidFill>
              <a:latin typeface="Gotham Medium" charset="0"/>
              <a:ea typeface="+mj-ea"/>
              <a:cs typeface="+mj-cs"/>
              <a:sym typeface="Gotham Medium" charset="0"/>
            </a:endParaRPr>
          </a:p>
        </p:txBody>
      </p:sp>
      <p:sp>
        <p:nvSpPr>
          <p:cNvPr id="4" name="Text Placeholder 3"/>
          <p:cNvSpPr>
            <a:spLocks noGrp="1"/>
          </p:cNvSpPr>
          <p:nvPr>
            <p:ph type="body" idx="1"/>
          </p:nvPr>
        </p:nvSpPr>
        <p:spPr>
          <a:xfrm>
            <a:off x="334962" y="1825625"/>
            <a:ext cx="11485562"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10" name="Graphic 9"/>
          <p:cNvPicPr>
            <a:picLocks noChangeAspect="1"/>
          </p:cNvPicPr>
          <p:nvPr userDrawn="1"/>
        </p:nvPicPr>
        <p:blipFill>
          <a:blip r:embed="rId78">
            <a:extLst>
              <a:ext uri="{96DAC541-7B7A-43D3-8B79-37D633B846F1}">
                <asvg:svgBlip xmlns:asvg="http://schemas.microsoft.com/office/drawing/2016/SVG/main" r:embed="rId79"/>
              </a:ext>
            </a:extLst>
          </a:blip>
          <a:stretch>
            <a:fillRect/>
          </a:stretch>
        </p:blipFill>
        <p:spPr>
          <a:xfrm>
            <a:off x="334963" y="298363"/>
            <a:ext cx="1356866" cy="241494"/>
          </a:xfrm>
          <a:prstGeom prst="rect">
            <a:avLst/>
          </a:prstGeom>
        </p:spPr>
      </p:pic>
      <p:pic>
        <p:nvPicPr>
          <p:cNvPr id="13" name="Picture 12"/>
          <p:cNvPicPr>
            <a:picLocks noChangeAspect="1"/>
          </p:cNvPicPr>
          <p:nvPr userDrawn="1"/>
        </p:nvPicPr>
        <p:blipFill>
          <a:blip r:embed="rId80"/>
          <a:stretch>
            <a:fillRect/>
          </a:stretch>
        </p:blipFill>
        <p:spPr>
          <a:xfrm>
            <a:off x="10452782" y="305201"/>
            <a:ext cx="1356866" cy="391616"/>
          </a:xfrm>
          <a:prstGeom prst="rect">
            <a:avLst/>
          </a:prstGeom>
        </p:spPr>
      </p:pic>
      <p:sp>
        <p:nvSpPr>
          <p:cNvPr id="9" name="Title Placeholder 1"/>
          <p:cNvSpPr>
            <a:spLocks noGrp="1"/>
          </p:cNvSpPr>
          <p:nvPr>
            <p:ph type="title"/>
          </p:nvPr>
        </p:nvSpPr>
        <p:spPr>
          <a:xfrm>
            <a:off x="334962" y="623454"/>
            <a:ext cx="11485562" cy="649224"/>
          </a:xfrm>
          <a:prstGeom prst="rect">
            <a:avLst/>
          </a:prstGeom>
        </p:spPr>
        <p:txBody>
          <a:bodyPr vert="horz" wrap="square" lIns="0" tIns="0" rIns="0" bIns="0" rtlCol="0" anchor="ctr">
            <a:noAutofit/>
          </a:bodyPr>
          <a:lstStyle/>
          <a:p>
            <a:r>
              <a:rPr lang="en-US" dirty="0"/>
              <a:t>Click to add title</a:t>
            </a:r>
          </a:p>
        </p:txBody>
      </p:sp>
      <p:sp>
        <p:nvSpPr>
          <p:cNvPr id="29" name="Footer Placeholder 58"/>
          <p:cNvSpPr>
            <a:spLocks noGrp="1"/>
          </p:cNvSpPr>
          <p:nvPr>
            <p:ph type="ftr" sz="quarter" idx="3"/>
          </p:nvPr>
        </p:nvSpPr>
        <p:spPr>
          <a:xfrm>
            <a:off x="334963" y="6396327"/>
            <a:ext cx="6553125" cy="365125"/>
          </a:xfrm>
          <a:prstGeom prst="rect">
            <a:avLst/>
          </a:prstGeom>
        </p:spPr>
        <p:txBody>
          <a:bodyPr vert="horz" lIns="0" tIns="45720" rIns="0" bIns="45720" rtlCol="0" anchor="b"/>
          <a:lstStyle>
            <a:lvl1pPr algn="r">
              <a:defRPr sz="900" b="0" i="0">
                <a:solidFill>
                  <a:schemeClr val="tx1">
                    <a:lumMod val="65000"/>
                    <a:lumOff val="35000"/>
                  </a:schemeClr>
                </a:solidFill>
                <a:latin typeface="Gotham Book" charset="0"/>
                <a:ea typeface="Gotham Book" charset="0"/>
                <a:cs typeface="Gotham Book" charset="0"/>
              </a:defRPr>
            </a:lvl1pPr>
          </a:lstStyle>
          <a:p>
            <a:pPr algn="l"/>
            <a:r>
              <a:rPr lang="en-US">
                <a:solidFill>
                  <a:schemeClr val="bg1">
                    <a:lumMod val="50000"/>
                  </a:schemeClr>
                </a:solidFill>
                <a:latin typeface="+mn-lt"/>
              </a:rPr>
              <a:t>This presentation has been prepared specifically by MIND ID. The content of this presentation may not be used,</a:t>
            </a:r>
            <a:r>
              <a:rPr lang="en-US">
                <a:solidFill>
                  <a:schemeClr val="bg1">
                    <a:lumMod val="50000"/>
                  </a:schemeClr>
                </a:solidFill>
              </a:rPr>
              <a:t> duplicated or transmitted in any form without the written consent from MIND ID. All rights reserved.</a:t>
            </a:r>
            <a:endParaRPr lang="en-US" dirty="0">
              <a:solidFill>
                <a:schemeClr val="bg1">
                  <a:lumMod val="50000"/>
                </a:schemeClr>
              </a:solidFill>
            </a:endParaRPr>
          </a:p>
        </p:txBody>
      </p:sp>
    </p:spTree>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20" r:id="rId30"/>
    <p:sldLayoutId id="2147483821" r:id="rId31"/>
    <p:sldLayoutId id="2147483822" r:id="rId32"/>
    <p:sldLayoutId id="2147483823" r:id="rId33"/>
    <p:sldLayoutId id="2147483824" r:id="rId34"/>
    <p:sldLayoutId id="2147483825" r:id="rId35"/>
    <p:sldLayoutId id="2147483826" r:id="rId36"/>
    <p:sldLayoutId id="2147483827" r:id="rId37"/>
    <p:sldLayoutId id="2147483828" r:id="rId38"/>
    <p:sldLayoutId id="2147483829" r:id="rId39"/>
    <p:sldLayoutId id="2147483830" r:id="rId40"/>
    <p:sldLayoutId id="2147483831" r:id="rId41"/>
    <p:sldLayoutId id="2147483832" r:id="rId42"/>
    <p:sldLayoutId id="2147483833" r:id="rId43"/>
    <p:sldLayoutId id="2147483834" r:id="rId44"/>
    <p:sldLayoutId id="2147483835" r:id="rId45"/>
    <p:sldLayoutId id="2147483836" r:id="rId46"/>
    <p:sldLayoutId id="2147483837" r:id="rId47"/>
    <p:sldLayoutId id="2147483838" r:id="rId48"/>
    <p:sldLayoutId id="2147483839" r:id="rId49"/>
    <p:sldLayoutId id="2147483840" r:id="rId50"/>
    <p:sldLayoutId id="2147483841" r:id="rId51"/>
    <p:sldLayoutId id="2147483842" r:id="rId52"/>
    <p:sldLayoutId id="2147483843" r:id="rId53"/>
    <p:sldLayoutId id="2147483844" r:id="rId54"/>
    <p:sldLayoutId id="2147483845" r:id="rId55"/>
    <p:sldLayoutId id="2147483846" r:id="rId56"/>
    <p:sldLayoutId id="2147483847" r:id="rId57"/>
    <p:sldLayoutId id="2147483848" r:id="rId58"/>
    <p:sldLayoutId id="2147483849" r:id="rId59"/>
    <p:sldLayoutId id="2147483850" r:id="rId60"/>
    <p:sldLayoutId id="2147483851" r:id="rId61"/>
    <p:sldLayoutId id="2147483852" r:id="rId62"/>
    <p:sldLayoutId id="2147483853" r:id="rId63"/>
    <p:sldLayoutId id="2147483854" r:id="rId64"/>
    <p:sldLayoutId id="2147483855" r:id="rId65"/>
    <p:sldLayoutId id="2147483856" r:id="rId66"/>
    <p:sldLayoutId id="2147483857" r:id="rId67"/>
    <p:sldLayoutId id="2147483858" r:id="rId68"/>
    <p:sldLayoutId id="2147483859" r:id="rId69"/>
    <p:sldLayoutId id="2147483860" r:id="rId70"/>
    <p:sldLayoutId id="2147483861" r:id="rId71"/>
    <p:sldLayoutId id="2147483862" r:id="rId7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703020202090204" pitchFamily="34" charset="0"/>
        <a:buChar char="–"/>
        <a:defRPr lang="en-US" sz="12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3" imgW="0" imgH="0" progId="TCLayout.ActiveDocument.1">
                  <p:embed/>
                </p:oleObj>
              </mc:Choice>
              <mc:Fallback>
                <p:oleObj name="think-cell Slide" r:id="rId23" imgW="0" imgH="0" progId="TCLayout.ActiveDocument.1">
                  <p:embed/>
                  <p:pic>
                    <p:nvPicPr>
                      <p:cNvPr id="0" name="Object 1" hidden="1"/>
                      <p:cNvPicPr/>
                      <p:nvPr/>
                    </p:nvPicPr>
                    <p:blipFill>
                      <a:blip r:embed="rId24"/>
                      <a:stretch>
                        <a:fillRect/>
                      </a:stretch>
                    </p:blipFill>
                    <p:spPr>
                      <a:xfrm>
                        <a:off x="2118" y="2118"/>
                        <a:ext cx="2117" cy="2117"/>
                      </a:xfrm>
                      <a:prstGeom prst="rect">
                        <a:avLst/>
                      </a:prstGeom>
                    </p:spPr>
                  </p:pic>
                </p:oleObj>
              </mc:Fallback>
            </mc:AlternateContent>
          </a:graphicData>
        </a:graphic>
      </p:graphicFrame>
      <p:sp>
        <p:nvSpPr>
          <p:cNvPr id="8" name="TextBox 7"/>
          <p:cNvSpPr txBox="1"/>
          <p:nvPr userDrawn="1"/>
        </p:nvSpPr>
        <p:spPr>
          <a:xfrm>
            <a:off x="2691318" y="6428144"/>
            <a:ext cx="6822137" cy="338554"/>
          </a:xfrm>
          <a:prstGeom prst="rect">
            <a:avLst/>
          </a:prstGeom>
          <a:noFill/>
        </p:spPr>
        <p:txBody>
          <a:bodyPr wrap="square" rtlCol="0" anchor="ctr">
            <a:spAutoFit/>
          </a:bodyPr>
          <a:lstStyle/>
          <a:p>
            <a:pPr marL="0" marR="0" lvl="0" indent="0" algn="ctr"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white">
                    <a:lumMod val="50000"/>
                  </a:prstClr>
                </a:solidFill>
                <a:effectLst/>
                <a:uLnTx/>
                <a:uFillTx/>
                <a:latin typeface="GothamBook" pitchFamily="50" charset="0"/>
                <a:ea typeface="Open Sans" charset="0"/>
                <a:cs typeface="Open Sans" charset="0"/>
              </a:rPr>
              <a:t>This presentation has been prepared specifically by MIND ID. The content of this presentation may not be used,</a:t>
            </a:r>
          </a:p>
          <a:p>
            <a:pPr marL="0" marR="0" lvl="0" indent="0" algn="ctr" defTabSz="857250" rtl="0" eaLnBrk="1" fontAlgn="auto" latinLnBrk="0" hangingPunct="1">
              <a:lnSpc>
                <a:spcPct val="100000"/>
              </a:lnSpc>
              <a:spcBef>
                <a:spcPts val="0"/>
              </a:spcBef>
              <a:spcAft>
                <a:spcPts val="0"/>
              </a:spcAft>
              <a:buClrTx/>
              <a:buSzTx/>
              <a:buFontTx/>
              <a:buNone/>
              <a:defRPr/>
            </a:pPr>
            <a:r>
              <a:rPr kumimoji="0" lang="en-US" sz="800" b="0" i="0" u="none" strike="noStrike" kern="1200" cap="none" spc="0" normalizeH="0" baseline="0" noProof="0" dirty="0">
                <a:ln>
                  <a:noFill/>
                </a:ln>
                <a:solidFill>
                  <a:prstClr val="white">
                    <a:lumMod val="50000"/>
                  </a:prstClr>
                </a:solidFill>
                <a:effectLst/>
                <a:uLnTx/>
                <a:uFillTx/>
                <a:latin typeface="GothamBook" pitchFamily="50" charset="0"/>
                <a:ea typeface="Open Sans" charset="0"/>
                <a:cs typeface="Open Sans" charset="0"/>
              </a:rPr>
              <a:t>duplicated or transmitted in any form without the written consent from MIND ID. All rights reserved.</a:t>
            </a:r>
            <a:endParaRPr kumimoji="0" lang="en-US" sz="800" b="1" i="0" u="none" strike="noStrike" kern="1200" cap="none" spc="0" normalizeH="0" baseline="0" noProof="0" dirty="0">
              <a:ln>
                <a:noFill/>
              </a:ln>
              <a:solidFill>
                <a:prstClr val="white">
                  <a:lumMod val="50000"/>
                </a:prstClr>
              </a:solidFill>
              <a:effectLst/>
              <a:uLnTx/>
              <a:uFillTx/>
              <a:latin typeface="GothamBook" pitchFamily="50" charset="0"/>
              <a:ea typeface="Open Sans" charset="0"/>
              <a:cs typeface="Open Sans" charset="0"/>
            </a:endParaRPr>
          </a:p>
        </p:txBody>
      </p:sp>
      <p:pic>
        <p:nvPicPr>
          <p:cNvPr id="10" name="Picture 9"/>
          <p:cNvPicPr>
            <a:picLocks noChangeAspect="1"/>
          </p:cNvPicPr>
          <p:nvPr userDrawn="1"/>
        </p:nvPicPr>
        <p:blipFill>
          <a:blip r:embed="rId25" cstate="print"/>
          <a:stretch>
            <a:fillRect/>
          </a:stretch>
        </p:blipFill>
        <p:spPr>
          <a:xfrm>
            <a:off x="10458127" y="231840"/>
            <a:ext cx="1356867" cy="391616"/>
          </a:xfrm>
          <a:prstGeom prst="rect">
            <a:avLst/>
          </a:prstGeom>
        </p:spPr>
      </p:pic>
      <p:pic>
        <p:nvPicPr>
          <p:cNvPr id="11" name="Graphic 10"/>
          <p:cNvPicPr>
            <a:picLocks noChangeAspect="1"/>
          </p:cNvPicPr>
          <p:nvPr userDrawn="1"/>
        </p:nvPicPr>
        <p:blipFill>
          <a:blip r:embed="rId26" cstate="print">
            <a:extLst>
              <a:ext uri="{96DAC541-7B7A-43D3-8B79-37D633B846F1}">
                <asvg:svgBlip xmlns:asvg="http://schemas.microsoft.com/office/drawing/2016/SVG/main" r:embed="rId27"/>
              </a:ext>
            </a:extLst>
          </a:blip>
          <a:stretch>
            <a:fillRect/>
          </a:stretch>
        </p:blipFill>
        <p:spPr>
          <a:xfrm>
            <a:off x="334962" y="298363"/>
            <a:ext cx="1356867" cy="241495"/>
          </a:xfrm>
          <a:prstGeom prst="rect">
            <a:avLst/>
          </a:prstGeom>
        </p:spPr>
      </p:pic>
      <p:sp>
        <p:nvSpPr>
          <p:cNvPr id="14" name="Footer Placeholder 4"/>
          <p:cNvSpPr txBox="1"/>
          <p:nvPr userDrawn="1"/>
        </p:nvSpPr>
        <p:spPr>
          <a:xfrm>
            <a:off x="8418798" y="6428141"/>
            <a:ext cx="3127596" cy="338555"/>
          </a:xfrm>
          <a:prstGeom prst="rect">
            <a:avLst/>
          </a:prstGeom>
        </p:spPr>
        <p:txBody>
          <a:bodyPr lIns="0" tIns="0" rIns="0" bIns="0" anchor="ctr">
            <a:noAutofit/>
          </a:bodyPr>
          <a:lstStyle>
            <a:defPPr>
              <a:defRPr lang="en-US"/>
            </a:defPPr>
            <a:lvl1pPr marL="0" algn="r" defTabSz="914400" rtl="0" eaLnBrk="1" latinLnBrk="0" hangingPunct="1">
              <a:defRPr sz="700" kern="1200">
                <a:solidFill>
                  <a:schemeClr val="tx1"/>
                </a:solidFill>
                <a:latin typeface="Arial" panose="020B0604020202090204" pitchFamily="34" charset="0"/>
                <a:ea typeface="+mn-ea"/>
                <a:cs typeface="Arial" panose="020B060402020209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r>
              <a:rPr lang="en-GB" sz="800" spc="0" baseline="0" dirty="0">
                <a:solidFill>
                  <a:schemeClr val="tx1">
                    <a:lumMod val="50000"/>
                    <a:lumOff val="50000"/>
                  </a:schemeClr>
                </a:solidFill>
                <a:latin typeface="+mn-lt"/>
                <a:cs typeface="Arial" panose="020B0604020202090204" pitchFamily="34" charset="0"/>
              </a:rPr>
              <a:t>© 2022 MIND ID. ALL RIGHTS RESERVED.</a:t>
            </a:r>
          </a:p>
        </p:txBody>
      </p:sp>
      <p:sp>
        <p:nvSpPr>
          <p:cNvPr id="15" name="TextBox 14"/>
          <p:cNvSpPr txBox="1"/>
          <p:nvPr userDrawn="1"/>
        </p:nvSpPr>
        <p:spPr>
          <a:xfrm>
            <a:off x="11440117" y="6428141"/>
            <a:ext cx="457200" cy="338555"/>
          </a:xfrm>
          <a:prstGeom prst="rect">
            <a:avLst/>
          </a:prstGeom>
          <a:noFill/>
        </p:spPr>
        <p:txBody>
          <a:bodyPr wrap="square" lIns="0" tIns="0" rIns="0" bIns="0" rtlCol="0" anchor="ctr">
            <a:noAutofit/>
          </a:bodyPr>
          <a:lstStyle/>
          <a:p>
            <a:pPr algn="r"/>
            <a:fld id="{49E9AFD3-CC20-4CA4-A57B-EC748A099B5D}" type="slidenum">
              <a:rPr lang="en-US" sz="1065" smtClean="0">
                <a:solidFill>
                  <a:schemeClr val="tx1"/>
                </a:solidFill>
                <a:latin typeface="GothamBook" pitchFamily="50" charset="0"/>
                <a:cs typeface="Arial" panose="020B0604020202090204" pitchFamily="34" charset="0"/>
              </a:rPr>
              <a:t>‹#›</a:t>
            </a:fld>
            <a:endParaRPr lang="en-US" sz="1065" dirty="0">
              <a:solidFill>
                <a:schemeClr val="tx1"/>
              </a:solidFill>
              <a:latin typeface="GothamBook" pitchFamily="50" charset="0"/>
              <a:cs typeface="Arial" panose="020B0604020202090204" pitchFamily="34" charset="0"/>
            </a:endParaRPr>
          </a:p>
        </p:txBody>
      </p:sp>
    </p:spTree>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8365"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5565"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199765" algn="l" defTabSz="914400" rtl="0" eaLnBrk="1" latinLnBrk="0" hangingPunct="1">
        <a:defRPr sz="1800" kern="1200">
          <a:solidFill>
            <a:schemeClr val="tx1"/>
          </a:solidFill>
          <a:latin typeface="+mn-lt"/>
          <a:ea typeface="+mn-ea"/>
          <a:cs typeface="+mn-cs"/>
        </a:defRPr>
      </a:lvl8pPr>
      <a:lvl9pPr marL="3656965"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0" imgH="0" progId="TCLayout.ActiveDocument.1">
                  <p:embed/>
                </p:oleObj>
              </mc:Choice>
              <mc:Fallback>
                <p:oleObj name="think-cell Slide" r:id="rId19" imgW="0" imgH="0" progId="TCLayout.ActiveDocument.1">
                  <p:embed/>
                  <p:pic>
                    <p:nvPicPr>
                      <p:cNvPr id="0" name="think-cell data - do not delete"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A6CAE6-6DCE-4DC8-8650-56F0A4D47EE3}" type="datetimeFigureOut">
              <a:rPr lang="en-US" smtClean="0"/>
              <a:t>5/12/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6AE403-9995-42DF-9E19-3F921ADE9700}"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0" name="Object 2"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334963" y="623455"/>
            <a:ext cx="11485562" cy="645305"/>
          </a:xfrm>
          <a:prstGeom prst="rect">
            <a:avLst/>
          </a:prstGeom>
        </p:spPr>
        <p:txBody>
          <a:bodyPr vert="horz" lIns="0" tIns="0" rIns="91440" bIns="45720" rtlCol="0" anchor="t">
            <a:noAutofit/>
          </a:bodyPr>
          <a:lstStyle/>
          <a:p>
            <a:br>
              <a:rPr lang="en-US"/>
            </a:br>
            <a:r>
              <a:rPr lang="en-US"/>
              <a:t>Click to edit Title text</a:t>
            </a:r>
            <a:endParaRPr lang="id-ID"/>
          </a:p>
        </p:txBody>
      </p:sp>
      <p:sp>
        <p:nvSpPr>
          <p:cNvPr id="18" name="Text Placeholder 2"/>
          <p:cNvSpPr>
            <a:spLocks noGrp="1"/>
          </p:cNvSpPr>
          <p:nvPr>
            <p:ph type="body" idx="1"/>
          </p:nvPr>
        </p:nvSpPr>
        <p:spPr>
          <a:xfrm>
            <a:off x="334963" y="1695010"/>
            <a:ext cx="11485562" cy="3991083"/>
          </a:xfrm>
          <a:prstGeom prst="rect">
            <a:avLst/>
          </a:prstGeom>
        </p:spPr>
        <p:txBody>
          <a:bodyPr vert="horz" lIns="0" tIns="0" rIns="91440" bIns="45720" rtlCol="0">
            <a:noAutofit/>
          </a:body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dirty="0"/>
              <a:t>Monday, 4</a:t>
            </a:r>
            <a:r>
              <a:rPr lang="en-ID" baseline="30000" dirty="0"/>
              <a:t>th</a:t>
            </a:r>
            <a:r>
              <a:rPr lang="en-ID" dirty="0"/>
              <a:t> , March 2024</a:t>
            </a:r>
            <a:endParaRPr lang="id-ID" dirty="0"/>
          </a:p>
        </p:txBody>
      </p:sp>
      <p:sp>
        <p:nvSpPr>
          <p:cNvPr id="2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pic>
        <p:nvPicPr>
          <p:cNvPr id="47" name="Picture 46"/>
          <p:cNvPicPr>
            <a:picLocks noChangeAspect="1"/>
          </p:cNvPicPr>
          <p:nvPr userDrawn="1"/>
        </p:nvPicPr>
        <p:blipFill>
          <a:blip r:embed="rId29"/>
          <a:stretch>
            <a:fillRect/>
          </a:stretch>
        </p:blipFill>
        <p:spPr>
          <a:xfrm>
            <a:off x="10452782" y="305201"/>
            <a:ext cx="1356866" cy="391616"/>
          </a:xfrm>
          <a:prstGeom prst="rect">
            <a:avLst/>
          </a:prstGeom>
        </p:spPr>
      </p:pic>
      <p:sp>
        <p:nvSpPr>
          <p:cNvPr id="59" name="Footer Placeholder 58"/>
          <p:cNvSpPr>
            <a:spLocks noGrp="1"/>
          </p:cNvSpPr>
          <p:nvPr>
            <p:ph type="ftr" sz="quarter" idx="3"/>
          </p:nvPr>
        </p:nvSpPr>
        <p:spPr>
          <a:xfrm>
            <a:off x="334963" y="6396327"/>
            <a:ext cx="6553125" cy="365125"/>
          </a:xfrm>
          <a:prstGeom prst="rect">
            <a:avLst/>
          </a:prstGeom>
        </p:spPr>
        <p:txBody>
          <a:bodyPr vert="horz" lIns="0" tIns="45720" rIns="0" bIns="45720" rtlCol="0" anchor="b"/>
          <a:lstStyle>
            <a:lvl1pPr algn="r">
              <a:defRPr sz="900" b="0" i="0">
                <a:solidFill>
                  <a:schemeClr val="tx1">
                    <a:lumMod val="65000"/>
                    <a:lumOff val="35000"/>
                  </a:schemeClr>
                </a:solidFill>
                <a:latin typeface="Gotham Book" charset="0"/>
                <a:ea typeface="Gotham Book" charset="0"/>
                <a:cs typeface="Gotham Book" charset="0"/>
              </a:defRPr>
            </a:lvl1p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pic>
        <p:nvPicPr>
          <p:cNvPr id="9" name="Graphic 8"/>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334963" y="298363"/>
            <a:ext cx="1356866" cy="241494"/>
          </a:xfrm>
          <a:prstGeom prst="rect">
            <a:avLst/>
          </a:prstGeom>
        </p:spPr>
      </p:pic>
    </p:spTree>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Lst>
  <p:hf hdr="0"/>
  <p:txStyles>
    <p:titleStyle>
      <a:lvl1pPr algn="l" defTabSz="914400" rtl="0" eaLnBrk="1" latinLnBrk="0" hangingPunct="1">
        <a:lnSpc>
          <a:spcPts val="2000"/>
        </a:lnSpc>
        <a:spcBef>
          <a:spcPct val="0"/>
        </a:spcBef>
        <a:buNone/>
        <a:defRPr sz="1600" b="0" i="0" kern="1200">
          <a:solidFill>
            <a:schemeClr val="accent1"/>
          </a:solidFill>
          <a:latin typeface="Gotham Medium" charset="0"/>
          <a:ea typeface="Gotham Medium" charset="0"/>
          <a:cs typeface="Gotham Medium" charset="0"/>
        </a:defRPr>
      </a:lvl1pPr>
    </p:titleStyle>
    <p:bodyStyle>
      <a:lvl1pPr marL="228600" indent="-228600" algn="l" defTabSz="914400" rtl="0" eaLnBrk="1" latinLnBrk="0" hangingPunct="1">
        <a:lnSpc>
          <a:spcPct val="90000"/>
        </a:lnSpc>
        <a:spcBef>
          <a:spcPts val="1000"/>
        </a:spcBef>
        <a:buFont typeface="Arial" panose="020B0604020202090204"/>
        <a:buChar char="•"/>
        <a:defRPr sz="2800" b="0" i="0" kern="1200">
          <a:solidFill>
            <a:schemeClr val="tx1">
              <a:lumMod val="65000"/>
              <a:lumOff val="35000"/>
            </a:schemeClr>
          </a:solidFill>
          <a:latin typeface="Gotham Book" charset="0"/>
          <a:ea typeface="Gotham Book" charset="0"/>
          <a:cs typeface="Gotham Book" charset="0"/>
        </a:defRPr>
      </a:lvl1pPr>
      <a:lvl2pPr marL="685800" indent="-228600" algn="l" defTabSz="914400" rtl="0" eaLnBrk="1" latinLnBrk="0" hangingPunct="1">
        <a:lnSpc>
          <a:spcPct val="90000"/>
        </a:lnSpc>
        <a:spcBef>
          <a:spcPts val="500"/>
        </a:spcBef>
        <a:buFont typeface="Arial" panose="020B0604020202090204"/>
        <a:buChar char="•"/>
        <a:defRPr sz="2400" b="0" i="0" kern="1200">
          <a:solidFill>
            <a:schemeClr val="tx1">
              <a:lumMod val="65000"/>
              <a:lumOff val="35000"/>
            </a:schemeClr>
          </a:solidFill>
          <a:latin typeface="Gotham Book" charset="0"/>
          <a:ea typeface="Gotham Book" charset="0"/>
          <a:cs typeface="Gotham Book" charset="0"/>
        </a:defRPr>
      </a:lvl2pPr>
      <a:lvl3pPr marL="1143000" indent="-228600" algn="l" defTabSz="914400" rtl="0" eaLnBrk="1" latinLnBrk="0" hangingPunct="1">
        <a:lnSpc>
          <a:spcPct val="90000"/>
        </a:lnSpc>
        <a:spcBef>
          <a:spcPts val="500"/>
        </a:spcBef>
        <a:buFont typeface="Arial" panose="020B0604020202090204"/>
        <a:buChar char="•"/>
        <a:defRPr sz="2000" b="0" i="0" kern="1200">
          <a:solidFill>
            <a:schemeClr val="tx1">
              <a:lumMod val="65000"/>
              <a:lumOff val="35000"/>
            </a:schemeClr>
          </a:solidFill>
          <a:latin typeface="Gotham Book" charset="0"/>
          <a:ea typeface="Gotham Book" charset="0"/>
          <a:cs typeface="Gotham Book" charset="0"/>
        </a:defRPr>
      </a:lvl3pPr>
      <a:lvl4pPr marL="16002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4pPr>
      <a:lvl5pPr marL="20574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3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0" imgH="0" progId="TCLayout.ActiveDocument.1">
                  <p:embed/>
                </p:oleObj>
              </mc:Choice>
              <mc:Fallback>
                <p:oleObj name="think-cell Slide" r:id="rId34" imgW="0" imgH="0" progId="TCLayout.ActiveDocument.1">
                  <p:embed/>
                  <p:pic>
                    <p:nvPicPr>
                      <p:cNvPr id="0" name="think-cell data - do not delete" hidden="1"/>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334963" y="623456"/>
            <a:ext cx="9074355" cy="484128"/>
          </a:xfrm>
          <a:prstGeom prst="rect">
            <a:avLst/>
          </a:prstGeom>
        </p:spPr>
        <p:txBody>
          <a:bodyPr vert="horz" lIns="0" tIns="46800" rIns="91440" bIns="0" rtlCol="0" anchor="b">
            <a:normAutofit/>
          </a:bodyPr>
          <a:lstStyle/>
          <a:p>
            <a:r>
              <a:rPr lang="en-US"/>
              <a:t>Click to edit Title text</a:t>
            </a:r>
            <a:endParaRPr lang="id-ID"/>
          </a:p>
        </p:txBody>
      </p:sp>
      <p:sp>
        <p:nvSpPr>
          <p:cNvPr id="18" name="Text Placeholder 2"/>
          <p:cNvSpPr>
            <a:spLocks noGrp="1"/>
          </p:cNvSpPr>
          <p:nvPr>
            <p:ph type="body" idx="1"/>
          </p:nvPr>
        </p:nvSpPr>
        <p:spPr>
          <a:xfrm>
            <a:off x="334963" y="1695010"/>
            <a:ext cx="11485562" cy="3991083"/>
          </a:xfrm>
          <a:prstGeom prst="rect">
            <a:avLst/>
          </a:prstGeom>
        </p:spPr>
        <p:txBody>
          <a:bodyPr vert="horz" lIns="0" tIns="0" rIns="91440" bIns="45720" rtlCol="0">
            <a:noAutofit/>
          </a:body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9" name="Date Placeholder 3"/>
          <p:cNvSpPr>
            <a:spLocks noGrp="1"/>
          </p:cNvSpPr>
          <p:nvPr>
            <p:ph type="dt" sz="half" idx="2"/>
          </p:nvPr>
        </p:nvSpPr>
        <p:spPr>
          <a:xfrm>
            <a:off x="9409318"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fld id="{CB6E0E24-B4F7-E843-AFC0-C1F83B7A48CA}" type="datetime2">
              <a:rPr lang="en-ID" smtClean="0"/>
              <a:t>Sunday, 12 May 2024</a:t>
            </a:fld>
            <a:endParaRPr lang="id-ID"/>
          </a:p>
        </p:txBody>
      </p:sp>
      <p:sp>
        <p:nvSpPr>
          <p:cNvPr id="21" name="Slide Number Placeholder 5"/>
          <p:cNvSpPr>
            <a:spLocks noGrp="1"/>
          </p:cNvSpPr>
          <p:nvPr>
            <p:ph type="sldNum" sz="quarter" idx="4"/>
          </p:nvPr>
        </p:nvSpPr>
        <p:spPr>
          <a:xfrm>
            <a:off x="11208568" y="6396327"/>
            <a:ext cx="611957" cy="365125"/>
          </a:xfrm>
          <a:prstGeom prst="rect">
            <a:avLst/>
          </a:prstGeom>
        </p:spPr>
        <p:txBody>
          <a:bodyPr vert="horz" lIns="0" tIns="45720" rIns="0" bIns="45720" rtlCol="0" anchor="b"/>
          <a:lstStyle>
            <a:lvl1pPr algn="r">
              <a:defRPr sz="1050" b="0" i="0">
                <a:solidFill>
                  <a:schemeClr val="tx1">
                    <a:lumMod val="75000"/>
                    <a:lumOff val="25000"/>
                  </a:schemeClr>
                </a:solidFill>
                <a:latin typeface="Gotham Medium" charset="0"/>
                <a:ea typeface="Gotham Medium" charset="0"/>
                <a:cs typeface="Gotham Medium" charset="0"/>
              </a:defRPr>
            </a:lvl1pPr>
          </a:lstStyle>
          <a:p>
            <a:r>
              <a:rPr lang="id-ID"/>
              <a:t>|         </a:t>
            </a:r>
            <a:fld id="{7904F5B5-DD6E-6442-8C14-4BFE420CE974}" type="slidenum">
              <a:rPr lang="id-ID" smtClean="0"/>
              <a:t>‹#›</a:t>
            </a:fld>
            <a:endParaRPr lang="id-ID"/>
          </a:p>
        </p:txBody>
      </p:sp>
      <p:pic>
        <p:nvPicPr>
          <p:cNvPr id="47" name="Picture 46"/>
          <p:cNvPicPr>
            <a:picLocks noChangeAspect="1"/>
          </p:cNvPicPr>
          <p:nvPr/>
        </p:nvPicPr>
        <p:blipFill>
          <a:blip r:embed="rId36"/>
          <a:stretch>
            <a:fillRect/>
          </a:stretch>
        </p:blipFill>
        <p:spPr>
          <a:xfrm>
            <a:off x="10452782" y="305201"/>
            <a:ext cx="1356866" cy="391616"/>
          </a:xfrm>
          <a:prstGeom prst="rect">
            <a:avLst/>
          </a:prstGeom>
        </p:spPr>
      </p:pic>
      <p:pic>
        <p:nvPicPr>
          <p:cNvPr id="9" name="Graphic 8"/>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334963" y="296922"/>
            <a:ext cx="1274400" cy="226816"/>
          </a:xfrm>
          <a:prstGeom prst="rect">
            <a:avLst/>
          </a:prstGeom>
        </p:spPr>
      </p:pic>
    </p:spTree>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 id="2147483957" r:id="rId31"/>
  </p:sldLayoutIdLst>
  <p:hf hdr="0"/>
  <p:txStyles>
    <p:title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p:titleStyle>
    <p:bodyStyle>
      <a:lvl1pPr marL="0" indent="0" algn="l" defTabSz="914400" rtl="0" eaLnBrk="1" latinLnBrk="0" hangingPunct="1">
        <a:lnSpc>
          <a:spcPct val="90000"/>
        </a:lnSpc>
        <a:spcBef>
          <a:spcPts val="1000"/>
        </a:spcBef>
        <a:buFont typeface="Arial" panose="020B0604020202090204"/>
        <a:buNone/>
        <a:defRPr sz="2800" b="0" i="0" kern="1200">
          <a:solidFill>
            <a:schemeClr val="tx1">
              <a:lumMod val="65000"/>
              <a:lumOff val="35000"/>
            </a:schemeClr>
          </a:solidFill>
          <a:latin typeface="Gotham Book" charset="0"/>
          <a:ea typeface="Gotham Book" charset="0"/>
          <a:cs typeface="Gotham Book" charset="0"/>
        </a:defRPr>
      </a:lvl1pPr>
      <a:lvl2pPr marL="457200" indent="0" algn="l" defTabSz="914400" rtl="0" eaLnBrk="1" latinLnBrk="0" hangingPunct="1">
        <a:lnSpc>
          <a:spcPct val="90000"/>
        </a:lnSpc>
        <a:spcBef>
          <a:spcPts val="500"/>
        </a:spcBef>
        <a:buFont typeface="Arial" panose="020B0604020202090204"/>
        <a:buNone/>
        <a:defRPr sz="2400" b="0" i="0" kern="1200">
          <a:solidFill>
            <a:schemeClr val="tx1">
              <a:lumMod val="65000"/>
              <a:lumOff val="35000"/>
            </a:schemeClr>
          </a:solidFill>
          <a:latin typeface="Gotham Book" charset="0"/>
          <a:ea typeface="Gotham Book" charset="0"/>
          <a:cs typeface="Gotham Book" charset="0"/>
        </a:defRPr>
      </a:lvl2pPr>
      <a:lvl3pPr marL="914400" indent="0" algn="l" defTabSz="914400" rtl="0" eaLnBrk="1" latinLnBrk="0" hangingPunct="1">
        <a:lnSpc>
          <a:spcPct val="90000"/>
        </a:lnSpc>
        <a:spcBef>
          <a:spcPts val="500"/>
        </a:spcBef>
        <a:buFont typeface="Arial" panose="020B0604020202090204"/>
        <a:buNone/>
        <a:defRPr sz="2000" b="0" i="0" kern="1200">
          <a:solidFill>
            <a:schemeClr val="tx1">
              <a:lumMod val="65000"/>
              <a:lumOff val="35000"/>
            </a:schemeClr>
          </a:solidFill>
          <a:latin typeface="Gotham Book" charset="0"/>
          <a:ea typeface="Gotham Book" charset="0"/>
          <a:cs typeface="Gotham Book" charset="0"/>
        </a:defRPr>
      </a:lvl3pPr>
      <a:lvl4pPr marL="1371600" indent="0" algn="l" defTabSz="914400" rtl="0" eaLnBrk="1" latinLnBrk="0" hangingPunct="1">
        <a:lnSpc>
          <a:spcPct val="90000"/>
        </a:lnSpc>
        <a:spcBef>
          <a:spcPts val="500"/>
        </a:spcBef>
        <a:buFont typeface="Arial" panose="020B0604020202090204"/>
        <a:buNone/>
        <a:defRPr sz="1800" b="0" i="0" kern="1200">
          <a:solidFill>
            <a:schemeClr val="tx1">
              <a:lumMod val="65000"/>
              <a:lumOff val="35000"/>
            </a:schemeClr>
          </a:solidFill>
          <a:latin typeface="Gotham Book" charset="0"/>
          <a:ea typeface="Gotham Book" charset="0"/>
          <a:cs typeface="Gotham Book" charset="0"/>
        </a:defRPr>
      </a:lvl4pPr>
      <a:lvl5pPr marL="1828800" indent="0" algn="l" defTabSz="914400" rtl="0" eaLnBrk="1" latinLnBrk="0" hangingPunct="1">
        <a:lnSpc>
          <a:spcPct val="90000"/>
        </a:lnSpc>
        <a:spcBef>
          <a:spcPts val="500"/>
        </a:spcBef>
        <a:buFont typeface="Arial" panose="020B0604020202090204"/>
        <a:buNone/>
        <a:defRPr sz="1800" b="0" i="0" kern="1200">
          <a:solidFill>
            <a:schemeClr val="tx1">
              <a:lumMod val="65000"/>
              <a:lumOff val="35000"/>
            </a:schemeClr>
          </a:solidFill>
          <a:latin typeface="Gotham Book" charset="0"/>
          <a:ea typeface="Gotham Book" charset="0"/>
          <a:cs typeface="Gotham Book"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0" imgH="0" progId="TCLayout.ActiveDocument.1">
                  <p:embed/>
                </p:oleObj>
              </mc:Choice>
              <mc:Fallback>
                <p:oleObj name="think-cell Slide" r:id="rId27" imgW="0" imgH="0" progId="TCLayout.ActiveDocument.1">
                  <p:embed/>
                  <p:pic>
                    <p:nvPicPr>
                      <p:cNvPr id="0" name="think-cell data - do not delete"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334963" y="623455"/>
            <a:ext cx="11485562" cy="645305"/>
          </a:xfrm>
          <a:prstGeom prst="rect">
            <a:avLst/>
          </a:prstGeom>
        </p:spPr>
        <p:txBody>
          <a:bodyPr vert="horz" lIns="0" tIns="0" rIns="91440" bIns="45720" rtlCol="0" anchor="t">
            <a:noAutofit/>
          </a:bodyPr>
          <a:lstStyle/>
          <a:p>
            <a:br>
              <a:rPr lang="en-US"/>
            </a:br>
            <a:r>
              <a:rPr lang="en-US"/>
              <a:t>Click to edit Title text</a:t>
            </a:r>
            <a:endParaRPr lang="id-ID"/>
          </a:p>
        </p:txBody>
      </p:sp>
      <p:sp>
        <p:nvSpPr>
          <p:cNvPr id="18" name="Text Placeholder 2"/>
          <p:cNvSpPr>
            <a:spLocks noGrp="1"/>
          </p:cNvSpPr>
          <p:nvPr>
            <p:ph type="body" idx="1"/>
          </p:nvPr>
        </p:nvSpPr>
        <p:spPr>
          <a:xfrm>
            <a:off x="334963" y="1695010"/>
            <a:ext cx="11485562" cy="3991083"/>
          </a:xfrm>
          <a:prstGeom prst="rect">
            <a:avLst/>
          </a:prstGeom>
        </p:spPr>
        <p:txBody>
          <a:bodyPr vert="horz" lIns="0" tIns="0" rIns="91440" bIns="45720" rtlCol="0">
            <a:noAutofit/>
          </a:bodyPr>
          <a:lstStyle/>
          <a:p>
            <a:pPr lvl="0"/>
            <a:r>
              <a:rPr lang="en-US"/>
              <a:t>Click to edit Body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19" name="Date Placeholder 3"/>
          <p:cNvSpPr>
            <a:spLocks noGrp="1"/>
          </p:cNvSpPr>
          <p:nvPr>
            <p:ph type="dt" sz="half" idx="2"/>
          </p:nvPr>
        </p:nvSpPr>
        <p:spPr>
          <a:xfrm>
            <a:off x="9336360" y="6396327"/>
            <a:ext cx="1800200" cy="365125"/>
          </a:xfrm>
          <a:prstGeom prst="rect">
            <a:avLst/>
          </a:prstGeom>
        </p:spPr>
        <p:txBody>
          <a:bodyPr vert="horz" lIns="108000" tIns="45720" rIns="0" bIns="45720" rtlCol="0" anchor="b"/>
          <a:lstStyle>
            <a:lvl1pPr algn="l">
              <a:defRPr sz="900" b="0" i="0">
                <a:solidFill>
                  <a:schemeClr val="tx1">
                    <a:lumMod val="65000"/>
                    <a:lumOff val="35000"/>
                  </a:schemeClr>
                </a:solidFill>
                <a:latin typeface="Gotham Book" charset="0"/>
                <a:ea typeface="Gotham Book" charset="0"/>
                <a:cs typeface="Gotham Book" charset="0"/>
              </a:defRPr>
            </a:lvl1pPr>
          </a:lstStyle>
          <a:p>
            <a:r>
              <a:rPr lang="en-ID"/>
              <a:t>Thursday, 11 December 2021</a:t>
            </a:r>
            <a:endParaRPr lang="id-ID"/>
          </a:p>
        </p:txBody>
      </p:sp>
      <p:sp>
        <p:nvSpPr>
          <p:cNvPr id="21" name="Slide Number Placeholder 5"/>
          <p:cNvSpPr>
            <a:spLocks noGrp="1"/>
          </p:cNvSpPr>
          <p:nvPr>
            <p:ph type="sldNum" sz="quarter" idx="4"/>
          </p:nvPr>
        </p:nvSpPr>
        <p:spPr>
          <a:xfrm>
            <a:off x="11136560" y="6396327"/>
            <a:ext cx="683965" cy="365125"/>
          </a:xfrm>
          <a:prstGeom prst="rect">
            <a:avLst/>
          </a:prstGeom>
        </p:spPr>
        <p:txBody>
          <a:bodyPr vert="horz" lIns="0" tIns="45720" rIns="0" bIns="45720" rtlCol="0" anchor="b"/>
          <a:lstStyle>
            <a:lvl1pPr algn="r">
              <a:defRPr sz="1100" b="0" i="0">
                <a:solidFill>
                  <a:schemeClr val="tx1">
                    <a:lumMod val="75000"/>
                    <a:lumOff val="25000"/>
                  </a:schemeClr>
                </a:solidFill>
                <a:latin typeface="Gotham Book" charset="0"/>
                <a:ea typeface="Gotham Book" charset="0"/>
                <a:cs typeface="Gotham Book" charset="0"/>
              </a:defRPr>
            </a:lvl1pPr>
          </a:lstStyle>
          <a:p>
            <a:r>
              <a:rPr lang="id-ID"/>
              <a:t>|         </a:t>
            </a:r>
            <a:fld id="{7904F5B5-DD6E-6442-8C14-4BFE420CE974}" type="slidenum">
              <a:rPr lang="id-ID" smtClean="0"/>
              <a:t>‹#›</a:t>
            </a:fld>
            <a:endParaRPr lang="id-ID"/>
          </a:p>
        </p:txBody>
      </p:sp>
      <p:pic>
        <p:nvPicPr>
          <p:cNvPr id="47" name="Picture 46"/>
          <p:cNvPicPr>
            <a:picLocks noChangeAspect="1"/>
          </p:cNvPicPr>
          <p:nvPr userDrawn="1"/>
        </p:nvPicPr>
        <p:blipFill>
          <a:blip r:embed="rId29"/>
          <a:stretch>
            <a:fillRect/>
          </a:stretch>
        </p:blipFill>
        <p:spPr>
          <a:xfrm>
            <a:off x="10452782" y="255357"/>
            <a:ext cx="1356866" cy="391616"/>
          </a:xfrm>
          <a:prstGeom prst="rect">
            <a:avLst/>
          </a:prstGeom>
        </p:spPr>
      </p:pic>
      <p:sp>
        <p:nvSpPr>
          <p:cNvPr id="59" name="Footer Placeholder 58"/>
          <p:cNvSpPr>
            <a:spLocks noGrp="1"/>
          </p:cNvSpPr>
          <p:nvPr>
            <p:ph type="ftr" sz="quarter" idx="3"/>
          </p:nvPr>
        </p:nvSpPr>
        <p:spPr>
          <a:xfrm>
            <a:off x="334963" y="6396327"/>
            <a:ext cx="6553125" cy="365125"/>
          </a:xfrm>
          <a:prstGeom prst="rect">
            <a:avLst/>
          </a:prstGeom>
        </p:spPr>
        <p:txBody>
          <a:bodyPr vert="horz" lIns="0" tIns="45720" rIns="0" bIns="45720" rtlCol="0" anchor="b"/>
          <a:lstStyle>
            <a:lvl1pPr algn="r">
              <a:defRPr sz="900" b="0" i="0">
                <a:solidFill>
                  <a:schemeClr val="tx1">
                    <a:lumMod val="65000"/>
                    <a:lumOff val="35000"/>
                  </a:schemeClr>
                </a:solidFill>
                <a:latin typeface="Gotham Book" charset="0"/>
                <a:ea typeface="Gotham Book" charset="0"/>
                <a:cs typeface="Gotham Book" charset="0"/>
              </a:defRPr>
            </a:lvl1pPr>
          </a:lstStyle>
          <a:p>
            <a:pPr algn="l"/>
            <a:r>
              <a:rPr lang="en-US" sz="900" b="0" i="0">
                <a:solidFill>
                  <a:schemeClr val="bg1">
                    <a:lumMod val="50000"/>
                  </a:schemeClr>
                </a:solidFill>
                <a:latin typeface="Gotham Book" charset="0"/>
                <a:ea typeface="Gotham Book" charset="0"/>
                <a:cs typeface="Gotham Book" charset="0"/>
              </a:rPr>
              <a:t>This presentation has been prepared specifically by MIND ID. The content of this presentation may not be used,</a:t>
            </a:r>
            <a:r>
              <a:rPr lang="en-US" sz="900" b="0" i="0" baseline="0">
                <a:solidFill>
                  <a:schemeClr val="bg1">
                    <a:lumMod val="50000"/>
                  </a:schemeClr>
                </a:solidFill>
                <a:latin typeface="Gotham Book" charset="0"/>
                <a:ea typeface="Gotham Book" charset="0"/>
                <a:cs typeface="Gotham Book" charset="0"/>
              </a:rPr>
              <a:t> </a:t>
            </a:r>
            <a:r>
              <a:rPr lang="en-US" sz="900" b="0" i="0">
                <a:solidFill>
                  <a:schemeClr val="bg1">
                    <a:lumMod val="50000"/>
                  </a:schemeClr>
                </a:solidFill>
                <a:latin typeface="Gotham Book" charset="0"/>
                <a:ea typeface="Gotham Book" charset="0"/>
                <a:cs typeface="Gotham Book" charset="0"/>
              </a:rPr>
              <a:t>duplicated or transmitted in any form without the written consent from MIND ID. All rights reserved.</a:t>
            </a:r>
          </a:p>
        </p:txBody>
      </p:sp>
      <p:pic>
        <p:nvPicPr>
          <p:cNvPr id="9" name="Graphic 8"/>
          <p:cNvPicPr>
            <a:picLocks noChangeAspect="1"/>
          </p:cNvPicPr>
          <p:nvPr userDrawn="1"/>
        </p:nvPicPr>
        <p:blipFill>
          <a:blip r:embed="rId30">
            <a:extLst>
              <a:ext uri="{96DAC541-7B7A-43D3-8B79-37D633B846F1}">
                <asvg:svgBlip xmlns:asvg="http://schemas.microsoft.com/office/drawing/2016/SVG/main" r:embed="rId31"/>
              </a:ext>
            </a:extLst>
          </a:blip>
          <a:stretch>
            <a:fillRect/>
          </a:stretch>
        </p:blipFill>
        <p:spPr>
          <a:xfrm>
            <a:off x="334963" y="298363"/>
            <a:ext cx="1356866" cy="241494"/>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77" r:id="rId19"/>
    <p:sldLayoutId id="2147483978" r:id="rId20"/>
    <p:sldLayoutId id="2147483979" r:id="rId21"/>
    <p:sldLayoutId id="2147483980" r:id="rId22"/>
    <p:sldLayoutId id="2147483981" r:id="rId23"/>
    <p:sldLayoutId id="2147483982" r:id="rId24"/>
  </p:sldLayoutIdLst>
  <p:hf hdr="0"/>
  <p:txStyles>
    <p:titleStyle>
      <a:lvl1pPr algn="l" defTabSz="914400" rtl="0" eaLnBrk="1" latinLnBrk="0" hangingPunct="1">
        <a:lnSpc>
          <a:spcPts val="2000"/>
        </a:lnSpc>
        <a:spcBef>
          <a:spcPct val="0"/>
        </a:spcBef>
        <a:buNone/>
        <a:defRPr sz="1600" b="0" i="0" kern="1200">
          <a:solidFill>
            <a:schemeClr val="accent1"/>
          </a:solidFill>
          <a:latin typeface="Gotham Medium" charset="0"/>
          <a:ea typeface="Gotham Medium" charset="0"/>
          <a:cs typeface="Gotham Medium" charset="0"/>
        </a:defRPr>
      </a:lvl1pPr>
    </p:titleStyle>
    <p:bodyStyle>
      <a:lvl1pPr marL="228600" indent="-228600" algn="l" defTabSz="914400" rtl="0" eaLnBrk="1" latinLnBrk="0" hangingPunct="1">
        <a:lnSpc>
          <a:spcPct val="90000"/>
        </a:lnSpc>
        <a:spcBef>
          <a:spcPts val="1000"/>
        </a:spcBef>
        <a:buFont typeface="Arial" panose="020B0604020202090204"/>
        <a:buChar char="•"/>
        <a:defRPr sz="2800" b="0" i="0" kern="1200">
          <a:solidFill>
            <a:schemeClr val="tx1">
              <a:lumMod val="65000"/>
              <a:lumOff val="35000"/>
            </a:schemeClr>
          </a:solidFill>
          <a:latin typeface="Gotham Book" charset="0"/>
          <a:ea typeface="Gotham Book" charset="0"/>
          <a:cs typeface="Gotham Book" charset="0"/>
        </a:defRPr>
      </a:lvl1pPr>
      <a:lvl2pPr marL="685800" indent="-228600" algn="l" defTabSz="914400" rtl="0" eaLnBrk="1" latinLnBrk="0" hangingPunct="1">
        <a:lnSpc>
          <a:spcPct val="90000"/>
        </a:lnSpc>
        <a:spcBef>
          <a:spcPts val="500"/>
        </a:spcBef>
        <a:buFont typeface="Arial" panose="020B0604020202090204"/>
        <a:buChar char="•"/>
        <a:defRPr sz="2400" b="0" i="0" kern="1200">
          <a:solidFill>
            <a:schemeClr val="tx1">
              <a:lumMod val="65000"/>
              <a:lumOff val="35000"/>
            </a:schemeClr>
          </a:solidFill>
          <a:latin typeface="Gotham Book" charset="0"/>
          <a:ea typeface="Gotham Book" charset="0"/>
          <a:cs typeface="Gotham Book" charset="0"/>
        </a:defRPr>
      </a:lvl2pPr>
      <a:lvl3pPr marL="1143000" indent="-228600" algn="l" defTabSz="914400" rtl="0" eaLnBrk="1" latinLnBrk="0" hangingPunct="1">
        <a:lnSpc>
          <a:spcPct val="90000"/>
        </a:lnSpc>
        <a:spcBef>
          <a:spcPts val="500"/>
        </a:spcBef>
        <a:buFont typeface="Arial" panose="020B0604020202090204"/>
        <a:buChar char="•"/>
        <a:defRPr sz="2000" b="0" i="0" kern="1200">
          <a:solidFill>
            <a:schemeClr val="tx1">
              <a:lumMod val="65000"/>
              <a:lumOff val="35000"/>
            </a:schemeClr>
          </a:solidFill>
          <a:latin typeface="Gotham Book" charset="0"/>
          <a:ea typeface="Gotham Book" charset="0"/>
          <a:cs typeface="Gotham Book" charset="0"/>
        </a:defRPr>
      </a:lvl3pPr>
      <a:lvl4pPr marL="16002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4pPr>
      <a:lvl5pPr marL="2057400" indent="-228600" algn="l" defTabSz="914400" rtl="0" eaLnBrk="1" latinLnBrk="0" hangingPunct="1">
        <a:lnSpc>
          <a:spcPct val="90000"/>
        </a:lnSpc>
        <a:spcBef>
          <a:spcPts val="500"/>
        </a:spcBef>
        <a:buFont typeface="Arial" panose="020B0604020202090204"/>
        <a:buChar char="•"/>
        <a:defRPr sz="1800" b="0" i="0" kern="1200">
          <a:solidFill>
            <a:schemeClr val="tx1">
              <a:lumMod val="65000"/>
              <a:lumOff val="35000"/>
            </a:schemeClr>
          </a:solidFill>
          <a:latin typeface="Gotham Book" charset="0"/>
          <a:ea typeface="Gotham Book" charset="0"/>
          <a:cs typeface="Gotham Book" charset="0"/>
        </a:defRPr>
      </a:lvl5pPr>
      <a:lvl6pPr marL="25146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72.bin"/><Relationship Id="rId7" Type="http://schemas.openxmlformats.org/officeDocument/2006/relationships/image" Target="../media/image2.emf"/><Relationship Id="rId2" Type="http://schemas.openxmlformats.org/officeDocument/2006/relationships/slideLayout" Target="../slideLayouts/slideLayout114.xml"/><Relationship Id="rId1" Type="http://schemas.openxmlformats.org/officeDocument/2006/relationships/tags" Target="../tags/tag184.xml"/><Relationship Id="rId6" Type="http://schemas.openxmlformats.org/officeDocument/2006/relationships/image" Target="../media/image5.emf"/><Relationship Id="rId5" Type="http://schemas.openxmlformats.org/officeDocument/2006/relationships/image" Target="../media/image120.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Layout" Target="../slideLayouts/slideLayout300.xml"/><Relationship Id="rId1" Type="http://schemas.openxmlformats.org/officeDocument/2006/relationships/tags" Target="../tags/tag189.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271.png"/><Relationship Id="rId3" Type="http://schemas.openxmlformats.org/officeDocument/2006/relationships/image" Target="../media/image266.png"/><Relationship Id="rId7" Type="http://schemas.openxmlformats.org/officeDocument/2006/relationships/image" Target="../media/image270.jpeg"/><Relationship Id="rId12" Type="http://schemas.openxmlformats.org/officeDocument/2006/relationships/image" Target="../media/image275.jpeg"/><Relationship Id="rId2" Type="http://schemas.openxmlformats.org/officeDocument/2006/relationships/image" Target="../media/image265.png"/><Relationship Id="rId1" Type="http://schemas.openxmlformats.org/officeDocument/2006/relationships/slideLayout" Target="../slideLayouts/slideLayout311.xml"/><Relationship Id="rId6" Type="http://schemas.openxmlformats.org/officeDocument/2006/relationships/image" Target="../media/image269.jpeg"/><Relationship Id="rId11" Type="http://schemas.openxmlformats.org/officeDocument/2006/relationships/image" Target="../media/image274.png"/><Relationship Id="rId5" Type="http://schemas.openxmlformats.org/officeDocument/2006/relationships/image" Target="../media/image268.png"/><Relationship Id="rId10" Type="http://schemas.openxmlformats.org/officeDocument/2006/relationships/image" Target="../media/image273.png"/><Relationship Id="rId4" Type="http://schemas.openxmlformats.org/officeDocument/2006/relationships/image" Target="../media/image267.jpeg"/><Relationship Id="rId9" Type="http://schemas.openxmlformats.org/officeDocument/2006/relationships/image" Target="../media/image272.png"/></Relationships>
</file>

<file path=ppt/slides/_rels/slide12.xml.rels><?xml version="1.0" encoding="UTF-8" standalone="yes"?>
<Relationships xmlns="http://schemas.openxmlformats.org/package/2006/relationships"><Relationship Id="rId8" Type="http://schemas.openxmlformats.org/officeDocument/2006/relationships/image" Target="../media/image281.png"/><Relationship Id="rId13" Type="http://schemas.openxmlformats.org/officeDocument/2006/relationships/image" Target="../media/image286.png"/><Relationship Id="rId18" Type="http://schemas.openxmlformats.org/officeDocument/2006/relationships/image" Target="../media/image291.png"/><Relationship Id="rId26" Type="http://schemas.openxmlformats.org/officeDocument/2006/relationships/image" Target="../media/image299.png"/><Relationship Id="rId3" Type="http://schemas.openxmlformats.org/officeDocument/2006/relationships/image" Target="../media/image276.jpeg"/><Relationship Id="rId21" Type="http://schemas.openxmlformats.org/officeDocument/2006/relationships/image" Target="../media/image294.png"/><Relationship Id="rId7" Type="http://schemas.openxmlformats.org/officeDocument/2006/relationships/image" Target="../media/image280.png"/><Relationship Id="rId12" Type="http://schemas.openxmlformats.org/officeDocument/2006/relationships/image" Target="../media/image285.png"/><Relationship Id="rId17" Type="http://schemas.openxmlformats.org/officeDocument/2006/relationships/image" Target="../media/image290.png"/><Relationship Id="rId25" Type="http://schemas.openxmlformats.org/officeDocument/2006/relationships/image" Target="../media/image298.png"/><Relationship Id="rId2" Type="http://schemas.openxmlformats.org/officeDocument/2006/relationships/slideLayout" Target="../slideLayouts/slideLayout325.xml"/><Relationship Id="rId16" Type="http://schemas.openxmlformats.org/officeDocument/2006/relationships/image" Target="../media/image289.png"/><Relationship Id="rId20" Type="http://schemas.openxmlformats.org/officeDocument/2006/relationships/image" Target="../media/image293.png"/><Relationship Id="rId29" Type="http://schemas.openxmlformats.org/officeDocument/2006/relationships/image" Target="../media/image302.png"/><Relationship Id="rId1" Type="http://schemas.openxmlformats.org/officeDocument/2006/relationships/tags" Target="../tags/tag190.xml"/><Relationship Id="rId6" Type="http://schemas.openxmlformats.org/officeDocument/2006/relationships/image" Target="../media/image279.png"/><Relationship Id="rId11" Type="http://schemas.openxmlformats.org/officeDocument/2006/relationships/image" Target="../media/image284.png"/><Relationship Id="rId24" Type="http://schemas.openxmlformats.org/officeDocument/2006/relationships/image" Target="../media/image297.png"/><Relationship Id="rId32" Type="http://schemas.openxmlformats.org/officeDocument/2006/relationships/image" Target="../media/image305.png"/><Relationship Id="rId5" Type="http://schemas.openxmlformats.org/officeDocument/2006/relationships/image" Target="../media/image278.png"/><Relationship Id="rId15" Type="http://schemas.openxmlformats.org/officeDocument/2006/relationships/image" Target="../media/image288.png"/><Relationship Id="rId23" Type="http://schemas.openxmlformats.org/officeDocument/2006/relationships/image" Target="../media/image296.png"/><Relationship Id="rId28" Type="http://schemas.openxmlformats.org/officeDocument/2006/relationships/image" Target="../media/image301.png"/><Relationship Id="rId10" Type="http://schemas.openxmlformats.org/officeDocument/2006/relationships/image" Target="../media/image283.png"/><Relationship Id="rId19" Type="http://schemas.openxmlformats.org/officeDocument/2006/relationships/image" Target="../media/image292.png"/><Relationship Id="rId31" Type="http://schemas.openxmlformats.org/officeDocument/2006/relationships/image" Target="../media/image304.png"/><Relationship Id="rId4" Type="http://schemas.openxmlformats.org/officeDocument/2006/relationships/image" Target="../media/image277.png"/><Relationship Id="rId9" Type="http://schemas.openxmlformats.org/officeDocument/2006/relationships/image" Target="../media/image282.png"/><Relationship Id="rId14" Type="http://schemas.openxmlformats.org/officeDocument/2006/relationships/image" Target="../media/image287.png"/><Relationship Id="rId22" Type="http://schemas.openxmlformats.org/officeDocument/2006/relationships/image" Target="../media/image295.png"/><Relationship Id="rId27" Type="http://schemas.openxmlformats.org/officeDocument/2006/relationships/image" Target="../media/image300.png"/><Relationship Id="rId30" Type="http://schemas.openxmlformats.org/officeDocument/2006/relationships/image" Target="../media/image30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jpeg"/><Relationship Id="rId3" Type="http://schemas.openxmlformats.org/officeDocument/2006/relationships/image" Target="../media/image122.jpeg"/><Relationship Id="rId7" Type="http://schemas.microsoft.com/office/2007/relationships/hdphoto" Target="../media/hdphoto3.wdp"/><Relationship Id="rId12" Type="http://schemas.openxmlformats.org/officeDocument/2006/relationships/image" Target="../media/image129.jpeg"/><Relationship Id="rId17" Type="http://schemas.openxmlformats.org/officeDocument/2006/relationships/image" Target="../media/image2.emf"/><Relationship Id="rId2" Type="http://schemas.openxmlformats.org/officeDocument/2006/relationships/image" Target="../media/image121.png"/><Relationship Id="rId16" Type="http://schemas.openxmlformats.org/officeDocument/2006/relationships/image" Target="../media/image133.jpeg"/><Relationship Id="rId1" Type="http://schemas.openxmlformats.org/officeDocument/2006/relationships/slideLayout" Target="../slideLayouts/slideLayout23.xml"/><Relationship Id="rId6" Type="http://schemas.openxmlformats.org/officeDocument/2006/relationships/image" Target="../media/image113.png"/><Relationship Id="rId11" Type="http://schemas.openxmlformats.org/officeDocument/2006/relationships/image" Target="../media/image128.jpeg"/><Relationship Id="rId5" Type="http://schemas.openxmlformats.org/officeDocument/2006/relationships/image" Target="../media/image124.png"/><Relationship Id="rId15" Type="http://schemas.openxmlformats.org/officeDocument/2006/relationships/image" Target="../media/image132.jpeg"/><Relationship Id="rId10" Type="http://schemas.openxmlformats.org/officeDocument/2006/relationships/image" Target="../media/image127.jpeg"/><Relationship Id="rId4" Type="http://schemas.openxmlformats.org/officeDocument/2006/relationships/image" Target="../media/image123.png"/><Relationship Id="rId9" Type="http://schemas.openxmlformats.org/officeDocument/2006/relationships/image" Target="../media/image126.png"/><Relationship Id="rId14" Type="http://schemas.openxmlformats.org/officeDocument/2006/relationships/image" Target="../media/image131.jpeg"/></Relationships>
</file>

<file path=ppt/slides/_rels/slide4.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png"/><Relationship Id="rId3" Type="http://schemas.openxmlformats.org/officeDocument/2006/relationships/image" Target="../media/image135.png"/><Relationship Id="rId7" Type="http://schemas.openxmlformats.org/officeDocument/2006/relationships/image" Target="../media/image139.jpeg"/><Relationship Id="rId12" Type="http://schemas.openxmlformats.org/officeDocument/2006/relationships/image" Target="../media/image144.png"/><Relationship Id="rId2" Type="http://schemas.openxmlformats.org/officeDocument/2006/relationships/image" Target="../media/image134.png"/><Relationship Id="rId1" Type="http://schemas.openxmlformats.org/officeDocument/2006/relationships/slideLayout" Target="../slideLayouts/slideLayout23.xml"/><Relationship Id="rId6" Type="http://schemas.openxmlformats.org/officeDocument/2006/relationships/image" Target="../media/image138.png"/><Relationship Id="rId11" Type="http://schemas.openxmlformats.org/officeDocument/2006/relationships/image" Target="../media/image143.jpe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251.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6.xml.rels><?xml version="1.0" encoding="UTF-8" standalone="yes"?>
<Relationships xmlns="http://schemas.openxmlformats.org/package/2006/relationships"><Relationship Id="rId8" Type="http://schemas.openxmlformats.org/officeDocument/2006/relationships/image" Target="../media/image157.png"/><Relationship Id="rId13" Type="http://schemas.openxmlformats.org/officeDocument/2006/relationships/image" Target="../media/image162.svg"/><Relationship Id="rId18" Type="http://schemas.openxmlformats.org/officeDocument/2006/relationships/image" Target="../media/image167.png"/><Relationship Id="rId3" Type="http://schemas.openxmlformats.org/officeDocument/2006/relationships/image" Target="../media/image152.svg"/><Relationship Id="rId21" Type="http://schemas.openxmlformats.org/officeDocument/2006/relationships/image" Target="../media/image170.svg"/><Relationship Id="rId7" Type="http://schemas.openxmlformats.org/officeDocument/2006/relationships/image" Target="../media/image156.svg"/><Relationship Id="rId12" Type="http://schemas.openxmlformats.org/officeDocument/2006/relationships/image" Target="../media/image161.png"/><Relationship Id="rId17" Type="http://schemas.openxmlformats.org/officeDocument/2006/relationships/image" Target="../media/image166.svg"/><Relationship Id="rId2" Type="http://schemas.openxmlformats.org/officeDocument/2006/relationships/image" Target="../media/image151.png"/><Relationship Id="rId16" Type="http://schemas.openxmlformats.org/officeDocument/2006/relationships/image" Target="../media/image165.png"/><Relationship Id="rId20" Type="http://schemas.openxmlformats.org/officeDocument/2006/relationships/image" Target="../media/image169.png"/><Relationship Id="rId1" Type="http://schemas.openxmlformats.org/officeDocument/2006/relationships/slideLayout" Target="../slideLayouts/slideLayout2.xml"/><Relationship Id="rId6" Type="http://schemas.openxmlformats.org/officeDocument/2006/relationships/image" Target="../media/image155.png"/><Relationship Id="rId11" Type="http://schemas.openxmlformats.org/officeDocument/2006/relationships/image" Target="../media/image160.svg"/><Relationship Id="rId5" Type="http://schemas.openxmlformats.org/officeDocument/2006/relationships/image" Target="../media/image154.svg"/><Relationship Id="rId15" Type="http://schemas.openxmlformats.org/officeDocument/2006/relationships/image" Target="../media/image164.svg"/><Relationship Id="rId10" Type="http://schemas.openxmlformats.org/officeDocument/2006/relationships/image" Target="../media/image159.png"/><Relationship Id="rId19" Type="http://schemas.openxmlformats.org/officeDocument/2006/relationships/image" Target="../media/image168.svg"/><Relationship Id="rId4" Type="http://schemas.openxmlformats.org/officeDocument/2006/relationships/image" Target="../media/image153.png"/><Relationship Id="rId9" Type="http://schemas.openxmlformats.org/officeDocument/2006/relationships/image" Target="../media/image158.svg"/><Relationship Id="rId14" Type="http://schemas.openxmlformats.org/officeDocument/2006/relationships/image" Target="../media/image163.png"/></Relationships>
</file>

<file path=ppt/slides/_rels/slide7.xml.rels><?xml version="1.0" encoding="UTF-8" standalone="yes"?>
<Relationships xmlns="http://schemas.openxmlformats.org/package/2006/relationships"><Relationship Id="rId13" Type="http://schemas.openxmlformats.org/officeDocument/2006/relationships/image" Target="../media/image181.png"/><Relationship Id="rId18" Type="http://schemas.openxmlformats.org/officeDocument/2006/relationships/image" Target="../media/image186.png"/><Relationship Id="rId26" Type="http://schemas.openxmlformats.org/officeDocument/2006/relationships/image" Target="../media/image194.png"/><Relationship Id="rId39" Type="http://schemas.openxmlformats.org/officeDocument/2006/relationships/image" Target="../media/image207.png"/><Relationship Id="rId21" Type="http://schemas.openxmlformats.org/officeDocument/2006/relationships/image" Target="../media/image189.png"/><Relationship Id="rId34" Type="http://schemas.openxmlformats.org/officeDocument/2006/relationships/image" Target="../media/image202.png"/><Relationship Id="rId42" Type="http://schemas.openxmlformats.org/officeDocument/2006/relationships/image" Target="../media/image210.png"/><Relationship Id="rId47" Type="http://schemas.openxmlformats.org/officeDocument/2006/relationships/image" Target="../media/image215.png"/><Relationship Id="rId50" Type="http://schemas.openxmlformats.org/officeDocument/2006/relationships/image" Target="../media/image218.png"/><Relationship Id="rId55" Type="http://schemas.openxmlformats.org/officeDocument/2006/relationships/image" Target="../media/image223.png"/><Relationship Id="rId7" Type="http://schemas.openxmlformats.org/officeDocument/2006/relationships/image" Target="../media/image175.png"/><Relationship Id="rId2" Type="http://schemas.openxmlformats.org/officeDocument/2006/relationships/slideLayout" Target="../slideLayouts/slideLayout23.xml"/><Relationship Id="rId16" Type="http://schemas.openxmlformats.org/officeDocument/2006/relationships/image" Target="../media/image184.png"/><Relationship Id="rId29" Type="http://schemas.openxmlformats.org/officeDocument/2006/relationships/image" Target="../media/image197.png"/><Relationship Id="rId11" Type="http://schemas.openxmlformats.org/officeDocument/2006/relationships/image" Target="../media/image179.png"/><Relationship Id="rId24" Type="http://schemas.openxmlformats.org/officeDocument/2006/relationships/image" Target="../media/image192.png"/><Relationship Id="rId32" Type="http://schemas.openxmlformats.org/officeDocument/2006/relationships/image" Target="../media/image200.png"/><Relationship Id="rId37" Type="http://schemas.openxmlformats.org/officeDocument/2006/relationships/image" Target="../media/image205.png"/><Relationship Id="rId40" Type="http://schemas.openxmlformats.org/officeDocument/2006/relationships/image" Target="../media/image208.png"/><Relationship Id="rId45" Type="http://schemas.openxmlformats.org/officeDocument/2006/relationships/image" Target="../media/image213.png"/><Relationship Id="rId53" Type="http://schemas.openxmlformats.org/officeDocument/2006/relationships/image" Target="../media/image221.png"/><Relationship Id="rId58" Type="http://schemas.openxmlformats.org/officeDocument/2006/relationships/image" Target="../media/image226.png"/><Relationship Id="rId5" Type="http://schemas.openxmlformats.org/officeDocument/2006/relationships/image" Target="../media/image173.png"/><Relationship Id="rId19" Type="http://schemas.openxmlformats.org/officeDocument/2006/relationships/image" Target="../media/image187.png"/><Relationship Id="rId4" Type="http://schemas.openxmlformats.org/officeDocument/2006/relationships/image" Target="../media/image172.png"/><Relationship Id="rId9" Type="http://schemas.openxmlformats.org/officeDocument/2006/relationships/image" Target="../media/image177.png"/><Relationship Id="rId14" Type="http://schemas.openxmlformats.org/officeDocument/2006/relationships/image" Target="../media/image182.png"/><Relationship Id="rId22" Type="http://schemas.openxmlformats.org/officeDocument/2006/relationships/image" Target="../media/image190.png"/><Relationship Id="rId27" Type="http://schemas.openxmlformats.org/officeDocument/2006/relationships/image" Target="../media/image195.png"/><Relationship Id="rId30" Type="http://schemas.openxmlformats.org/officeDocument/2006/relationships/image" Target="../media/image198.png"/><Relationship Id="rId35" Type="http://schemas.openxmlformats.org/officeDocument/2006/relationships/image" Target="../media/image203.png"/><Relationship Id="rId43" Type="http://schemas.openxmlformats.org/officeDocument/2006/relationships/image" Target="../media/image211.png"/><Relationship Id="rId48" Type="http://schemas.openxmlformats.org/officeDocument/2006/relationships/image" Target="../media/image216.png"/><Relationship Id="rId56" Type="http://schemas.openxmlformats.org/officeDocument/2006/relationships/image" Target="../media/image224.png"/><Relationship Id="rId8" Type="http://schemas.openxmlformats.org/officeDocument/2006/relationships/image" Target="../media/image176.png"/><Relationship Id="rId51" Type="http://schemas.openxmlformats.org/officeDocument/2006/relationships/image" Target="../media/image219.png"/><Relationship Id="rId3" Type="http://schemas.openxmlformats.org/officeDocument/2006/relationships/image" Target="../media/image171.png"/><Relationship Id="rId12" Type="http://schemas.openxmlformats.org/officeDocument/2006/relationships/image" Target="../media/image180.png"/><Relationship Id="rId17" Type="http://schemas.openxmlformats.org/officeDocument/2006/relationships/image" Target="../media/image185.png"/><Relationship Id="rId25" Type="http://schemas.openxmlformats.org/officeDocument/2006/relationships/image" Target="../media/image193.png"/><Relationship Id="rId33" Type="http://schemas.openxmlformats.org/officeDocument/2006/relationships/image" Target="../media/image201.png"/><Relationship Id="rId38" Type="http://schemas.openxmlformats.org/officeDocument/2006/relationships/image" Target="../media/image206.png"/><Relationship Id="rId46" Type="http://schemas.openxmlformats.org/officeDocument/2006/relationships/image" Target="../media/image214.png"/><Relationship Id="rId59" Type="http://schemas.openxmlformats.org/officeDocument/2006/relationships/image" Target="../media/image227.png"/><Relationship Id="rId20" Type="http://schemas.openxmlformats.org/officeDocument/2006/relationships/image" Target="../media/image188.png"/><Relationship Id="rId41" Type="http://schemas.openxmlformats.org/officeDocument/2006/relationships/image" Target="../media/image209.png"/><Relationship Id="rId54" Type="http://schemas.openxmlformats.org/officeDocument/2006/relationships/image" Target="../media/image222.png"/><Relationship Id="rId1" Type="http://schemas.openxmlformats.org/officeDocument/2006/relationships/tags" Target="../tags/tag185.xml"/><Relationship Id="rId6" Type="http://schemas.openxmlformats.org/officeDocument/2006/relationships/image" Target="../media/image174.png"/><Relationship Id="rId15" Type="http://schemas.openxmlformats.org/officeDocument/2006/relationships/image" Target="../media/image183.png"/><Relationship Id="rId23" Type="http://schemas.openxmlformats.org/officeDocument/2006/relationships/image" Target="../media/image191.png"/><Relationship Id="rId28" Type="http://schemas.openxmlformats.org/officeDocument/2006/relationships/image" Target="../media/image196.png"/><Relationship Id="rId36" Type="http://schemas.openxmlformats.org/officeDocument/2006/relationships/image" Target="../media/image204.png"/><Relationship Id="rId49" Type="http://schemas.openxmlformats.org/officeDocument/2006/relationships/image" Target="../media/image217.png"/><Relationship Id="rId57" Type="http://schemas.openxmlformats.org/officeDocument/2006/relationships/image" Target="../media/image225.png"/><Relationship Id="rId10" Type="http://schemas.openxmlformats.org/officeDocument/2006/relationships/image" Target="../media/image178.png"/><Relationship Id="rId31" Type="http://schemas.openxmlformats.org/officeDocument/2006/relationships/image" Target="../media/image199.png"/><Relationship Id="rId44" Type="http://schemas.openxmlformats.org/officeDocument/2006/relationships/image" Target="../media/image212.png"/><Relationship Id="rId52" Type="http://schemas.openxmlformats.org/officeDocument/2006/relationships/image" Target="../media/image220.png"/><Relationship Id="rId60" Type="http://schemas.openxmlformats.org/officeDocument/2006/relationships/image" Target="../media/image228.png"/></Relationships>
</file>

<file path=ppt/slides/_rels/slide8.xml.rels><?xml version="1.0" encoding="UTF-8" standalone="yes"?>
<Relationships xmlns="http://schemas.openxmlformats.org/package/2006/relationships"><Relationship Id="rId13" Type="http://schemas.openxmlformats.org/officeDocument/2006/relationships/image" Target="../media/image237.png"/><Relationship Id="rId18" Type="http://schemas.openxmlformats.org/officeDocument/2006/relationships/image" Target="../media/image242.png"/><Relationship Id="rId26" Type="http://schemas.openxmlformats.org/officeDocument/2006/relationships/image" Target="../media/image250.png"/><Relationship Id="rId21" Type="http://schemas.openxmlformats.org/officeDocument/2006/relationships/image" Target="../media/image245.png"/><Relationship Id="rId34" Type="http://schemas.openxmlformats.org/officeDocument/2006/relationships/image" Target="../media/image258.png"/><Relationship Id="rId7" Type="http://schemas.openxmlformats.org/officeDocument/2006/relationships/image" Target="../media/image231.png"/><Relationship Id="rId12" Type="http://schemas.openxmlformats.org/officeDocument/2006/relationships/image" Target="../media/image236.png"/><Relationship Id="rId17" Type="http://schemas.openxmlformats.org/officeDocument/2006/relationships/image" Target="../media/image241.png"/><Relationship Id="rId25" Type="http://schemas.openxmlformats.org/officeDocument/2006/relationships/image" Target="../media/image249.png"/><Relationship Id="rId33" Type="http://schemas.openxmlformats.org/officeDocument/2006/relationships/image" Target="../media/image257.png"/><Relationship Id="rId38" Type="http://schemas.openxmlformats.org/officeDocument/2006/relationships/image" Target="../media/image262.png"/><Relationship Id="rId2" Type="http://schemas.openxmlformats.org/officeDocument/2006/relationships/tags" Target="../tags/tag187.xml"/><Relationship Id="rId16" Type="http://schemas.openxmlformats.org/officeDocument/2006/relationships/image" Target="../media/image240.png"/><Relationship Id="rId20" Type="http://schemas.openxmlformats.org/officeDocument/2006/relationships/image" Target="../media/image244.png"/><Relationship Id="rId29" Type="http://schemas.openxmlformats.org/officeDocument/2006/relationships/image" Target="../media/image253.png"/><Relationship Id="rId1" Type="http://schemas.openxmlformats.org/officeDocument/2006/relationships/tags" Target="../tags/tag186.xml"/><Relationship Id="rId6" Type="http://schemas.openxmlformats.org/officeDocument/2006/relationships/image" Target="../media/image230.png"/><Relationship Id="rId11" Type="http://schemas.openxmlformats.org/officeDocument/2006/relationships/image" Target="../media/image235.png"/><Relationship Id="rId24" Type="http://schemas.openxmlformats.org/officeDocument/2006/relationships/image" Target="../media/image248.png"/><Relationship Id="rId32" Type="http://schemas.openxmlformats.org/officeDocument/2006/relationships/image" Target="../media/image256.png"/><Relationship Id="rId37" Type="http://schemas.openxmlformats.org/officeDocument/2006/relationships/image" Target="../media/image261.png"/><Relationship Id="rId5" Type="http://schemas.openxmlformats.org/officeDocument/2006/relationships/image" Target="../media/image229.png"/><Relationship Id="rId15" Type="http://schemas.openxmlformats.org/officeDocument/2006/relationships/image" Target="../media/image239.png"/><Relationship Id="rId23" Type="http://schemas.openxmlformats.org/officeDocument/2006/relationships/image" Target="../media/image247.png"/><Relationship Id="rId28" Type="http://schemas.openxmlformats.org/officeDocument/2006/relationships/image" Target="../media/image252.png"/><Relationship Id="rId36" Type="http://schemas.openxmlformats.org/officeDocument/2006/relationships/image" Target="../media/image260.png"/><Relationship Id="rId10" Type="http://schemas.openxmlformats.org/officeDocument/2006/relationships/image" Target="../media/image234.png"/><Relationship Id="rId19" Type="http://schemas.openxmlformats.org/officeDocument/2006/relationships/image" Target="../media/image243.png"/><Relationship Id="rId31" Type="http://schemas.openxmlformats.org/officeDocument/2006/relationships/image" Target="../media/image255.png"/><Relationship Id="rId4" Type="http://schemas.openxmlformats.org/officeDocument/2006/relationships/slideLayout" Target="../slideLayouts/slideLayout23.xml"/><Relationship Id="rId9" Type="http://schemas.openxmlformats.org/officeDocument/2006/relationships/image" Target="../media/image233.png"/><Relationship Id="rId14" Type="http://schemas.openxmlformats.org/officeDocument/2006/relationships/image" Target="../media/image238.png"/><Relationship Id="rId22" Type="http://schemas.openxmlformats.org/officeDocument/2006/relationships/image" Target="../media/image246.png"/><Relationship Id="rId27" Type="http://schemas.openxmlformats.org/officeDocument/2006/relationships/image" Target="../media/image251.png"/><Relationship Id="rId30" Type="http://schemas.openxmlformats.org/officeDocument/2006/relationships/image" Target="../media/image254.png"/><Relationship Id="rId35" Type="http://schemas.openxmlformats.org/officeDocument/2006/relationships/image" Target="../media/image259.png"/><Relationship Id="rId8" Type="http://schemas.openxmlformats.org/officeDocument/2006/relationships/image" Target="../media/image232.png"/><Relationship Id="rId3" Type="http://schemas.openxmlformats.org/officeDocument/2006/relationships/tags" Target="../tags/tag18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Placeholder 18" descr="A car on a road with trees and mountains in the background&#10;&#10;Description automatically generated with medium confidence"/>
          <p:cNvPicPr>
            <a:picLocks noGrp="1" noChangeAspect="1"/>
          </p:cNvPicPr>
          <p:nvPr>
            <p:ph type="pic" sz="quarter" idx="10"/>
          </p:nvPr>
        </p:nvPicPr>
        <p:blipFill rotWithShape="1">
          <a:blip r:embed="rId5">
            <a:extLst>
              <a:ext uri="{28A0092B-C50C-407E-A947-70E740481C1C}">
                <a14:useLocalDpi xmlns:a14="http://schemas.microsoft.com/office/drawing/2010/main" val="0"/>
              </a:ext>
            </a:extLst>
          </a:blip>
          <a:srcRect t="52757" b="-2953"/>
          <a:stretch>
            <a:fillRect/>
          </a:stretch>
        </p:blipFill>
        <p:spPr>
          <a:xfrm>
            <a:off x="0" y="4004890"/>
            <a:ext cx="10883900" cy="3073153"/>
          </a:xfrm>
        </p:spPr>
      </p:pic>
      <p:pic>
        <p:nvPicPr>
          <p:cNvPr id="12" name="Picture 11"/>
          <p:cNvPicPr>
            <a:picLocks noChangeAspect="1"/>
          </p:cNvPicPr>
          <p:nvPr/>
        </p:nvPicPr>
        <p:blipFill>
          <a:blip r:embed="rId6"/>
          <a:stretch>
            <a:fillRect/>
          </a:stretch>
        </p:blipFill>
        <p:spPr>
          <a:xfrm>
            <a:off x="9126583" y="2460487"/>
            <a:ext cx="3065417" cy="4434438"/>
          </a:xfrm>
          <a:prstGeom prst="rect">
            <a:avLst/>
          </a:prstGeom>
        </p:spPr>
      </p:pic>
      <p:sp>
        <p:nvSpPr>
          <p:cNvPr id="11" name="TextBox 10"/>
          <p:cNvSpPr txBox="1"/>
          <p:nvPr/>
        </p:nvSpPr>
        <p:spPr>
          <a:xfrm>
            <a:off x="76664" y="6402734"/>
            <a:ext cx="82956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dirty="0">
                <a:ln>
                  <a:noFill/>
                </a:ln>
                <a:solidFill>
                  <a:srgbClr val="FFFFFF"/>
                </a:solidFill>
                <a:effectLst/>
                <a:uLnTx/>
                <a:uFillTx/>
                <a:latin typeface="GothamBook" pitchFamily="50" charset="0"/>
                <a:ea typeface="GothamBook" pitchFamily="50" charset="0"/>
                <a:cs typeface="GothamBook" pitchFamily="50" charset="0"/>
              </a:rPr>
              <a:t>mind.id</a:t>
            </a:r>
          </a:p>
        </p:txBody>
      </p:sp>
      <p:sp>
        <p:nvSpPr>
          <p:cNvPr id="5" name="Text Placeholder 4"/>
          <p:cNvSpPr>
            <a:spLocks noGrp="1"/>
          </p:cNvSpPr>
          <p:nvPr>
            <p:ph type="body" sz="quarter" idx="20"/>
          </p:nvPr>
        </p:nvSpPr>
        <p:spPr>
          <a:xfrm>
            <a:off x="272839" y="1339969"/>
            <a:ext cx="11458322" cy="1772080"/>
          </a:xfrm>
        </p:spPr>
        <p:txBody>
          <a:bodyPr/>
          <a:lstStyle/>
          <a:p>
            <a:r>
              <a:rPr lang="zh-CN" altLang="en-US" sz="4000" dirty="0">
                <a:solidFill>
                  <a:srgbClr val="008000"/>
                </a:solidFill>
              </a:rPr>
              <a:t>印度尼西亚铝土矿开发和氧化铝产业发展</a:t>
            </a:r>
            <a:endParaRPr lang="en-US" sz="4000" dirty="0">
              <a:solidFill>
                <a:srgbClr val="008000"/>
              </a:solidFill>
            </a:endParaRPr>
          </a:p>
          <a:p>
            <a:r>
              <a:rPr lang="zh-CN" altLang="en-US" sz="2400" dirty="0"/>
              <a:t>印度尼西亚矿产有限公司（</a:t>
            </a:r>
            <a:r>
              <a:rPr lang="en-US" altLang="zh-CN" sz="2400" dirty="0"/>
              <a:t>MIND ID</a:t>
            </a:r>
            <a:r>
              <a:rPr lang="zh-CN" altLang="en-US" sz="2400" dirty="0"/>
              <a:t>）</a:t>
            </a:r>
            <a:endParaRPr lang="en-US" sz="2400" dirty="0">
              <a:solidFill>
                <a:srgbClr val="FF0000"/>
              </a:solidFill>
            </a:endParaRPr>
          </a:p>
        </p:txBody>
      </p:sp>
      <p:pic>
        <p:nvPicPr>
          <p:cNvPr id="2" name="Picture 1"/>
          <p:cNvPicPr>
            <a:picLocks noChangeAspect="1"/>
          </p:cNvPicPr>
          <p:nvPr/>
        </p:nvPicPr>
        <p:blipFill>
          <a:blip r:embed="rId7"/>
          <a:stretch>
            <a:fillRect/>
          </a:stretch>
        </p:blipFill>
        <p:spPr>
          <a:xfrm>
            <a:off x="9784396" y="219958"/>
            <a:ext cx="1924779" cy="555525"/>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p:nvPicPr>
        <p:blipFill>
          <a:blip r:embed="rId5"/>
          <a:stretch>
            <a:fillRect/>
          </a:stretch>
        </p:blipFill>
        <p:spPr>
          <a:xfrm>
            <a:off x="371475" y="3082770"/>
            <a:ext cx="3495675" cy="3689162"/>
          </a:xfrm>
          <a:prstGeom prst="rect">
            <a:avLst/>
          </a:prstGeom>
        </p:spPr>
      </p:pic>
      <p:sp>
        <p:nvSpPr>
          <p:cNvPr id="4" name="Title 19"/>
          <p:cNvSpPr txBox="1"/>
          <p:nvPr/>
        </p:nvSpPr>
        <p:spPr>
          <a:xfrm>
            <a:off x="334963" y="619701"/>
            <a:ext cx="11675224" cy="60125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800" b="1" i="0" u="none" strike="noStrike" kern="1200" cap="none" spc="0" normalizeH="0" baseline="0" noProof="0" dirty="0">
                <a:ln>
                  <a:noFill/>
                </a:ln>
                <a:solidFill>
                  <a:srgbClr val="C00000"/>
                </a:solidFill>
                <a:effectLst/>
                <a:uLnTx/>
                <a:uFillTx/>
                <a:latin typeface="GothamBold" pitchFamily="50" charset="0"/>
              </a:rPr>
              <a:t>税收假期及其他优惠政策</a:t>
            </a:r>
            <a:endParaRPr kumimoji="0" lang="en-US" sz="1800" b="1" i="0" u="none" strike="noStrike" kern="1200" cap="none" spc="0" normalizeH="0" baseline="0" noProof="0" dirty="0">
              <a:ln>
                <a:noFill/>
              </a:ln>
              <a:solidFill>
                <a:srgbClr val="C00000"/>
              </a:solidFill>
              <a:effectLst/>
              <a:highlight>
                <a:srgbClr val="FFFF00"/>
              </a:highlight>
              <a:uLnTx/>
              <a:uFillTx/>
              <a:latin typeface="GothamBold" pitchFamily="50" charset="0"/>
            </a:endParaRPr>
          </a:p>
          <a:p>
            <a:pPr>
              <a:defRPr/>
            </a:pPr>
            <a:r>
              <a:rPr lang="zh-CN" altLang="zh-CN" sz="1800" b="1" kern="100" dirty="0">
                <a:effectLst/>
                <a:latin typeface="等线" panose="02010600030101010101" pitchFamily="2" charset="-122"/>
                <a:ea typeface="等线" panose="02010600030101010101" pitchFamily="2" charset="-122"/>
                <a:cs typeface="Times New Roman" panose="02020503050405090304" pitchFamily="18" charset="0"/>
              </a:rPr>
              <a:t>根据税收假期政策，对先行性行业进行新增投资的企业或能享受公司所得税减免的优惠。</a:t>
            </a:r>
            <a:r>
              <a:rPr kumimoji="0" lang="en-US" sz="1800" b="1" i="0" u="none" strike="noStrike" kern="1200" cap="none" spc="0" normalizeH="0" baseline="0" noProof="0" dirty="0">
                <a:ln>
                  <a:noFill/>
                </a:ln>
                <a:solidFill>
                  <a:srgbClr val="15325B"/>
                </a:solidFill>
                <a:effectLst/>
                <a:uLnTx/>
                <a:uFillTx/>
                <a:latin typeface="GothamBold" pitchFamily="50" charset="0"/>
              </a:rPr>
              <a:t> </a:t>
            </a:r>
            <a:endParaRPr kumimoji="0" lang="en-US" sz="1800" b="1" i="0" u="none" strike="noStrike" kern="1200" cap="none" spc="0" normalizeH="0" baseline="0" noProof="0" dirty="0">
              <a:ln>
                <a:noFill/>
              </a:ln>
              <a:solidFill>
                <a:srgbClr val="15325B"/>
              </a:solidFill>
              <a:effectLst/>
              <a:highlight>
                <a:srgbClr val="FFFF00"/>
              </a:highlight>
              <a:uLnTx/>
              <a:uFillTx/>
              <a:latin typeface="GothamBold" pitchFamily="50" charset="0"/>
            </a:endParaRPr>
          </a:p>
        </p:txBody>
      </p:sp>
      <p:sp>
        <p:nvSpPr>
          <p:cNvPr id="2" name="Slide Number Placeholder 2"/>
          <p:cNvSpPr txBox="1"/>
          <p:nvPr/>
        </p:nvSpPr>
        <p:spPr>
          <a:xfrm>
            <a:off x="11208568" y="6396327"/>
            <a:ext cx="611957" cy="365125"/>
          </a:xfrm>
          <a:prstGeom prst="rect">
            <a:avLst/>
          </a:prstGeom>
        </p:spPr>
        <p:txBody>
          <a:bodyPr vert="horz" lIns="0" tIns="45720" rIns="0" bIns="45720" rtlCol="0" anchor="b"/>
          <a:lstStyle>
            <a:defPPr>
              <a:defRPr lang="en-US"/>
            </a:defPPr>
            <a:lvl1pPr algn="r">
              <a:defRPr sz="1050" b="0" i="0">
                <a:solidFill>
                  <a:schemeClr val="tx1">
                    <a:lumMod val="75000"/>
                    <a:lumOff val="25000"/>
                  </a:schemeClr>
                </a:solidFill>
                <a:latin typeface="Gotham Medium" charset="0"/>
                <a:ea typeface="Gotham Medium" charset="0"/>
                <a:cs typeface="Gotham Medium"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id-ID" sz="1050" b="0" i="0" u="none" strike="noStrike" kern="1200" cap="none" spc="0" normalizeH="0" baseline="0" noProof="0">
                <a:ln>
                  <a:noFill/>
                </a:ln>
                <a:solidFill>
                  <a:srgbClr val="000000">
                    <a:lumMod val="75000"/>
                    <a:lumOff val="25000"/>
                  </a:srgbClr>
                </a:solidFill>
                <a:effectLst/>
                <a:uLnTx/>
                <a:uFillTx/>
                <a:latin typeface="Gotham Medium" charset="0"/>
              </a:rPr>
              <a:t>|         </a:t>
            </a:r>
            <a:fld id="{7904F5B5-DD6E-6442-8C14-4BFE420CE974}" type="slidenum">
              <a:rPr kumimoji="0" lang="id-ID" sz="1050" b="0" i="0" u="none" strike="noStrike" kern="1200" cap="none" spc="0" normalizeH="0" baseline="0" noProof="0" smtClean="0">
                <a:ln>
                  <a:noFill/>
                </a:ln>
                <a:solidFill>
                  <a:srgbClr val="000000">
                    <a:lumMod val="75000"/>
                    <a:lumOff val="25000"/>
                  </a:srgbClr>
                </a:solidFill>
                <a:effectLst/>
                <a:uLnTx/>
                <a:uFillTx/>
                <a:latin typeface="Gotham Medium" charset="0"/>
              </a:rPr>
              <a:t>10</a:t>
            </a:fld>
            <a:endParaRPr kumimoji="0" lang="id-ID" sz="1050" b="0" i="0" u="none" strike="noStrike" kern="1200" cap="none" spc="0" normalizeH="0" baseline="0" noProof="0">
              <a:ln>
                <a:noFill/>
              </a:ln>
              <a:solidFill>
                <a:srgbClr val="000000">
                  <a:lumMod val="75000"/>
                  <a:lumOff val="25000"/>
                </a:srgbClr>
              </a:solidFill>
              <a:effectLst/>
              <a:uLnTx/>
              <a:uFillTx/>
              <a:latin typeface="Gotham Medium" charset="0"/>
            </a:endParaRPr>
          </a:p>
        </p:txBody>
      </p:sp>
      <p:sp>
        <p:nvSpPr>
          <p:cNvPr id="3" name="TextBox 2"/>
          <p:cNvSpPr txBox="1"/>
          <p:nvPr/>
        </p:nvSpPr>
        <p:spPr>
          <a:xfrm>
            <a:off x="243883" y="1748885"/>
            <a:ext cx="11613154" cy="92333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lang="zh-CN" altLang="zh-CN" dirty="0">
                <a:effectLst/>
                <a:ea typeface="等线" panose="02010600030101010101" pitchFamily="2" charset="-122"/>
                <a:cs typeface="Times New Roman" panose="02020503050405090304" pitchFamily="18" charset="0"/>
              </a:rPr>
              <a:t>税收假期（</a:t>
            </a:r>
            <a:r>
              <a:rPr lang="en-US" altLang="zh-CN" dirty="0">
                <a:effectLst/>
                <a:ea typeface="等线" panose="02010600030101010101" pitchFamily="2" charset="-122"/>
                <a:cs typeface="Times New Roman" panose="02020503050405090304" pitchFamily="18" charset="0"/>
              </a:rPr>
              <a:t>Tax holiday</a:t>
            </a:r>
            <a:r>
              <a:rPr lang="zh-CN" altLang="zh-CN" dirty="0">
                <a:effectLst/>
                <a:ea typeface="等线" panose="02010600030101010101" pitchFamily="2" charset="-122"/>
                <a:cs typeface="Times New Roman" panose="02020503050405090304" pitchFamily="18" charset="0"/>
              </a:rPr>
              <a:t>）是一项旨在吸引外资的税收优惠措施。根据印尼财政部关于税收假期的</a:t>
            </a:r>
            <a:r>
              <a:rPr lang="en-US" altLang="zh-CN" dirty="0">
                <a:effectLst/>
                <a:ea typeface="等线" panose="02010600030101010101" pitchFamily="2" charset="-122"/>
                <a:cs typeface="Times New Roman" panose="02020503050405090304" pitchFamily="18" charset="0"/>
              </a:rPr>
              <a:t>No. 130/PMK.010/2020</a:t>
            </a:r>
            <a:r>
              <a:rPr lang="zh-CN" altLang="zh-CN" dirty="0">
                <a:effectLst/>
                <a:ea typeface="等线" panose="02010600030101010101" pitchFamily="2" charset="-122"/>
                <a:cs typeface="Times New Roman" panose="02020503050405090304" pitchFamily="18" charset="0"/>
              </a:rPr>
              <a:t>政策规定，对该国先行性行业（</a:t>
            </a:r>
            <a:r>
              <a:rPr lang="en-US" altLang="zh-CN" dirty="0">
                <a:effectLst/>
                <a:ea typeface="等线" panose="02010600030101010101" pitchFamily="2" charset="-122"/>
                <a:cs typeface="Times New Roman" panose="02020503050405090304" pitchFamily="18" charset="0"/>
              </a:rPr>
              <a:t>Pioneer Industries</a:t>
            </a:r>
            <a:r>
              <a:rPr lang="zh-CN" altLang="zh-CN" dirty="0">
                <a:effectLst/>
                <a:ea typeface="等线" panose="02010600030101010101" pitchFamily="2" charset="-122"/>
                <a:cs typeface="Times New Roman" panose="02020503050405090304" pitchFamily="18" charset="0"/>
              </a:rPr>
              <a:t>）进行新增投资的公司，其主要经营活动所带来的任何收入将有可能享受公司所得税减免的优惠政策。</a:t>
            </a:r>
            <a:endParaRPr kumimoji="0" lang="en-US" b="0" i="0" u="none" strike="noStrike" kern="1200" cap="none" spc="0" normalizeH="0" baseline="0" noProof="0" dirty="0">
              <a:ln>
                <a:noFill/>
              </a:ln>
              <a:solidFill>
                <a:srgbClr val="15325B"/>
              </a:solidFill>
              <a:effectLst/>
              <a:uLnTx/>
              <a:uFillTx/>
              <a:ea typeface="+mn-ea"/>
              <a:cs typeface="+mn-cs"/>
            </a:endParaRPr>
          </a:p>
        </p:txBody>
      </p:sp>
      <p:grpSp>
        <p:nvGrpSpPr>
          <p:cNvPr id="12" name="Group 11"/>
          <p:cNvGrpSpPr/>
          <p:nvPr/>
        </p:nvGrpSpPr>
        <p:grpSpPr>
          <a:xfrm>
            <a:off x="371475" y="1385412"/>
            <a:ext cx="2663327" cy="353317"/>
            <a:chOff x="334963" y="1724624"/>
            <a:chExt cx="2663327" cy="353317"/>
          </a:xfrm>
        </p:grpSpPr>
        <p:sp>
          <p:nvSpPr>
            <p:cNvPr id="6" name="Rectangle: Rounded Corners 5"/>
            <p:cNvSpPr/>
            <p:nvPr/>
          </p:nvSpPr>
          <p:spPr>
            <a:xfrm>
              <a:off x="334963" y="1724624"/>
              <a:ext cx="2231527" cy="353317"/>
            </a:xfrm>
            <a:prstGeom prst="roundRect">
              <a:avLst/>
            </a:prstGeom>
            <a:solidFill>
              <a:srgbClr val="1532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9"/>
            <p:cNvSpPr txBox="1"/>
            <p:nvPr/>
          </p:nvSpPr>
          <p:spPr>
            <a:xfrm>
              <a:off x="380503" y="1724624"/>
              <a:ext cx="2617787" cy="293478"/>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b="1" i="0" u="none" strike="noStrike" kern="1200" cap="none" spc="0" normalizeH="0" baseline="0" noProof="0" dirty="0">
                  <a:ln>
                    <a:noFill/>
                  </a:ln>
                  <a:solidFill>
                    <a:schemeClr val="bg1"/>
                  </a:solidFill>
                  <a:effectLst/>
                  <a:uLnTx/>
                  <a:uFillTx/>
                  <a:latin typeface="GothamBold" pitchFamily="50" charset="0"/>
                </a:rPr>
                <a:t>什么是税收假期</a:t>
              </a:r>
              <a:r>
                <a:rPr lang="en-US" b="1" dirty="0">
                  <a:solidFill>
                    <a:schemeClr val="bg1"/>
                  </a:solidFill>
                  <a:latin typeface="GothamBold" pitchFamily="50" charset="0"/>
                </a:rPr>
                <a:t>?</a:t>
              </a:r>
              <a:endParaRPr kumimoji="0" lang="en-US" b="1" i="0" u="none" strike="noStrike" kern="1200" cap="none" spc="0" normalizeH="0" baseline="0" noProof="0" dirty="0">
                <a:ln>
                  <a:noFill/>
                </a:ln>
                <a:solidFill>
                  <a:schemeClr val="bg1"/>
                </a:solidFill>
                <a:effectLst/>
                <a:highlight>
                  <a:srgbClr val="FFFF00"/>
                </a:highlight>
                <a:uLnTx/>
                <a:uFillTx/>
                <a:latin typeface="GothamBold" pitchFamily="50" charset="0"/>
              </a:endParaRPr>
            </a:p>
          </p:txBody>
        </p:sp>
      </p:grpSp>
      <p:grpSp>
        <p:nvGrpSpPr>
          <p:cNvPr id="13" name="Group 12"/>
          <p:cNvGrpSpPr/>
          <p:nvPr/>
        </p:nvGrpSpPr>
        <p:grpSpPr>
          <a:xfrm>
            <a:off x="334963" y="2600219"/>
            <a:ext cx="7009266" cy="353317"/>
            <a:chOff x="334963" y="2876444"/>
            <a:chExt cx="7009266" cy="353317"/>
          </a:xfrm>
        </p:grpSpPr>
        <p:sp>
          <p:nvSpPr>
            <p:cNvPr id="8" name="Rectangle: Rounded Corners 7"/>
            <p:cNvSpPr/>
            <p:nvPr/>
          </p:nvSpPr>
          <p:spPr>
            <a:xfrm>
              <a:off x="334963" y="2876444"/>
              <a:ext cx="6406923" cy="353317"/>
            </a:xfrm>
            <a:prstGeom prst="roundRect">
              <a:avLst/>
            </a:prstGeom>
            <a:solidFill>
              <a:srgbClr val="15325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9"/>
            <p:cNvSpPr txBox="1"/>
            <p:nvPr/>
          </p:nvSpPr>
          <p:spPr>
            <a:xfrm>
              <a:off x="380503" y="2891832"/>
              <a:ext cx="6963726" cy="262701"/>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sz="1400" b="1" i="0" u="none" strike="noStrike" kern="1200" cap="none" spc="0" normalizeH="0" baseline="0" noProof="0" dirty="0">
                  <a:ln>
                    <a:noFill/>
                  </a:ln>
                  <a:solidFill>
                    <a:schemeClr val="bg1"/>
                  </a:solidFill>
                  <a:effectLst/>
                  <a:uLnTx/>
                  <a:uFillTx/>
                  <a:latin typeface="GothamBold" pitchFamily="50" charset="0"/>
                </a:rPr>
                <a:t>PMK-130 </a:t>
              </a:r>
              <a:r>
                <a:rPr kumimoji="0" lang="zh-CN" altLang="en-US" sz="1400" b="1" i="0" u="none" strike="noStrike" kern="1200" cap="none" spc="0" normalizeH="0" baseline="0" noProof="0" dirty="0">
                  <a:ln>
                    <a:noFill/>
                  </a:ln>
                  <a:solidFill>
                    <a:schemeClr val="bg1"/>
                  </a:solidFill>
                  <a:effectLst/>
                  <a:uLnTx/>
                  <a:uFillTx/>
                  <a:latin typeface="GothamBold" pitchFamily="50" charset="0"/>
                </a:rPr>
                <a:t>政策所涉及的先行性行业包括</a:t>
              </a:r>
              <a:r>
                <a:rPr kumimoji="0" lang="en-US" sz="1400" b="1" i="0" u="none" strike="noStrike" kern="1200" cap="none" spc="0" normalizeH="0" baseline="0" noProof="0" dirty="0">
                  <a:ln>
                    <a:noFill/>
                  </a:ln>
                  <a:solidFill>
                    <a:schemeClr val="bg1"/>
                  </a:solidFill>
                  <a:effectLst/>
                  <a:uLnTx/>
                  <a:uFillTx/>
                  <a:latin typeface="GothamBold" pitchFamily="50" charset="0"/>
                </a:rPr>
                <a:t>:</a:t>
              </a:r>
              <a:endParaRPr kumimoji="0" lang="en-US" sz="1400" b="1" i="0" u="none" strike="noStrike" kern="1200" cap="none" spc="0" normalizeH="0" baseline="0" noProof="0" dirty="0">
                <a:ln>
                  <a:noFill/>
                </a:ln>
                <a:solidFill>
                  <a:schemeClr val="bg1"/>
                </a:solidFill>
                <a:effectLst/>
                <a:highlight>
                  <a:srgbClr val="FFFF00"/>
                </a:highlight>
                <a:uLnTx/>
                <a:uFillTx/>
                <a:latin typeface="GothamBold" pitchFamily="50" charset="0"/>
              </a:endParaRPr>
            </a:p>
          </p:txBody>
        </p:sp>
      </p:grpSp>
      <p:pic>
        <p:nvPicPr>
          <p:cNvPr id="15" name="Picture 14"/>
          <p:cNvPicPr>
            <a:picLocks noChangeAspect="1"/>
          </p:cNvPicPr>
          <p:nvPr/>
        </p:nvPicPr>
        <p:blipFill>
          <a:blip r:embed="rId6"/>
          <a:stretch>
            <a:fillRect/>
          </a:stretch>
        </p:blipFill>
        <p:spPr>
          <a:xfrm>
            <a:off x="4631284" y="3157303"/>
            <a:ext cx="7496552" cy="3239024"/>
          </a:xfrm>
          <a:prstGeom prst="rect">
            <a:avLst/>
          </a:prstGeom>
        </p:spPr>
      </p:pic>
      <p:sp>
        <p:nvSpPr>
          <p:cNvPr id="16" name="Rectangle: Rounded Corners 15"/>
          <p:cNvSpPr/>
          <p:nvPr/>
        </p:nvSpPr>
        <p:spPr>
          <a:xfrm>
            <a:off x="371475" y="3018152"/>
            <a:ext cx="658943" cy="821695"/>
          </a:xfrm>
          <a:prstGeom prst="roundRect">
            <a:avLst/>
          </a:prstGeom>
          <a:solidFill>
            <a:schemeClr val="accent5">
              <a:lumMod val="20000"/>
              <a:lumOff val="80000"/>
              <a:alpha val="50196"/>
            </a:schemeClr>
          </a:solidFill>
          <a:ln>
            <a:solidFill>
              <a:srgbClr val="15325B"/>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391383" y="3449589"/>
            <a:ext cx="619125" cy="307777"/>
          </a:xfrm>
          <a:prstGeom prst="rect">
            <a:avLst/>
          </a:prstGeom>
          <a:solidFill>
            <a:srgbClr val="FDE8E9"/>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700" i="0" u="none" strike="noStrike" kern="1200" cap="none" spc="0" normalizeH="0" baseline="0" noProof="0">
                <a:ln>
                  <a:noFill/>
                </a:ln>
                <a:solidFill>
                  <a:srgbClr val="15325B"/>
                </a:solidFill>
                <a:effectLst/>
                <a:uLnTx/>
                <a:uFillTx/>
                <a:ea typeface="+mn-ea"/>
                <a:cs typeface="+mn-cs"/>
              </a:rPr>
              <a:t>Upstream base metals</a:t>
            </a:r>
          </a:p>
        </p:txBody>
      </p:sp>
      <p:grpSp>
        <p:nvGrpSpPr>
          <p:cNvPr id="18" name="Group 17"/>
          <p:cNvGrpSpPr/>
          <p:nvPr/>
        </p:nvGrpSpPr>
        <p:grpSpPr>
          <a:xfrm>
            <a:off x="4096131" y="3082770"/>
            <a:ext cx="306171" cy="3572030"/>
            <a:chOff x="5942914" y="2081213"/>
            <a:chExt cx="306171" cy="3572030"/>
          </a:xfrm>
        </p:grpSpPr>
        <p:cxnSp>
          <p:nvCxnSpPr>
            <p:cNvPr id="19" name="Straight Connector 18"/>
            <p:cNvCxnSpPr/>
            <p:nvPr/>
          </p:nvCxnSpPr>
          <p:spPr>
            <a:xfrm>
              <a:off x="6096000" y="2081213"/>
              <a:ext cx="0" cy="3572030"/>
            </a:xfrm>
            <a:prstGeom prst="line">
              <a:avLst/>
            </a:prstGeom>
            <a:ln w="19050" cap="rnd">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5942914" y="3712602"/>
              <a:ext cx="306171" cy="306910"/>
              <a:chOff x="5937564" y="3579048"/>
              <a:chExt cx="306171" cy="306910"/>
            </a:xfrm>
          </p:grpSpPr>
          <p:sp>
            <p:nvSpPr>
              <p:cNvPr id="21" name="Freeform 94"/>
              <p:cNvSpPr/>
              <p:nvPr/>
            </p:nvSpPr>
            <p:spPr bwMode="gray">
              <a:xfrm>
                <a:off x="5937564" y="357904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15325B"/>
              </a:solidFill>
              <a:ln>
                <a:solidFill>
                  <a:schemeClr val="tx2"/>
                </a:solidFill>
              </a:ln>
            </p:spPr>
            <p:txBody>
              <a:bodyPr vert="horz" wrap="square" lIns="88641" tIns="44321" rIns="88641" bIns="44321" numCol="1" anchor="t" anchorCtr="0" compatLnSpc="1"/>
              <a:lstStyle/>
              <a:p>
                <a:endParaRPr lang="en-US">
                  <a:solidFill>
                    <a:srgbClr val="6E6F73"/>
                  </a:solidFill>
                </a:endParaRPr>
              </a:p>
            </p:txBody>
          </p:sp>
          <p:sp>
            <p:nvSpPr>
              <p:cNvPr id="22" name="Freeform 95"/>
              <p:cNvSpPr/>
              <p:nvPr/>
            </p:nvSpPr>
            <p:spPr bwMode="gray">
              <a:xfrm>
                <a:off x="6053995" y="3621308"/>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88641" tIns="44321" rIns="88641" bIns="44321" numCol="1" anchor="t" anchorCtr="0" compatLnSpc="1"/>
              <a:lstStyle/>
              <a:p>
                <a:endParaRPr lang="en-US">
                  <a:solidFill>
                    <a:srgbClr val="6E6F73"/>
                  </a:solidFill>
                </a:endParaRPr>
              </a:p>
            </p:txBody>
          </p:sp>
        </p:grpSp>
      </p:grpSp>
      <p:sp>
        <p:nvSpPr>
          <p:cNvPr id="24" name="ee4pFootnotes"/>
          <p:cNvSpPr>
            <a:spLocks noChangeArrowheads="1"/>
          </p:cNvSpPr>
          <p:nvPr/>
        </p:nvSpPr>
        <p:spPr bwMode="auto">
          <a:xfrm>
            <a:off x="6577316" y="6578889"/>
            <a:ext cx="6638501" cy="304297"/>
          </a:xfrm>
          <a:prstGeom prst="rect">
            <a:avLst/>
          </a:prstGeom>
          <a:noFill/>
          <a:ln w="9525" algn="ctr">
            <a:noFill/>
            <a:miter lim="800000"/>
            <a:headEnd type="none" w="lg" len="lg"/>
            <a:tailEnd type="none" w="lg" len="lg"/>
          </a:ln>
        </p:spPr>
        <p:txBody>
          <a:bodyPr vert="horz" wrap="none" lIns="0" tIns="0" rIns="0" bIns="0" anchor="t" anchorCtr="0">
            <a:noAutofit/>
          </a:bodyPr>
          <a:lstStyle/>
          <a:p>
            <a:pPr>
              <a:lnSpc>
                <a:spcPct val="90000"/>
              </a:lnSpc>
            </a:pPr>
            <a:r>
              <a:rPr lang="zh-CN" altLang="zh-CN" sz="1000" b="1" dirty="0">
                <a:solidFill>
                  <a:schemeClr val="bg1">
                    <a:lumMod val="50000"/>
                  </a:schemeClr>
                </a:solidFill>
                <a:latin typeface="Gotham Book" charset="0"/>
                <a:cs typeface="Arial" panose="020B0604020202090204" pitchFamily="34" charset="0"/>
              </a:rPr>
              <a:t>来源</a:t>
            </a:r>
            <a:r>
              <a:rPr lang="zh-CN" altLang="zh-CN" sz="1000" dirty="0">
                <a:solidFill>
                  <a:schemeClr val="bg1">
                    <a:lumMod val="50000"/>
                  </a:schemeClr>
                </a:solidFill>
                <a:latin typeface="Gotham Book" charset="0"/>
                <a:cs typeface="Arial" panose="020B0604020202090204" pitchFamily="34" charset="0"/>
              </a:rPr>
              <a:t>：印度尼西亚投资部</a:t>
            </a:r>
            <a:r>
              <a:rPr lang="en-US" sz="1000" dirty="0">
                <a:solidFill>
                  <a:schemeClr val="bg1">
                    <a:lumMod val="50000"/>
                  </a:schemeClr>
                </a:solidFill>
                <a:latin typeface="Gotham Book" charset="0"/>
                <a:cs typeface="Arial" panose="020B0604020202090204" pitchFamily="34" charset="0"/>
              </a:rPr>
              <a:t>– BKPM (Badan </a:t>
            </a:r>
            <a:r>
              <a:rPr lang="en-US" sz="1000" dirty="0" err="1">
                <a:solidFill>
                  <a:schemeClr val="bg1">
                    <a:lumMod val="50000"/>
                  </a:schemeClr>
                </a:solidFill>
                <a:latin typeface="Gotham Book" charset="0"/>
                <a:cs typeface="Arial" panose="020B0604020202090204" pitchFamily="34" charset="0"/>
              </a:rPr>
              <a:t>Koordinasi</a:t>
            </a:r>
            <a:r>
              <a:rPr lang="en-US" sz="1000" dirty="0">
                <a:solidFill>
                  <a:schemeClr val="bg1">
                    <a:lumMod val="50000"/>
                  </a:schemeClr>
                </a:solidFill>
                <a:latin typeface="Gotham Book" charset="0"/>
                <a:cs typeface="Arial" panose="020B0604020202090204" pitchFamily="34" charset="0"/>
              </a:rPr>
              <a:t> </a:t>
            </a:r>
            <a:r>
              <a:rPr lang="en-US" sz="1000" dirty="0" err="1">
                <a:solidFill>
                  <a:schemeClr val="bg1">
                    <a:lumMod val="50000"/>
                  </a:schemeClr>
                </a:solidFill>
                <a:latin typeface="Gotham Book" charset="0"/>
                <a:cs typeface="Arial" panose="020B0604020202090204" pitchFamily="34" charset="0"/>
              </a:rPr>
              <a:t>Penanaman</a:t>
            </a:r>
            <a:r>
              <a:rPr lang="en-US" sz="1000" dirty="0">
                <a:solidFill>
                  <a:schemeClr val="bg1">
                    <a:lumMod val="50000"/>
                  </a:schemeClr>
                </a:solidFill>
                <a:latin typeface="Gotham Book" charset="0"/>
                <a:cs typeface="Arial" panose="020B0604020202090204" pitchFamily="34" charset="0"/>
              </a:rPr>
              <a:t> Modal)</a:t>
            </a:r>
            <a:r>
              <a:rPr lang="en-US" sz="1000" b="1" dirty="0">
                <a:solidFill>
                  <a:schemeClr val="bg1">
                    <a:lumMod val="50000"/>
                  </a:schemeClr>
                </a:solidFill>
                <a:latin typeface="Gotham Book" charset="0"/>
                <a:cs typeface="Arial" panose="020B0604020202090204" pitchFamily="34" charset="0"/>
              </a:rPr>
              <a:t> </a:t>
            </a:r>
          </a:p>
        </p:txBody>
      </p:sp>
      <p:sp>
        <p:nvSpPr>
          <p:cNvPr id="10" name="文本框 9"/>
          <p:cNvSpPr txBox="1"/>
          <p:nvPr/>
        </p:nvSpPr>
        <p:spPr>
          <a:xfrm>
            <a:off x="417015" y="3449589"/>
            <a:ext cx="593493" cy="295441"/>
          </a:xfrm>
          <a:prstGeom prst="rect">
            <a:avLst/>
          </a:prstGeom>
          <a:solidFill>
            <a:srgbClr val="FDE8E9"/>
          </a:solidFill>
        </p:spPr>
        <p:txBody>
          <a:bodyPr vert="horz" wrap="square" lIns="0" tIns="45720" rIns="91440" bIns="45720" rtlCol="0" anchor="ctr">
            <a:noAutofit/>
          </a:bodyPr>
          <a:lstStyle/>
          <a:p>
            <a:pPr algn="ctr"/>
            <a:r>
              <a:rPr lang="zh-CN" altLang="en-US" sz="800" b="0" i="0" dirty="0">
                <a:solidFill>
                  <a:schemeClr val="accent1"/>
                </a:solidFill>
                <a:latin typeface="宋体" pitchFamily="2" charset="-122"/>
                <a:ea typeface="宋体" pitchFamily="2" charset="-122"/>
                <a:cs typeface="Gotham Medium" charset="0"/>
              </a:rPr>
              <a:t>上游基本金属</a:t>
            </a:r>
          </a:p>
        </p:txBody>
      </p:sp>
      <p:sp>
        <p:nvSpPr>
          <p:cNvPr id="14" name="文本框 13"/>
          <p:cNvSpPr txBox="1"/>
          <p:nvPr/>
        </p:nvSpPr>
        <p:spPr>
          <a:xfrm>
            <a:off x="4784368" y="3232531"/>
            <a:ext cx="1792948" cy="512499"/>
          </a:xfrm>
          <a:prstGeom prst="rect">
            <a:avLst/>
          </a:prstGeom>
          <a:solidFill>
            <a:srgbClr val="45AE7D"/>
          </a:solidFill>
        </p:spPr>
        <p:txBody>
          <a:bodyPr vert="horz" wrap="square" lIns="0" tIns="45720" rIns="91440" bIns="45720" rtlCol="0" anchor="ctr">
            <a:noAutofit/>
          </a:bodyPr>
          <a:lstStyle/>
          <a:p>
            <a:pPr algn="ctr"/>
            <a:r>
              <a:rPr lang="zh-CN" altLang="en-US" sz="1600" b="0" i="0" dirty="0">
                <a:solidFill>
                  <a:schemeClr val="bg1"/>
                </a:solidFill>
                <a:latin typeface="Gotham Medium" charset="0"/>
                <a:ea typeface="Gotham Medium" charset="0"/>
                <a:cs typeface="Gotham Medium" charset="0"/>
              </a:rPr>
              <a:t>类型</a:t>
            </a:r>
          </a:p>
        </p:txBody>
      </p:sp>
      <p:sp>
        <p:nvSpPr>
          <p:cNvPr id="23" name="文本框 22"/>
          <p:cNvSpPr txBox="1"/>
          <p:nvPr/>
        </p:nvSpPr>
        <p:spPr>
          <a:xfrm>
            <a:off x="6915150" y="3153313"/>
            <a:ext cx="2962275" cy="512499"/>
          </a:xfrm>
          <a:prstGeom prst="rect">
            <a:avLst/>
          </a:prstGeom>
          <a:solidFill>
            <a:srgbClr val="45AE7D"/>
          </a:solidFill>
        </p:spPr>
        <p:txBody>
          <a:bodyPr vert="horz" wrap="square" lIns="0" tIns="45720" rIns="91440" bIns="45720" rtlCol="0" anchor="ctr">
            <a:noAutofit/>
          </a:bodyPr>
          <a:lstStyle/>
          <a:p>
            <a:pPr algn="ctr"/>
            <a:r>
              <a:rPr lang="zh-CN" altLang="en-US" sz="1600" dirty="0">
                <a:solidFill>
                  <a:schemeClr val="bg1"/>
                </a:solidFill>
                <a:latin typeface="Gotham Medium" charset="0"/>
                <a:ea typeface="Gotham Medium" charset="0"/>
                <a:cs typeface="Gotham Medium" charset="0"/>
              </a:rPr>
              <a:t>新增资本投资（印尼盾）</a:t>
            </a:r>
            <a:endParaRPr lang="zh-CN" altLang="en-US" sz="1600" b="0" i="0" dirty="0">
              <a:solidFill>
                <a:schemeClr val="bg1"/>
              </a:solidFill>
              <a:latin typeface="Gotham Medium" charset="0"/>
              <a:ea typeface="Gotham Medium" charset="0"/>
              <a:cs typeface="Gotham Medium" charset="0"/>
            </a:endParaRPr>
          </a:p>
        </p:txBody>
      </p:sp>
      <p:sp>
        <p:nvSpPr>
          <p:cNvPr id="25" name="文本框 24"/>
          <p:cNvSpPr txBox="1"/>
          <p:nvPr/>
        </p:nvSpPr>
        <p:spPr>
          <a:xfrm>
            <a:off x="10001250" y="3184314"/>
            <a:ext cx="2085975" cy="512499"/>
          </a:xfrm>
          <a:prstGeom prst="rect">
            <a:avLst/>
          </a:prstGeom>
          <a:solidFill>
            <a:srgbClr val="45AE7D"/>
          </a:solidFill>
        </p:spPr>
        <p:txBody>
          <a:bodyPr vert="horz" wrap="square" lIns="0" tIns="45720" rIns="91440" bIns="45720" rtlCol="0" anchor="ctr">
            <a:noAutofit/>
          </a:bodyPr>
          <a:lstStyle/>
          <a:p>
            <a:r>
              <a:rPr lang="zh-CN" altLang="en-US" sz="1600" b="0" i="0" dirty="0">
                <a:solidFill>
                  <a:schemeClr val="bg1"/>
                </a:solidFill>
                <a:latin typeface="Gotham Medium" charset="0"/>
                <a:ea typeface="Gotham Medium" charset="0"/>
                <a:cs typeface="Gotham Medium" charset="0"/>
              </a:rPr>
              <a:t>税收假期期限（年</a:t>
            </a:r>
            <a:r>
              <a:rPr lang="en-US" altLang="zh-CN" sz="1600" b="0" i="0" dirty="0">
                <a:solidFill>
                  <a:schemeClr val="bg1"/>
                </a:solidFill>
                <a:latin typeface="Gotham Medium" charset="0"/>
                <a:ea typeface="Gotham Medium" charset="0"/>
                <a:cs typeface="Gotham Medium" charset="0"/>
              </a:rPr>
              <a:t>/%</a:t>
            </a:r>
            <a:r>
              <a:rPr lang="zh-CN" altLang="en-US" sz="1600" b="0" i="0" dirty="0">
                <a:solidFill>
                  <a:schemeClr val="bg1"/>
                </a:solidFill>
                <a:latin typeface="Gotham Medium" charset="0"/>
                <a:ea typeface="Gotham Medium" charset="0"/>
                <a:cs typeface="Gotham Medium" charset="0"/>
              </a:rPr>
              <a:t>）</a:t>
            </a:r>
          </a:p>
        </p:txBody>
      </p:sp>
      <p:sp>
        <p:nvSpPr>
          <p:cNvPr id="26" name="文本框 25"/>
          <p:cNvSpPr txBox="1"/>
          <p:nvPr/>
        </p:nvSpPr>
        <p:spPr>
          <a:xfrm>
            <a:off x="4631055" y="3853815"/>
            <a:ext cx="2110740" cy="308610"/>
          </a:xfrm>
          <a:prstGeom prst="rect">
            <a:avLst/>
          </a:prstGeom>
          <a:solidFill>
            <a:srgbClr val="F5F8FB"/>
          </a:solidFill>
        </p:spPr>
        <p:txBody>
          <a:bodyPr vert="horz" wrap="square" lIns="0" tIns="45720" rIns="91440" bIns="45720" rtlCol="0" anchor="ctr">
            <a:noAutofit/>
          </a:bodyPr>
          <a:lstStyle/>
          <a:p>
            <a:pPr algn="ctr"/>
            <a:r>
              <a:rPr lang="zh-CN" altLang="en-US" sz="1600" b="0" i="0" dirty="0">
                <a:solidFill>
                  <a:schemeClr val="accent1"/>
                </a:solidFill>
                <a:latin typeface="Gotham Medium" charset="0"/>
                <a:ea typeface="Gotham Medium" charset="0"/>
                <a:cs typeface="Gotham Medium" charset="0"/>
              </a:rPr>
              <a:t>税收假期最低档（</a:t>
            </a:r>
            <a:r>
              <a:rPr lang="en-US" altLang="zh-CN" sz="1600" b="0" i="0" dirty="0">
                <a:solidFill>
                  <a:schemeClr val="accent1"/>
                </a:solidFill>
                <a:latin typeface="Gotham Medium" charset="0"/>
                <a:ea typeface="Gotham Medium" charset="0"/>
                <a:cs typeface="Gotham Medium" charset="0"/>
              </a:rPr>
              <a:t>50%</a:t>
            </a:r>
            <a:r>
              <a:rPr lang="zh-CN" altLang="en-US" sz="1600" b="0" i="0" dirty="0">
                <a:solidFill>
                  <a:schemeClr val="accent1"/>
                </a:solidFill>
                <a:latin typeface="Gotham Medium" charset="0"/>
                <a:ea typeface="Gotham Medium" charset="0"/>
                <a:cs typeface="Gotham Medium" charset="0"/>
              </a:rPr>
              <a:t>）</a:t>
            </a:r>
          </a:p>
        </p:txBody>
      </p:sp>
      <p:sp>
        <p:nvSpPr>
          <p:cNvPr id="28" name="文本框 27"/>
          <p:cNvSpPr txBox="1"/>
          <p:nvPr/>
        </p:nvSpPr>
        <p:spPr>
          <a:xfrm>
            <a:off x="4714879" y="4231953"/>
            <a:ext cx="2027004" cy="342167"/>
          </a:xfrm>
          <a:prstGeom prst="rect">
            <a:avLst/>
          </a:prstGeom>
          <a:solidFill>
            <a:srgbClr val="F5F8FB"/>
          </a:solidFill>
        </p:spPr>
        <p:txBody>
          <a:bodyPr vert="horz" wrap="square" lIns="0" tIns="45720" rIns="91440" bIns="45720" rtlCol="0" anchor="ctr">
            <a:noAutofit/>
          </a:bodyPr>
          <a:lstStyle/>
          <a:p>
            <a:pPr algn="ctr"/>
            <a:r>
              <a:rPr lang="zh-CN" altLang="en-US" sz="1600" b="0" i="0" dirty="0">
                <a:solidFill>
                  <a:schemeClr val="accent1"/>
                </a:solidFill>
                <a:latin typeface="Gotham Medium" charset="0"/>
                <a:ea typeface="Gotham Medium" charset="0"/>
                <a:cs typeface="Gotham Medium" charset="0"/>
              </a:rPr>
              <a:t>税收假期</a:t>
            </a:r>
            <a:r>
              <a:rPr lang="en-US" altLang="zh-CN" sz="1600" b="0" i="0" dirty="0">
                <a:solidFill>
                  <a:schemeClr val="accent1"/>
                </a:solidFill>
                <a:latin typeface="Gotham Medium" charset="0"/>
                <a:ea typeface="Gotham Medium" charset="0"/>
                <a:cs typeface="Gotham Medium" charset="0"/>
              </a:rPr>
              <a:t>I</a:t>
            </a:r>
            <a:endParaRPr lang="zh-CN" altLang="en-US" sz="1600" b="0" i="0" dirty="0">
              <a:solidFill>
                <a:schemeClr val="accent1"/>
              </a:solidFill>
              <a:latin typeface="Gotham Medium" charset="0"/>
              <a:ea typeface="Gotham Medium" charset="0"/>
              <a:cs typeface="Gotham Medium" charset="0"/>
            </a:endParaRPr>
          </a:p>
        </p:txBody>
      </p:sp>
      <p:sp>
        <p:nvSpPr>
          <p:cNvPr id="29" name="文本框 28"/>
          <p:cNvSpPr txBox="1"/>
          <p:nvPr/>
        </p:nvSpPr>
        <p:spPr>
          <a:xfrm>
            <a:off x="4714879" y="4714159"/>
            <a:ext cx="1943096" cy="306910"/>
          </a:xfrm>
          <a:prstGeom prst="rect">
            <a:avLst/>
          </a:prstGeom>
          <a:solidFill>
            <a:srgbClr val="F5F8FB"/>
          </a:solidFill>
        </p:spPr>
        <p:txBody>
          <a:bodyPr vert="horz" wrap="square" lIns="0" tIns="45720" rIns="91440" bIns="45720" rtlCol="0" anchor="ctr">
            <a:noAutofit/>
          </a:bodyPr>
          <a:lstStyle/>
          <a:p>
            <a:pPr algn="ctr"/>
            <a:r>
              <a:rPr lang="zh-CN" altLang="en-US" sz="1600" b="0" i="0" dirty="0">
                <a:solidFill>
                  <a:schemeClr val="accent1"/>
                </a:solidFill>
                <a:latin typeface="Gotham Medium" charset="0"/>
                <a:ea typeface="Gotham Medium" charset="0"/>
                <a:cs typeface="Gotham Medium" charset="0"/>
              </a:rPr>
              <a:t>税收假期</a:t>
            </a:r>
            <a:r>
              <a:rPr lang="en-US" altLang="zh-CN" sz="1600" dirty="0">
                <a:solidFill>
                  <a:schemeClr val="accent1"/>
                </a:solidFill>
                <a:latin typeface="Gotham Medium" charset="0"/>
                <a:ea typeface="Gotham Medium" charset="0"/>
                <a:cs typeface="Gotham Medium" charset="0"/>
              </a:rPr>
              <a:t>II</a:t>
            </a:r>
            <a:endParaRPr lang="zh-CN" altLang="en-US" sz="1600" b="0" i="0" dirty="0">
              <a:solidFill>
                <a:schemeClr val="accent1"/>
              </a:solidFill>
              <a:latin typeface="Gotham Medium" charset="0"/>
              <a:ea typeface="Gotham Medium" charset="0"/>
              <a:cs typeface="Gotham Medium" charset="0"/>
            </a:endParaRPr>
          </a:p>
        </p:txBody>
      </p:sp>
      <p:sp>
        <p:nvSpPr>
          <p:cNvPr id="30" name="文本框 29"/>
          <p:cNvSpPr txBox="1"/>
          <p:nvPr/>
        </p:nvSpPr>
        <p:spPr>
          <a:xfrm>
            <a:off x="11595010" y="2696043"/>
            <a:ext cx="914400" cy="914400"/>
          </a:xfrm>
          <a:prstGeom prst="rect">
            <a:avLst/>
          </a:prstGeom>
        </p:spPr>
        <p:txBody>
          <a:bodyPr vert="horz" wrap="none" lIns="0" tIns="45720" rIns="91440" bIns="45720" rtlCol="0" anchor="ctr">
            <a:noAutofit/>
          </a:bodyPr>
          <a:lstStyle/>
          <a:p>
            <a:endParaRPr lang="zh-CN" altLang="en-US" sz="1600" b="0" i="0" dirty="0">
              <a:solidFill>
                <a:schemeClr val="accent1"/>
              </a:solidFill>
              <a:latin typeface="Gotham Medium" charset="0"/>
              <a:ea typeface="Gotham Medium" charset="0"/>
              <a:cs typeface="Gotham Medium" charset="0"/>
            </a:endParaRPr>
          </a:p>
        </p:txBody>
      </p:sp>
      <p:sp>
        <p:nvSpPr>
          <p:cNvPr id="31" name="文本框 30"/>
          <p:cNvSpPr txBox="1"/>
          <p:nvPr/>
        </p:nvSpPr>
        <p:spPr>
          <a:xfrm>
            <a:off x="4714879" y="5143500"/>
            <a:ext cx="2027004" cy="306910"/>
          </a:xfrm>
          <a:prstGeom prst="rect">
            <a:avLst/>
          </a:prstGeom>
          <a:solidFill>
            <a:srgbClr val="F5F8FB"/>
          </a:solidFill>
        </p:spPr>
        <p:txBody>
          <a:bodyPr vert="horz" wrap="square" lIns="0" tIns="45720" rIns="91440" bIns="45720" rtlCol="0" anchor="ctr">
            <a:noAutofit/>
          </a:bodyPr>
          <a:lstStyle/>
          <a:p>
            <a:pPr algn="ctr"/>
            <a:r>
              <a:rPr lang="zh-CN" altLang="en-US" sz="1600" b="0" i="0" dirty="0">
                <a:solidFill>
                  <a:schemeClr val="accent1"/>
                </a:solidFill>
                <a:latin typeface="Gotham Medium" charset="0"/>
                <a:ea typeface="Gotham Medium" charset="0"/>
                <a:cs typeface="Gotham Medium" charset="0"/>
              </a:rPr>
              <a:t>税收假期</a:t>
            </a:r>
            <a:r>
              <a:rPr lang="en-US" altLang="zh-CN" sz="1600" b="0" i="0" dirty="0">
                <a:solidFill>
                  <a:schemeClr val="accent1"/>
                </a:solidFill>
                <a:latin typeface="Gotham Medium" charset="0"/>
                <a:ea typeface="Gotham Medium" charset="0"/>
                <a:cs typeface="Gotham Medium" charset="0"/>
              </a:rPr>
              <a:t>I</a:t>
            </a:r>
            <a:r>
              <a:rPr lang="en-US" altLang="zh-CN" sz="1600" dirty="0">
                <a:solidFill>
                  <a:schemeClr val="accent1"/>
                </a:solidFill>
                <a:latin typeface="Gotham Medium" charset="0"/>
                <a:ea typeface="Gotham Medium" charset="0"/>
                <a:cs typeface="Gotham Medium" charset="0"/>
              </a:rPr>
              <a:t>II</a:t>
            </a:r>
            <a:endParaRPr lang="zh-CN" altLang="en-US" sz="1600" b="0" i="0" dirty="0">
              <a:solidFill>
                <a:schemeClr val="accent1"/>
              </a:solidFill>
              <a:latin typeface="Gotham Medium" charset="0"/>
              <a:ea typeface="Gotham Medium" charset="0"/>
              <a:cs typeface="Gotham Medium" charset="0"/>
            </a:endParaRPr>
          </a:p>
        </p:txBody>
      </p:sp>
      <p:sp>
        <p:nvSpPr>
          <p:cNvPr id="32" name="文本框 31"/>
          <p:cNvSpPr txBox="1"/>
          <p:nvPr/>
        </p:nvSpPr>
        <p:spPr>
          <a:xfrm>
            <a:off x="4667340" y="5583153"/>
            <a:ext cx="2027004" cy="338829"/>
          </a:xfrm>
          <a:prstGeom prst="rect">
            <a:avLst/>
          </a:prstGeom>
          <a:solidFill>
            <a:srgbClr val="F5F8FB"/>
          </a:solidFill>
        </p:spPr>
        <p:txBody>
          <a:bodyPr vert="horz" wrap="square" lIns="0" tIns="45720" rIns="91440" bIns="45720" rtlCol="0" anchor="ctr">
            <a:noAutofit/>
          </a:bodyPr>
          <a:lstStyle/>
          <a:p>
            <a:pPr algn="ctr"/>
            <a:r>
              <a:rPr lang="zh-CN" altLang="en-US" sz="1600" b="0" i="0" dirty="0">
                <a:solidFill>
                  <a:schemeClr val="accent1"/>
                </a:solidFill>
                <a:latin typeface="Gotham Medium" charset="0"/>
                <a:ea typeface="Gotham Medium" charset="0"/>
                <a:cs typeface="Gotham Medium" charset="0"/>
              </a:rPr>
              <a:t>税收假期</a:t>
            </a:r>
            <a:r>
              <a:rPr lang="en-US" altLang="zh-CN" sz="1600" b="0" i="0" dirty="0">
                <a:solidFill>
                  <a:schemeClr val="accent1"/>
                </a:solidFill>
                <a:latin typeface="Gotham Medium" charset="0"/>
                <a:ea typeface="Gotham Medium" charset="0"/>
                <a:cs typeface="Gotham Medium" charset="0"/>
              </a:rPr>
              <a:t>I</a:t>
            </a:r>
            <a:r>
              <a:rPr lang="en-US" altLang="zh-CN" sz="1600" dirty="0">
                <a:solidFill>
                  <a:schemeClr val="accent1"/>
                </a:solidFill>
                <a:latin typeface="Gotham Medium" charset="0"/>
                <a:ea typeface="Gotham Medium" charset="0"/>
                <a:cs typeface="Gotham Medium" charset="0"/>
              </a:rPr>
              <a:t>V</a:t>
            </a:r>
            <a:endParaRPr lang="zh-CN" altLang="en-US" sz="1600" b="0" i="0" dirty="0">
              <a:solidFill>
                <a:schemeClr val="accent1"/>
              </a:solidFill>
              <a:latin typeface="Gotham Medium" charset="0"/>
              <a:ea typeface="Gotham Medium" charset="0"/>
              <a:cs typeface="Gotham Medium" charset="0"/>
            </a:endParaRPr>
          </a:p>
        </p:txBody>
      </p:sp>
      <p:sp>
        <p:nvSpPr>
          <p:cNvPr id="33" name="文本框 32"/>
          <p:cNvSpPr txBox="1"/>
          <p:nvPr/>
        </p:nvSpPr>
        <p:spPr>
          <a:xfrm>
            <a:off x="4714879" y="6037943"/>
            <a:ext cx="1979465" cy="358384"/>
          </a:xfrm>
          <a:prstGeom prst="rect">
            <a:avLst/>
          </a:prstGeom>
          <a:solidFill>
            <a:srgbClr val="F5F8FB"/>
          </a:solidFill>
        </p:spPr>
        <p:txBody>
          <a:bodyPr vert="horz" wrap="square" lIns="0" tIns="45720" rIns="91440" bIns="45720" rtlCol="0" anchor="ctr">
            <a:noAutofit/>
          </a:bodyPr>
          <a:lstStyle/>
          <a:p>
            <a:pPr algn="ctr"/>
            <a:r>
              <a:rPr lang="zh-CN" altLang="en-US" sz="1600" b="0" i="0" dirty="0">
                <a:solidFill>
                  <a:schemeClr val="accent1"/>
                </a:solidFill>
                <a:latin typeface="Gotham Medium" charset="0"/>
                <a:ea typeface="Gotham Medium" charset="0"/>
                <a:cs typeface="Gotham Medium" charset="0"/>
              </a:rPr>
              <a:t>税收假期</a:t>
            </a:r>
            <a:r>
              <a:rPr lang="en-US" altLang="zh-CN" sz="1600" dirty="0">
                <a:solidFill>
                  <a:schemeClr val="accent1"/>
                </a:solidFill>
                <a:latin typeface="Gotham Medium" charset="0"/>
                <a:ea typeface="Gotham Medium" charset="0"/>
                <a:cs typeface="Gotham Medium" charset="0"/>
              </a:rPr>
              <a:t>V</a:t>
            </a:r>
            <a:endParaRPr lang="zh-CN" altLang="en-US" sz="1600" b="0" i="0" dirty="0">
              <a:solidFill>
                <a:schemeClr val="accent1"/>
              </a:solidFill>
              <a:latin typeface="Gotham Medium" charset="0"/>
              <a:ea typeface="Gotham Medium" charset="0"/>
              <a:cs typeface="Gotham Medium" charset="0"/>
            </a:endParaRPr>
          </a:p>
        </p:txBody>
      </p:sp>
      <p:sp>
        <p:nvSpPr>
          <p:cNvPr id="34" name="文本框 33"/>
          <p:cNvSpPr txBox="1"/>
          <p:nvPr/>
        </p:nvSpPr>
        <p:spPr>
          <a:xfrm>
            <a:off x="6934291" y="3795242"/>
            <a:ext cx="2962275" cy="342167"/>
          </a:xfrm>
          <a:prstGeom prst="rect">
            <a:avLst/>
          </a:prstGeom>
          <a:solidFill>
            <a:srgbClr val="F5F8FB"/>
          </a:solidFill>
        </p:spPr>
        <p:txBody>
          <a:bodyPr vert="horz" wrap="square" lIns="0" tIns="45720" rIns="91440" bIns="45720" rtlCol="0" anchor="ctr">
            <a:noAutofit/>
          </a:bodyPr>
          <a:lstStyle/>
          <a:p>
            <a:pPr algn="ctr"/>
            <a:r>
              <a:rPr lang="en-US" altLang="zh-CN" sz="1600" b="0" i="0" dirty="0">
                <a:solidFill>
                  <a:schemeClr val="accent1"/>
                </a:solidFill>
                <a:latin typeface="Gotham Medium" charset="0"/>
                <a:ea typeface="Gotham Medium" charset="0"/>
                <a:cs typeface="Gotham Medium" charset="0"/>
              </a:rPr>
              <a:t>1000</a:t>
            </a:r>
            <a:r>
              <a:rPr lang="zh-CN" altLang="en-US" sz="1600" b="0" i="0" dirty="0">
                <a:solidFill>
                  <a:schemeClr val="accent1"/>
                </a:solidFill>
                <a:latin typeface="Gotham Medium" charset="0"/>
                <a:ea typeface="Gotham Medium" charset="0"/>
                <a:cs typeface="Gotham Medium" charset="0"/>
              </a:rPr>
              <a:t>亿</a:t>
            </a:r>
            <a:r>
              <a:rPr lang="en-US" altLang="zh-CN" sz="1600" b="0" i="0" dirty="0">
                <a:solidFill>
                  <a:schemeClr val="accent1"/>
                </a:solidFill>
                <a:latin typeface="Gotham Medium" charset="0"/>
                <a:ea typeface="Gotham Medium" charset="0"/>
                <a:cs typeface="Gotham Medium" charset="0"/>
              </a:rPr>
              <a:t>-5000</a:t>
            </a:r>
            <a:r>
              <a:rPr lang="zh-CN" altLang="en-US" sz="1600" b="0" i="0" dirty="0">
                <a:solidFill>
                  <a:schemeClr val="accent1"/>
                </a:solidFill>
                <a:latin typeface="Gotham Medium" charset="0"/>
                <a:ea typeface="Gotham Medium" charset="0"/>
                <a:cs typeface="Gotham Medium" charset="0"/>
              </a:rPr>
              <a:t>亿印尼盾</a:t>
            </a:r>
          </a:p>
        </p:txBody>
      </p:sp>
      <p:sp>
        <p:nvSpPr>
          <p:cNvPr id="35" name="文本框 34"/>
          <p:cNvSpPr txBox="1"/>
          <p:nvPr/>
        </p:nvSpPr>
        <p:spPr>
          <a:xfrm>
            <a:off x="6941730" y="4231953"/>
            <a:ext cx="2962275" cy="422384"/>
          </a:xfrm>
          <a:prstGeom prst="rect">
            <a:avLst/>
          </a:prstGeom>
          <a:solidFill>
            <a:srgbClr val="F5F8FB"/>
          </a:solidFill>
        </p:spPr>
        <p:txBody>
          <a:bodyPr vert="horz" wrap="square" lIns="0" tIns="45720" rIns="91440" bIns="45720" rtlCol="0" anchor="ctr">
            <a:noAutofit/>
          </a:bodyPr>
          <a:lstStyle/>
          <a:p>
            <a:pPr algn="ctr"/>
            <a:r>
              <a:rPr lang="en-US" altLang="zh-CN" sz="1600" b="0" i="0" dirty="0">
                <a:solidFill>
                  <a:schemeClr val="accent1"/>
                </a:solidFill>
                <a:latin typeface="Gotham Medium" charset="0"/>
                <a:ea typeface="Gotham Medium" charset="0"/>
                <a:cs typeface="Gotham Medium" charset="0"/>
              </a:rPr>
              <a:t>5100</a:t>
            </a:r>
            <a:r>
              <a:rPr lang="zh-CN" altLang="en-US" sz="1600" b="0" i="0" dirty="0">
                <a:solidFill>
                  <a:schemeClr val="accent1"/>
                </a:solidFill>
                <a:latin typeface="Gotham Medium" charset="0"/>
                <a:ea typeface="Gotham Medium" charset="0"/>
                <a:cs typeface="Gotham Medium" charset="0"/>
              </a:rPr>
              <a:t>亿</a:t>
            </a:r>
            <a:r>
              <a:rPr lang="en-US" altLang="zh-CN" sz="1600" b="0" i="0" dirty="0">
                <a:solidFill>
                  <a:schemeClr val="accent1"/>
                </a:solidFill>
                <a:latin typeface="Gotham Medium" charset="0"/>
                <a:ea typeface="Gotham Medium" charset="0"/>
                <a:cs typeface="Gotham Medium" charset="0"/>
              </a:rPr>
              <a:t>-1</a:t>
            </a:r>
            <a:r>
              <a:rPr lang="zh-CN" altLang="en-US" sz="1600" b="0" i="0" dirty="0">
                <a:solidFill>
                  <a:schemeClr val="accent1"/>
                </a:solidFill>
                <a:latin typeface="Gotham Medium" charset="0"/>
                <a:ea typeface="Gotham Medium" charset="0"/>
                <a:cs typeface="Gotham Medium" charset="0"/>
              </a:rPr>
              <a:t>万亿印尼盾（不含）</a:t>
            </a:r>
          </a:p>
        </p:txBody>
      </p:sp>
      <p:sp>
        <p:nvSpPr>
          <p:cNvPr id="36" name="文本框 35"/>
          <p:cNvSpPr txBox="1"/>
          <p:nvPr/>
        </p:nvSpPr>
        <p:spPr>
          <a:xfrm>
            <a:off x="6915150" y="4714159"/>
            <a:ext cx="2962275" cy="342167"/>
          </a:xfrm>
          <a:prstGeom prst="rect">
            <a:avLst/>
          </a:prstGeom>
          <a:solidFill>
            <a:srgbClr val="F5F8FB"/>
          </a:solidFill>
        </p:spPr>
        <p:txBody>
          <a:bodyPr vert="horz" wrap="square" lIns="0" tIns="45720" rIns="91440" bIns="45720" rtlCol="0" anchor="ctr">
            <a:noAutofit/>
          </a:bodyPr>
          <a:lstStyle/>
          <a:p>
            <a:pPr algn="ctr"/>
            <a:r>
              <a:rPr lang="en-US" altLang="zh-CN" sz="1600" b="0" i="0" dirty="0">
                <a:solidFill>
                  <a:schemeClr val="accent1"/>
                </a:solidFill>
                <a:latin typeface="Gotham Medium" charset="0"/>
                <a:ea typeface="Gotham Medium" charset="0"/>
                <a:cs typeface="Gotham Medium" charset="0"/>
              </a:rPr>
              <a:t>1</a:t>
            </a:r>
            <a:r>
              <a:rPr lang="zh-CN" altLang="en-US" sz="1600" b="0" i="0" dirty="0">
                <a:solidFill>
                  <a:schemeClr val="accent1"/>
                </a:solidFill>
                <a:latin typeface="Gotham Medium" charset="0"/>
                <a:ea typeface="Gotham Medium" charset="0"/>
                <a:cs typeface="Gotham Medium" charset="0"/>
              </a:rPr>
              <a:t>万亿</a:t>
            </a:r>
            <a:r>
              <a:rPr lang="en-US" altLang="zh-CN" sz="1600" b="0" i="0" dirty="0">
                <a:solidFill>
                  <a:schemeClr val="accent1"/>
                </a:solidFill>
                <a:latin typeface="Gotham Medium" charset="0"/>
                <a:ea typeface="Gotham Medium" charset="0"/>
                <a:cs typeface="Gotham Medium" charset="0"/>
              </a:rPr>
              <a:t>-5</a:t>
            </a:r>
            <a:r>
              <a:rPr lang="zh-CN" altLang="en-US" sz="1600" b="0" i="0" dirty="0">
                <a:solidFill>
                  <a:schemeClr val="accent1"/>
                </a:solidFill>
                <a:latin typeface="Gotham Medium" charset="0"/>
                <a:ea typeface="Gotham Medium" charset="0"/>
                <a:cs typeface="Gotham Medium" charset="0"/>
              </a:rPr>
              <a:t>万亿印尼盾（不含）</a:t>
            </a:r>
          </a:p>
        </p:txBody>
      </p:sp>
      <p:sp>
        <p:nvSpPr>
          <p:cNvPr id="37" name="文本框 36"/>
          <p:cNvSpPr txBox="1"/>
          <p:nvPr/>
        </p:nvSpPr>
        <p:spPr>
          <a:xfrm>
            <a:off x="6915150" y="5143500"/>
            <a:ext cx="2962275" cy="342167"/>
          </a:xfrm>
          <a:prstGeom prst="rect">
            <a:avLst/>
          </a:prstGeom>
          <a:solidFill>
            <a:srgbClr val="F5F8FB"/>
          </a:solidFill>
        </p:spPr>
        <p:txBody>
          <a:bodyPr vert="horz" wrap="square" lIns="0" tIns="45720" rIns="91440" bIns="45720" rtlCol="0" anchor="ctr">
            <a:noAutofit/>
          </a:bodyPr>
          <a:lstStyle/>
          <a:p>
            <a:pPr algn="ctr"/>
            <a:r>
              <a:rPr lang="en-US" altLang="zh-CN" sz="1600" b="0" i="0" dirty="0">
                <a:solidFill>
                  <a:schemeClr val="accent1"/>
                </a:solidFill>
                <a:latin typeface="Gotham Medium" charset="0"/>
                <a:ea typeface="Gotham Medium" charset="0"/>
                <a:cs typeface="Gotham Medium" charset="0"/>
              </a:rPr>
              <a:t>5</a:t>
            </a:r>
            <a:r>
              <a:rPr lang="zh-CN" altLang="en-US" sz="1600" b="0" i="0" dirty="0">
                <a:solidFill>
                  <a:schemeClr val="accent1"/>
                </a:solidFill>
                <a:latin typeface="Gotham Medium" charset="0"/>
                <a:ea typeface="Gotham Medium" charset="0"/>
                <a:cs typeface="Gotham Medium" charset="0"/>
              </a:rPr>
              <a:t>万亿</a:t>
            </a:r>
            <a:r>
              <a:rPr lang="en-US" altLang="zh-CN" sz="1600" b="0" i="0" dirty="0">
                <a:solidFill>
                  <a:schemeClr val="accent1"/>
                </a:solidFill>
                <a:latin typeface="Gotham Medium" charset="0"/>
                <a:ea typeface="Gotham Medium" charset="0"/>
                <a:cs typeface="Gotham Medium" charset="0"/>
              </a:rPr>
              <a:t>-15</a:t>
            </a:r>
            <a:r>
              <a:rPr lang="zh-CN" altLang="en-US" sz="1600" b="0" i="0" dirty="0">
                <a:solidFill>
                  <a:schemeClr val="accent1"/>
                </a:solidFill>
                <a:latin typeface="Gotham Medium" charset="0"/>
                <a:ea typeface="Gotham Medium" charset="0"/>
                <a:cs typeface="Gotham Medium" charset="0"/>
              </a:rPr>
              <a:t>万亿印尼盾（不含）</a:t>
            </a:r>
          </a:p>
        </p:txBody>
      </p:sp>
      <p:sp>
        <p:nvSpPr>
          <p:cNvPr id="38" name="文本框 37"/>
          <p:cNvSpPr txBox="1"/>
          <p:nvPr/>
        </p:nvSpPr>
        <p:spPr>
          <a:xfrm>
            <a:off x="6915150" y="5583153"/>
            <a:ext cx="2962275" cy="363774"/>
          </a:xfrm>
          <a:prstGeom prst="rect">
            <a:avLst/>
          </a:prstGeom>
          <a:solidFill>
            <a:srgbClr val="F5F8FB"/>
          </a:solidFill>
        </p:spPr>
        <p:txBody>
          <a:bodyPr vert="horz" wrap="square" lIns="0" tIns="45720" rIns="91440" bIns="45720" rtlCol="0" anchor="ctr">
            <a:noAutofit/>
          </a:bodyPr>
          <a:lstStyle/>
          <a:p>
            <a:pPr algn="ctr"/>
            <a:r>
              <a:rPr lang="en-US" altLang="zh-CN" sz="1600" b="0" i="0" dirty="0">
                <a:solidFill>
                  <a:schemeClr val="accent1"/>
                </a:solidFill>
                <a:latin typeface="Gotham Medium" charset="0"/>
                <a:ea typeface="Gotham Medium" charset="0"/>
                <a:cs typeface="Gotham Medium" charset="0"/>
              </a:rPr>
              <a:t>15</a:t>
            </a:r>
            <a:r>
              <a:rPr lang="zh-CN" altLang="en-US" sz="1600" b="0" i="0" dirty="0">
                <a:solidFill>
                  <a:schemeClr val="accent1"/>
                </a:solidFill>
                <a:latin typeface="Gotham Medium" charset="0"/>
                <a:ea typeface="Gotham Medium" charset="0"/>
                <a:cs typeface="Gotham Medium" charset="0"/>
              </a:rPr>
              <a:t>万亿</a:t>
            </a:r>
            <a:r>
              <a:rPr lang="en-US" altLang="zh-CN" sz="1600" b="0" i="0" dirty="0">
                <a:solidFill>
                  <a:schemeClr val="accent1"/>
                </a:solidFill>
                <a:latin typeface="Gotham Medium" charset="0"/>
                <a:ea typeface="Gotham Medium" charset="0"/>
                <a:cs typeface="Gotham Medium" charset="0"/>
              </a:rPr>
              <a:t>-30</a:t>
            </a:r>
            <a:r>
              <a:rPr lang="zh-CN" altLang="en-US" sz="1600" b="0" i="0" dirty="0">
                <a:solidFill>
                  <a:schemeClr val="accent1"/>
                </a:solidFill>
                <a:latin typeface="Gotham Medium" charset="0"/>
                <a:ea typeface="Gotham Medium" charset="0"/>
                <a:cs typeface="Gotham Medium" charset="0"/>
              </a:rPr>
              <a:t>万亿印尼盾（不含）</a:t>
            </a:r>
          </a:p>
        </p:txBody>
      </p:sp>
      <p:sp>
        <p:nvSpPr>
          <p:cNvPr id="39" name="文本框 38"/>
          <p:cNvSpPr txBox="1"/>
          <p:nvPr/>
        </p:nvSpPr>
        <p:spPr>
          <a:xfrm>
            <a:off x="6934291" y="6037943"/>
            <a:ext cx="2943134" cy="338855"/>
          </a:xfrm>
          <a:prstGeom prst="rect">
            <a:avLst/>
          </a:prstGeom>
          <a:solidFill>
            <a:srgbClr val="F5F8FB"/>
          </a:solidFill>
        </p:spPr>
        <p:txBody>
          <a:bodyPr vert="horz" wrap="square" lIns="0" tIns="45720" rIns="91440" bIns="45720" rtlCol="0" anchor="ctr">
            <a:noAutofit/>
          </a:bodyPr>
          <a:lstStyle/>
          <a:p>
            <a:pPr algn="ctr"/>
            <a:r>
              <a:rPr lang="en-US" altLang="zh-CN" sz="1600" b="0" i="0" dirty="0">
                <a:solidFill>
                  <a:schemeClr val="accent1"/>
                </a:solidFill>
                <a:latin typeface="Gotham Medium" charset="0"/>
                <a:ea typeface="Gotham Medium" charset="0"/>
                <a:cs typeface="Gotham Medium" charset="0"/>
              </a:rPr>
              <a:t>30</a:t>
            </a:r>
            <a:r>
              <a:rPr lang="zh-CN" altLang="en-US" sz="1600" b="0" i="0" dirty="0">
                <a:solidFill>
                  <a:schemeClr val="accent1"/>
                </a:solidFill>
                <a:latin typeface="Gotham Medium" charset="0"/>
                <a:ea typeface="Gotham Medium" charset="0"/>
                <a:cs typeface="Gotham Medium" charset="0"/>
              </a:rPr>
              <a:t>万亿及以上印尼盾</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35280" y="6396355"/>
            <a:ext cx="8422005"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noProof="0">
                <a:ln>
                  <a:noFill/>
                </a:ln>
                <a:solidFill>
                  <a:srgbClr val="FFFFFF">
                    <a:lumMod val="50000"/>
                  </a:srgbClr>
                </a:solidFill>
                <a:effectLst/>
                <a:uLnTx/>
                <a:uFillTx/>
              </a:rPr>
              <a:t>本PPT由MIND.ID公司专门撰写。未经MIND.ID公司书面同意，本PPT的内容不能以任何形式使用、复制或传播。MIND.ID公司保留所有权利</a:t>
            </a:r>
            <a:r>
              <a:rPr lang="zh-CN" altLang="en-US" sz="900" noProof="0">
                <a:ln>
                  <a:noFill/>
                </a:ln>
                <a:solidFill>
                  <a:srgbClr val="FFFFFF">
                    <a:lumMod val="50000"/>
                  </a:srgbClr>
                </a:solidFill>
                <a:effectLst/>
                <a:uLnTx/>
                <a:uFillTx/>
              </a:rPr>
              <a:t>。</a:t>
            </a:r>
            <a:endParaRPr kumimoji="0" lang="zh-CN" altLang="en-US" sz="900" b="0" i="0" u="none" strike="noStrike" kern="1200" cap="none" spc="0" normalizeH="0" baseline="0" noProof="0" dirty="0">
              <a:ln>
                <a:noFill/>
              </a:ln>
              <a:solidFill>
                <a:srgbClr val="FFFFFF">
                  <a:lumMod val="50000"/>
                </a:srgbClr>
              </a:solidFill>
              <a:effectLst/>
              <a:uLnTx/>
              <a:uFillTx/>
              <a:latin typeface="Gotham Book" charset="0"/>
              <a:ea typeface="Gotham Book" charset="0"/>
              <a:cs typeface="Gotham Book" charset="0"/>
            </a:endParaRPr>
          </a:p>
        </p:txBody>
      </p:sp>
      <p:sp>
        <p:nvSpPr>
          <p:cNvPr id="4" name="Date Placeholder 3"/>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D" sz="900" b="0" i="0" u="none" strike="noStrike" kern="1200" cap="none" spc="0" normalizeH="0" baseline="0" noProof="0" dirty="0">
                <a:ln>
                  <a:noFill/>
                </a:ln>
                <a:solidFill>
                  <a:srgbClr val="000000">
                    <a:lumMod val="65000"/>
                    <a:lumOff val="35000"/>
                  </a:srgbClr>
                </a:solidFill>
                <a:effectLst/>
                <a:uLnTx/>
                <a:uFillTx/>
                <a:latin typeface="Gotham Book" charset="0"/>
              </a:rPr>
              <a:t>Thursday, 11 December 2021</a:t>
            </a:r>
            <a:endParaRPr kumimoji="0" lang="id-ID" sz="900" b="0" i="0" u="none" strike="noStrike" kern="1200" cap="none" spc="0" normalizeH="0" baseline="0" noProof="0" dirty="0">
              <a:ln>
                <a:noFill/>
              </a:ln>
              <a:solidFill>
                <a:srgbClr val="000000">
                  <a:lumMod val="65000"/>
                  <a:lumOff val="35000"/>
                </a:srgbClr>
              </a:solidFill>
              <a:effectLst/>
              <a:uLnTx/>
              <a:uFillTx/>
              <a:latin typeface="Gotham Book" charset="0"/>
            </a:endParaRPr>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id-ID" sz="1100" b="0" i="0" u="none" strike="noStrike" kern="1200" cap="none" spc="0" normalizeH="0" baseline="0" noProof="0">
                <a:ln>
                  <a:noFill/>
                </a:ln>
                <a:solidFill>
                  <a:srgbClr val="000000">
                    <a:lumMod val="75000"/>
                    <a:lumOff val="25000"/>
                  </a:srgbClr>
                </a:solidFill>
                <a:effectLst/>
                <a:uLnTx/>
                <a:uFillTx/>
                <a:latin typeface="Gotham Book" charset="0"/>
              </a:rPr>
              <a:t>|         </a:t>
            </a:r>
            <a:fld id="{7904F5B5-DD6E-6442-8C14-4BFE420CE974}" type="slidenum">
              <a:rPr kumimoji="0" lang="id-ID" sz="1100" b="0" i="0" u="none" strike="noStrike" kern="1200" cap="none" spc="0" normalizeH="0" baseline="0" noProof="0" smtClean="0">
                <a:ln>
                  <a:noFill/>
                </a:ln>
                <a:solidFill>
                  <a:srgbClr val="000000">
                    <a:lumMod val="75000"/>
                    <a:lumOff val="25000"/>
                  </a:srgbClr>
                </a:solidFill>
                <a:effectLst/>
                <a:uLnTx/>
                <a:uFillTx/>
                <a:latin typeface="Gotham Book" charset="0"/>
              </a:rPr>
              <a:t>11</a:t>
            </a:fld>
            <a:endParaRPr kumimoji="0" lang="id-ID" sz="1100" b="0" i="0" u="none" strike="noStrike" kern="1200" cap="none" spc="0" normalizeH="0" baseline="0" noProof="0">
              <a:ln>
                <a:noFill/>
              </a:ln>
              <a:solidFill>
                <a:srgbClr val="000000">
                  <a:lumMod val="75000"/>
                  <a:lumOff val="25000"/>
                </a:srgbClr>
              </a:solidFill>
              <a:effectLst/>
              <a:uLnTx/>
              <a:uFillTx/>
              <a:latin typeface="Gotham Book" charset="0"/>
            </a:endParaRPr>
          </a:p>
        </p:txBody>
      </p:sp>
      <p:graphicFrame>
        <p:nvGraphicFramePr>
          <p:cNvPr id="6" name="Table 11"/>
          <p:cNvGraphicFramePr>
            <a:graphicFrameLocks noGrp="1"/>
          </p:cNvGraphicFramePr>
          <p:nvPr>
            <p:extLst>
              <p:ext uri="{D42A27DB-BD31-4B8C-83A1-F6EECF244321}">
                <p14:modId xmlns:p14="http://schemas.microsoft.com/office/powerpoint/2010/main" val="436059704"/>
              </p:ext>
            </p:extLst>
          </p:nvPr>
        </p:nvGraphicFramePr>
        <p:xfrm>
          <a:off x="258171" y="1145059"/>
          <a:ext cx="11675657" cy="5497745"/>
        </p:xfrm>
        <a:graphic>
          <a:graphicData uri="http://schemas.openxmlformats.org/drawingml/2006/table">
            <a:tbl>
              <a:tblPr firstRow="1" bandRow="1"/>
              <a:tblGrid>
                <a:gridCol w="769297">
                  <a:extLst>
                    <a:ext uri="{9D8B030D-6E8A-4147-A177-3AD203B41FA5}">
                      <a16:colId xmlns:a16="http://schemas.microsoft.com/office/drawing/2014/main" val="20000"/>
                    </a:ext>
                  </a:extLst>
                </a:gridCol>
                <a:gridCol w="2726590">
                  <a:extLst>
                    <a:ext uri="{9D8B030D-6E8A-4147-A177-3AD203B41FA5}">
                      <a16:colId xmlns:a16="http://schemas.microsoft.com/office/drawing/2014/main" val="20001"/>
                    </a:ext>
                  </a:extLst>
                </a:gridCol>
                <a:gridCol w="2726590">
                  <a:extLst>
                    <a:ext uri="{9D8B030D-6E8A-4147-A177-3AD203B41FA5}">
                      <a16:colId xmlns:a16="http://schemas.microsoft.com/office/drawing/2014/main" val="20002"/>
                    </a:ext>
                  </a:extLst>
                </a:gridCol>
                <a:gridCol w="2726590">
                  <a:extLst>
                    <a:ext uri="{9D8B030D-6E8A-4147-A177-3AD203B41FA5}">
                      <a16:colId xmlns:a16="http://schemas.microsoft.com/office/drawing/2014/main" val="20003"/>
                    </a:ext>
                  </a:extLst>
                </a:gridCol>
                <a:gridCol w="2726590">
                  <a:extLst>
                    <a:ext uri="{9D8B030D-6E8A-4147-A177-3AD203B41FA5}">
                      <a16:colId xmlns:a16="http://schemas.microsoft.com/office/drawing/2014/main" val="20004"/>
                    </a:ext>
                  </a:extLst>
                </a:gridCol>
              </a:tblGrid>
              <a:tr h="462253">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algn="ctr"/>
                      <a:endParaRPr lang="en-US" sz="1600" dirty="0"/>
                    </a:p>
                  </a:txBody>
                  <a:tcPr marL="36000" marR="36000" marT="36000" marB="36000" anchor="ctr">
                    <a:lnL w="12700" cmpd="sng">
                      <a:solidFill>
                        <a:srgbClr val="FFFFFF"/>
                      </a:solidFill>
                    </a:lnL>
                    <a:lnR w="12700" cmpd="sng">
                      <a:solidFill>
                        <a:srgbClr val="FFFFFF"/>
                      </a:solidFill>
                    </a:lnR>
                    <a:lnT w="12700" cmpd="sng">
                      <a:solidFill>
                        <a:srgbClr val="FFFFFF"/>
                      </a:solidFill>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algn="ctr"/>
                      <a:r>
                        <a:rPr lang="zh-CN" altLang="en-US" sz="1600" dirty="0"/>
                        <a:t>西加里曼丹矿业开发项目</a:t>
                      </a:r>
                      <a:endParaRPr lang="en-US" sz="1600" dirty="0"/>
                    </a:p>
                  </a:txBody>
                  <a:tcPr marL="36000" marR="36000" marT="36000" marB="36000" anchor="ctr">
                    <a:lnL w="12700" cmpd="sng">
                      <a:solidFill>
                        <a:srgbClr val="FFFFFF"/>
                      </a:solidFill>
                    </a:lnL>
                    <a:lnR w="12700" cmpd="sng">
                      <a:solidFill>
                        <a:srgbClr val="FFFFFF"/>
                      </a:solidFill>
                    </a:lnR>
                    <a:lnT w="12700" cmpd="sng">
                      <a:solidFill>
                        <a:srgbClr val="FFFFFF"/>
                      </a:solidFill>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algn="ctr"/>
                      <a:r>
                        <a:rPr lang="zh-CN" altLang="en-US" sz="1600" dirty="0"/>
                        <a:t>冶炼厂级氧化铝精炼项目</a:t>
                      </a:r>
                      <a:endParaRPr lang="en-US" sz="1600" dirty="0"/>
                    </a:p>
                  </a:txBody>
                  <a:tcPr marL="36000" marR="36000" marT="36000" marB="36000" anchor="ctr">
                    <a:lnL w="12700" cmpd="sng">
                      <a:solidFill>
                        <a:srgbClr val="FFFFFF"/>
                      </a:solidFill>
                    </a:lnL>
                    <a:lnR w="12700" cmpd="sng">
                      <a:solidFill>
                        <a:srgbClr val="FFFFFF"/>
                      </a:solidFill>
                    </a:lnR>
                    <a:lnT w="12700" cmpd="sng">
                      <a:solidFill>
                        <a:srgbClr val="FFFFFF"/>
                      </a:solidFill>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algn="ctr"/>
                      <a:r>
                        <a:rPr lang="zh-CN" altLang="en-US" sz="1600" dirty="0"/>
                        <a:t>冶炼厂级氧化铝精炼项目</a:t>
                      </a:r>
                      <a:r>
                        <a:rPr lang="en-US" sz="1600" dirty="0"/>
                        <a:t>(SGAR) </a:t>
                      </a:r>
                      <a:r>
                        <a:rPr lang="zh-CN" altLang="en-US" sz="1600" dirty="0"/>
                        <a:t>二期</a:t>
                      </a:r>
                      <a:endParaRPr lang="en-US" sz="1600" dirty="0"/>
                    </a:p>
                  </a:txBody>
                  <a:tcPr marL="36000" marR="36000" marT="36000" marB="36000" anchor="ctr">
                    <a:lnL w="12700" cmpd="sng">
                      <a:solidFill>
                        <a:srgbClr val="FFFFFF"/>
                      </a:solidFill>
                    </a:lnL>
                    <a:lnR w="12700" cmpd="sng">
                      <a:solidFill>
                        <a:srgbClr val="FFFFFF"/>
                      </a:solidFill>
                    </a:lnR>
                    <a:lnT w="12700" cmpd="sng">
                      <a:solidFill>
                        <a:srgbClr val="FFFFFF"/>
                      </a:solidFill>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algn="ctr"/>
                      <a:r>
                        <a:rPr lang="zh-CN" altLang="en-US" sz="1600" dirty="0"/>
                        <a:t>绿色铝冶炼扩建项目</a:t>
                      </a:r>
                      <a:endParaRPr lang="en-US" sz="1600" dirty="0"/>
                    </a:p>
                  </a:txBody>
                  <a:tcPr marL="36000" marR="36000" marT="36000" marB="36000" anchor="ctr">
                    <a:lnL w="12700" cmpd="sng">
                      <a:solidFill>
                        <a:srgbClr val="FFFFFF"/>
                      </a:solidFill>
                    </a:lnL>
                    <a:lnR w="12700" cmpd="sng">
                      <a:solidFill>
                        <a:srgbClr val="FFFFFF"/>
                      </a:solidFill>
                    </a:lnR>
                    <a:lnT w="12700" cmpd="sng">
                      <a:solidFill>
                        <a:srgbClr val="FFFFFF"/>
                      </a:solidFill>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000"/>
                  </a:ext>
                </a:extLst>
              </a:tr>
              <a:tr h="1630158">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algn="ctr">
                        <a:buFont typeface="Arial" panose="020B0604020202090204" pitchFamily="34" charset="0"/>
                        <a:buNone/>
                      </a:pPr>
                      <a:r>
                        <a:rPr lang="zh-CN" altLang="en-US" sz="1600" b="1" dirty="0"/>
                        <a:t>战略项目简介</a:t>
                      </a:r>
                      <a:endParaRPr lang="en-US" sz="1600" b="1" dirty="0"/>
                    </a:p>
                  </a:txBody>
                  <a:tcPr marL="36000" marR="36000" marT="36000" marB="36000" vert="vert270" anchor="ctr">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endParaRPr lang="en-US" sz="1600" dirty="0"/>
                    </a:p>
                  </a:txBody>
                  <a:tcPr marL="36000" marR="36000" marT="36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endParaRPr lang="en-US" sz="1600" dirty="0"/>
                    </a:p>
                  </a:txBody>
                  <a:tcPr marL="36000" marR="36000" marT="36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endParaRPr lang="en-US" sz="1600" dirty="0"/>
                    </a:p>
                  </a:txBody>
                  <a:tcPr marL="36000" marR="36000" marT="36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endParaRPr lang="en-US" sz="1600" dirty="0"/>
                    </a:p>
                  </a:txBody>
                  <a:tcPr marL="36000" marR="36000" marT="36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78227">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88900" indent="-88900" algn="ctr" eaLnBrk="0" hangingPunct="0">
                        <a:lnSpc>
                          <a:spcPct val="90000"/>
                        </a:lnSpc>
                        <a:spcBef>
                          <a:spcPts val="200"/>
                        </a:spcBef>
                        <a:buClr>
                          <a:srgbClr val="7D0900"/>
                        </a:buClr>
                        <a:buFont typeface="Arial" panose="020B0604020202090204" pitchFamily="34" charset="0"/>
                        <a:buNone/>
                      </a:pPr>
                      <a:r>
                        <a:rPr lang="zh-CN" altLang="en-US" sz="1600" b="1" i="0" dirty="0"/>
                        <a:t>说明</a:t>
                      </a:r>
                      <a:endParaRPr lang="en-US" sz="1600" b="1" i="0" dirty="0"/>
                    </a:p>
                  </a:txBody>
                  <a:tcPr marL="36000" marR="36000" marT="36000" marB="36000" vert="vert270" anchor="ctr">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88900" indent="-88900" algn="l" eaLnBrk="0" hangingPunct="0">
                        <a:lnSpc>
                          <a:spcPct val="90000"/>
                        </a:lnSpc>
                        <a:spcBef>
                          <a:spcPts val="200"/>
                        </a:spcBef>
                        <a:buClr>
                          <a:srgbClr val="C00000"/>
                        </a:buClr>
                        <a:buFont typeface="Arial" panose="020B0604020202090204" pitchFamily="34" charset="0"/>
                        <a:buChar char="•"/>
                      </a:pPr>
                      <a:r>
                        <a:rPr lang="zh-CN" altLang="en-US" sz="1600" b="0" i="0" dirty="0">
                          <a:solidFill>
                            <a:srgbClr val="000000"/>
                          </a:solidFill>
                        </a:rPr>
                        <a:t>项目地点</a:t>
                      </a:r>
                      <a:r>
                        <a:rPr lang="en-US" sz="1600" b="0" i="0" dirty="0">
                          <a:solidFill>
                            <a:srgbClr val="000000"/>
                          </a:solidFill>
                        </a:rPr>
                        <a:t>: </a:t>
                      </a:r>
                      <a:r>
                        <a:rPr lang="zh-CN" altLang="en-US" sz="1600" b="0" i="0" dirty="0">
                          <a:solidFill>
                            <a:srgbClr val="000000"/>
                          </a:solidFill>
                        </a:rPr>
                        <a:t>曼帕瓦，西加里曼丹省</a:t>
                      </a:r>
                      <a:endParaRPr lang="en-US" sz="1600" b="0" i="0" dirty="0">
                        <a:solidFill>
                          <a:srgbClr val="000000"/>
                        </a:solidFill>
                      </a:endParaRPr>
                    </a:p>
                    <a:p>
                      <a:pPr marL="88900" indent="-88900" algn="l" eaLnBrk="0" hangingPunct="0">
                        <a:lnSpc>
                          <a:spcPct val="90000"/>
                        </a:lnSpc>
                        <a:spcBef>
                          <a:spcPts val="200"/>
                        </a:spcBef>
                        <a:buClr>
                          <a:srgbClr val="C00000"/>
                        </a:buClr>
                        <a:buFont typeface="Arial" panose="020B0604020202090204" pitchFamily="34" charset="0"/>
                        <a:buChar char="•"/>
                      </a:pPr>
                      <a:r>
                        <a:rPr lang="zh-CN" altLang="en-US" sz="1600" b="0" i="0" dirty="0">
                          <a:solidFill>
                            <a:srgbClr val="000000"/>
                          </a:solidFill>
                        </a:rPr>
                        <a:t>年产能</a:t>
                      </a:r>
                      <a:r>
                        <a:rPr lang="en-US" sz="1600" b="0" i="0" dirty="0">
                          <a:solidFill>
                            <a:srgbClr val="000000"/>
                          </a:solidFill>
                        </a:rPr>
                        <a:t>: 350</a:t>
                      </a:r>
                      <a:r>
                        <a:rPr lang="zh-CN" altLang="en-US" sz="1600" b="0" i="0" dirty="0">
                          <a:solidFill>
                            <a:srgbClr val="000000"/>
                          </a:solidFill>
                        </a:rPr>
                        <a:t>万吨铝土矿</a:t>
                      </a:r>
                      <a:endParaRPr lang="en-US" sz="1600" b="0" i="0" dirty="0">
                        <a:solidFill>
                          <a:srgbClr val="000000"/>
                        </a:solidFill>
                      </a:endParaRPr>
                    </a:p>
                    <a:p>
                      <a:pPr marL="88900" indent="-88900" algn="l" eaLnBrk="0" hangingPunct="0">
                        <a:lnSpc>
                          <a:spcPct val="90000"/>
                        </a:lnSpc>
                        <a:spcBef>
                          <a:spcPts val="200"/>
                        </a:spcBef>
                        <a:buClr>
                          <a:srgbClr val="C00000"/>
                        </a:buClr>
                        <a:buFont typeface="Arial" panose="020B0604020202090204" pitchFamily="34" charset="0"/>
                        <a:buChar char="•"/>
                      </a:pPr>
                      <a:r>
                        <a:rPr lang="zh-CN" altLang="en-US" sz="1600" b="0" i="0" dirty="0">
                          <a:solidFill>
                            <a:srgbClr val="000000"/>
                          </a:solidFill>
                        </a:rPr>
                        <a:t>建设周期</a:t>
                      </a:r>
                      <a:r>
                        <a:rPr lang="en-US" sz="1600" b="0" i="0" dirty="0">
                          <a:solidFill>
                            <a:srgbClr val="000000"/>
                          </a:solidFill>
                        </a:rPr>
                        <a:t>: 14 – 18</a:t>
                      </a:r>
                      <a:r>
                        <a:rPr lang="zh-CN" altLang="en-US" sz="1600" b="0" i="0" dirty="0">
                          <a:solidFill>
                            <a:srgbClr val="000000"/>
                          </a:solidFill>
                        </a:rPr>
                        <a:t>个月</a:t>
                      </a:r>
                      <a:endParaRPr lang="en-US" sz="1600" b="0" i="0" dirty="0">
                        <a:solidFill>
                          <a:srgbClr val="000000"/>
                        </a:solidFill>
                      </a:endParaRPr>
                    </a:p>
                    <a:p>
                      <a:pPr marL="88900" indent="-88900" algn="l" eaLnBrk="0" hangingPunct="0">
                        <a:lnSpc>
                          <a:spcPct val="90000"/>
                        </a:lnSpc>
                        <a:spcBef>
                          <a:spcPts val="200"/>
                        </a:spcBef>
                        <a:buClr>
                          <a:srgbClr val="C00000"/>
                        </a:buClr>
                        <a:buFont typeface="Arial" panose="020B0604020202090204" pitchFamily="34" charset="0"/>
                        <a:buChar char="•"/>
                      </a:pPr>
                      <a:r>
                        <a:rPr lang="en-US" sz="1600" b="0" i="0" dirty="0">
                          <a:solidFill>
                            <a:srgbClr val="000000"/>
                          </a:solidFill>
                        </a:rPr>
                        <a:t>COD: Q1 2025</a:t>
                      </a:r>
                    </a:p>
                    <a:p>
                      <a:pPr marL="88900" indent="-88900" algn="l" eaLnBrk="0" hangingPunct="0">
                        <a:lnSpc>
                          <a:spcPct val="90000"/>
                        </a:lnSpc>
                        <a:spcBef>
                          <a:spcPts val="200"/>
                        </a:spcBef>
                        <a:buClr>
                          <a:srgbClr val="C00000"/>
                        </a:buClr>
                        <a:buFont typeface="Arial" panose="020B0604020202090204" pitchFamily="34" charset="0"/>
                        <a:buChar char="•"/>
                      </a:pPr>
                      <a:r>
                        <a:rPr lang="zh-CN" altLang="en-US" sz="1600" b="0" i="0" dirty="0">
                          <a:solidFill>
                            <a:srgbClr val="000000"/>
                          </a:solidFill>
                        </a:rPr>
                        <a:t>原料</a:t>
                      </a:r>
                      <a:r>
                        <a:rPr lang="en-US" sz="1600" b="0" i="0" dirty="0">
                          <a:solidFill>
                            <a:srgbClr val="000000"/>
                          </a:solidFill>
                        </a:rPr>
                        <a:t>: -</a:t>
                      </a:r>
                    </a:p>
                    <a:p>
                      <a:pPr marL="88900" indent="-88900" algn="l" eaLnBrk="0" hangingPunct="0">
                        <a:lnSpc>
                          <a:spcPct val="90000"/>
                        </a:lnSpc>
                        <a:spcBef>
                          <a:spcPts val="200"/>
                        </a:spcBef>
                        <a:buClr>
                          <a:srgbClr val="C00000"/>
                        </a:buClr>
                        <a:buFont typeface="Arial" panose="020B0604020202090204" pitchFamily="34" charset="0"/>
                        <a:buChar char="•"/>
                      </a:pPr>
                      <a:r>
                        <a:rPr lang="zh-CN" altLang="en-US" sz="1600" b="0" i="0" dirty="0">
                          <a:solidFill>
                            <a:srgbClr val="000000"/>
                          </a:solidFill>
                        </a:rPr>
                        <a:t>包销商</a:t>
                      </a:r>
                      <a:r>
                        <a:rPr lang="en-US" sz="1600" b="0" i="0" dirty="0">
                          <a:solidFill>
                            <a:srgbClr val="000000"/>
                          </a:solidFill>
                        </a:rPr>
                        <a:t>: PT Borneo Alumina Indonesia</a:t>
                      </a:r>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项目地点</a:t>
                      </a:r>
                      <a:r>
                        <a:rPr kumimoji="0" lang="en-US" sz="1600" b="0" i="0" u="none" strike="noStrike" kern="1200" cap="none" spc="0" normalizeH="0" baseline="0" noProof="0" dirty="0">
                          <a:ln>
                            <a:noFill/>
                          </a:ln>
                          <a:solidFill>
                            <a:srgbClr val="000000"/>
                          </a:solidFill>
                          <a:effectLst/>
                          <a:uLnTx/>
                          <a:uFillTx/>
                          <a:latin typeface="Calibri"/>
                          <a:ea typeface="+mn-ea"/>
                          <a:cs typeface="+mn-cs"/>
                        </a:rPr>
                        <a:t>: </a:t>
                      </a:r>
                      <a:r>
                        <a:rPr lang="zh-CN" altLang="en-US" sz="1600" dirty="0">
                          <a:solidFill>
                            <a:srgbClr val="000000"/>
                          </a:solidFill>
                          <a:sym typeface="+mn-ea"/>
                        </a:rPr>
                        <a:t>曼帕瓦，西加里曼丹省</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年产能</a:t>
                      </a:r>
                      <a:r>
                        <a:rPr kumimoji="0" lang="en-US" sz="1600" b="0" i="0" u="none" strike="noStrike" kern="1200" cap="none" spc="0" normalizeH="0" baseline="0" noProof="0" dirty="0">
                          <a:ln>
                            <a:noFill/>
                          </a:ln>
                          <a:solidFill>
                            <a:srgbClr val="000000"/>
                          </a:solidFill>
                          <a:effectLst/>
                          <a:uLnTx/>
                          <a:uFillTx/>
                          <a:latin typeface="Calibri"/>
                          <a:ea typeface="+mn-ea"/>
                          <a:cs typeface="+mn-cs"/>
                        </a:rPr>
                        <a:t>: 100</a:t>
                      </a:r>
                      <a:r>
                        <a:rPr kumimoji="0" lang="zh-CN" altLang="en-US" sz="1600" b="0" i="0" u="none" strike="noStrike" kern="1200" cap="none" spc="0" normalizeH="0" baseline="0" noProof="0" dirty="0">
                          <a:ln>
                            <a:noFill/>
                          </a:ln>
                          <a:solidFill>
                            <a:srgbClr val="000000"/>
                          </a:solidFill>
                          <a:effectLst/>
                          <a:uLnTx/>
                          <a:uFillTx/>
                          <a:latin typeface="Calibri"/>
                          <a:ea typeface="+mn-ea"/>
                          <a:cs typeface="+mn-cs"/>
                        </a:rPr>
                        <a:t>万吨氧化铝</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建设周期</a:t>
                      </a:r>
                      <a:r>
                        <a:rPr kumimoji="0" lang="en-US" sz="1600" b="0" i="0" u="none" strike="noStrike" kern="1200" cap="none" spc="0" normalizeH="0" baseline="0" noProof="0" dirty="0">
                          <a:ln>
                            <a:noFill/>
                          </a:ln>
                          <a:solidFill>
                            <a:srgbClr val="000000"/>
                          </a:solidFill>
                          <a:effectLst/>
                          <a:uLnTx/>
                          <a:uFillTx/>
                          <a:latin typeface="Calibri"/>
                          <a:ea typeface="+mn-ea"/>
                          <a:cs typeface="+mn-cs"/>
                        </a:rPr>
                        <a:t>: 36</a:t>
                      </a:r>
                      <a:r>
                        <a:rPr kumimoji="0" lang="zh-CN" altLang="en-US" sz="1600" b="0" i="0" u="none" strike="noStrike" kern="1200" cap="none" spc="0" normalizeH="0" baseline="0" noProof="0" dirty="0">
                          <a:ln>
                            <a:noFill/>
                          </a:ln>
                          <a:solidFill>
                            <a:srgbClr val="000000"/>
                          </a:solidFill>
                          <a:effectLst/>
                          <a:uLnTx/>
                          <a:uFillTx/>
                          <a:latin typeface="Calibri"/>
                          <a:ea typeface="+mn-ea"/>
                          <a:cs typeface="+mn-cs"/>
                        </a:rPr>
                        <a:t>个月</a:t>
                      </a:r>
                      <a:r>
                        <a:rPr kumimoji="0" lang="en-US" sz="1600" b="0" i="0" u="none" strike="noStrike" kern="1200" cap="none" spc="0" normalizeH="0" baseline="0" noProof="0" dirty="0">
                          <a:ln>
                            <a:noFill/>
                          </a:ln>
                          <a:solidFill>
                            <a:srgbClr val="000000"/>
                          </a:solidFill>
                          <a:effectLst/>
                          <a:uLnTx/>
                          <a:uFillTx/>
                          <a:latin typeface="Calibri"/>
                          <a:ea typeface="+mn-ea"/>
                          <a:cs typeface="+mn-cs"/>
                        </a:rPr>
                        <a:t> </a:t>
                      </a: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OD	: Q1 2025</a:t>
                      </a: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原料</a:t>
                      </a:r>
                      <a:r>
                        <a:rPr kumimoji="0" lang="en-US" sz="1600" b="0" i="0" u="none" strike="noStrike" kern="1200" cap="none" spc="0" normalizeH="0" baseline="0" noProof="0" dirty="0">
                          <a:ln>
                            <a:noFill/>
                          </a:ln>
                          <a:solidFill>
                            <a:srgbClr val="000000"/>
                          </a:solidFill>
                          <a:effectLst/>
                          <a:uLnTx/>
                          <a:uFillTx/>
                          <a:latin typeface="Calibri"/>
                          <a:ea typeface="+mn-ea"/>
                          <a:cs typeface="+mn-cs"/>
                        </a:rPr>
                        <a:t>	: </a:t>
                      </a:r>
                      <a:r>
                        <a:rPr kumimoji="0" lang="zh-CN" altLang="en-US" sz="1600" b="0" i="0" u="none" strike="noStrike" kern="1200" cap="none" spc="0" normalizeH="0" baseline="0" noProof="0" dirty="0">
                          <a:ln>
                            <a:noFill/>
                          </a:ln>
                          <a:solidFill>
                            <a:srgbClr val="000000"/>
                          </a:solidFill>
                          <a:effectLst/>
                          <a:uLnTx/>
                          <a:uFillTx/>
                          <a:latin typeface="Calibri"/>
                          <a:ea typeface="+mn-ea"/>
                          <a:cs typeface="+mn-cs"/>
                        </a:rPr>
                        <a:t>铝土矿</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包销商</a:t>
                      </a:r>
                      <a:r>
                        <a:rPr kumimoji="0" lang="en-US" sz="1600" b="0" i="0" u="none" strike="noStrike" kern="1200" cap="none" spc="0" normalizeH="0" baseline="0" noProof="0" dirty="0">
                          <a:ln>
                            <a:noFill/>
                          </a:ln>
                          <a:solidFill>
                            <a:srgbClr val="000000"/>
                          </a:solidFill>
                          <a:effectLst/>
                          <a:uLnTx/>
                          <a:uFillTx/>
                          <a:latin typeface="Calibri"/>
                          <a:ea typeface="+mn-ea"/>
                          <a:cs typeface="+mn-cs"/>
                        </a:rPr>
                        <a:t>	: INALUM</a:t>
                      </a:r>
                    </a:p>
                    <a:p>
                      <a:pPr marL="88900" marR="0" indent="-88900" algn="l" defTabSz="914400" rtl="0" eaLnBrk="1" fontAlgn="auto" latinLnBrk="0" hangingPunct="1">
                        <a:lnSpc>
                          <a:spcPct val="90000"/>
                        </a:lnSpc>
                        <a:spcBef>
                          <a:spcPts val="200"/>
                        </a:spcBef>
                        <a:spcAft>
                          <a:spcPts val="0"/>
                        </a:spcAft>
                        <a:buClr>
                          <a:schemeClr val="bg2"/>
                        </a:buClr>
                        <a:buSzTx/>
                        <a:buFont typeface="Arial" panose="020B0604020202090204" pitchFamily="34" charset="0"/>
                        <a:buChar char="•"/>
                        <a:defRPr/>
                      </a:pPr>
                      <a:endParaRPr lang="en-US" sz="1600" b="0" baseline="0" dirty="0">
                        <a:solidFill>
                          <a:srgbClr val="000000"/>
                        </a:solidFill>
                      </a:endParaRPr>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项目地点</a:t>
                      </a:r>
                      <a:r>
                        <a:rPr kumimoji="0" lang="en-US" sz="1600" b="0" i="0" u="none" strike="noStrike" kern="1200" cap="none" spc="0" normalizeH="0" baseline="0" noProof="0" dirty="0">
                          <a:ln>
                            <a:noFill/>
                          </a:ln>
                          <a:solidFill>
                            <a:srgbClr val="000000"/>
                          </a:solidFill>
                          <a:effectLst/>
                          <a:uLnTx/>
                          <a:uFillTx/>
                          <a:latin typeface="Calibri"/>
                          <a:ea typeface="+mn-ea"/>
                          <a:cs typeface="+mn-cs"/>
                        </a:rPr>
                        <a:t>: </a:t>
                      </a:r>
                      <a:r>
                        <a:rPr lang="zh-CN" altLang="en-US" sz="1600" dirty="0">
                          <a:solidFill>
                            <a:srgbClr val="000000"/>
                          </a:solidFill>
                          <a:sym typeface="+mn-ea"/>
                        </a:rPr>
                        <a:t>曼帕瓦，西加里曼丹省</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年产能</a:t>
                      </a:r>
                      <a:r>
                        <a:rPr kumimoji="0" lang="en-US" sz="1600" b="0" i="0" u="none" strike="noStrike" kern="1200" cap="none" spc="0" normalizeH="0" baseline="0" noProof="0" dirty="0">
                          <a:ln>
                            <a:noFill/>
                          </a:ln>
                          <a:solidFill>
                            <a:srgbClr val="000000"/>
                          </a:solidFill>
                          <a:effectLst/>
                          <a:uLnTx/>
                          <a:uFillTx/>
                          <a:latin typeface="Calibri"/>
                          <a:ea typeface="+mn-ea"/>
                          <a:cs typeface="+mn-cs"/>
                        </a:rPr>
                        <a:t>: 350</a:t>
                      </a:r>
                      <a:r>
                        <a:rPr kumimoji="0" lang="zh-CN" altLang="en-US" sz="1600" b="0" i="0" u="none" strike="noStrike" kern="1200" cap="none" spc="0" normalizeH="0" baseline="0" noProof="0" dirty="0">
                          <a:ln>
                            <a:noFill/>
                          </a:ln>
                          <a:solidFill>
                            <a:srgbClr val="000000"/>
                          </a:solidFill>
                          <a:effectLst/>
                          <a:uLnTx/>
                          <a:uFillTx/>
                          <a:latin typeface="Calibri"/>
                        </a:rPr>
                        <a:t>万</a:t>
                      </a:r>
                      <a:r>
                        <a:rPr kumimoji="0" lang="zh-CN" altLang="en-US" sz="1600" b="0" i="0" u="none" strike="noStrike" kern="1200" cap="none" spc="0" normalizeH="0" baseline="0" noProof="0" dirty="0">
                          <a:ln>
                            <a:noFill/>
                          </a:ln>
                          <a:solidFill>
                            <a:srgbClr val="000000"/>
                          </a:solidFill>
                          <a:effectLst/>
                          <a:uLnTx/>
                          <a:uFillTx/>
                          <a:latin typeface="Calibri"/>
                          <a:ea typeface="+mn-ea"/>
                          <a:cs typeface="+mn-cs"/>
                        </a:rPr>
                        <a:t>吨铝土矿</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建设时间</a:t>
                      </a:r>
                      <a:r>
                        <a:rPr kumimoji="0" lang="en-US" sz="1600" b="0" i="0" u="none" strike="noStrike" kern="1200" cap="none" spc="0" normalizeH="0" baseline="0" noProof="0" dirty="0">
                          <a:ln>
                            <a:noFill/>
                          </a:ln>
                          <a:solidFill>
                            <a:srgbClr val="000000"/>
                          </a:solidFill>
                          <a:effectLst/>
                          <a:uLnTx/>
                          <a:uFillTx/>
                          <a:latin typeface="Calibri"/>
                          <a:ea typeface="+mn-ea"/>
                          <a:cs typeface="+mn-cs"/>
                        </a:rPr>
                        <a:t>: 2028</a:t>
                      </a: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OD: 2028-2029</a:t>
                      </a: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原料</a:t>
                      </a:r>
                      <a:r>
                        <a:rPr kumimoji="0" lang="en-US" sz="1600" b="0" i="0" u="none" strike="noStrike" kern="1200" cap="none" spc="0" normalizeH="0" baseline="0" noProof="0" dirty="0">
                          <a:ln>
                            <a:noFill/>
                          </a:ln>
                          <a:solidFill>
                            <a:srgbClr val="000000"/>
                          </a:solidFill>
                          <a:effectLst/>
                          <a:uLnTx/>
                          <a:uFillTx/>
                          <a:latin typeface="Calibri"/>
                          <a:ea typeface="+mn-ea"/>
                          <a:cs typeface="+mn-cs"/>
                        </a:rPr>
                        <a:t>	:  </a:t>
                      </a:r>
                      <a:r>
                        <a:rPr kumimoji="0" lang="zh-CN" altLang="en-US" sz="1600" b="0" i="0" u="none" strike="noStrike" kern="1200" cap="none" spc="0" normalizeH="0" baseline="0" noProof="0" dirty="0">
                          <a:ln>
                            <a:noFill/>
                          </a:ln>
                          <a:solidFill>
                            <a:srgbClr val="000000"/>
                          </a:solidFill>
                          <a:effectLst/>
                          <a:uLnTx/>
                          <a:uFillTx/>
                          <a:latin typeface="Calibri"/>
                          <a:ea typeface="+mn-ea"/>
                          <a:cs typeface="+mn-cs"/>
                        </a:rPr>
                        <a:t>铝土矿</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包销商</a:t>
                      </a:r>
                      <a:r>
                        <a:rPr kumimoji="0" lang="en-US" sz="1600" b="0" i="0" u="none" strike="noStrike" kern="1200" cap="none" spc="0" normalizeH="0" baseline="0" noProof="0" dirty="0">
                          <a:ln>
                            <a:noFill/>
                          </a:ln>
                          <a:solidFill>
                            <a:srgbClr val="000000"/>
                          </a:solidFill>
                          <a:effectLst/>
                          <a:uLnTx/>
                          <a:uFillTx/>
                          <a:latin typeface="Calibri"/>
                          <a:ea typeface="+mn-ea"/>
                          <a:cs typeface="+mn-cs"/>
                        </a:rPr>
                        <a:t>	: PT Borneo Alumina Indonesia</a:t>
                      </a:r>
                    </a:p>
                    <a:p>
                      <a:pPr marL="88900" indent="-88900">
                        <a:lnSpc>
                          <a:spcPct val="90000"/>
                        </a:lnSpc>
                        <a:spcBef>
                          <a:spcPts val="200"/>
                        </a:spcBef>
                        <a:buClr>
                          <a:schemeClr val="bg2"/>
                        </a:buClr>
                        <a:buFont typeface="Arial" panose="020B0604020202090204" pitchFamily="34" charset="0"/>
                        <a:buChar char="•"/>
                      </a:pPr>
                      <a:endParaRPr lang="en-US" sz="1600" dirty="0"/>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项目地点</a:t>
                      </a:r>
                      <a:r>
                        <a:rPr kumimoji="0" lang="en-US" sz="1600" b="0" i="0" u="none" strike="noStrike" kern="1200" cap="none" spc="0" normalizeH="0" baseline="0" noProof="0" dirty="0">
                          <a:ln>
                            <a:noFill/>
                          </a:ln>
                          <a:solidFill>
                            <a:srgbClr val="000000"/>
                          </a:solidFill>
                          <a:effectLst/>
                          <a:uLnTx/>
                          <a:uFillTx/>
                          <a:latin typeface="Calibri"/>
                          <a:ea typeface="+mn-ea"/>
                          <a:cs typeface="+mn-cs"/>
                        </a:rPr>
                        <a:t>: </a:t>
                      </a:r>
                      <a:r>
                        <a:rPr lang="zh-CN" altLang="en-US" sz="1600" dirty="0">
                          <a:solidFill>
                            <a:srgbClr val="000000"/>
                          </a:solidFill>
                          <a:sym typeface="+mn-ea"/>
                        </a:rPr>
                        <a:t>曼帕瓦，西加里曼丹省</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年产能</a:t>
                      </a:r>
                      <a:r>
                        <a:rPr kumimoji="0" lang="en-US" sz="1600" b="0" i="0" u="none" strike="noStrike" kern="1200" cap="none" spc="0" normalizeH="0" baseline="0" noProof="0" dirty="0">
                          <a:ln>
                            <a:noFill/>
                          </a:ln>
                          <a:solidFill>
                            <a:srgbClr val="000000"/>
                          </a:solidFill>
                          <a:effectLst/>
                          <a:uLnTx/>
                          <a:uFillTx/>
                          <a:latin typeface="Calibri"/>
                          <a:ea typeface="+mn-ea"/>
                          <a:cs typeface="+mn-cs"/>
                        </a:rPr>
                        <a:t>: 60</a:t>
                      </a:r>
                      <a:r>
                        <a:rPr kumimoji="0" lang="zh-CN" altLang="en-US" sz="1600" b="0" i="0" u="none" strike="noStrike" kern="1200" cap="none" spc="0" normalizeH="0" baseline="0" noProof="0" dirty="0">
                          <a:ln>
                            <a:noFill/>
                          </a:ln>
                          <a:solidFill>
                            <a:srgbClr val="000000"/>
                          </a:solidFill>
                          <a:effectLst/>
                          <a:uLnTx/>
                          <a:uFillTx/>
                          <a:latin typeface="Calibri"/>
                          <a:ea typeface="+mn-ea"/>
                          <a:cs typeface="+mn-cs"/>
                        </a:rPr>
                        <a:t>万吨</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建设时间</a:t>
                      </a:r>
                      <a:r>
                        <a:rPr kumimoji="0" lang="en-US" sz="1600" b="0" i="0" u="none" strike="noStrike" kern="1200" cap="none" spc="0" normalizeH="0" baseline="0" noProof="0" dirty="0">
                          <a:ln>
                            <a:noFill/>
                          </a:ln>
                          <a:solidFill>
                            <a:srgbClr val="000000"/>
                          </a:solidFill>
                          <a:effectLst/>
                          <a:uLnTx/>
                          <a:uFillTx/>
                          <a:latin typeface="Calibri"/>
                          <a:ea typeface="+mn-ea"/>
                          <a:cs typeface="+mn-cs"/>
                        </a:rPr>
                        <a:t>: 2027</a:t>
                      </a: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OD: Q4 2034</a:t>
                      </a: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原料</a:t>
                      </a:r>
                      <a:r>
                        <a:rPr kumimoji="0" lang="en-US" sz="1600" b="0" i="0" u="none" strike="noStrike" kern="1200" cap="none" spc="0" normalizeH="0" baseline="0" noProof="0" dirty="0">
                          <a:ln>
                            <a:noFill/>
                          </a:ln>
                          <a:solidFill>
                            <a:srgbClr val="000000"/>
                          </a:solidFill>
                          <a:effectLst/>
                          <a:uLnTx/>
                          <a:uFillTx/>
                          <a:latin typeface="Calibri"/>
                          <a:ea typeface="+mn-ea"/>
                          <a:cs typeface="+mn-cs"/>
                        </a:rPr>
                        <a:t>	: </a:t>
                      </a:r>
                      <a:r>
                        <a:rPr kumimoji="0" lang="zh-CN" altLang="en-US" sz="1600" b="0" i="0" u="none" strike="noStrike" kern="1200" cap="none" spc="0" normalizeH="0" baseline="0" noProof="0" dirty="0">
                          <a:ln>
                            <a:noFill/>
                          </a:ln>
                          <a:solidFill>
                            <a:srgbClr val="000000"/>
                          </a:solidFill>
                          <a:effectLst/>
                          <a:uLnTx/>
                          <a:uFillTx/>
                          <a:latin typeface="Calibri"/>
                          <a:ea typeface="+mn-ea"/>
                          <a:cs typeface="+mn-cs"/>
                        </a:rPr>
                        <a:t>氧化铝</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88900" marR="0" lvl="0" indent="-88900" algn="l" defTabSz="914400" rtl="0" eaLnBrk="0" fontAlgn="auto" latinLnBrk="0" hangingPunct="0">
                        <a:lnSpc>
                          <a:spcPct val="90000"/>
                        </a:lnSpc>
                        <a:spcBef>
                          <a:spcPts val="200"/>
                        </a:spcBef>
                        <a:spcAft>
                          <a:spcPts val="0"/>
                        </a:spcAft>
                        <a:buClr>
                          <a:srgbClr val="C00000"/>
                        </a:buClr>
                        <a:buSzTx/>
                        <a:buFont typeface="Arial" panose="020B0604020202090204" pitchFamily="34" charset="0"/>
                        <a:buChar char="•"/>
                        <a:defRPr/>
                      </a:pPr>
                      <a:r>
                        <a:rPr lang="zh-CN" altLang="en-US" sz="1600" b="0" i="0" dirty="0">
                          <a:solidFill>
                            <a:srgbClr val="000000"/>
                          </a:solidFill>
                        </a:rPr>
                        <a:t>包销商</a:t>
                      </a:r>
                      <a:r>
                        <a:rPr kumimoji="0" lang="en-US" sz="1600" b="0" i="0" u="none" strike="noStrike" kern="1200" cap="none" spc="0" normalizeH="0" baseline="0" noProof="0" dirty="0">
                          <a:ln>
                            <a:noFill/>
                          </a:ln>
                          <a:solidFill>
                            <a:srgbClr val="000000"/>
                          </a:solidFill>
                          <a:effectLst/>
                          <a:uLnTx/>
                          <a:uFillTx/>
                          <a:latin typeface="Calibri"/>
                          <a:ea typeface="+mn-ea"/>
                          <a:cs typeface="+mn-cs"/>
                        </a:rPr>
                        <a:t>	: -</a:t>
                      </a:r>
                    </a:p>
                    <a:p>
                      <a:pPr marL="88900" indent="-88900">
                        <a:lnSpc>
                          <a:spcPct val="90000"/>
                        </a:lnSpc>
                        <a:spcBef>
                          <a:spcPts val="200"/>
                        </a:spcBef>
                        <a:buClr>
                          <a:schemeClr val="bg2"/>
                        </a:buClr>
                        <a:buFont typeface="Arial" panose="020B0604020202090204" pitchFamily="34" charset="0"/>
                        <a:buChar char="•"/>
                      </a:pPr>
                      <a:endParaRPr lang="en-US" sz="1600" dirty="0"/>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72403">
                <a:tc>
                  <a:txBody>
                    <a:bodyPr/>
                    <a:lstStyle/>
                    <a:p>
                      <a:pPr marL="88900" indent="-88900" algn="ctr" eaLnBrk="0" hangingPunct="0">
                        <a:lnSpc>
                          <a:spcPct val="90000"/>
                        </a:lnSpc>
                        <a:spcBef>
                          <a:spcPts val="200"/>
                        </a:spcBef>
                        <a:buClr>
                          <a:srgbClr val="7D0900"/>
                        </a:buClr>
                        <a:buFont typeface="Arial" panose="020B0604020202090204" pitchFamily="34" charset="0"/>
                        <a:buNone/>
                      </a:pPr>
                      <a:r>
                        <a:rPr lang="zh-CN" altLang="en-US" sz="1600" b="1" i="0" dirty="0"/>
                        <a:t>运营方</a:t>
                      </a:r>
                      <a:endParaRPr lang="en-US" sz="1600" b="1" i="0" dirty="0"/>
                    </a:p>
                  </a:txBody>
                  <a:tcPr marL="36000" marR="36000" marT="36000" marB="36000" vert="vert270" anchor="ctr">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88900" indent="-88900" algn="l" eaLnBrk="0" hangingPunct="0">
                        <a:lnSpc>
                          <a:spcPct val="90000"/>
                        </a:lnSpc>
                        <a:spcBef>
                          <a:spcPts val="200"/>
                        </a:spcBef>
                        <a:buClr>
                          <a:srgbClr val="C00000"/>
                        </a:buClr>
                        <a:buFont typeface="Arial" panose="020B0604020202090204" pitchFamily="34" charset="0"/>
                        <a:buChar char="•"/>
                      </a:pPr>
                      <a:endParaRPr lang="en-US" sz="1600" b="0" i="0" dirty="0">
                        <a:solidFill>
                          <a:srgbClr val="000000"/>
                        </a:solidFill>
                      </a:endParaRPr>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marR="0" indent="-88900" algn="l" defTabSz="914400" rtl="0" eaLnBrk="1" fontAlgn="auto" latinLnBrk="0" hangingPunct="1">
                        <a:lnSpc>
                          <a:spcPct val="90000"/>
                        </a:lnSpc>
                        <a:spcBef>
                          <a:spcPts val="200"/>
                        </a:spcBef>
                        <a:spcAft>
                          <a:spcPts val="0"/>
                        </a:spcAft>
                        <a:buClr>
                          <a:schemeClr val="bg2"/>
                        </a:buClr>
                        <a:buSzTx/>
                        <a:buFont typeface="Arial" panose="020B0604020202090204" pitchFamily="34" charset="0"/>
                        <a:buChar char="•"/>
                        <a:defRPr/>
                      </a:pPr>
                      <a:endParaRPr lang="en-US" sz="1600" b="0" baseline="0" dirty="0">
                        <a:solidFill>
                          <a:srgbClr val="000000"/>
                        </a:solidFill>
                      </a:endParaRPr>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indent="-88900">
                        <a:lnSpc>
                          <a:spcPct val="90000"/>
                        </a:lnSpc>
                        <a:spcBef>
                          <a:spcPts val="200"/>
                        </a:spcBef>
                        <a:buClr>
                          <a:schemeClr val="bg2"/>
                        </a:buClr>
                        <a:buFont typeface="Arial" panose="020B0604020202090204" pitchFamily="34" charset="0"/>
                        <a:buChar char="•"/>
                      </a:pPr>
                      <a:endParaRPr lang="en-US" sz="1600" dirty="0"/>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88900" indent="-88900">
                        <a:lnSpc>
                          <a:spcPct val="90000"/>
                        </a:lnSpc>
                        <a:spcBef>
                          <a:spcPts val="200"/>
                        </a:spcBef>
                        <a:buClr>
                          <a:schemeClr val="bg2"/>
                        </a:buClr>
                        <a:buFont typeface="Arial" panose="020B0604020202090204" pitchFamily="34" charset="0"/>
                        <a:buChar char="•"/>
                      </a:pPr>
                      <a:endParaRPr lang="en-US" sz="1600" dirty="0"/>
                    </a:p>
                  </a:txBody>
                  <a:tcPr marL="36000" marR="36000" marT="72000" marB="36000">
                    <a:lnL w="12700" cap="flat" cmpd="sng" algn="ctr">
                      <a:solidFill>
                        <a:srgbClr val="ADABA1"/>
                      </a:solidFill>
                      <a:prstDash val="solid"/>
                      <a:round/>
                      <a:headEnd type="none" w="med" len="med"/>
                      <a:tailEnd type="none" w="med" len="med"/>
                    </a:lnL>
                    <a:lnR w="12700" cap="flat" cmpd="sng" algn="ctr">
                      <a:solidFill>
                        <a:srgbClr val="ADABA1"/>
                      </a:solidFill>
                      <a:prstDash val="solid"/>
                      <a:round/>
                      <a:headEnd type="none" w="med" len="med"/>
                      <a:tailEnd type="none" w="med" len="med"/>
                    </a:lnR>
                    <a:lnT w="12700" cap="flat" cmpd="sng" algn="ctr">
                      <a:solidFill>
                        <a:srgbClr val="ADABA1"/>
                      </a:solidFill>
                      <a:prstDash val="solid"/>
                      <a:round/>
                      <a:headEnd type="none" w="med" len="med"/>
                      <a:tailEnd type="none" w="med" len="med"/>
                    </a:lnT>
                    <a:lnB w="12700"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7" name="TextBox 10"/>
          <p:cNvSpPr txBox="1"/>
          <p:nvPr/>
        </p:nvSpPr>
        <p:spPr>
          <a:xfrm>
            <a:off x="244458" y="664710"/>
            <a:ext cx="6842760" cy="304699"/>
          </a:xfrm>
          <a:prstGeom prst="rect">
            <a:avLst/>
          </a:prstGeom>
          <a:noFill/>
          <a:ln w="6350">
            <a:noFill/>
          </a:ln>
        </p:spPr>
        <p:txBody>
          <a:bodyPr wrap="square" lIns="0" tIns="0" rIns="0" bIns="0" rtlCol="0" anchor="t" anchorCtr="0">
            <a:spAutoFit/>
          </a:bodyPr>
          <a:lstStyle/>
          <a:p>
            <a:pPr marL="0" marR="0" lvl="0" indent="0" algn="l" defTabSz="914400" rtl="0" eaLnBrk="1" fontAlgn="base" latinLnBrk="0" hangingPunct="1">
              <a:lnSpc>
                <a:spcPct val="90000"/>
              </a:lnSpc>
              <a:spcBef>
                <a:spcPct val="0"/>
              </a:spcBef>
              <a:spcAft>
                <a:spcPct val="0"/>
              </a:spcAft>
              <a:buClr>
                <a:srgbClr val="7D0900"/>
              </a:buClr>
              <a:buSzTx/>
              <a:buFontTx/>
              <a:buNone/>
              <a:defRPr/>
            </a:pPr>
            <a:r>
              <a:rPr kumimoji="0" lang="zh-CN" altLang="en-US" sz="2200" b="1" i="0" u="none" strike="noStrike" kern="1200" cap="none" spc="0" normalizeH="0" baseline="0" noProof="0" dirty="0">
                <a:ln>
                  <a:noFill/>
                </a:ln>
                <a:solidFill>
                  <a:srgbClr val="000000"/>
                </a:solidFill>
                <a:effectLst/>
                <a:uLnTx/>
                <a:uFillTx/>
                <a:latin typeface="GothamBold" pitchFamily="50" charset="0"/>
                <a:ea typeface="+mn-ea"/>
                <a:cs typeface="Arial" panose="020B0604020202090204" pitchFamily="34" charset="0"/>
              </a:rPr>
              <a:t>铝土矿价值链开发蓝图</a:t>
            </a:r>
            <a:r>
              <a:rPr kumimoji="0" lang="en-US" sz="2200" b="1" i="0" u="none" strike="noStrike" kern="1200" cap="none" spc="0" normalizeH="0" baseline="0" noProof="0" dirty="0">
                <a:ln>
                  <a:noFill/>
                </a:ln>
                <a:solidFill>
                  <a:srgbClr val="000000"/>
                </a:solidFill>
                <a:effectLst/>
                <a:uLnTx/>
                <a:uFillTx/>
                <a:latin typeface="GothamBold" pitchFamily="50" charset="0"/>
                <a:ea typeface="+mn-ea"/>
                <a:cs typeface="Arial" panose="020B0604020202090204" pitchFamily="34" charset="0"/>
              </a:rPr>
              <a:t> </a:t>
            </a:r>
          </a:p>
        </p:txBody>
      </p:sp>
      <p:pic>
        <p:nvPicPr>
          <p:cNvPr id="32" name="Picture 31"/>
          <p:cNvPicPr>
            <a:picLocks noChangeAspect="1"/>
          </p:cNvPicPr>
          <p:nvPr/>
        </p:nvPicPr>
        <p:blipFill>
          <a:blip r:embed="rId2"/>
          <a:stretch>
            <a:fillRect/>
          </a:stretch>
        </p:blipFill>
        <p:spPr>
          <a:xfrm>
            <a:off x="1090612" y="1673335"/>
            <a:ext cx="2633494" cy="1526440"/>
          </a:xfrm>
          <a:prstGeom prst="rect">
            <a:avLst/>
          </a:prstGeom>
        </p:spPr>
      </p:pic>
      <p:pic>
        <p:nvPicPr>
          <p:cNvPr id="3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7352" y="5179665"/>
            <a:ext cx="1224992" cy="42874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PT Borneo Alumina Indonesia | LinkedI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9848" y="5206728"/>
            <a:ext cx="663354" cy="66335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30340" y="5685413"/>
            <a:ext cx="979431" cy="35171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Progres Smelter Grup MIND ID SGAR Mempawah"/>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05881" y="1647568"/>
            <a:ext cx="2633494" cy="152644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Black &amp; Veatch to supervise an alumina refinery for PT Borneo Alumina  Indonesia; Bauxite Mining, Price, Ore, Mineral, Formula, Producti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21151" y="1647567"/>
            <a:ext cx="2633494" cy="152643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a:blip r:embed="rId8"/>
          <a:stretch>
            <a:fillRect/>
          </a:stretch>
        </p:blipFill>
        <p:spPr>
          <a:xfrm>
            <a:off x="4014237" y="5171428"/>
            <a:ext cx="2279474" cy="934466"/>
          </a:xfrm>
          <a:prstGeom prst="rect">
            <a:avLst/>
          </a:prstGeom>
        </p:spPr>
      </p:pic>
      <p:pic>
        <p:nvPicPr>
          <p:cNvPr id="45" name="Picture 44"/>
          <p:cNvPicPr>
            <a:picLocks noChangeAspect="1"/>
          </p:cNvPicPr>
          <p:nvPr/>
        </p:nvPicPr>
        <p:blipFill>
          <a:blip r:embed="rId9"/>
          <a:stretch>
            <a:fillRect/>
          </a:stretch>
        </p:blipFill>
        <p:spPr>
          <a:xfrm>
            <a:off x="6965274" y="5291342"/>
            <a:ext cx="2044307" cy="816990"/>
          </a:xfrm>
          <a:prstGeom prst="rect">
            <a:avLst/>
          </a:prstGeom>
        </p:spPr>
      </p:pic>
      <p:pic>
        <p:nvPicPr>
          <p:cNvPr id="47" name="Picture 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484424" y="5744594"/>
            <a:ext cx="1304271" cy="32867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11">
            <a:clrChange>
              <a:clrFrom>
                <a:srgbClr val="FFFFFF"/>
              </a:clrFrom>
              <a:clrTo>
                <a:srgbClr val="FFFFFF">
                  <a:alpha val="0"/>
                </a:srgbClr>
              </a:clrTo>
            </a:clrChange>
          </a:blip>
          <a:srcRect b="831"/>
          <a:stretch>
            <a:fillRect/>
          </a:stretch>
        </p:blipFill>
        <p:spPr>
          <a:xfrm>
            <a:off x="9427654" y="5164495"/>
            <a:ext cx="1617612" cy="451445"/>
          </a:xfrm>
          <a:prstGeom prst="rect">
            <a:avLst/>
          </a:prstGeom>
        </p:spPr>
      </p:pic>
      <p:pic>
        <p:nvPicPr>
          <p:cNvPr id="49" name="Picture 2" descr="PT Indonesia Asahan Aluminium | Peluang Kerjasama Proyek PLTU Untuk  Pengembangan Smelter Aluminium Satu-Satunya Di Indonesia"/>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59847" y="1657912"/>
            <a:ext cx="2633494" cy="151609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r>
              <a:rPr lang="id-ID"/>
              <a:t>|          </a:t>
            </a:r>
            <a:fld id="{7904F5B5-DD6E-6442-8C14-4BFE420CE974}" type="slidenum">
              <a:rPr lang="id-ID" smtClean="0"/>
              <a:t>12</a:t>
            </a:fld>
            <a:endParaRPr lang="id-ID"/>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900" dirty="0">
                <a:effectLst/>
                <a:ea typeface="等线" panose="02010600030101010101" pitchFamily="2" charset="-122"/>
                <a:cs typeface="Times New Roman" panose="02020503050405090304" pitchFamily="18" charset="0"/>
              </a:rPr>
              <a:t>本</a:t>
            </a:r>
            <a:r>
              <a:rPr lang="en-US" altLang="zh-CN" sz="900" dirty="0">
                <a:effectLst/>
                <a:ea typeface="等线" panose="02010600030101010101" pitchFamily="2" charset="-122"/>
                <a:cs typeface="Times New Roman" panose="02020503050405090304" pitchFamily="18" charset="0"/>
              </a:rPr>
              <a:t>PPT</a:t>
            </a:r>
            <a:r>
              <a:rPr lang="zh-CN" altLang="zh-CN" sz="900" dirty="0">
                <a:effectLst/>
                <a:ea typeface="等线" panose="02010600030101010101" pitchFamily="2" charset="-122"/>
                <a:cs typeface="Times New Roman" panose="02020503050405090304" pitchFamily="18" charset="0"/>
              </a:rPr>
              <a:t>由</a:t>
            </a:r>
            <a:r>
              <a:rPr lang="en-US" altLang="zh-CN" sz="900" dirty="0">
                <a:effectLst/>
                <a:ea typeface="等线" panose="02010600030101010101" pitchFamily="2" charset="-122"/>
                <a:cs typeface="Times New Roman" panose="02020503050405090304" pitchFamily="18" charset="0"/>
              </a:rPr>
              <a:t>MIND.ID</a:t>
            </a:r>
            <a:r>
              <a:rPr lang="zh-CN" altLang="zh-CN" sz="900" dirty="0">
                <a:effectLst/>
                <a:ea typeface="等线" panose="02010600030101010101" pitchFamily="2" charset="-122"/>
                <a:cs typeface="Times New Roman" panose="02020503050405090304" pitchFamily="18" charset="0"/>
              </a:rPr>
              <a:t>公司专门撰写。未经</a:t>
            </a:r>
            <a:r>
              <a:rPr lang="en-US" altLang="zh-CN" sz="900" dirty="0">
                <a:effectLst/>
                <a:ea typeface="等线" panose="02010600030101010101" pitchFamily="2" charset="-122"/>
                <a:cs typeface="Times New Roman" panose="02020503050405090304" pitchFamily="18" charset="0"/>
              </a:rPr>
              <a:t>MIND.ID</a:t>
            </a:r>
            <a:r>
              <a:rPr lang="zh-CN" altLang="zh-CN" sz="900" dirty="0">
                <a:effectLst/>
                <a:ea typeface="等线" panose="02010600030101010101" pitchFamily="2" charset="-122"/>
                <a:cs typeface="Times New Roman" panose="02020503050405090304" pitchFamily="18" charset="0"/>
              </a:rPr>
              <a:t>公司书面同意，本</a:t>
            </a:r>
            <a:r>
              <a:rPr lang="en-US" altLang="zh-CN" sz="900" dirty="0">
                <a:effectLst/>
                <a:ea typeface="等线" panose="02010600030101010101" pitchFamily="2" charset="-122"/>
                <a:cs typeface="Times New Roman" panose="02020503050405090304" pitchFamily="18" charset="0"/>
              </a:rPr>
              <a:t>PPT</a:t>
            </a:r>
            <a:r>
              <a:rPr lang="zh-CN" altLang="zh-CN" sz="900" dirty="0">
                <a:effectLst/>
                <a:ea typeface="等线" panose="02010600030101010101" pitchFamily="2" charset="-122"/>
                <a:cs typeface="Times New Roman" panose="02020503050405090304" pitchFamily="18" charset="0"/>
              </a:rPr>
              <a:t>的内容不能以任何形式使用、复制或传播。</a:t>
            </a:r>
            <a:r>
              <a:rPr lang="en-US" altLang="zh-CN" sz="900" dirty="0">
                <a:effectLst/>
                <a:ea typeface="等线" panose="02010600030101010101" pitchFamily="2" charset="-122"/>
                <a:cs typeface="Times New Roman" panose="02020503050405090304" pitchFamily="18" charset="0"/>
              </a:rPr>
              <a:t>MIND.ID</a:t>
            </a:r>
            <a:r>
              <a:rPr lang="zh-CN" altLang="zh-CN" sz="900" dirty="0">
                <a:effectLst/>
                <a:ea typeface="等线" panose="02010600030101010101" pitchFamily="2" charset="-122"/>
                <a:cs typeface="Times New Roman" panose="02020503050405090304" pitchFamily="18" charset="0"/>
              </a:rPr>
              <a:t>公司保留所有权利。</a:t>
            </a:r>
            <a:endParaRPr kumimoji="0" lang="en-US" altLang="zh-CN" sz="900" b="0" i="0" u="none" strike="noStrike" kern="1200" cap="none" spc="0" normalizeH="0" baseline="0" noProof="0" dirty="0">
              <a:ln>
                <a:noFill/>
              </a:ln>
              <a:solidFill>
                <a:srgbClr val="FFFFFF">
                  <a:lumMod val="50000"/>
                </a:srgbClr>
              </a:solidFill>
              <a:effectLst/>
              <a:uLnTx/>
              <a:uFillTx/>
              <a:latin typeface="Gotham Book" charset="0"/>
              <a:ea typeface="Gotham Book" charset="0"/>
              <a:cs typeface="Gotham Book" charset="0"/>
            </a:endParaRPr>
          </a:p>
        </p:txBody>
      </p:sp>
      <p:grpSp>
        <p:nvGrpSpPr>
          <p:cNvPr id="5" name="object 2"/>
          <p:cNvGrpSpPr/>
          <p:nvPr/>
        </p:nvGrpSpPr>
        <p:grpSpPr>
          <a:xfrm>
            <a:off x="0" y="1141475"/>
            <a:ext cx="10521569" cy="5311140"/>
            <a:chOff x="0" y="1262760"/>
            <a:chExt cx="10521569" cy="5311140"/>
          </a:xfrm>
        </p:grpSpPr>
        <p:pic>
          <p:nvPicPr>
            <p:cNvPr id="6" name="object 3"/>
            <p:cNvPicPr/>
            <p:nvPr/>
          </p:nvPicPr>
          <p:blipFill>
            <a:blip r:embed="rId3" cstate="print"/>
            <a:stretch>
              <a:fillRect/>
            </a:stretch>
          </p:blipFill>
          <p:spPr>
            <a:xfrm>
              <a:off x="0" y="1367028"/>
              <a:ext cx="9570719" cy="5090160"/>
            </a:xfrm>
            <a:prstGeom prst="rect">
              <a:avLst/>
            </a:prstGeom>
          </p:spPr>
        </p:pic>
        <p:sp>
          <p:nvSpPr>
            <p:cNvPr id="7" name="object 4"/>
            <p:cNvSpPr/>
            <p:nvPr/>
          </p:nvSpPr>
          <p:spPr>
            <a:xfrm>
              <a:off x="2812669" y="1262760"/>
              <a:ext cx="7708900" cy="5311140"/>
            </a:xfrm>
            <a:custGeom>
              <a:avLst/>
              <a:gdLst/>
              <a:ahLst/>
              <a:cxnLst/>
              <a:rect l="l" t="t" r="r" b="b"/>
              <a:pathLst>
                <a:path w="7708900" h="5311140">
                  <a:moveTo>
                    <a:pt x="7708392" y="5097780"/>
                  </a:moveTo>
                  <a:lnTo>
                    <a:pt x="126492" y="5311140"/>
                  </a:lnTo>
                  <a:lnTo>
                    <a:pt x="7708392" y="5311140"/>
                  </a:lnTo>
                  <a:lnTo>
                    <a:pt x="7708392" y="5097780"/>
                  </a:lnTo>
                  <a:close/>
                </a:path>
                <a:path w="7708900" h="5311140">
                  <a:moveTo>
                    <a:pt x="7708392" y="0"/>
                  </a:moveTo>
                  <a:lnTo>
                    <a:pt x="0" y="0"/>
                  </a:lnTo>
                  <a:lnTo>
                    <a:pt x="7708392" y="213360"/>
                  </a:lnTo>
                  <a:lnTo>
                    <a:pt x="7708392"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8" name="object 5"/>
            <p:cNvPicPr/>
            <p:nvPr/>
          </p:nvPicPr>
          <p:blipFill>
            <a:blip r:embed="rId4" cstate="print"/>
            <a:stretch>
              <a:fillRect/>
            </a:stretch>
          </p:blipFill>
          <p:spPr>
            <a:xfrm>
              <a:off x="225551" y="6050280"/>
              <a:ext cx="1165098" cy="288810"/>
            </a:xfrm>
            <a:prstGeom prst="rect">
              <a:avLst/>
            </a:prstGeom>
          </p:spPr>
        </p:pic>
        <p:pic>
          <p:nvPicPr>
            <p:cNvPr id="9" name="object 6"/>
            <p:cNvPicPr/>
            <p:nvPr/>
          </p:nvPicPr>
          <p:blipFill>
            <a:blip r:embed="rId5" cstate="print"/>
            <a:stretch>
              <a:fillRect/>
            </a:stretch>
          </p:blipFill>
          <p:spPr>
            <a:xfrm>
              <a:off x="307543" y="6091123"/>
              <a:ext cx="1048867" cy="156972"/>
            </a:xfrm>
            <a:prstGeom prst="rect">
              <a:avLst/>
            </a:prstGeom>
          </p:spPr>
        </p:pic>
        <p:pic>
          <p:nvPicPr>
            <p:cNvPr id="10" name="object 7"/>
            <p:cNvPicPr/>
            <p:nvPr/>
          </p:nvPicPr>
          <p:blipFill>
            <a:blip r:embed="rId6" cstate="print"/>
            <a:stretch>
              <a:fillRect/>
            </a:stretch>
          </p:blipFill>
          <p:spPr>
            <a:xfrm>
              <a:off x="1216152" y="6050280"/>
              <a:ext cx="794766" cy="288810"/>
            </a:xfrm>
            <a:prstGeom prst="rect">
              <a:avLst/>
            </a:prstGeom>
          </p:spPr>
        </p:pic>
        <p:pic>
          <p:nvPicPr>
            <p:cNvPr id="11" name="object 8"/>
            <p:cNvPicPr/>
            <p:nvPr/>
          </p:nvPicPr>
          <p:blipFill>
            <a:blip r:embed="rId7" cstate="print"/>
            <a:stretch>
              <a:fillRect/>
            </a:stretch>
          </p:blipFill>
          <p:spPr>
            <a:xfrm>
              <a:off x="1298194" y="6091123"/>
              <a:ext cx="676986" cy="156972"/>
            </a:xfrm>
            <a:prstGeom prst="rect">
              <a:avLst/>
            </a:prstGeom>
          </p:spPr>
        </p:pic>
        <p:pic>
          <p:nvPicPr>
            <p:cNvPr id="12" name="object 9"/>
            <p:cNvPicPr/>
            <p:nvPr/>
          </p:nvPicPr>
          <p:blipFill>
            <a:blip r:embed="rId8" cstate="print"/>
            <a:stretch>
              <a:fillRect/>
            </a:stretch>
          </p:blipFill>
          <p:spPr>
            <a:xfrm>
              <a:off x="1836420" y="6050280"/>
              <a:ext cx="1058418" cy="288810"/>
            </a:xfrm>
            <a:prstGeom prst="rect">
              <a:avLst/>
            </a:prstGeom>
          </p:spPr>
        </p:pic>
        <p:pic>
          <p:nvPicPr>
            <p:cNvPr id="13" name="object 10"/>
            <p:cNvPicPr/>
            <p:nvPr/>
          </p:nvPicPr>
          <p:blipFill>
            <a:blip r:embed="rId9" cstate="print"/>
            <a:stretch>
              <a:fillRect/>
            </a:stretch>
          </p:blipFill>
          <p:spPr>
            <a:xfrm>
              <a:off x="1918716" y="6091123"/>
              <a:ext cx="942847" cy="156972"/>
            </a:xfrm>
            <a:prstGeom prst="rect">
              <a:avLst/>
            </a:prstGeom>
          </p:spPr>
        </p:pic>
        <p:pic>
          <p:nvPicPr>
            <p:cNvPr id="14" name="object 11"/>
            <p:cNvPicPr/>
            <p:nvPr/>
          </p:nvPicPr>
          <p:blipFill>
            <a:blip r:embed="rId10" cstate="print"/>
            <a:stretch>
              <a:fillRect/>
            </a:stretch>
          </p:blipFill>
          <p:spPr>
            <a:xfrm>
              <a:off x="225551" y="6202680"/>
              <a:ext cx="802385" cy="288810"/>
            </a:xfrm>
            <a:prstGeom prst="rect">
              <a:avLst/>
            </a:prstGeom>
          </p:spPr>
        </p:pic>
        <p:pic>
          <p:nvPicPr>
            <p:cNvPr id="15" name="object 12"/>
            <p:cNvPicPr/>
            <p:nvPr/>
          </p:nvPicPr>
          <p:blipFill>
            <a:blip r:embed="rId11" cstate="print"/>
            <a:stretch>
              <a:fillRect/>
            </a:stretch>
          </p:blipFill>
          <p:spPr>
            <a:xfrm>
              <a:off x="307543" y="6246571"/>
              <a:ext cx="706374" cy="152704"/>
            </a:xfrm>
            <a:prstGeom prst="rect">
              <a:avLst/>
            </a:prstGeom>
          </p:spPr>
        </p:pic>
        <p:pic>
          <p:nvPicPr>
            <p:cNvPr id="16" name="object 13"/>
            <p:cNvPicPr/>
            <p:nvPr/>
          </p:nvPicPr>
          <p:blipFill>
            <a:blip r:embed="rId12" cstate="print"/>
            <a:stretch>
              <a:fillRect/>
            </a:stretch>
          </p:blipFill>
          <p:spPr>
            <a:xfrm>
              <a:off x="853440" y="6202680"/>
              <a:ext cx="232397" cy="288810"/>
            </a:xfrm>
            <a:prstGeom prst="rect">
              <a:avLst/>
            </a:prstGeom>
          </p:spPr>
        </p:pic>
        <p:pic>
          <p:nvPicPr>
            <p:cNvPr id="17" name="object 14"/>
            <p:cNvPicPr/>
            <p:nvPr/>
          </p:nvPicPr>
          <p:blipFill>
            <a:blip r:embed="rId13" cstate="print"/>
            <a:stretch>
              <a:fillRect/>
            </a:stretch>
          </p:blipFill>
          <p:spPr>
            <a:xfrm>
              <a:off x="935431" y="6246571"/>
              <a:ext cx="86868" cy="152704"/>
            </a:xfrm>
            <a:prstGeom prst="rect">
              <a:avLst/>
            </a:prstGeom>
          </p:spPr>
        </p:pic>
        <p:pic>
          <p:nvPicPr>
            <p:cNvPr id="18" name="object 15"/>
            <p:cNvPicPr/>
            <p:nvPr/>
          </p:nvPicPr>
          <p:blipFill>
            <a:blip r:embed="rId14" cstate="print"/>
            <a:stretch>
              <a:fillRect/>
            </a:stretch>
          </p:blipFill>
          <p:spPr>
            <a:xfrm>
              <a:off x="911352" y="6202680"/>
              <a:ext cx="1062990" cy="288810"/>
            </a:xfrm>
            <a:prstGeom prst="rect">
              <a:avLst/>
            </a:prstGeom>
          </p:spPr>
        </p:pic>
        <p:pic>
          <p:nvPicPr>
            <p:cNvPr id="19" name="object 16"/>
            <p:cNvPicPr/>
            <p:nvPr/>
          </p:nvPicPr>
          <p:blipFill>
            <a:blip r:embed="rId15" cstate="print"/>
            <a:stretch>
              <a:fillRect/>
            </a:stretch>
          </p:blipFill>
          <p:spPr>
            <a:xfrm>
              <a:off x="993343" y="6246571"/>
              <a:ext cx="948054" cy="152704"/>
            </a:xfrm>
            <a:prstGeom prst="rect">
              <a:avLst/>
            </a:prstGeom>
          </p:spPr>
        </p:pic>
      </p:grpSp>
      <p:pic>
        <p:nvPicPr>
          <p:cNvPr id="20" name="object 21"/>
          <p:cNvPicPr/>
          <p:nvPr/>
        </p:nvPicPr>
        <p:blipFill>
          <a:blip r:embed="rId16" cstate="print"/>
          <a:stretch>
            <a:fillRect/>
          </a:stretch>
        </p:blipFill>
        <p:spPr>
          <a:xfrm>
            <a:off x="9643236" y="1875993"/>
            <a:ext cx="571271" cy="169468"/>
          </a:xfrm>
          <a:prstGeom prst="rect">
            <a:avLst/>
          </a:prstGeom>
        </p:spPr>
      </p:pic>
      <p:grpSp>
        <p:nvGrpSpPr>
          <p:cNvPr id="21" name="object 22"/>
          <p:cNvGrpSpPr/>
          <p:nvPr/>
        </p:nvGrpSpPr>
        <p:grpSpPr>
          <a:xfrm>
            <a:off x="9643236" y="2131186"/>
            <a:ext cx="1627505" cy="495300"/>
            <a:chOff x="9643236" y="2131186"/>
            <a:chExt cx="1627505" cy="495300"/>
          </a:xfrm>
        </p:grpSpPr>
        <p:pic>
          <p:nvPicPr>
            <p:cNvPr id="22" name="object 23"/>
            <p:cNvPicPr/>
            <p:nvPr/>
          </p:nvPicPr>
          <p:blipFill>
            <a:blip r:embed="rId17" cstate="print"/>
            <a:stretch>
              <a:fillRect/>
            </a:stretch>
          </p:blipFill>
          <p:spPr>
            <a:xfrm>
              <a:off x="9643236" y="2131186"/>
              <a:ext cx="1188491" cy="251460"/>
            </a:xfrm>
            <a:prstGeom prst="rect">
              <a:avLst/>
            </a:prstGeom>
          </p:spPr>
        </p:pic>
        <p:pic>
          <p:nvPicPr>
            <p:cNvPr id="23" name="object 24"/>
            <p:cNvPicPr/>
            <p:nvPr/>
          </p:nvPicPr>
          <p:blipFill>
            <a:blip r:embed="rId18" cstate="print"/>
            <a:stretch>
              <a:fillRect/>
            </a:stretch>
          </p:blipFill>
          <p:spPr>
            <a:xfrm>
              <a:off x="10699750" y="2131186"/>
              <a:ext cx="148590" cy="251460"/>
            </a:xfrm>
            <a:prstGeom prst="rect">
              <a:avLst/>
            </a:prstGeom>
          </p:spPr>
        </p:pic>
        <p:pic>
          <p:nvPicPr>
            <p:cNvPr id="24" name="object 25"/>
            <p:cNvPicPr/>
            <p:nvPr/>
          </p:nvPicPr>
          <p:blipFill>
            <a:blip r:embed="rId19" cstate="print"/>
            <a:stretch>
              <a:fillRect/>
            </a:stretch>
          </p:blipFill>
          <p:spPr>
            <a:xfrm>
              <a:off x="9643236" y="2375026"/>
              <a:ext cx="1627504" cy="251460"/>
            </a:xfrm>
            <a:prstGeom prst="rect">
              <a:avLst/>
            </a:prstGeom>
          </p:spPr>
        </p:pic>
      </p:grpSp>
      <p:pic>
        <p:nvPicPr>
          <p:cNvPr id="25" name="object 26"/>
          <p:cNvPicPr/>
          <p:nvPr/>
        </p:nvPicPr>
        <p:blipFill>
          <a:blip r:embed="rId20" cstate="print"/>
          <a:stretch>
            <a:fillRect/>
          </a:stretch>
        </p:blipFill>
        <p:spPr>
          <a:xfrm>
            <a:off x="9643236" y="2714879"/>
            <a:ext cx="444487" cy="169163"/>
          </a:xfrm>
          <a:prstGeom prst="rect">
            <a:avLst/>
          </a:prstGeom>
        </p:spPr>
      </p:pic>
      <p:pic>
        <p:nvPicPr>
          <p:cNvPr id="26" name="object 27"/>
          <p:cNvPicPr/>
          <p:nvPr/>
        </p:nvPicPr>
        <p:blipFill>
          <a:blip r:embed="rId21" cstate="print"/>
          <a:stretch>
            <a:fillRect/>
          </a:stretch>
        </p:blipFill>
        <p:spPr>
          <a:xfrm>
            <a:off x="9643236" y="2969386"/>
            <a:ext cx="1269949" cy="251460"/>
          </a:xfrm>
          <a:prstGeom prst="rect">
            <a:avLst/>
          </a:prstGeom>
        </p:spPr>
      </p:pic>
      <p:pic>
        <p:nvPicPr>
          <p:cNvPr id="27" name="object 28"/>
          <p:cNvPicPr/>
          <p:nvPr/>
        </p:nvPicPr>
        <p:blipFill>
          <a:blip r:embed="rId22" cstate="print"/>
          <a:stretch>
            <a:fillRect/>
          </a:stretch>
        </p:blipFill>
        <p:spPr>
          <a:xfrm>
            <a:off x="9643236" y="3309188"/>
            <a:ext cx="589622" cy="169468"/>
          </a:xfrm>
          <a:prstGeom prst="rect">
            <a:avLst/>
          </a:prstGeom>
        </p:spPr>
      </p:pic>
      <p:pic>
        <p:nvPicPr>
          <p:cNvPr id="28" name="object 29"/>
          <p:cNvPicPr/>
          <p:nvPr/>
        </p:nvPicPr>
        <p:blipFill>
          <a:blip r:embed="rId23" cstate="print"/>
          <a:stretch>
            <a:fillRect/>
          </a:stretch>
        </p:blipFill>
        <p:spPr>
          <a:xfrm>
            <a:off x="9643236" y="3564001"/>
            <a:ext cx="1692782" cy="251460"/>
          </a:xfrm>
          <a:prstGeom prst="rect">
            <a:avLst/>
          </a:prstGeom>
        </p:spPr>
      </p:pic>
      <p:pic>
        <p:nvPicPr>
          <p:cNvPr id="29" name="object 30"/>
          <p:cNvPicPr/>
          <p:nvPr/>
        </p:nvPicPr>
        <p:blipFill>
          <a:blip r:embed="rId24" cstate="print"/>
          <a:stretch>
            <a:fillRect/>
          </a:stretch>
        </p:blipFill>
        <p:spPr>
          <a:xfrm>
            <a:off x="9643236" y="3903853"/>
            <a:ext cx="1295653" cy="169163"/>
          </a:xfrm>
          <a:prstGeom prst="rect">
            <a:avLst/>
          </a:prstGeom>
        </p:spPr>
      </p:pic>
      <p:grpSp>
        <p:nvGrpSpPr>
          <p:cNvPr id="30" name="object 31"/>
          <p:cNvGrpSpPr/>
          <p:nvPr/>
        </p:nvGrpSpPr>
        <p:grpSpPr>
          <a:xfrm>
            <a:off x="9643236" y="4158360"/>
            <a:ext cx="1229995" cy="251460"/>
            <a:chOff x="9643236" y="4158360"/>
            <a:chExt cx="1229995" cy="251460"/>
          </a:xfrm>
        </p:grpSpPr>
        <p:pic>
          <p:nvPicPr>
            <p:cNvPr id="31" name="object 32"/>
            <p:cNvPicPr/>
            <p:nvPr/>
          </p:nvPicPr>
          <p:blipFill>
            <a:blip r:embed="rId25" cstate="print"/>
            <a:stretch>
              <a:fillRect/>
            </a:stretch>
          </p:blipFill>
          <p:spPr>
            <a:xfrm>
              <a:off x="9643236" y="4158360"/>
              <a:ext cx="878166" cy="251460"/>
            </a:xfrm>
            <a:prstGeom prst="rect">
              <a:avLst/>
            </a:prstGeom>
          </p:spPr>
        </p:pic>
        <p:pic>
          <p:nvPicPr>
            <p:cNvPr id="32" name="object 33"/>
            <p:cNvPicPr/>
            <p:nvPr/>
          </p:nvPicPr>
          <p:blipFill>
            <a:blip r:embed="rId26" cstate="print"/>
            <a:stretch>
              <a:fillRect/>
            </a:stretch>
          </p:blipFill>
          <p:spPr>
            <a:xfrm>
              <a:off x="10411713" y="4158360"/>
              <a:ext cx="461264" cy="251460"/>
            </a:xfrm>
            <a:prstGeom prst="rect">
              <a:avLst/>
            </a:prstGeom>
          </p:spPr>
        </p:pic>
      </p:grpSp>
      <p:pic>
        <p:nvPicPr>
          <p:cNvPr id="33" name="object 34"/>
          <p:cNvPicPr/>
          <p:nvPr/>
        </p:nvPicPr>
        <p:blipFill>
          <a:blip r:embed="rId27" cstate="print"/>
          <a:stretch>
            <a:fillRect/>
          </a:stretch>
        </p:blipFill>
        <p:spPr>
          <a:xfrm>
            <a:off x="9643236" y="4498213"/>
            <a:ext cx="1060437" cy="169163"/>
          </a:xfrm>
          <a:prstGeom prst="rect">
            <a:avLst/>
          </a:prstGeom>
        </p:spPr>
      </p:pic>
      <p:pic>
        <p:nvPicPr>
          <p:cNvPr id="34" name="object 35"/>
          <p:cNvPicPr/>
          <p:nvPr/>
        </p:nvPicPr>
        <p:blipFill>
          <a:blip r:embed="rId28" cstate="print"/>
          <a:stretch>
            <a:fillRect/>
          </a:stretch>
        </p:blipFill>
        <p:spPr>
          <a:xfrm>
            <a:off x="9643236" y="4752416"/>
            <a:ext cx="2513329" cy="251764"/>
          </a:xfrm>
          <a:prstGeom prst="rect">
            <a:avLst/>
          </a:prstGeom>
        </p:spPr>
      </p:pic>
      <p:pic>
        <p:nvPicPr>
          <p:cNvPr id="35" name="object 36"/>
          <p:cNvPicPr/>
          <p:nvPr/>
        </p:nvPicPr>
        <p:blipFill>
          <a:blip r:embed="rId29" cstate="print"/>
          <a:stretch>
            <a:fillRect/>
          </a:stretch>
        </p:blipFill>
        <p:spPr>
          <a:xfrm>
            <a:off x="9643236" y="5092953"/>
            <a:ext cx="1641475" cy="169163"/>
          </a:xfrm>
          <a:prstGeom prst="rect">
            <a:avLst/>
          </a:prstGeom>
        </p:spPr>
      </p:pic>
      <p:pic>
        <p:nvPicPr>
          <p:cNvPr id="36" name="object 37"/>
          <p:cNvPicPr/>
          <p:nvPr/>
        </p:nvPicPr>
        <p:blipFill>
          <a:blip r:embed="rId30" cstate="print"/>
          <a:stretch>
            <a:fillRect/>
          </a:stretch>
        </p:blipFill>
        <p:spPr>
          <a:xfrm>
            <a:off x="9643236" y="5347411"/>
            <a:ext cx="852043" cy="251459"/>
          </a:xfrm>
          <a:prstGeom prst="rect">
            <a:avLst/>
          </a:prstGeom>
        </p:spPr>
      </p:pic>
      <p:pic>
        <p:nvPicPr>
          <p:cNvPr id="37" name="object 38"/>
          <p:cNvPicPr/>
          <p:nvPr/>
        </p:nvPicPr>
        <p:blipFill>
          <a:blip r:embed="rId31" cstate="print"/>
          <a:stretch>
            <a:fillRect/>
          </a:stretch>
        </p:blipFill>
        <p:spPr>
          <a:xfrm>
            <a:off x="9643236" y="5687263"/>
            <a:ext cx="1568069" cy="169163"/>
          </a:xfrm>
          <a:prstGeom prst="rect">
            <a:avLst/>
          </a:prstGeom>
        </p:spPr>
      </p:pic>
      <p:pic>
        <p:nvPicPr>
          <p:cNvPr id="38" name="object 39"/>
          <p:cNvPicPr/>
          <p:nvPr/>
        </p:nvPicPr>
        <p:blipFill>
          <a:blip r:embed="rId32" cstate="print"/>
          <a:stretch>
            <a:fillRect/>
          </a:stretch>
        </p:blipFill>
        <p:spPr>
          <a:xfrm>
            <a:off x="9643236" y="5941771"/>
            <a:ext cx="843876" cy="251460"/>
          </a:xfrm>
          <a:prstGeom prst="rect">
            <a:avLst/>
          </a:prstGeom>
        </p:spPr>
      </p:pic>
      <p:sp>
        <p:nvSpPr>
          <p:cNvPr id="43" name="object 44"/>
          <p:cNvSpPr/>
          <p:nvPr/>
        </p:nvSpPr>
        <p:spPr>
          <a:xfrm>
            <a:off x="0" y="6051803"/>
            <a:ext cx="236220" cy="401320"/>
          </a:xfrm>
          <a:custGeom>
            <a:avLst/>
            <a:gdLst/>
            <a:ahLst/>
            <a:cxnLst/>
            <a:rect l="l" t="t" r="r" b="b"/>
            <a:pathLst>
              <a:path w="236220" h="401320">
                <a:moveTo>
                  <a:pt x="236220" y="0"/>
                </a:moveTo>
                <a:lnTo>
                  <a:pt x="0" y="0"/>
                </a:lnTo>
                <a:lnTo>
                  <a:pt x="0" y="400812"/>
                </a:lnTo>
                <a:lnTo>
                  <a:pt x="186842" y="400812"/>
                </a:lnTo>
                <a:lnTo>
                  <a:pt x="236220" y="0"/>
                </a:lnTo>
                <a:close/>
              </a:path>
            </a:pathLst>
          </a:custGeom>
          <a:solidFill>
            <a:srgbClr val="C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graphicFrame>
        <p:nvGraphicFramePr>
          <p:cNvPr id="44" name="object 45"/>
          <p:cNvGraphicFramePr>
            <a:graphicFrameLocks noGrp="1"/>
          </p:cNvGraphicFramePr>
          <p:nvPr/>
        </p:nvGraphicFramePr>
        <p:xfrm>
          <a:off x="9611486" y="1595884"/>
          <a:ext cx="2576830" cy="4592915"/>
        </p:xfrm>
        <a:graphic>
          <a:graphicData uri="http://schemas.openxmlformats.org/drawingml/2006/table">
            <a:tbl>
              <a:tblPr firstRow="1" bandRow="1"/>
              <a:tblGrid>
                <a:gridCol w="2576830">
                  <a:extLst>
                    <a:ext uri="{9D8B030D-6E8A-4147-A177-3AD203B41FA5}">
                      <a16:colId xmlns:a16="http://schemas.microsoft.com/office/drawing/2014/main" val="20000"/>
                    </a:ext>
                  </a:extLst>
                </a:gridCol>
              </a:tblGrid>
              <a:tr h="22586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2011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dirty="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241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dirty="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9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dirty="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252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9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dirty="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7252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9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7184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043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7252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5976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7252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dirty="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31309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100" dirty="0">
                        <a:latin typeface="Times New Roman" panose="02020503050405090304"/>
                        <a:cs typeface="Times New Roman" panose="02020503050405090304"/>
                      </a:endParaRPr>
                    </a:p>
                  </a:txBody>
                  <a:tcPr marL="0" marR="0" marT="0" marB="0">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bl>
          </a:graphicData>
        </a:graphic>
      </p:graphicFrame>
      <p:sp>
        <p:nvSpPr>
          <p:cNvPr id="45" name="Title 1"/>
          <p:cNvSpPr txBox="1"/>
          <p:nvPr/>
        </p:nvSpPr>
        <p:spPr>
          <a:xfrm>
            <a:off x="180614" y="526265"/>
            <a:ext cx="10340788" cy="576039"/>
          </a:xfrm>
          <a:prstGeom prst="rect">
            <a:avLst/>
          </a:prstGeom>
        </p:spPr>
        <p:txBody>
          <a:bodyPr vert="horz" lIns="0" tIns="0" rIns="91440" bIns="45720" rtlCol="0" anchor="ctr">
            <a:noAutofit/>
          </a:bodyPr>
          <a:lstStyle>
            <a:lvl1pPr algn="l" defTabSz="914400" rtl="0" eaLnBrk="1" latinLnBrk="0" hangingPunct="1">
              <a:lnSpc>
                <a:spcPts val="2000"/>
              </a:lnSpc>
              <a:spcBef>
                <a:spcPct val="0"/>
              </a:spcBef>
              <a:buNone/>
              <a:defRPr sz="1600" b="0" i="0" kern="1200" baseline="0">
                <a:solidFill>
                  <a:schemeClr val="accent1"/>
                </a:solidFill>
                <a:latin typeface="Gotham Medium" charset="0"/>
                <a:ea typeface="Gotham Medium" charset="0"/>
                <a:cs typeface="Gotham Medium" charset="0"/>
              </a:defRPr>
            </a:lvl1pPr>
          </a:lstStyle>
          <a:p>
            <a:pPr fontAlgn="ctr">
              <a:lnSpc>
                <a:spcPct val="100000"/>
              </a:lnSpc>
              <a:spcBef>
                <a:spcPts val="0"/>
              </a:spcBef>
              <a:defRPr/>
            </a:pPr>
            <a:r>
              <a:rPr kumimoji="0" lang="en-US" sz="2400" b="1" i="0" u="none" strike="noStrike" kern="1200" cap="none" spc="0" normalizeH="0" baseline="0" noProof="0" dirty="0">
                <a:ln>
                  <a:noFill/>
                </a:ln>
                <a:solidFill>
                  <a:srgbClr val="002060"/>
                </a:solidFill>
                <a:effectLst/>
                <a:uLnTx/>
                <a:uFillTx/>
                <a:latin typeface="GothamBold" pitchFamily="50" charset="0"/>
                <a:ea typeface="+mn-ea"/>
                <a:cs typeface="Gotham Medium" charset="0"/>
              </a:rPr>
              <a:t>MIND ID</a:t>
            </a:r>
            <a:r>
              <a:rPr kumimoji="0" lang="zh-CN" altLang="en-US" sz="2400" b="1" i="0" u="none" strike="noStrike" kern="1200" cap="none" spc="0" normalizeH="0" baseline="0" noProof="0" dirty="0">
                <a:ln>
                  <a:noFill/>
                </a:ln>
                <a:solidFill>
                  <a:srgbClr val="002060"/>
                </a:solidFill>
                <a:effectLst/>
                <a:uLnTx/>
                <a:uFillTx/>
                <a:latin typeface="GothamBold" pitchFamily="50" charset="0"/>
                <a:ea typeface="+mn-ea"/>
                <a:cs typeface="Gotham Medium" charset="0"/>
              </a:rPr>
              <a:t>团队</a:t>
            </a:r>
            <a:r>
              <a:rPr lang="en-US" altLang="zh-CN" sz="2400" b="1" dirty="0">
                <a:solidFill>
                  <a:srgbClr val="002060"/>
                </a:solidFill>
                <a:latin typeface="GothamBold" pitchFamily="50" charset="0"/>
                <a:ea typeface="+mn-ea"/>
              </a:rPr>
              <a:t>—</a:t>
            </a:r>
            <a:r>
              <a:rPr lang="zh-CN" altLang="en-US" sz="2400" dirty="0"/>
              <a:t>冶炼厂级氧化铝精炼</a:t>
            </a:r>
            <a:r>
              <a:rPr lang="en-US" altLang="zh-CN" sz="2400" b="1" dirty="0" err="1">
                <a:solidFill>
                  <a:srgbClr val="002060"/>
                </a:solidFill>
                <a:latin typeface="GothamBold" pitchFamily="50" charset="0"/>
                <a:ea typeface="+mn-ea"/>
              </a:rPr>
              <a:t>Mempawah</a:t>
            </a:r>
            <a:r>
              <a:rPr lang="zh-CN" altLang="en-US" sz="2400" dirty="0"/>
              <a:t>项目</a:t>
            </a:r>
            <a:endParaRPr lang="en-US" altLang="zh-CN" sz="2400" dirty="0"/>
          </a:p>
        </p:txBody>
      </p:sp>
      <p:sp>
        <p:nvSpPr>
          <p:cNvPr id="2" name="文本框 1"/>
          <p:cNvSpPr txBox="1"/>
          <p:nvPr/>
        </p:nvSpPr>
        <p:spPr>
          <a:xfrm>
            <a:off x="9611486" y="1712686"/>
            <a:ext cx="761619" cy="251459"/>
          </a:xfrm>
          <a:prstGeom prst="rect">
            <a:avLst/>
          </a:prstGeom>
        </p:spPr>
        <p:txBody>
          <a:bodyPr vert="horz" wrap="square" lIns="0" tIns="45720" rIns="91440" bIns="45720" rtlCol="0" anchor="ctr">
            <a:noAutofit/>
          </a:bodyPr>
          <a:lstStyle/>
          <a:p>
            <a:endParaRPr lang="zh-CN" altLang="en-US" sz="1600" b="0" i="0" dirty="0">
              <a:solidFill>
                <a:schemeClr val="accent1"/>
              </a:solidFill>
              <a:latin typeface="Gotham Medium" charset="0"/>
              <a:ea typeface="Gotham Medium" charset="0"/>
              <a:cs typeface="Gotham Medium" charset="0"/>
            </a:endParaRPr>
          </a:p>
        </p:txBody>
      </p:sp>
      <p:sp>
        <p:nvSpPr>
          <p:cNvPr id="41" name="文本框 40"/>
          <p:cNvSpPr txBox="1"/>
          <p:nvPr/>
        </p:nvSpPr>
        <p:spPr>
          <a:xfrm>
            <a:off x="9608946" y="2704084"/>
            <a:ext cx="1887602" cy="516639"/>
          </a:xfrm>
          <a:prstGeom prst="rect">
            <a:avLst/>
          </a:prstGeom>
          <a:solidFill>
            <a:srgbClr val="FFFFFF"/>
          </a:solidFill>
        </p:spPr>
        <p:txBody>
          <a:bodyPr vert="horz" wrap="square" lIns="0" tIns="45720" rIns="91440" bIns="45720" rtlCol="0" anchor="ctr">
            <a:noAutofit/>
          </a:bodyPr>
          <a:lstStyle/>
          <a:p>
            <a:r>
              <a:rPr lang="zh-CN" altLang="en-US" sz="1400" b="0" i="0" dirty="0">
                <a:solidFill>
                  <a:schemeClr val="accent1"/>
                </a:solidFill>
                <a:latin typeface="Gotham Medium" charset="0"/>
                <a:ea typeface="Gotham Medium" charset="0"/>
                <a:cs typeface="Gotham Medium" charset="0"/>
              </a:rPr>
              <a:t>状态：</a:t>
            </a:r>
            <a:endParaRPr lang="en-US" altLang="zh-CN" sz="1400" b="0" i="0" dirty="0">
              <a:solidFill>
                <a:schemeClr val="accent1"/>
              </a:solidFill>
              <a:latin typeface="Gotham Medium" charset="0"/>
              <a:ea typeface="Gotham Medium" charset="0"/>
              <a:cs typeface="Gotham Medium" charset="0"/>
            </a:endParaRPr>
          </a:p>
          <a:p>
            <a:r>
              <a:rPr lang="zh-CN" altLang="en-US" b="1" dirty="0">
                <a:solidFill>
                  <a:schemeClr val="accent1"/>
                </a:solidFill>
                <a:latin typeface="Gotham Medium" charset="0"/>
                <a:ea typeface="Gotham Medium" charset="0"/>
                <a:cs typeface="Gotham Medium" charset="0"/>
              </a:rPr>
              <a:t>建设中</a:t>
            </a:r>
            <a:endParaRPr lang="zh-CN" altLang="en-US" b="1" i="0" dirty="0">
              <a:solidFill>
                <a:schemeClr val="accent1"/>
              </a:solidFill>
              <a:latin typeface="Gotham Medium" charset="0"/>
              <a:ea typeface="Gotham Medium" charset="0"/>
              <a:cs typeface="Gotham Medium" charset="0"/>
            </a:endParaRPr>
          </a:p>
        </p:txBody>
      </p:sp>
      <p:sp>
        <p:nvSpPr>
          <p:cNvPr id="42" name="文本框 41"/>
          <p:cNvSpPr txBox="1"/>
          <p:nvPr/>
        </p:nvSpPr>
        <p:spPr>
          <a:xfrm>
            <a:off x="9611486" y="3247363"/>
            <a:ext cx="2085214" cy="567717"/>
          </a:xfrm>
          <a:prstGeom prst="rect">
            <a:avLst/>
          </a:prstGeom>
          <a:solidFill>
            <a:srgbClr val="FFFFFF"/>
          </a:solidFill>
        </p:spPr>
        <p:txBody>
          <a:bodyPr vert="horz" wrap="square" lIns="0" tIns="45720" rIns="91440" bIns="45720" rtlCol="0" anchor="ctr">
            <a:noAutofit/>
          </a:bodyPr>
          <a:lstStyle/>
          <a:p>
            <a:r>
              <a:rPr lang="zh-CN" altLang="en-US" sz="1400" b="0" i="0" dirty="0">
                <a:solidFill>
                  <a:schemeClr val="accent1"/>
                </a:solidFill>
                <a:latin typeface="Gotham Medium" charset="0"/>
                <a:ea typeface="Gotham Medium" charset="0"/>
                <a:cs typeface="Gotham Medium" charset="0"/>
              </a:rPr>
              <a:t>产能：</a:t>
            </a:r>
            <a:endParaRPr lang="en-US" altLang="zh-CN" sz="1400" b="0" i="0" dirty="0">
              <a:solidFill>
                <a:schemeClr val="accent1"/>
              </a:solidFill>
              <a:latin typeface="Gotham Medium" charset="0"/>
              <a:ea typeface="Gotham Medium" charset="0"/>
              <a:cs typeface="Gotham Medium" charset="0"/>
            </a:endParaRPr>
          </a:p>
          <a:p>
            <a:r>
              <a:rPr lang="en-US" altLang="zh-CN" b="1" dirty="0">
                <a:solidFill>
                  <a:schemeClr val="accent1"/>
                </a:solidFill>
                <a:latin typeface="Gotham Medium" charset="0"/>
                <a:ea typeface="Gotham Medium" charset="0"/>
                <a:cs typeface="Gotham Medium" charset="0"/>
              </a:rPr>
              <a:t>100</a:t>
            </a:r>
            <a:r>
              <a:rPr lang="zh-CN" altLang="en-US" b="1" dirty="0">
                <a:solidFill>
                  <a:schemeClr val="accent1"/>
                </a:solidFill>
                <a:latin typeface="Gotham Medium" charset="0"/>
                <a:ea typeface="Gotham Medium" charset="0"/>
                <a:cs typeface="Gotham Medium" charset="0"/>
              </a:rPr>
              <a:t>万吨</a:t>
            </a:r>
            <a:r>
              <a:rPr lang="en-US" altLang="zh-CN" b="1" dirty="0">
                <a:solidFill>
                  <a:schemeClr val="accent1"/>
                </a:solidFill>
                <a:latin typeface="Gotham Medium" charset="0"/>
                <a:ea typeface="Gotham Medium" charset="0"/>
                <a:cs typeface="Gotham Medium" charset="0"/>
              </a:rPr>
              <a:t>/</a:t>
            </a:r>
            <a:r>
              <a:rPr lang="zh-CN" altLang="en-US" b="1" dirty="0">
                <a:solidFill>
                  <a:schemeClr val="accent1"/>
                </a:solidFill>
                <a:latin typeface="Gotham Medium" charset="0"/>
                <a:ea typeface="Gotham Medium" charset="0"/>
                <a:cs typeface="Gotham Medium" charset="0"/>
              </a:rPr>
              <a:t>年</a:t>
            </a:r>
            <a:endParaRPr lang="zh-CN" altLang="en-US" b="1" i="0" dirty="0">
              <a:solidFill>
                <a:schemeClr val="accent1"/>
              </a:solidFill>
              <a:latin typeface="Gotham Medium" charset="0"/>
              <a:ea typeface="Gotham Medium" charset="0"/>
              <a:cs typeface="Gotham Medium" charset="0"/>
            </a:endParaRPr>
          </a:p>
        </p:txBody>
      </p:sp>
      <p:sp>
        <p:nvSpPr>
          <p:cNvPr id="46" name="文本框 45"/>
          <p:cNvSpPr txBox="1"/>
          <p:nvPr/>
        </p:nvSpPr>
        <p:spPr>
          <a:xfrm>
            <a:off x="9611486" y="3815080"/>
            <a:ext cx="1887602" cy="594360"/>
          </a:xfrm>
          <a:prstGeom prst="rect">
            <a:avLst/>
          </a:prstGeom>
          <a:solidFill>
            <a:srgbClr val="FFFFFF"/>
          </a:solidFill>
        </p:spPr>
        <p:txBody>
          <a:bodyPr vert="horz" wrap="square" lIns="0" tIns="45720" rIns="91440" bIns="45720" rtlCol="0" anchor="ctr">
            <a:noAutofit/>
          </a:bodyPr>
          <a:lstStyle/>
          <a:p>
            <a:r>
              <a:rPr lang="zh-CN" altLang="en-US" sz="1400" b="0" i="0" dirty="0">
                <a:solidFill>
                  <a:schemeClr val="accent1"/>
                </a:solidFill>
                <a:latin typeface="Gotham Medium" charset="0"/>
                <a:ea typeface="Gotham Medium" charset="0"/>
                <a:cs typeface="Gotham Medium" charset="0"/>
              </a:rPr>
              <a:t>预计总投资：</a:t>
            </a:r>
            <a:endParaRPr lang="en-US" altLang="zh-CN" sz="1400" b="0" i="0" dirty="0">
              <a:solidFill>
                <a:schemeClr val="accent1"/>
              </a:solidFill>
              <a:latin typeface="Gotham Medium" charset="0"/>
              <a:ea typeface="Gotham Medium" charset="0"/>
              <a:cs typeface="Gotham Medium" charset="0"/>
            </a:endParaRPr>
          </a:p>
          <a:p>
            <a:r>
              <a:rPr lang="en-US" altLang="zh-CN" b="1" dirty="0">
                <a:solidFill>
                  <a:schemeClr val="accent1"/>
                </a:solidFill>
                <a:latin typeface="Gotham Medium" charset="0"/>
                <a:ea typeface="Gotham Medium" charset="0"/>
                <a:cs typeface="Gotham Medium" charset="0"/>
              </a:rPr>
              <a:t>8.3</a:t>
            </a:r>
            <a:r>
              <a:rPr lang="zh-CN" altLang="en-US" b="1" dirty="0">
                <a:solidFill>
                  <a:schemeClr val="accent1"/>
                </a:solidFill>
                <a:latin typeface="Gotham Medium" charset="0"/>
                <a:ea typeface="Gotham Medium" charset="0"/>
                <a:cs typeface="Gotham Medium" charset="0"/>
              </a:rPr>
              <a:t>亿美元</a:t>
            </a:r>
            <a:endParaRPr lang="zh-CN" altLang="en-US" b="1" i="0" dirty="0">
              <a:solidFill>
                <a:schemeClr val="accent1"/>
              </a:solidFill>
              <a:latin typeface="Gotham Medium" charset="0"/>
              <a:ea typeface="Gotham Medium" charset="0"/>
              <a:cs typeface="Gotham Medium" charset="0"/>
            </a:endParaRPr>
          </a:p>
        </p:txBody>
      </p:sp>
      <p:sp>
        <p:nvSpPr>
          <p:cNvPr id="47" name="文本框 46"/>
          <p:cNvSpPr txBox="1"/>
          <p:nvPr/>
        </p:nvSpPr>
        <p:spPr>
          <a:xfrm>
            <a:off x="9608820" y="4457700"/>
            <a:ext cx="2583180" cy="605790"/>
          </a:xfrm>
          <a:prstGeom prst="rect">
            <a:avLst/>
          </a:prstGeom>
          <a:solidFill>
            <a:srgbClr val="FFFFFF"/>
          </a:solidFill>
        </p:spPr>
        <p:txBody>
          <a:bodyPr vert="horz" wrap="square" lIns="0" tIns="45720" rIns="91440" bIns="45720" rtlCol="0" anchor="ctr">
            <a:noAutofit/>
          </a:bodyPr>
          <a:lstStyle/>
          <a:p>
            <a:r>
              <a:rPr lang="zh-CN" altLang="en-US" sz="1400" b="0" i="0" dirty="0">
                <a:solidFill>
                  <a:schemeClr val="accent1"/>
                </a:solidFill>
                <a:latin typeface="Gotham Medium" charset="0"/>
                <a:ea typeface="Gotham Medium" charset="0"/>
                <a:cs typeface="Gotham Medium" charset="0"/>
              </a:rPr>
              <a:t>资金结构：</a:t>
            </a:r>
            <a:endParaRPr lang="en-US" altLang="zh-CN" sz="1400" b="0" i="0" dirty="0">
              <a:solidFill>
                <a:schemeClr val="accent1"/>
              </a:solidFill>
              <a:latin typeface="Gotham Medium" charset="0"/>
              <a:ea typeface="Gotham Medium" charset="0"/>
              <a:cs typeface="Gotham Medium" charset="0"/>
            </a:endParaRPr>
          </a:p>
          <a:p>
            <a:r>
              <a:rPr lang="en-US" altLang="zh-CN" b="1" spc="-60" dirty="0">
                <a:solidFill>
                  <a:schemeClr val="accent1"/>
                </a:solidFill>
                <a:uFillTx/>
                <a:latin typeface="Gotham Medium" charset="0"/>
                <a:ea typeface="Gotham Medium" charset="0"/>
                <a:cs typeface="Gotham Medium" charset="0"/>
              </a:rPr>
              <a:t>40% ANTAM, 60% INALUM</a:t>
            </a:r>
            <a:endParaRPr lang="en-US" altLang="zh-CN" b="1" i="0" spc="-60" dirty="0">
              <a:solidFill>
                <a:schemeClr val="accent1"/>
              </a:solidFill>
              <a:uFillTx/>
              <a:latin typeface="Gotham Medium" charset="0"/>
              <a:ea typeface="Gotham Medium" charset="0"/>
              <a:cs typeface="Gotham Medium" charset="0"/>
            </a:endParaRPr>
          </a:p>
        </p:txBody>
      </p:sp>
      <p:sp>
        <p:nvSpPr>
          <p:cNvPr id="48" name="文本框 47"/>
          <p:cNvSpPr txBox="1"/>
          <p:nvPr/>
        </p:nvSpPr>
        <p:spPr>
          <a:xfrm>
            <a:off x="9608820" y="5093335"/>
            <a:ext cx="2056130" cy="576580"/>
          </a:xfrm>
          <a:prstGeom prst="rect">
            <a:avLst/>
          </a:prstGeom>
          <a:solidFill>
            <a:srgbClr val="FFFFFF"/>
          </a:solidFill>
        </p:spPr>
        <p:txBody>
          <a:bodyPr vert="horz" wrap="square" lIns="0" tIns="45720" rIns="91440" bIns="45720" rtlCol="0" anchor="ctr">
            <a:noAutofit/>
          </a:bodyPr>
          <a:lstStyle/>
          <a:p>
            <a:r>
              <a:rPr lang="zh-CN" altLang="en-US" sz="1400" dirty="0">
                <a:solidFill>
                  <a:schemeClr val="accent1"/>
                </a:solidFill>
                <a:latin typeface="Gotham Medium" charset="0"/>
                <a:ea typeface="Gotham Medium" charset="0"/>
                <a:cs typeface="Gotham Medium" charset="0"/>
              </a:rPr>
              <a:t>预计投入商业运营时间：</a:t>
            </a:r>
            <a:endParaRPr lang="en-US" altLang="zh-CN" sz="1400" dirty="0">
              <a:solidFill>
                <a:schemeClr val="accent1"/>
              </a:solidFill>
              <a:latin typeface="Gotham Medium" charset="0"/>
              <a:ea typeface="Gotham Medium" charset="0"/>
              <a:cs typeface="Gotham Medium" charset="0"/>
            </a:endParaRPr>
          </a:p>
          <a:p>
            <a:r>
              <a:rPr lang="en-US" altLang="zh-CN" b="1" i="0" dirty="0">
                <a:solidFill>
                  <a:schemeClr val="accent1"/>
                </a:solidFill>
                <a:latin typeface="Gotham Medium" charset="0"/>
                <a:ea typeface="Gotham Medium" charset="0"/>
                <a:cs typeface="Gotham Medium" charset="0"/>
              </a:rPr>
              <a:t>2025</a:t>
            </a:r>
            <a:r>
              <a:rPr lang="zh-CN" altLang="en-US" b="1" i="0" dirty="0">
                <a:solidFill>
                  <a:schemeClr val="accent1"/>
                </a:solidFill>
                <a:latin typeface="Gotham Medium" charset="0"/>
                <a:ea typeface="Gotham Medium" charset="0"/>
                <a:cs typeface="Gotham Medium" charset="0"/>
              </a:rPr>
              <a:t>年上半年</a:t>
            </a:r>
          </a:p>
        </p:txBody>
      </p:sp>
      <p:sp>
        <p:nvSpPr>
          <p:cNvPr id="49" name="文本框 48"/>
          <p:cNvSpPr txBox="1"/>
          <p:nvPr/>
        </p:nvSpPr>
        <p:spPr>
          <a:xfrm>
            <a:off x="9608666" y="5666905"/>
            <a:ext cx="2243761" cy="546454"/>
          </a:xfrm>
          <a:prstGeom prst="rect">
            <a:avLst/>
          </a:prstGeom>
          <a:solidFill>
            <a:srgbClr val="FFFFFF"/>
          </a:solidFill>
        </p:spPr>
        <p:txBody>
          <a:bodyPr vert="horz" wrap="square" lIns="0" tIns="45720" rIns="91440" bIns="45720" rtlCol="0" anchor="ctr">
            <a:noAutofit/>
          </a:bodyPr>
          <a:lstStyle/>
          <a:p>
            <a:r>
              <a:rPr lang="zh-CN" altLang="en-US" sz="1400" b="0" i="0" dirty="0">
                <a:solidFill>
                  <a:schemeClr val="accent1"/>
                </a:solidFill>
                <a:latin typeface="Gotham Medium" charset="0"/>
                <a:ea typeface="Gotham Medium" charset="0"/>
                <a:cs typeface="Gotham Medium" charset="0"/>
              </a:rPr>
              <a:t>预计运营周期：</a:t>
            </a:r>
            <a:endParaRPr lang="en-US" altLang="zh-CN" sz="1400" b="0" i="0" dirty="0">
              <a:solidFill>
                <a:schemeClr val="accent1"/>
              </a:solidFill>
              <a:latin typeface="Gotham Medium" charset="0"/>
              <a:ea typeface="Gotham Medium" charset="0"/>
              <a:cs typeface="Gotham Medium" charset="0"/>
            </a:endParaRPr>
          </a:p>
          <a:p>
            <a:r>
              <a:rPr lang="en-US" altLang="zh-CN" b="1" dirty="0">
                <a:solidFill>
                  <a:schemeClr val="accent1"/>
                </a:solidFill>
                <a:latin typeface="Gotham Medium" charset="0"/>
                <a:ea typeface="Gotham Medium" charset="0"/>
                <a:cs typeface="Gotham Medium" charset="0"/>
              </a:rPr>
              <a:t>20</a:t>
            </a:r>
            <a:r>
              <a:rPr lang="zh-CN" altLang="en-US" b="1" dirty="0">
                <a:solidFill>
                  <a:schemeClr val="accent1"/>
                </a:solidFill>
                <a:latin typeface="Gotham Medium" charset="0"/>
                <a:ea typeface="Gotham Medium" charset="0"/>
                <a:cs typeface="Gotham Medium" charset="0"/>
              </a:rPr>
              <a:t>年</a:t>
            </a:r>
            <a:endParaRPr lang="zh-CN" altLang="en-US" b="1" i="0" dirty="0">
              <a:solidFill>
                <a:schemeClr val="accent1"/>
              </a:solidFill>
              <a:latin typeface="Gotham Medium" charset="0"/>
              <a:ea typeface="Gotham Medium" charset="0"/>
              <a:cs typeface="Gotham Medium" charset="0"/>
            </a:endParaRPr>
          </a:p>
        </p:txBody>
      </p:sp>
      <p:sp>
        <p:nvSpPr>
          <p:cNvPr id="40" name="文本框 39"/>
          <p:cNvSpPr txBox="1"/>
          <p:nvPr>
            <p:custDataLst>
              <p:tags r:id="rId1"/>
            </p:custDataLst>
          </p:nvPr>
        </p:nvSpPr>
        <p:spPr>
          <a:xfrm>
            <a:off x="9643110" y="1712595"/>
            <a:ext cx="1887855" cy="1002030"/>
          </a:xfrm>
          <a:prstGeom prst="rect">
            <a:avLst/>
          </a:prstGeom>
          <a:solidFill>
            <a:srgbClr val="FFFFFF"/>
          </a:solidFill>
        </p:spPr>
        <p:txBody>
          <a:bodyPr vert="horz" wrap="square" lIns="0" tIns="45720" rIns="91440" bIns="45720" rtlCol="0" anchor="ctr">
            <a:noAutofit/>
          </a:bodyPr>
          <a:lstStyle/>
          <a:p>
            <a:r>
              <a:rPr lang="zh-CN" altLang="en-US" sz="1400" b="0" i="0" dirty="0">
                <a:solidFill>
                  <a:schemeClr val="accent1"/>
                </a:solidFill>
                <a:latin typeface="Gotham Medium" charset="0"/>
                <a:ea typeface="Gotham Medium" charset="0"/>
                <a:cs typeface="Gotham Medium" charset="0"/>
              </a:rPr>
              <a:t>位置：</a:t>
            </a:r>
            <a:endParaRPr lang="en-US" altLang="zh-CN" sz="1400" b="0" i="0" dirty="0">
              <a:solidFill>
                <a:schemeClr val="accent1"/>
              </a:solidFill>
              <a:latin typeface="Gotham Medium" charset="0"/>
              <a:ea typeface="Gotham Medium" charset="0"/>
              <a:cs typeface="Gotham Medium" charset="0"/>
            </a:endParaRPr>
          </a:p>
          <a:p>
            <a:r>
              <a:rPr lang="zh-CN" altLang="en-US" b="1" dirty="0">
                <a:solidFill>
                  <a:schemeClr val="accent1"/>
                </a:solidFill>
                <a:latin typeface="Gotham Medium" charset="0"/>
                <a:ea typeface="Gotham Medium" charset="0"/>
                <a:cs typeface="Gotham Medium" charset="0"/>
              </a:rPr>
              <a:t>曼帕瓦</a:t>
            </a:r>
          </a:p>
          <a:p>
            <a:r>
              <a:rPr lang="zh-CN" altLang="en-US" b="1" dirty="0">
                <a:solidFill>
                  <a:schemeClr val="accent1"/>
                </a:solidFill>
                <a:latin typeface="Gotham Medium" charset="0"/>
                <a:ea typeface="Gotham Medium" charset="0"/>
                <a:cs typeface="Gotham Medium" charset="0"/>
              </a:rPr>
              <a:t>西加里曼丹省</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p:nvPr/>
        </p:nvSpPr>
        <p:spPr>
          <a:xfrm>
            <a:off x="574085" y="2800428"/>
            <a:ext cx="5032058" cy="1926968"/>
          </a:xfrm>
          <a:prstGeom prst="rect">
            <a:avLst/>
          </a:prstGeom>
        </p:spPr>
        <p:txBody>
          <a:bodyPr anchor="ctr"/>
          <a:lstStyle>
            <a:lvl1pPr algn="l" defTabSz="914400" rtl="0" eaLnBrk="1" latinLnBrk="0" hangingPunct="1">
              <a:lnSpc>
                <a:spcPct val="90000"/>
              </a:lnSpc>
              <a:spcBef>
                <a:spcPct val="0"/>
              </a:spcBef>
              <a:buNone/>
              <a:defRPr sz="2400" b="1" kern="1200">
                <a:solidFill>
                  <a:srgbClr val="013C65"/>
                </a:solidFill>
                <a:latin typeface="Graphik" panose="020B050303020206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zh-CN" altLang="en-US" sz="5400" b="1" i="0" u="none" strike="noStrike" kern="1200" cap="none" spc="0" normalizeH="0" baseline="0" noProof="0" dirty="0">
                <a:ln>
                  <a:noFill/>
                </a:ln>
                <a:solidFill>
                  <a:prstClr val="white"/>
                </a:solidFill>
                <a:effectLst/>
                <a:uLnTx/>
                <a:uFillTx/>
                <a:latin typeface="Calibri Light" panose="020F0302020204030204" pitchFamily="34" charset="0"/>
                <a:ea typeface="+mj-ea"/>
                <a:cs typeface="Calibri Light" panose="020F0302020204030204" pitchFamily="34" charset="0"/>
              </a:rPr>
              <a:t>谢 谢</a:t>
            </a:r>
            <a:r>
              <a:rPr kumimoji="0" lang="en-US" sz="5400" b="1" i="0" u="none" strike="noStrike" kern="1200" cap="none" spc="0" normalizeH="0" baseline="0" noProof="0" dirty="0">
                <a:ln>
                  <a:noFill/>
                </a:ln>
                <a:solidFill>
                  <a:prstClr val="white"/>
                </a:solidFill>
                <a:effectLst/>
                <a:uLnTx/>
                <a:uFillTx/>
                <a:latin typeface="Calibri Light" panose="020F0302020204030204" pitchFamily="34" charset="0"/>
                <a:ea typeface="+mj-ea"/>
                <a:cs typeface="Calibri Light" panose="020F0302020204030204" pitchFamily="34" charset="0"/>
              </a:rPr>
              <a:t>!</a:t>
            </a:r>
          </a:p>
        </p:txBody>
      </p:sp>
      <p:sp>
        <p:nvSpPr>
          <p:cNvPr id="4" name="Slide Number Placeholder 2"/>
          <p:cNvSpPr txBox="1"/>
          <p:nvPr/>
        </p:nvSpPr>
        <p:spPr>
          <a:xfrm>
            <a:off x="11627659" y="6557351"/>
            <a:ext cx="641686" cy="44216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fld id="{39720F61-9C26-9E48-9B90-B4098352FCEB}" type="slidenum">
              <a:rPr kumimoji="0" lang="en-US" sz="1200" b="1" i="0" u="none" strike="noStrike" kern="1200" cap="none" spc="0" normalizeH="0" baseline="0" noProof="0" smtClean="0">
                <a:ln>
                  <a:noFill/>
                </a:ln>
                <a:solidFill>
                  <a:prstClr val="white"/>
                </a:solidFill>
                <a:effectLst/>
                <a:uLnTx/>
                <a:uFillTx/>
                <a:latin typeface="Calibri Light" panose="020F0302020204030204" pitchFamily="34" charset="0"/>
                <a:ea typeface="+mn-ea"/>
                <a:cs typeface="Calibri Light" panose="020F0302020204030204" pitchFamily="34" charset="0"/>
              </a:rPr>
              <a:t>13</a:t>
            </a:fld>
            <a:endParaRPr kumimoji="0" lang="en-US" sz="12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r>
              <a:rPr lang="id-ID"/>
              <a:t>|          </a:t>
            </a:r>
            <a:fld id="{7904F5B5-DD6E-6442-8C14-4BFE420CE974}" type="slidenum">
              <a:rPr lang="id-ID" smtClean="0"/>
              <a:t>2</a:t>
            </a:fld>
            <a:endParaRPr lang="id-ID"/>
          </a:p>
        </p:txBody>
      </p:sp>
      <p:sp>
        <p:nvSpPr>
          <p:cNvPr id="4" name="Footer Placeholder 3"/>
          <p:cNvSpPr>
            <a:spLocks noGrp="1"/>
          </p:cNvSpPr>
          <p:nvPr>
            <p:ph type="ftr" sz="quarter" idx="11"/>
          </p:nvPr>
        </p:nvSpPr>
        <p:spPr/>
        <p:txBody>
          <a:bodyPr/>
          <a:lstStyle/>
          <a:p>
            <a:pPr algn="l"/>
            <a:r>
              <a:rPr lang="zh-CN" altLang="zh-CN" dirty="0"/>
              <a:t>本演示文稿由</a:t>
            </a:r>
            <a:r>
              <a:rPr lang="en-US" altLang="zh-CN" dirty="0"/>
              <a:t>MIND ID</a:t>
            </a:r>
            <a:r>
              <a:rPr lang="zh-CN" altLang="zh-CN" dirty="0"/>
              <a:t>专门编制。未经</a:t>
            </a:r>
            <a:r>
              <a:rPr lang="en-US" altLang="zh-CN" dirty="0"/>
              <a:t>MIND ID</a:t>
            </a:r>
            <a:r>
              <a:rPr lang="zh-CN" altLang="zh-CN" dirty="0"/>
              <a:t>书面同意，不得以任何形式使用、复制或传输本演示文稿的内容。版权所有。</a:t>
            </a:r>
            <a:endParaRPr lang="en-US" sz="900" b="0" i="0" dirty="0">
              <a:solidFill>
                <a:schemeClr val="bg1">
                  <a:lumMod val="50000"/>
                </a:schemeClr>
              </a:solidFill>
              <a:latin typeface="Gotham Book" charset="0"/>
              <a:ea typeface="Gotham Book" charset="0"/>
              <a:cs typeface="Gotham Book" charset="0"/>
            </a:endParaRPr>
          </a:p>
        </p:txBody>
      </p:sp>
      <p:sp>
        <p:nvSpPr>
          <p:cNvPr id="5" name="Title 1"/>
          <p:cNvSpPr txBox="1"/>
          <p:nvPr/>
        </p:nvSpPr>
        <p:spPr>
          <a:xfrm>
            <a:off x="525429" y="614304"/>
            <a:ext cx="9074355" cy="576039"/>
          </a:xfrm>
          <a:prstGeom prst="rect">
            <a:avLst/>
          </a:prstGeom>
        </p:spPr>
        <p:txBody>
          <a:bodyPr vert="horz" lIns="0" tIns="0" rIns="91440" bIns="45720" rtlCol="0" anchor="ctr">
            <a:noAutofit/>
          </a:bodyPr>
          <a:lstStyle>
            <a:lvl1pPr algn="ctr" defTabSz="914400" rtl="0" eaLnBrk="1" latinLnBrk="0" hangingPunct="1">
              <a:lnSpc>
                <a:spcPts val="2000"/>
              </a:lnSpc>
              <a:spcBef>
                <a:spcPct val="0"/>
              </a:spcBef>
              <a:buNone/>
              <a:defRPr sz="6000" b="0" i="0" kern="1200">
                <a:solidFill>
                  <a:schemeClr val="accent1"/>
                </a:solidFill>
                <a:latin typeface="Gotham Medium" charset="0"/>
                <a:ea typeface="Gotham Medium" charset="0"/>
                <a:cs typeface="Gotham Medium" charset="0"/>
              </a:defRPr>
            </a:lvl1pPr>
          </a:lstStyle>
          <a:p>
            <a:pPr algn="l"/>
            <a:r>
              <a:rPr lang="it-IT" sz="1800" b="1" dirty="0">
                <a:solidFill>
                  <a:srgbClr val="15325B"/>
                </a:solidFill>
                <a:latin typeface="Gotham Medium" charset="0"/>
                <a:cs typeface="Gotham Medium" charset="0"/>
              </a:rPr>
              <a:t>DISCLAIMER</a:t>
            </a:r>
            <a:r>
              <a:rPr lang="en-US" altLang="it-IT" sz="1800" b="1" dirty="0">
                <a:solidFill>
                  <a:srgbClr val="15325B"/>
                </a:solidFill>
                <a:latin typeface="Gotham Medium" charset="0"/>
                <a:cs typeface="Gotham Medium" charset="0"/>
              </a:rPr>
              <a:t> </a:t>
            </a:r>
            <a:r>
              <a:rPr lang="zh-CN" altLang="en-US" sz="1800" b="1" dirty="0">
                <a:solidFill>
                  <a:srgbClr val="15325B"/>
                </a:solidFill>
                <a:latin typeface="Gotham Medium" charset="0"/>
                <a:cs typeface="Gotham Medium" charset="0"/>
              </a:rPr>
              <a:t>免责</a:t>
            </a:r>
            <a:r>
              <a:rPr lang="zh-CN" altLang="en-US" sz="1800" b="1" dirty="0">
                <a:solidFill>
                  <a:srgbClr val="15325B"/>
                </a:solidFill>
              </a:rPr>
              <a:t>声明</a:t>
            </a:r>
            <a:endParaRPr lang="en-US" sz="1800" b="1" dirty="0">
              <a:solidFill>
                <a:srgbClr val="15325B"/>
              </a:solidFill>
              <a:latin typeface="Gotham Medium" charset="0"/>
              <a:cs typeface="Gotham Medium" charset="0"/>
            </a:endParaRPr>
          </a:p>
        </p:txBody>
      </p:sp>
      <p:sp>
        <p:nvSpPr>
          <p:cNvPr id="6" name="TextBox 5"/>
          <p:cNvSpPr txBox="1"/>
          <p:nvPr/>
        </p:nvSpPr>
        <p:spPr>
          <a:xfrm>
            <a:off x="261257" y="958676"/>
            <a:ext cx="11405314" cy="4769485"/>
          </a:xfrm>
          <a:prstGeom prst="rect">
            <a:avLst/>
          </a:prstGeom>
          <a:noFill/>
        </p:spPr>
        <p:txBody>
          <a:bodyPr wrap="square" rtlCol="0">
            <a:spAutoFit/>
          </a:bodyPr>
          <a:lstStyle/>
          <a:p>
            <a:pPr marL="174625" algn="just">
              <a:defRPr/>
            </a:pPr>
            <a:r>
              <a:rPr lang="zh-CN" altLang="en-US" sz="1600" dirty="0">
                <a:solidFill>
                  <a:srgbClr val="202124"/>
                </a:solidFill>
                <a:latin typeface="GothamBold"/>
              </a:rPr>
              <a:t>参加此次演讲或阅读本报告即表示您同意受以下限制的约束。不遵守这些限制可能被视为违反适用法律。</a:t>
            </a:r>
            <a:endParaRPr lang="en-US" sz="1600" dirty="0">
              <a:solidFill>
                <a:prstClr val="black"/>
              </a:solidFill>
              <a:latin typeface="GothamBold"/>
            </a:endParaRPr>
          </a:p>
          <a:p>
            <a:pPr marL="174625" algn="just">
              <a:defRPr/>
            </a:pPr>
            <a:endParaRPr lang="en-US" sz="1600" dirty="0">
              <a:solidFill>
                <a:prstClr val="black"/>
              </a:solidFill>
              <a:latin typeface="GothamBold"/>
            </a:endParaRPr>
          </a:p>
          <a:p>
            <a:pPr marL="174625" algn="just">
              <a:defRPr/>
            </a:pPr>
            <a:r>
              <a:rPr lang="zh-CN" altLang="en-US" sz="1600" dirty="0">
                <a:solidFill>
                  <a:prstClr val="black"/>
                </a:solidFill>
                <a:latin typeface="GothamBold"/>
              </a:rPr>
              <a:t>本报告所载的信息和意见仅供您个人参考，并需严格保密。本报告中包含的信息和意见未经独立核实，对此不作任何明示或暗示的陈述或保证，且不保证本报告中包含的信息或意见的公平性、准确性、完整性或正确性。本报告无意提供、您也不能根据本报告提供对印尼矿业有限公司（</a:t>
            </a:r>
            <a:r>
              <a:rPr lang="en-US" altLang="zh-CN" sz="1600" dirty="0">
                <a:solidFill>
                  <a:prstClr val="black"/>
                </a:solidFill>
                <a:latin typeface="GothamBold"/>
              </a:rPr>
              <a:t>MIND ID</a:t>
            </a:r>
            <a:r>
              <a:rPr lang="zh-CN" altLang="en-US" sz="1600" dirty="0">
                <a:solidFill>
                  <a:prstClr val="black"/>
                </a:solidFill>
                <a:latin typeface="GothamBold"/>
              </a:rPr>
              <a:t>）或其子公司经营状况（财务或其他方面）、收入、业务往来、业务前景、财产或业绩的完整或全面分析。报告中包含的信息和意见是在本报告发布之日提供的，如有更改，恕不另行通知。</a:t>
            </a:r>
            <a:r>
              <a:rPr lang="en-US" altLang="zh-CN" sz="1600" dirty="0">
                <a:solidFill>
                  <a:prstClr val="black"/>
                </a:solidFill>
                <a:latin typeface="GothamBold"/>
              </a:rPr>
              <a:t>MIND ID</a:t>
            </a:r>
            <a:r>
              <a:rPr lang="zh-CN" altLang="en-US" sz="1600" dirty="0">
                <a:solidFill>
                  <a:prstClr val="black"/>
                </a:solidFill>
                <a:latin typeface="GothamBold"/>
              </a:rPr>
              <a:t>（包括其附属公司、顾问和代表）对本报告中包含的任何信息或意见的准确性或完整性、错误或遗漏，或因使用本报告而产生的任何损失，均不承担任何责任（无论是否有遗漏）。</a:t>
            </a:r>
            <a:endParaRPr lang="en-ID" sz="1600" dirty="0">
              <a:solidFill>
                <a:prstClr val="black"/>
              </a:solidFill>
              <a:latin typeface="GothamBold"/>
            </a:endParaRPr>
          </a:p>
          <a:p>
            <a:pPr marL="174625" algn="just">
              <a:defRPr/>
            </a:pPr>
            <a:endParaRPr lang="en-US" sz="1600" dirty="0">
              <a:solidFill>
                <a:prstClr val="black"/>
              </a:solidFill>
              <a:latin typeface="GothamBold"/>
            </a:endParaRPr>
          </a:p>
          <a:p>
            <a:pPr marL="174625" algn="just">
              <a:defRPr/>
            </a:pPr>
            <a:r>
              <a:rPr lang="zh-CN" altLang="en-US" sz="1600" dirty="0">
                <a:solidFill>
                  <a:prstClr val="black"/>
                </a:solidFill>
                <a:latin typeface="GothamBold"/>
              </a:rPr>
              <a:t>此外，本报告中包含的信息可能包含反映</a:t>
            </a:r>
            <a:r>
              <a:rPr lang="en-US" altLang="zh-CN" sz="1600" dirty="0">
                <a:solidFill>
                  <a:prstClr val="black"/>
                </a:solidFill>
                <a:latin typeface="GothamBold"/>
              </a:rPr>
              <a:t>MIND ID</a:t>
            </a:r>
            <a:r>
              <a:rPr lang="zh-CN" altLang="en-US" sz="1600" dirty="0">
                <a:solidFill>
                  <a:prstClr val="black"/>
                </a:solidFill>
                <a:latin typeface="GothamBold"/>
              </a:rPr>
              <a:t>当前对未来财务事件和业绩的前瞻性预测和陈述。该观点是基于当前的一些估计和假设做出，这些估计和假设受到商业、经济和竞争的不确定性和可能性以及各种风险的影响，可能会随着时间的推移而改变，在许多情况下，这些变化都超出了</a:t>
            </a:r>
            <a:r>
              <a:rPr lang="en-US" altLang="zh-CN" sz="1600" dirty="0">
                <a:solidFill>
                  <a:prstClr val="black"/>
                </a:solidFill>
                <a:latin typeface="GothamBold"/>
              </a:rPr>
              <a:t>MIND ID</a:t>
            </a:r>
            <a:r>
              <a:rPr lang="zh-CN" altLang="en-US" sz="1600" dirty="0">
                <a:solidFill>
                  <a:prstClr val="black"/>
                </a:solidFill>
                <a:latin typeface="GothamBold"/>
              </a:rPr>
              <a:t>及其代表的控制范围。本报告不能保证未来事件会发生、预测会实现或公司的假设是正确的。实际结果可能与估计和预测的结果存在巨大差异。</a:t>
            </a:r>
            <a:endParaRPr lang="en-US" sz="1600" dirty="0">
              <a:solidFill>
                <a:prstClr val="black"/>
              </a:solidFill>
              <a:latin typeface="GothamBold"/>
            </a:endParaRPr>
          </a:p>
          <a:p>
            <a:pPr marL="174625" algn="just">
              <a:defRPr/>
            </a:pPr>
            <a:endParaRPr lang="en-US" sz="1600" b="1" dirty="0">
              <a:solidFill>
                <a:prstClr val="black"/>
              </a:solidFill>
              <a:latin typeface="GothamBook"/>
            </a:endParaRPr>
          </a:p>
          <a:p>
            <a:pPr marL="174625" algn="just">
              <a:defRPr/>
            </a:pPr>
            <a:r>
              <a:rPr lang="zh-CN" altLang="en-US" sz="1600" b="1" dirty="0">
                <a:solidFill>
                  <a:prstClr val="black"/>
                </a:solidFill>
                <a:latin typeface="GothamBook"/>
              </a:rPr>
              <a:t>本报告不构成购买或订购任何证券的要约、邀请或建议的一部分，且该报告的所有内容都不基于或依赖于任何合同、承诺、投资决定或与其有关的关系。未经</a:t>
            </a:r>
            <a:r>
              <a:rPr lang="en-US" altLang="zh-CN" sz="1600" b="1" dirty="0">
                <a:solidFill>
                  <a:prstClr val="black"/>
                </a:solidFill>
                <a:latin typeface="GothamBook"/>
              </a:rPr>
              <a:t>MIND ID</a:t>
            </a:r>
            <a:r>
              <a:rPr lang="zh-CN" altLang="en-US" sz="1600" b="1" dirty="0">
                <a:solidFill>
                  <a:prstClr val="black"/>
                </a:solidFill>
                <a:latin typeface="GothamBook"/>
              </a:rPr>
              <a:t>事先书面许可，任何其他方不得使用或依赖本报告，也不得用于任何其他目的，不得复制、分发或引用。</a:t>
            </a:r>
            <a:endParaRPr lang="en-US" sz="1600" b="1" dirty="0">
              <a:solidFill>
                <a:prstClr val="black"/>
              </a:solidFill>
              <a:latin typeface="GothamBook"/>
            </a:endParaRPr>
          </a:p>
          <a:p>
            <a:pPr marL="174625" algn="just">
              <a:defRPr/>
            </a:pPr>
            <a:endParaRPr lang="en-US" sz="1600" b="1" dirty="0">
              <a:solidFill>
                <a:prstClr val="black"/>
              </a:solidFill>
              <a:latin typeface="GothamBook"/>
            </a:endParaRPr>
          </a:p>
          <a:p>
            <a:pPr marL="174625" algn="just">
              <a:defRPr/>
            </a:pPr>
            <a:r>
              <a:rPr lang="zh-CN" altLang="en-US" sz="1600" b="1" dirty="0">
                <a:solidFill>
                  <a:prstClr val="black"/>
                </a:solidFill>
                <a:latin typeface="GothamBook"/>
              </a:rPr>
              <a:t>请勿将此报告的副本与公司内或其他地方的其他人共享。</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id-ID" sz="1100" b="0" i="0" u="none" strike="noStrike" kern="1200" cap="none" spc="0" normalizeH="0" baseline="0" noProof="0">
                <a:ln>
                  <a:noFill/>
                </a:ln>
                <a:solidFill>
                  <a:srgbClr val="000000">
                    <a:lumMod val="75000"/>
                    <a:lumOff val="25000"/>
                  </a:srgbClr>
                </a:solidFill>
                <a:effectLst/>
                <a:uLnTx/>
                <a:uFillTx/>
                <a:latin typeface="Gotham Book" charset="0"/>
              </a:rPr>
              <a:t>|          </a:t>
            </a:r>
            <a:fld id="{7904F5B5-DD6E-6442-8C14-4BFE420CE974}" type="slidenum">
              <a:rPr kumimoji="0" lang="id-ID" sz="1100" b="0" i="0" u="none" strike="noStrike" kern="1200" cap="none" spc="0" normalizeH="0" baseline="0" noProof="0" smtClean="0">
                <a:ln>
                  <a:noFill/>
                </a:ln>
                <a:solidFill>
                  <a:srgbClr val="000000">
                    <a:lumMod val="75000"/>
                    <a:lumOff val="25000"/>
                  </a:srgbClr>
                </a:solidFill>
                <a:effectLst/>
                <a:uLnTx/>
                <a:uFillTx/>
                <a:latin typeface="Gotham Book" charset="0"/>
              </a:rPr>
              <a:t>3</a:t>
            </a:fld>
            <a:endParaRPr kumimoji="0" lang="id-ID" sz="1100" b="0" i="0" u="none" strike="noStrike" kern="1200" cap="none" spc="0" normalizeH="0" baseline="0" noProof="0">
              <a:ln>
                <a:noFill/>
              </a:ln>
              <a:solidFill>
                <a:srgbClr val="000000">
                  <a:lumMod val="75000"/>
                  <a:lumOff val="25000"/>
                </a:srgbClr>
              </a:solidFill>
              <a:effectLst/>
              <a:uLnTx/>
              <a:uFillTx/>
              <a:latin typeface="Gotham Book" charset="0"/>
            </a:endParaRPr>
          </a:p>
        </p:txBody>
      </p:sp>
      <p:sp>
        <p:nvSpPr>
          <p:cNvPr id="4" name="Footer Placeholder 3"/>
          <p:cNvSpPr>
            <a:spLocks noGrp="1"/>
          </p:cNvSpPr>
          <p:nvPr>
            <p:ph type="ftr" sz="quarter" idx="11"/>
          </p:nvPr>
        </p:nvSpPr>
        <p:spPr/>
        <p:txBody>
          <a:bodyPr/>
          <a:lstStyle/>
          <a:p>
            <a:pPr lvl="0" algn="l">
              <a:defRPr/>
            </a:pPr>
            <a:r>
              <a:rPr lang="zh-CN" altLang="zh-CN" dirty="0"/>
              <a:t>本演示文稿由</a:t>
            </a:r>
            <a:r>
              <a:rPr lang="en-US" altLang="zh-CN" dirty="0"/>
              <a:t>MIND ID</a:t>
            </a:r>
            <a:r>
              <a:rPr lang="zh-CN" altLang="zh-CN" dirty="0"/>
              <a:t>专门编制。未经</a:t>
            </a:r>
            <a:r>
              <a:rPr lang="en-US" altLang="zh-CN" dirty="0"/>
              <a:t>MIND ID</a:t>
            </a:r>
            <a:r>
              <a:rPr lang="zh-CN" altLang="zh-CN" dirty="0"/>
              <a:t>书面同意，不得以任何形式使用、复制或传输本演示文稿的内容。版权所有。</a:t>
            </a:r>
            <a:endParaRPr kumimoji="0" lang="en-US" sz="900" b="0" i="0" u="none" strike="noStrike" kern="1200" cap="none" spc="0" normalizeH="0" baseline="0" noProof="0" dirty="0">
              <a:ln>
                <a:noFill/>
              </a:ln>
              <a:solidFill>
                <a:srgbClr val="FFFFFF">
                  <a:lumMod val="50000"/>
                </a:srgbClr>
              </a:solidFill>
              <a:effectLst/>
              <a:uLnTx/>
              <a:uFillTx/>
              <a:latin typeface="Gotham Book" charset="0"/>
              <a:ea typeface="Gotham Book" charset="0"/>
              <a:cs typeface="Gotham Book" charset="0"/>
            </a:endParaRPr>
          </a:p>
        </p:txBody>
      </p:sp>
      <p:pic>
        <p:nvPicPr>
          <p:cNvPr id="5" name="Picture 4"/>
          <p:cNvPicPr>
            <a:picLocks noChangeAspect="1"/>
          </p:cNvPicPr>
          <p:nvPr/>
        </p:nvPicPr>
        <p:blipFill>
          <a:blip r:embed="rId2" cstate="screen"/>
          <a:stretch>
            <a:fillRect/>
          </a:stretch>
        </p:blipFill>
        <p:spPr>
          <a:xfrm>
            <a:off x="9096442" y="3109614"/>
            <a:ext cx="848670" cy="369776"/>
          </a:xfrm>
          <a:prstGeom prst="rect">
            <a:avLst/>
          </a:prstGeom>
        </p:spPr>
      </p:pic>
      <p:pic>
        <p:nvPicPr>
          <p:cNvPr id="6" name="Picture 5"/>
          <p:cNvPicPr>
            <a:picLocks noChangeAspect="1"/>
          </p:cNvPicPr>
          <p:nvPr/>
        </p:nvPicPr>
        <p:blipFill rotWithShape="1">
          <a:blip r:embed="rId3" cstate="screen"/>
          <a:srcRect/>
          <a:stretch>
            <a:fillRect/>
          </a:stretch>
        </p:blipFill>
        <p:spPr>
          <a:xfrm>
            <a:off x="10721893" y="3208199"/>
            <a:ext cx="814889" cy="244907"/>
          </a:xfrm>
          <a:prstGeom prst="rect">
            <a:avLst/>
          </a:prstGeom>
        </p:spPr>
      </p:pic>
      <p:pic>
        <p:nvPicPr>
          <p:cNvPr id="7" name="Picture 2" descr="PT Indonesia Asahan Aluminium (Persero) | Home"/>
          <p:cNvPicPr>
            <a:picLocks noChangeAspect="1" noChangeArrowheads="1"/>
          </p:cNvPicPr>
          <p:nvPr/>
        </p:nvPicPr>
        <p:blipFill>
          <a:blip r:embed="rId4" cstate="screen"/>
          <a:srcRect/>
          <a:stretch>
            <a:fillRect/>
          </a:stretch>
        </p:blipFill>
        <p:spPr bwMode="auto">
          <a:xfrm>
            <a:off x="5704617" y="3190976"/>
            <a:ext cx="890631" cy="2244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Bukit Asam"/>
          <p:cNvPicPr>
            <a:picLocks noChangeAspect="1" noChangeArrowheads="1"/>
          </p:cNvPicPr>
          <p:nvPr/>
        </p:nvPicPr>
        <p:blipFill>
          <a:blip r:embed="rId5" cstate="screen"/>
          <a:srcRect/>
          <a:stretch>
            <a:fillRect/>
          </a:stretch>
        </p:blipFill>
        <p:spPr bwMode="auto">
          <a:xfrm>
            <a:off x="2273655" y="3185483"/>
            <a:ext cx="1060616" cy="2856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PT TIMAH TBK | Pengumuman Perubahan Logo Baru Pt Timah Tbk"/>
          <p:cNvPicPr>
            <a:picLocks noChangeAspect="1" noChangeArrowheads="1"/>
          </p:cNvPicPr>
          <p:nvPr/>
        </p:nvPicPr>
        <p:blipFill>
          <a:blip r:embed="rId6" cstate="screen">
            <a:extLst>
              <a:ext uri="{BEBA8EAE-BF5A-486C-A8C5-ECC9F3942E4B}">
                <a14:imgProps xmlns:a14="http://schemas.microsoft.com/office/drawing/2010/main">
                  <a14:imgLayer r:embed="rId7">
                    <a14:imgEffect>
                      <a14:backgroundRemoval t="9890" b="89560" l="2888" r="89892">
                        <a14:foregroundMark x1="2888" y1="50549" x2="2888" y2="50549"/>
                        <a14:foregroundMark x1="31047" y1="48352" x2="31047" y2="48352"/>
                        <a14:foregroundMark x1="40072" y1="59341" x2="40072" y2="59341"/>
                        <a14:foregroundMark x1="39350" y1="48352" x2="39350" y2="48352"/>
                        <a14:foregroundMark x1="43321" y1="54396" x2="43321" y2="54396"/>
                        <a14:foregroundMark x1="59206" y1="54396" x2="59206" y2="54396"/>
                        <a14:foregroundMark x1="67148" y1="52198" x2="67148" y2="52198"/>
                        <a14:foregroundMark x1="80866" y1="43956" x2="80866" y2="43956"/>
                        <a14:foregroundMark x1="87365" y1="41758" x2="87365" y2="41758"/>
                        <a14:foregroundMark x1="89170" y1="42308" x2="89170" y2="42308"/>
                        <a14:foregroundMark x1="88448" y1="38462" x2="88448" y2="38462"/>
                      </a14:backgroundRemoval>
                    </a14:imgEffect>
                  </a14:imgLayer>
                </a14:imgProps>
              </a:ext>
            </a:extLst>
          </a:blip>
          <a:srcRect/>
          <a:stretch>
            <a:fillRect/>
          </a:stretch>
        </p:blipFill>
        <p:spPr bwMode="auto">
          <a:xfrm>
            <a:off x="7288383" y="2946201"/>
            <a:ext cx="1067864" cy="7016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PT ANTAM Tbk | Corporate Logo"/>
          <p:cNvPicPr>
            <a:picLocks noChangeAspect="1" noChangeArrowheads="1"/>
          </p:cNvPicPr>
          <p:nvPr/>
        </p:nvPicPr>
        <p:blipFill>
          <a:blip r:embed="rId8" cstate="screen"/>
          <a:srcRect/>
          <a:stretch>
            <a:fillRect/>
          </a:stretch>
        </p:blipFill>
        <p:spPr bwMode="auto">
          <a:xfrm>
            <a:off x="577607" y="3144897"/>
            <a:ext cx="973118" cy="3297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ome - MIND ID"/>
          <p:cNvPicPr>
            <a:picLocks noChangeAspect="1" noChangeArrowheads="1"/>
          </p:cNvPicPr>
          <p:nvPr/>
        </p:nvPicPr>
        <p:blipFill>
          <a:blip r:embed="rId9" cstate="screen"/>
          <a:srcRect/>
          <a:stretch>
            <a:fillRect/>
          </a:stretch>
        </p:blipFill>
        <p:spPr bwMode="auto">
          <a:xfrm>
            <a:off x="3686042" y="3177093"/>
            <a:ext cx="1598162" cy="26336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Arrow Connector 11"/>
          <p:cNvCxnSpPr/>
          <p:nvPr/>
        </p:nvCxnSpPr>
        <p:spPr>
          <a:xfrm flipV="1">
            <a:off x="4423155" y="2006942"/>
            <a:ext cx="0" cy="262316"/>
          </a:xfrm>
          <a:prstGeom prst="straightConnector1">
            <a:avLst/>
          </a:prstGeom>
          <a:noFill/>
          <a:ln w="19050" cap="flat" cmpd="sng" algn="ctr">
            <a:solidFill>
              <a:srgbClr val="0862A4"/>
            </a:solidFill>
            <a:prstDash val="solid"/>
            <a:miter lim="800000"/>
            <a:headEnd type="triangle" w="med" len="med"/>
            <a:tailEnd type="none" w="med" len="med"/>
          </a:ln>
          <a:effectLst/>
        </p:spPr>
      </p:cxnSp>
      <p:cxnSp>
        <p:nvCxnSpPr>
          <p:cNvPr id="13" name="Straight Arrow Connector 12"/>
          <p:cNvCxnSpPr/>
          <p:nvPr/>
        </p:nvCxnSpPr>
        <p:spPr>
          <a:xfrm flipV="1">
            <a:off x="2741028" y="2006942"/>
            <a:ext cx="0" cy="262316"/>
          </a:xfrm>
          <a:prstGeom prst="straightConnector1">
            <a:avLst/>
          </a:prstGeom>
          <a:noFill/>
          <a:ln w="19050" cap="flat" cmpd="sng" algn="ctr">
            <a:solidFill>
              <a:srgbClr val="0862A4"/>
            </a:solidFill>
            <a:prstDash val="solid"/>
            <a:miter lim="800000"/>
            <a:headEnd type="triangle" w="med" len="med"/>
            <a:tailEnd type="none" w="med" len="med"/>
          </a:ln>
          <a:effectLst/>
        </p:spPr>
      </p:cxnSp>
      <p:cxnSp>
        <p:nvCxnSpPr>
          <p:cNvPr id="14" name="Straight Arrow Connector 13"/>
          <p:cNvCxnSpPr/>
          <p:nvPr/>
        </p:nvCxnSpPr>
        <p:spPr>
          <a:xfrm flipV="1">
            <a:off x="1063366" y="2006942"/>
            <a:ext cx="0" cy="262316"/>
          </a:xfrm>
          <a:prstGeom prst="straightConnector1">
            <a:avLst/>
          </a:prstGeom>
          <a:noFill/>
          <a:ln w="19050" cap="flat" cmpd="sng" algn="ctr">
            <a:solidFill>
              <a:srgbClr val="0862A4"/>
            </a:solidFill>
            <a:prstDash val="solid"/>
            <a:miter lim="800000"/>
            <a:headEnd type="triangle" w="med" len="med"/>
            <a:tailEnd type="none" w="med" len="med"/>
          </a:ln>
          <a:effectLst/>
        </p:spPr>
      </p:cxnSp>
      <p:cxnSp>
        <p:nvCxnSpPr>
          <p:cNvPr id="15" name="Straight Arrow Connector 14"/>
          <p:cNvCxnSpPr/>
          <p:nvPr/>
        </p:nvCxnSpPr>
        <p:spPr>
          <a:xfrm flipV="1">
            <a:off x="6077823" y="1801786"/>
            <a:ext cx="0" cy="467472"/>
          </a:xfrm>
          <a:prstGeom prst="straightConnector1">
            <a:avLst/>
          </a:prstGeom>
          <a:noFill/>
          <a:ln w="19050" cap="flat" cmpd="sng" algn="ctr">
            <a:solidFill>
              <a:srgbClr val="0862A4"/>
            </a:solidFill>
            <a:prstDash val="solid"/>
            <a:miter lim="800000"/>
            <a:headEnd type="triangle" w="med" len="med"/>
            <a:tailEnd type="none" w="med" len="med"/>
          </a:ln>
          <a:effectLst/>
        </p:spPr>
      </p:cxnSp>
      <p:cxnSp>
        <p:nvCxnSpPr>
          <p:cNvPr id="16" name="Straight Arrow Connector 15"/>
          <p:cNvCxnSpPr/>
          <p:nvPr/>
        </p:nvCxnSpPr>
        <p:spPr>
          <a:xfrm flipV="1">
            <a:off x="7774014" y="2006942"/>
            <a:ext cx="0" cy="262316"/>
          </a:xfrm>
          <a:prstGeom prst="straightConnector1">
            <a:avLst/>
          </a:prstGeom>
          <a:noFill/>
          <a:ln w="19050" cap="flat" cmpd="sng" algn="ctr">
            <a:solidFill>
              <a:srgbClr val="0862A4"/>
            </a:solidFill>
            <a:prstDash val="solid"/>
            <a:miter lim="800000"/>
            <a:headEnd type="triangle" w="med" len="med"/>
            <a:tailEnd type="none" w="med" len="med"/>
          </a:ln>
          <a:effectLst/>
        </p:spPr>
      </p:cxnSp>
      <p:cxnSp>
        <p:nvCxnSpPr>
          <p:cNvPr id="17" name="Straight Arrow Connector 16"/>
          <p:cNvCxnSpPr/>
          <p:nvPr/>
        </p:nvCxnSpPr>
        <p:spPr>
          <a:xfrm flipV="1">
            <a:off x="9451676" y="2006942"/>
            <a:ext cx="0" cy="262316"/>
          </a:xfrm>
          <a:prstGeom prst="straightConnector1">
            <a:avLst/>
          </a:prstGeom>
          <a:noFill/>
          <a:ln w="19050" cap="flat" cmpd="sng" algn="ctr">
            <a:solidFill>
              <a:srgbClr val="0862A4"/>
            </a:solidFill>
            <a:prstDash val="solid"/>
            <a:miter lim="800000"/>
            <a:headEnd type="triangle" w="med" len="med"/>
            <a:tailEnd type="none" w="med" len="med"/>
          </a:ln>
          <a:effectLst/>
        </p:spPr>
      </p:cxnSp>
      <p:cxnSp>
        <p:nvCxnSpPr>
          <p:cNvPr id="18" name="Straight Arrow Connector 17"/>
          <p:cNvCxnSpPr/>
          <p:nvPr/>
        </p:nvCxnSpPr>
        <p:spPr>
          <a:xfrm flipV="1">
            <a:off x="11129338" y="2006942"/>
            <a:ext cx="0" cy="262316"/>
          </a:xfrm>
          <a:prstGeom prst="straightConnector1">
            <a:avLst/>
          </a:prstGeom>
          <a:noFill/>
          <a:ln w="19050" cap="flat" cmpd="sng" algn="ctr">
            <a:solidFill>
              <a:srgbClr val="0862A4"/>
            </a:solidFill>
            <a:prstDash val="solid"/>
            <a:miter lim="800000"/>
            <a:headEnd type="triangle" w="med" len="med"/>
            <a:tailEnd type="none" w="med" len="med"/>
          </a:ln>
          <a:effectLst/>
        </p:spPr>
      </p:cxnSp>
      <p:cxnSp>
        <p:nvCxnSpPr>
          <p:cNvPr id="19" name="Straight Connector 18"/>
          <p:cNvCxnSpPr/>
          <p:nvPr/>
        </p:nvCxnSpPr>
        <p:spPr>
          <a:xfrm>
            <a:off x="1063366" y="2004478"/>
            <a:ext cx="10055017" cy="0"/>
          </a:xfrm>
          <a:prstGeom prst="line">
            <a:avLst/>
          </a:prstGeom>
          <a:noFill/>
          <a:ln w="19050" cap="flat" cmpd="sng" algn="ctr">
            <a:solidFill>
              <a:srgbClr val="0862A4"/>
            </a:solidFill>
            <a:prstDash val="solid"/>
            <a:miter lim="800000"/>
          </a:ln>
          <a:effectLst/>
        </p:spPr>
      </p:cxnSp>
      <p:sp>
        <p:nvSpPr>
          <p:cNvPr id="20" name="TextBox 19"/>
          <p:cNvSpPr txBox="1"/>
          <p:nvPr/>
        </p:nvSpPr>
        <p:spPr>
          <a:xfrm>
            <a:off x="401233" y="2361459"/>
            <a:ext cx="1324266" cy="630000"/>
          </a:xfrm>
          <a:prstGeom prst="roundRect">
            <a:avLst>
              <a:gd name="adj" fmla="val 50000"/>
            </a:avLst>
          </a:prstGeom>
          <a:solidFill>
            <a:srgbClr val="15325B"/>
          </a:solid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0" cap="none" spc="0" normalizeH="0" baseline="0" noProof="0">
                <a:ln>
                  <a:noFill/>
                </a:ln>
                <a:solidFill>
                  <a:srgbClr val="FFFFFF"/>
                </a:solidFill>
                <a:effectLst/>
                <a:uLnTx/>
                <a:uFillTx/>
                <a:latin typeface="GothamBook" pitchFamily="50" charset="0"/>
                <a:ea typeface="Gotham Medium" charset="0"/>
                <a:cs typeface="Gotham Medium" charset="0"/>
              </a:rPr>
              <a:t>65%</a:t>
            </a:r>
          </a:p>
        </p:txBody>
      </p:sp>
      <p:sp>
        <p:nvSpPr>
          <p:cNvPr id="21" name="TextBox 20"/>
          <p:cNvSpPr txBox="1"/>
          <p:nvPr/>
        </p:nvSpPr>
        <p:spPr>
          <a:xfrm>
            <a:off x="2078895" y="2361459"/>
            <a:ext cx="1324266" cy="630000"/>
          </a:xfrm>
          <a:prstGeom prst="roundRect">
            <a:avLst>
              <a:gd name="adj" fmla="val 50000"/>
            </a:avLst>
          </a:prstGeom>
          <a:solidFill>
            <a:srgbClr val="15325B"/>
          </a:solid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0" cap="none" spc="0" normalizeH="0" baseline="0" noProof="0" dirty="0">
                <a:ln>
                  <a:noFill/>
                </a:ln>
                <a:solidFill>
                  <a:srgbClr val="FFFFFF"/>
                </a:solidFill>
                <a:effectLst/>
                <a:uLnTx/>
                <a:uFillTx/>
                <a:latin typeface="GothamBook" pitchFamily="50" charset="0"/>
                <a:ea typeface="Gotham Medium" charset="0"/>
                <a:cs typeface="Gotham Medium" charset="0"/>
              </a:rPr>
              <a:t>65,93%</a:t>
            </a:r>
          </a:p>
        </p:txBody>
      </p:sp>
      <p:sp>
        <p:nvSpPr>
          <p:cNvPr id="22" name="TextBox 21"/>
          <p:cNvSpPr txBox="1"/>
          <p:nvPr/>
        </p:nvSpPr>
        <p:spPr>
          <a:xfrm>
            <a:off x="3761022" y="2361459"/>
            <a:ext cx="1324266" cy="630000"/>
          </a:xfrm>
          <a:prstGeom prst="roundRect">
            <a:avLst>
              <a:gd name="adj" fmla="val 50000"/>
            </a:avLst>
          </a:prstGeom>
          <a:solidFill>
            <a:srgbClr val="FF0000"/>
          </a:solid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solidFill>
                  <a:srgbClr val="FFFFFF"/>
                </a:solidFill>
                <a:effectLst/>
                <a:uLnTx/>
                <a:uFillTx/>
                <a:latin typeface="GothamBook" pitchFamily="50" charset="0"/>
                <a:ea typeface="Gotham Medium" charset="0"/>
                <a:cs typeface="Gotham Medium" charset="0"/>
              </a:rPr>
              <a:t>51,23%*</a:t>
            </a:r>
          </a:p>
        </p:txBody>
      </p:sp>
      <p:sp>
        <p:nvSpPr>
          <p:cNvPr id="23" name="TextBox 22"/>
          <p:cNvSpPr txBox="1"/>
          <p:nvPr/>
        </p:nvSpPr>
        <p:spPr>
          <a:xfrm>
            <a:off x="5434219" y="2361459"/>
            <a:ext cx="1324266" cy="630000"/>
          </a:xfrm>
          <a:prstGeom prst="roundRect">
            <a:avLst>
              <a:gd name="adj" fmla="val 50000"/>
            </a:avLst>
          </a:prstGeom>
          <a:solidFill>
            <a:srgbClr val="15325B"/>
          </a:solid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0" cap="none" spc="0" normalizeH="0" baseline="0" noProof="0" dirty="0">
                <a:ln>
                  <a:noFill/>
                </a:ln>
                <a:solidFill>
                  <a:srgbClr val="FFFFFF"/>
                </a:solidFill>
                <a:effectLst/>
                <a:uLnTx/>
                <a:uFillTx/>
                <a:latin typeface="GothamBook" pitchFamily="50" charset="0"/>
                <a:ea typeface="Gotham Medium" charset="0"/>
                <a:cs typeface="Gotham Medium" charset="0"/>
              </a:rPr>
              <a:t>100%</a:t>
            </a:r>
          </a:p>
        </p:txBody>
      </p:sp>
      <p:sp>
        <p:nvSpPr>
          <p:cNvPr id="24" name="TextBox 23"/>
          <p:cNvSpPr txBox="1"/>
          <p:nvPr/>
        </p:nvSpPr>
        <p:spPr>
          <a:xfrm>
            <a:off x="7111881" y="2361459"/>
            <a:ext cx="1324266" cy="630000"/>
          </a:xfrm>
          <a:prstGeom prst="roundRect">
            <a:avLst>
              <a:gd name="adj" fmla="val 50000"/>
            </a:avLst>
          </a:prstGeom>
          <a:solidFill>
            <a:srgbClr val="15325B"/>
          </a:solid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0" cap="none" spc="0" normalizeH="0" baseline="0" noProof="0">
                <a:ln>
                  <a:noFill/>
                </a:ln>
                <a:solidFill>
                  <a:srgbClr val="FFFFFF"/>
                </a:solidFill>
                <a:effectLst/>
                <a:uLnTx/>
                <a:uFillTx/>
                <a:latin typeface="GothamBook" pitchFamily="50" charset="0"/>
                <a:ea typeface="Gotham Medium" charset="0"/>
                <a:cs typeface="Gotham Medium" charset="0"/>
              </a:rPr>
              <a:t>65%</a:t>
            </a:r>
          </a:p>
        </p:txBody>
      </p:sp>
      <p:sp>
        <p:nvSpPr>
          <p:cNvPr id="25" name="TextBox 24"/>
          <p:cNvSpPr txBox="1"/>
          <p:nvPr/>
        </p:nvSpPr>
        <p:spPr>
          <a:xfrm>
            <a:off x="8789543" y="2361459"/>
            <a:ext cx="1324266" cy="630000"/>
          </a:xfrm>
          <a:prstGeom prst="roundRect">
            <a:avLst>
              <a:gd name="adj" fmla="val 50000"/>
            </a:avLst>
          </a:prstGeom>
          <a:solidFill>
            <a:srgbClr val="EC1C24"/>
          </a:solid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0" cap="none" spc="0" normalizeH="0" baseline="0" noProof="0">
                <a:ln>
                  <a:noFill/>
                </a:ln>
                <a:solidFill>
                  <a:srgbClr val="FFFFFF"/>
                </a:solidFill>
                <a:effectLst/>
                <a:uLnTx/>
                <a:uFillTx/>
                <a:latin typeface="GothamBook" pitchFamily="50" charset="0"/>
                <a:ea typeface="Gotham Medium" charset="0"/>
                <a:cs typeface="Gotham Medium" charset="0"/>
              </a:rPr>
              <a:t>20%</a:t>
            </a:r>
          </a:p>
        </p:txBody>
      </p:sp>
      <p:sp>
        <p:nvSpPr>
          <p:cNvPr id="26" name="TextBox 25"/>
          <p:cNvSpPr txBox="1"/>
          <p:nvPr/>
        </p:nvSpPr>
        <p:spPr>
          <a:xfrm>
            <a:off x="10467205" y="2361459"/>
            <a:ext cx="1324266" cy="630000"/>
          </a:xfrm>
          <a:prstGeom prst="roundRect">
            <a:avLst>
              <a:gd name="adj" fmla="val 50000"/>
            </a:avLst>
          </a:prstGeom>
          <a:solidFill>
            <a:srgbClr val="19325C"/>
          </a:solidFill>
        </p:spPr>
        <p:txBody>
          <a:bodyPr wrap="square" rtlCol="0" anchor="ctr" anchorCtr="0">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a:ln>
                  <a:noFill/>
                </a:ln>
                <a:solidFill>
                  <a:srgbClr val="FFFFFF"/>
                </a:solidFill>
                <a:effectLst/>
                <a:uLnTx/>
                <a:uFillTx/>
                <a:latin typeface="GothamBook" pitchFamily="50" charset="0"/>
                <a:ea typeface="Gotham Medium" charset="0"/>
                <a:cs typeface="Gotham Medium" charset="0"/>
              </a:rPr>
              <a:t>100%</a:t>
            </a:r>
          </a:p>
        </p:txBody>
      </p:sp>
      <p:pic>
        <p:nvPicPr>
          <p:cNvPr id="27" name="Picture 26"/>
          <p:cNvPicPr>
            <a:picLocks noChangeAspect="1"/>
          </p:cNvPicPr>
          <p:nvPr/>
        </p:nvPicPr>
        <p:blipFill rotWithShape="1">
          <a:blip r:embed="rId10" cstate="screen"/>
          <a:srcRect/>
          <a:stretch>
            <a:fillRect/>
          </a:stretch>
        </p:blipFill>
        <p:spPr>
          <a:xfrm>
            <a:off x="7117914" y="3593567"/>
            <a:ext cx="1445690" cy="730827"/>
          </a:xfrm>
          <a:prstGeom prst="roundRect">
            <a:avLst>
              <a:gd name="adj" fmla="val 0"/>
            </a:avLst>
          </a:prstGeom>
        </p:spPr>
      </p:pic>
      <p:pic>
        <p:nvPicPr>
          <p:cNvPr id="28" name="Picture 27"/>
          <p:cNvPicPr>
            <a:picLocks noChangeAspect="1"/>
          </p:cNvPicPr>
          <p:nvPr/>
        </p:nvPicPr>
        <p:blipFill rotWithShape="1">
          <a:blip r:embed="rId11" cstate="screen"/>
          <a:srcRect/>
          <a:stretch>
            <a:fillRect/>
          </a:stretch>
        </p:blipFill>
        <p:spPr>
          <a:xfrm>
            <a:off x="3763205" y="3593567"/>
            <a:ext cx="1433076" cy="730827"/>
          </a:xfrm>
          <a:prstGeom prst="roundRect">
            <a:avLst>
              <a:gd name="adj" fmla="val 0"/>
            </a:avLst>
          </a:prstGeom>
        </p:spPr>
      </p:pic>
      <p:pic>
        <p:nvPicPr>
          <p:cNvPr id="29" name="Picture 28"/>
          <p:cNvPicPr/>
          <p:nvPr/>
        </p:nvPicPr>
        <p:blipFill rotWithShape="1">
          <a:blip r:embed="rId12" cstate="screen"/>
          <a:srcRect/>
          <a:stretch>
            <a:fillRect/>
          </a:stretch>
        </p:blipFill>
        <p:spPr>
          <a:xfrm>
            <a:off x="2036612" y="3593567"/>
            <a:ext cx="1464685" cy="730827"/>
          </a:xfrm>
          <a:prstGeom prst="roundRect">
            <a:avLst>
              <a:gd name="adj" fmla="val 0"/>
            </a:avLst>
          </a:prstGeom>
        </p:spPr>
      </p:pic>
      <p:pic>
        <p:nvPicPr>
          <p:cNvPr id="30" name="Picture 29"/>
          <p:cNvPicPr>
            <a:picLocks noChangeAspect="1"/>
          </p:cNvPicPr>
          <p:nvPr/>
        </p:nvPicPr>
        <p:blipFill rotWithShape="1">
          <a:blip r:embed="rId13" cstate="screen"/>
          <a:srcRect/>
          <a:stretch>
            <a:fillRect/>
          </a:stretch>
        </p:blipFill>
        <p:spPr>
          <a:xfrm>
            <a:off x="5419781" y="3593567"/>
            <a:ext cx="1485756" cy="730827"/>
          </a:xfrm>
          <a:prstGeom prst="roundRect">
            <a:avLst>
              <a:gd name="adj" fmla="val 0"/>
            </a:avLst>
          </a:prstGeom>
        </p:spPr>
      </p:pic>
      <p:pic>
        <p:nvPicPr>
          <p:cNvPr id="31" name="Picture 30"/>
          <p:cNvPicPr>
            <a:picLocks noChangeAspect="1"/>
          </p:cNvPicPr>
          <p:nvPr/>
        </p:nvPicPr>
        <p:blipFill rotWithShape="1">
          <a:blip r:embed="rId14" cstate="screen"/>
          <a:srcRect l="-77"/>
          <a:stretch>
            <a:fillRect/>
          </a:stretch>
        </p:blipFill>
        <p:spPr>
          <a:xfrm>
            <a:off x="8805166" y="3593567"/>
            <a:ext cx="1444014" cy="734625"/>
          </a:xfrm>
          <a:prstGeom prst="roundRect">
            <a:avLst>
              <a:gd name="adj" fmla="val 0"/>
            </a:avLst>
          </a:prstGeom>
        </p:spPr>
      </p:pic>
      <p:pic>
        <p:nvPicPr>
          <p:cNvPr id="32" name="Picture 4" descr="Ship Cartoon png download - 1155*716 - Free Transparent Freight Transport  png Download. - CleanPNG / KissPNG"/>
          <p:cNvPicPr>
            <a:picLocks noChangeAspect="1" noChangeArrowheads="1"/>
          </p:cNvPicPr>
          <p:nvPr/>
        </p:nvPicPr>
        <p:blipFill rotWithShape="1">
          <a:blip r:embed="rId15" cstate="screen"/>
          <a:srcRect/>
          <a:stretch>
            <a:fillRect/>
          </a:stretch>
        </p:blipFill>
        <p:spPr bwMode="auto">
          <a:xfrm>
            <a:off x="10501019" y="3593567"/>
            <a:ext cx="1301329" cy="730827"/>
          </a:xfrm>
          <a:prstGeom prst="roundRect">
            <a:avLst>
              <a:gd name="adj" fmla="val 0"/>
            </a:avLst>
          </a:prstGeom>
          <a:noFill/>
          <a:extLst>
            <a:ext uri="{909E8E84-426E-40DD-AFC4-6F175D3DCCD1}">
              <a14:hiddenFill xmlns:a14="http://schemas.microsoft.com/office/drawing/2010/main">
                <a:solidFill>
                  <a:srgbClr val="FFFFFF"/>
                </a:solidFill>
              </a14:hiddenFill>
            </a:ext>
          </a:extLst>
        </p:spPr>
      </p:pic>
      <p:pic>
        <p:nvPicPr>
          <p:cNvPr id="33" name="Picture 32"/>
          <p:cNvPicPr/>
          <p:nvPr/>
        </p:nvPicPr>
        <p:blipFill rotWithShape="1">
          <a:blip r:embed="rId16" cstate="screen"/>
          <a:srcRect/>
          <a:stretch>
            <a:fillRect/>
          </a:stretch>
        </p:blipFill>
        <p:spPr>
          <a:xfrm>
            <a:off x="334963" y="3580378"/>
            <a:ext cx="1456806" cy="744016"/>
          </a:xfrm>
          <a:prstGeom prst="roundRect">
            <a:avLst>
              <a:gd name="adj" fmla="val 0"/>
            </a:avLst>
          </a:prstGeom>
        </p:spPr>
      </p:pic>
      <p:pic>
        <p:nvPicPr>
          <p:cNvPr id="34" name="Picture 33"/>
          <p:cNvPicPr>
            <a:picLocks noChangeAspect="1"/>
          </p:cNvPicPr>
          <p:nvPr/>
        </p:nvPicPr>
        <p:blipFill>
          <a:blip r:embed="rId17" cstate="screen"/>
          <a:stretch>
            <a:fillRect/>
          </a:stretch>
        </p:blipFill>
        <p:spPr>
          <a:xfrm>
            <a:off x="5285735" y="1359000"/>
            <a:ext cx="1494166" cy="431244"/>
          </a:xfrm>
          <a:prstGeom prst="rect">
            <a:avLst/>
          </a:prstGeom>
        </p:spPr>
      </p:pic>
      <p:graphicFrame>
        <p:nvGraphicFramePr>
          <p:cNvPr id="35" name="Table 34"/>
          <p:cNvGraphicFramePr>
            <a:graphicFrameLocks noGrp="1"/>
          </p:cNvGraphicFramePr>
          <p:nvPr/>
        </p:nvGraphicFramePr>
        <p:xfrm>
          <a:off x="383222" y="4448183"/>
          <a:ext cx="1417561" cy="312789"/>
        </p:xfrm>
        <a:graphic>
          <a:graphicData uri="http://schemas.openxmlformats.org/drawingml/2006/table">
            <a:tbl>
              <a:tblPr firstRow="1" bandRow="1"/>
              <a:tblGrid>
                <a:gridCol w="1417561">
                  <a:extLst>
                    <a:ext uri="{9D8B030D-6E8A-4147-A177-3AD203B41FA5}">
                      <a16:colId xmlns:a16="http://schemas.microsoft.com/office/drawing/2014/main" val="20000"/>
                    </a:ext>
                  </a:extLst>
                </a:gridCol>
              </a:tblGrid>
              <a:tr h="312789">
                <a:tc>
                  <a:txBody>
                    <a:bodyPr/>
                    <a:lstStyle>
                      <a:lvl1pPr marL="0" algn="l" defTabSz="914400" rtl="0" eaLnBrk="1" latinLnBrk="0" hangingPunct="1">
                        <a:defRPr sz="1800" b="1" kern="1200">
                          <a:solidFill>
                            <a:schemeClr val="tx1"/>
                          </a:solidFill>
                          <a:latin typeface="Gotham Book"/>
                        </a:defRPr>
                      </a:lvl1pPr>
                      <a:lvl2pPr marL="457200" algn="l" defTabSz="914400" rtl="0" eaLnBrk="1" latinLnBrk="0" hangingPunct="1">
                        <a:defRPr sz="1800" b="1" kern="1200">
                          <a:solidFill>
                            <a:schemeClr val="tx1"/>
                          </a:solidFill>
                          <a:latin typeface="Gotham Book"/>
                        </a:defRPr>
                      </a:lvl2pPr>
                      <a:lvl3pPr marL="914400" algn="l" defTabSz="914400" rtl="0" eaLnBrk="1" latinLnBrk="0" hangingPunct="1">
                        <a:defRPr sz="1800" b="1" kern="1200">
                          <a:solidFill>
                            <a:schemeClr val="tx1"/>
                          </a:solidFill>
                          <a:latin typeface="Gotham Book"/>
                        </a:defRPr>
                      </a:lvl3pPr>
                      <a:lvl4pPr marL="1371600" algn="l" defTabSz="914400" rtl="0" eaLnBrk="1" latinLnBrk="0" hangingPunct="1">
                        <a:defRPr sz="1800" b="1" kern="1200">
                          <a:solidFill>
                            <a:schemeClr val="tx1"/>
                          </a:solidFill>
                          <a:latin typeface="Gotham Book"/>
                        </a:defRPr>
                      </a:lvl4pPr>
                      <a:lvl5pPr marL="1828800" algn="l" defTabSz="914400" rtl="0" eaLnBrk="1" latinLnBrk="0" hangingPunct="1">
                        <a:defRPr sz="1800" b="1" kern="1200">
                          <a:solidFill>
                            <a:schemeClr val="tx1"/>
                          </a:solidFill>
                          <a:latin typeface="Gotham Book"/>
                        </a:defRPr>
                      </a:lvl5pPr>
                      <a:lvl6pPr marL="2286000" algn="l" defTabSz="914400" rtl="0" eaLnBrk="1" latinLnBrk="0" hangingPunct="1">
                        <a:defRPr sz="1800" b="1" kern="1200">
                          <a:solidFill>
                            <a:schemeClr val="tx1"/>
                          </a:solidFill>
                          <a:latin typeface="Gotham Book"/>
                        </a:defRPr>
                      </a:lvl6pPr>
                      <a:lvl7pPr marL="2743200" algn="l" defTabSz="914400" rtl="0" eaLnBrk="1" latinLnBrk="0" hangingPunct="1">
                        <a:defRPr sz="1800" b="1" kern="1200">
                          <a:solidFill>
                            <a:schemeClr val="tx1"/>
                          </a:solidFill>
                          <a:latin typeface="Gotham Book"/>
                        </a:defRPr>
                      </a:lvl7pPr>
                      <a:lvl8pPr marL="3200400" algn="l" defTabSz="914400" rtl="0" eaLnBrk="1" latinLnBrk="0" hangingPunct="1">
                        <a:defRPr sz="1800" b="1" kern="1200">
                          <a:solidFill>
                            <a:schemeClr val="tx1"/>
                          </a:solidFill>
                          <a:latin typeface="Gotham Book"/>
                        </a:defRPr>
                      </a:lvl8pPr>
                      <a:lvl9pPr marL="3657600" algn="l" defTabSz="914400" rtl="0" eaLnBrk="1" latinLnBrk="0" hangingPunct="1">
                        <a:defRPr sz="1800" b="1" kern="1200">
                          <a:solidFill>
                            <a:schemeClr val="tx1"/>
                          </a:solidFill>
                          <a:latin typeface="Gotham Book"/>
                        </a:defRPr>
                      </a:lvl9pPr>
                    </a:lstStyle>
                    <a:p>
                      <a:pPr algn="ctr"/>
                      <a:r>
                        <a:rPr lang="en-US" sz="900" dirty="0">
                          <a:latin typeface="GothamBook" pitchFamily="50" charset="0"/>
                          <a:cs typeface="Gotham Book" charset="0"/>
                        </a:rPr>
                        <a:t>19</a:t>
                      </a:r>
                      <a:r>
                        <a:rPr lang="zh-CN" altLang="en-US" sz="900" dirty="0">
                          <a:latin typeface="GothamBook" pitchFamily="50" charset="0"/>
                          <a:cs typeface="Gotham Book" charset="0"/>
                        </a:rPr>
                        <a:t>家子公司</a:t>
                      </a:r>
                      <a:endParaRPr lang="en-US" sz="900" dirty="0">
                        <a:latin typeface="GothamBook" pitchFamily="50" charset="0"/>
                        <a:cs typeface="Gotham Book" charset="0"/>
                      </a:endParaRPr>
                    </a:p>
                  </a:txBody>
                  <a:tcPr>
                    <a:lnL>
                      <a:noFill/>
                    </a:lnL>
                    <a:lnR>
                      <a:noFill/>
                    </a:lnR>
                    <a:lnT w="12700" cmpd="sng">
                      <a:solidFill>
                        <a:srgbClr val="CEDFEC"/>
                      </a:solidFill>
                    </a:lnT>
                    <a:lnB w="12700" cmpd="sng">
                      <a:solidFill>
                        <a:srgbClr val="CEDFE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graphicFrame>
        <p:nvGraphicFramePr>
          <p:cNvPr id="36" name="Table 35"/>
          <p:cNvGraphicFramePr>
            <a:graphicFrameLocks noGrp="1"/>
          </p:cNvGraphicFramePr>
          <p:nvPr/>
        </p:nvGraphicFramePr>
        <p:xfrm>
          <a:off x="2056008" y="4425692"/>
          <a:ext cx="1399223" cy="335280"/>
        </p:xfrm>
        <a:graphic>
          <a:graphicData uri="http://schemas.openxmlformats.org/drawingml/2006/table">
            <a:tbl>
              <a:tblPr firstRow="1" bandRow="1"/>
              <a:tblGrid>
                <a:gridCol w="1399223">
                  <a:extLst>
                    <a:ext uri="{9D8B030D-6E8A-4147-A177-3AD203B41FA5}">
                      <a16:colId xmlns:a16="http://schemas.microsoft.com/office/drawing/2014/main" val="20000"/>
                    </a:ext>
                  </a:extLst>
                </a:gridCol>
              </a:tblGrid>
              <a:tr h="335280">
                <a:tc>
                  <a:txBody>
                    <a:bodyPr/>
                    <a:lstStyle>
                      <a:lvl1pPr marL="0" algn="l" defTabSz="914400" rtl="0" eaLnBrk="1" latinLnBrk="0" hangingPunct="1">
                        <a:defRPr sz="1800" b="1" kern="1200">
                          <a:solidFill>
                            <a:schemeClr val="tx1"/>
                          </a:solidFill>
                          <a:latin typeface="Gotham Book"/>
                        </a:defRPr>
                      </a:lvl1pPr>
                      <a:lvl2pPr marL="457200" algn="l" defTabSz="914400" rtl="0" eaLnBrk="1" latinLnBrk="0" hangingPunct="1">
                        <a:defRPr sz="1800" b="1" kern="1200">
                          <a:solidFill>
                            <a:schemeClr val="tx1"/>
                          </a:solidFill>
                          <a:latin typeface="Gotham Book"/>
                        </a:defRPr>
                      </a:lvl2pPr>
                      <a:lvl3pPr marL="914400" algn="l" defTabSz="914400" rtl="0" eaLnBrk="1" latinLnBrk="0" hangingPunct="1">
                        <a:defRPr sz="1800" b="1" kern="1200">
                          <a:solidFill>
                            <a:schemeClr val="tx1"/>
                          </a:solidFill>
                          <a:latin typeface="Gotham Book"/>
                        </a:defRPr>
                      </a:lvl3pPr>
                      <a:lvl4pPr marL="1371600" algn="l" defTabSz="914400" rtl="0" eaLnBrk="1" latinLnBrk="0" hangingPunct="1">
                        <a:defRPr sz="1800" b="1" kern="1200">
                          <a:solidFill>
                            <a:schemeClr val="tx1"/>
                          </a:solidFill>
                          <a:latin typeface="Gotham Book"/>
                        </a:defRPr>
                      </a:lvl4pPr>
                      <a:lvl5pPr marL="1828800" algn="l" defTabSz="914400" rtl="0" eaLnBrk="1" latinLnBrk="0" hangingPunct="1">
                        <a:defRPr sz="1800" b="1" kern="1200">
                          <a:solidFill>
                            <a:schemeClr val="tx1"/>
                          </a:solidFill>
                          <a:latin typeface="Gotham Book"/>
                        </a:defRPr>
                      </a:lvl5pPr>
                      <a:lvl6pPr marL="2286000" algn="l" defTabSz="914400" rtl="0" eaLnBrk="1" latinLnBrk="0" hangingPunct="1">
                        <a:defRPr sz="1800" b="1" kern="1200">
                          <a:solidFill>
                            <a:schemeClr val="tx1"/>
                          </a:solidFill>
                          <a:latin typeface="Gotham Book"/>
                        </a:defRPr>
                      </a:lvl6pPr>
                      <a:lvl7pPr marL="2743200" algn="l" defTabSz="914400" rtl="0" eaLnBrk="1" latinLnBrk="0" hangingPunct="1">
                        <a:defRPr sz="1800" b="1" kern="1200">
                          <a:solidFill>
                            <a:schemeClr val="tx1"/>
                          </a:solidFill>
                          <a:latin typeface="Gotham Book"/>
                        </a:defRPr>
                      </a:lvl7pPr>
                      <a:lvl8pPr marL="3200400" algn="l" defTabSz="914400" rtl="0" eaLnBrk="1" latinLnBrk="0" hangingPunct="1">
                        <a:defRPr sz="1800" b="1" kern="1200">
                          <a:solidFill>
                            <a:schemeClr val="tx1"/>
                          </a:solidFill>
                          <a:latin typeface="Gotham Book"/>
                        </a:defRPr>
                      </a:lvl8pPr>
                      <a:lvl9pPr marL="3657600" algn="l" defTabSz="914400" rtl="0" eaLnBrk="1" latinLnBrk="0" hangingPunct="1">
                        <a:defRPr sz="1800" b="1" kern="1200">
                          <a:solidFill>
                            <a:schemeClr val="tx1"/>
                          </a:solidFill>
                          <a:latin typeface="Gotham Book"/>
                        </a:defRPr>
                      </a:lvl9pPr>
                    </a:lstStyle>
                    <a:p>
                      <a:pPr marL="0" marR="0" indent="0" algn="ctr" defTabSz="914400" rtl="0" eaLnBrk="1" fontAlgn="auto" latinLnBrk="0" hangingPunct="1">
                        <a:lnSpc>
                          <a:spcPct val="100000"/>
                        </a:lnSpc>
                        <a:spcBef>
                          <a:spcPts val="0"/>
                        </a:spcBef>
                        <a:spcAft>
                          <a:spcPts val="0"/>
                        </a:spcAft>
                        <a:buClrTx/>
                        <a:buSzTx/>
                        <a:buFontTx/>
                        <a:buNone/>
                        <a:defRPr/>
                      </a:pPr>
                      <a:r>
                        <a:rPr lang="en-US" sz="900" dirty="0">
                          <a:latin typeface="GothamBook" pitchFamily="50" charset="0"/>
                          <a:cs typeface="Gotham Book" charset="0"/>
                        </a:rPr>
                        <a:t>2</a:t>
                      </a:r>
                      <a:r>
                        <a:rPr lang="id-ID" sz="900" dirty="0">
                          <a:latin typeface="GothamBook" pitchFamily="50" charset="0"/>
                          <a:cs typeface="Gotham Book" charset="0"/>
                        </a:rPr>
                        <a:t>1</a:t>
                      </a:r>
                      <a:r>
                        <a:rPr lang="zh-CN" altLang="en-US" sz="900" dirty="0">
                          <a:latin typeface="GothamBook" pitchFamily="50" charset="0"/>
                          <a:cs typeface="Gotham Book" charset="0"/>
                        </a:rPr>
                        <a:t>家子公司</a:t>
                      </a:r>
                      <a:endParaRPr lang="en-US" altLang="zh-CN" sz="900" dirty="0">
                        <a:latin typeface="GothamBook" pitchFamily="50" charset="0"/>
                        <a:cs typeface="Gotham Book" charset="0"/>
                      </a:endParaRPr>
                    </a:p>
                  </a:txBody>
                  <a:tcPr>
                    <a:lnL>
                      <a:noFill/>
                    </a:lnL>
                    <a:lnR>
                      <a:noFill/>
                    </a:lnR>
                    <a:lnT w="12700" cmpd="sng">
                      <a:solidFill>
                        <a:srgbClr val="CEDFEC"/>
                      </a:solidFill>
                    </a:lnT>
                    <a:lnB w="12700" cmpd="sng">
                      <a:solidFill>
                        <a:srgbClr val="CEDFE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graphicFrame>
        <p:nvGraphicFramePr>
          <p:cNvPr id="37" name="Table 36"/>
          <p:cNvGraphicFramePr>
            <a:graphicFrameLocks noGrp="1"/>
          </p:cNvGraphicFramePr>
          <p:nvPr/>
        </p:nvGraphicFramePr>
        <p:xfrm>
          <a:off x="7062419" y="4430890"/>
          <a:ext cx="1505744" cy="324896"/>
        </p:xfrm>
        <a:graphic>
          <a:graphicData uri="http://schemas.openxmlformats.org/drawingml/2006/table">
            <a:tbl>
              <a:tblPr firstRow="1" bandRow="1"/>
              <a:tblGrid>
                <a:gridCol w="1505744">
                  <a:extLst>
                    <a:ext uri="{9D8B030D-6E8A-4147-A177-3AD203B41FA5}">
                      <a16:colId xmlns:a16="http://schemas.microsoft.com/office/drawing/2014/main" val="20000"/>
                    </a:ext>
                  </a:extLst>
                </a:gridCol>
              </a:tblGrid>
              <a:tr h="324896">
                <a:tc>
                  <a:txBody>
                    <a:bodyPr/>
                    <a:lstStyle>
                      <a:lvl1pPr marL="0" algn="l" defTabSz="914400" rtl="0" eaLnBrk="1" latinLnBrk="0" hangingPunct="1">
                        <a:defRPr sz="1800" b="1" kern="1200">
                          <a:solidFill>
                            <a:schemeClr val="tx1"/>
                          </a:solidFill>
                          <a:latin typeface="Gotham Book"/>
                        </a:defRPr>
                      </a:lvl1pPr>
                      <a:lvl2pPr marL="457200" algn="l" defTabSz="914400" rtl="0" eaLnBrk="1" latinLnBrk="0" hangingPunct="1">
                        <a:defRPr sz="1800" b="1" kern="1200">
                          <a:solidFill>
                            <a:schemeClr val="tx1"/>
                          </a:solidFill>
                          <a:latin typeface="Gotham Book"/>
                        </a:defRPr>
                      </a:lvl2pPr>
                      <a:lvl3pPr marL="914400" algn="l" defTabSz="914400" rtl="0" eaLnBrk="1" latinLnBrk="0" hangingPunct="1">
                        <a:defRPr sz="1800" b="1" kern="1200">
                          <a:solidFill>
                            <a:schemeClr val="tx1"/>
                          </a:solidFill>
                          <a:latin typeface="Gotham Book"/>
                        </a:defRPr>
                      </a:lvl3pPr>
                      <a:lvl4pPr marL="1371600" algn="l" defTabSz="914400" rtl="0" eaLnBrk="1" latinLnBrk="0" hangingPunct="1">
                        <a:defRPr sz="1800" b="1" kern="1200">
                          <a:solidFill>
                            <a:schemeClr val="tx1"/>
                          </a:solidFill>
                          <a:latin typeface="Gotham Book"/>
                        </a:defRPr>
                      </a:lvl4pPr>
                      <a:lvl5pPr marL="1828800" algn="l" defTabSz="914400" rtl="0" eaLnBrk="1" latinLnBrk="0" hangingPunct="1">
                        <a:defRPr sz="1800" b="1" kern="1200">
                          <a:solidFill>
                            <a:schemeClr val="tx1"/>
                          </a:solidFill>
                          <a:latin typeface="Gotham Book"/>
                        </a:defRPr>
                      </a:lvl5pPr>
                      <a:lvl6pPr marL="2286000" algn="l" defTabSz="914400" rtl="0" eaLnBrk="1" latinLnBrk="0" hangingPunct="1">
                        <a:defRPr sz="1800" b="1" kern="1200">
                          <a:solidFill>
                            <a:schemeClr val="tx1"/>
                          </a:solidFill>
                          <a:latin typeface="Gotham Book"/>
                        </a:defRPr>
                      </a:lvl6pPr>
                      <a:lvl7pPr marL="2743200" algn="l" defTabSz="914400" rtl="0" eaLnBrk="1" latinLnBrk="0" hangingPunct="1">
                        <a:defRPr sz="1800" b="1" kern="1200">
                          <a:solidFill>
                            <a:schemeClr val="tx1"/>
                          </a:solidFill>
                          <a:latin typeface="Gotham Book"/>
                        </a:defRPr>
                      </a:lvl7pPr>
                      <a:lvl8pPr marL="3200400" algn="l" defTabSz="914400" rtl="0" eaLnBrk="1" latinLnBrk="0" hangingPunct="1">
                        <a:defRPr sz="1800" b="1" kern="1200">
                          <a:solidFill>
                            <a:schemeClr val="tx1"/>
                          </a:solidFill>
                          <a:latin typeface="Gotham Book"/>
                        </a:defRPr>
                      </a:lvl8pPr>
                      <a:lvl9pPr marL="3657600" algn="l" defTabSz="914400" rtl="0" eaLnBrk="1" latinLnBrk="0" hangingPunct="1">
                        <a:defRPr sz="1800" b="1" kern="1200">
                          <a:solidFill>
                            <a:schemeClr val="tx1"/>
                          </a:solidFill>
                          <a:latin typeface="Gotham Book"/>
                        </a:defRPr>
                      </a:lvl9pPr>
                    </a:lstStyle>
                    <a:p>
                      <a:pPr algn="ctr"/>
                      <a:r>
                        <a:rPr lang="en-US" sz="900" dirty="0">
                          <a:latin typeface="GothamBook" pitchFamily="50" charset="0"/>
                          <a:cs typeface="Gotham Book" charset="0"/>
                        </a:rPr>
                        <a:t>1</a:t>
                      </a:r>
                      <a:r>
                        <a:rPr lang="id-ID" sz="900" dirty="0">
                          <a:latin typeface="GothamBook" pitchFamily="50" charset="0"/>
                          <a:cs typeface="Gotham Book" charset="0"/>
                        </a:rPr>
                        <a:t>2</a:t>
                      </a:r>
                      <a:r>
                        <a:rPr lang="zh-CN" altLang="en-US" sz="900" dirty="0">
                          <a:latin typeface="GothamBook" pitchFamily="50" charset="0"/>
                          <a:cs typeface="Gotham Book" charset="0"/>
                        </a:rPr>
                        <a:t>家子公司</a:t>
                      </a:r>
                      <a:endParaRPr lang="en-US" sz="900" dirty="0">
                        <a:latin typeface="GothamBook" pitchFamily="50" charset="0"/>
                        <a:cs typeface="Gotham Book" charset="0"/>
                      </a:endParaRPr>
                    </a:p>
                  </a:txBody>
                  <a:tcPr>
                    <a:lnL>
                      <a:noFill/>
                    </a:lnL>
                    <a:lnR>
                      <a:noFill/>
                    </a:lnR>
                    <a:lnT w="12700" cmpd="sng">
                      <a:solidFill>
                        <a:srgbClr val="CEDFEC"/>
                      </a:solidFill>
                    </a:lnT>
                    <a:lnB w="12700" cmpd="sng">
                      <a:solidFill>
                        <a:srgbClr val="CEDFE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graphicFrame>
        <p:nvGraphicFramePr>
          <p:cNvPr id="38" name="Table 37"/>
          <p:cNvGraphicFramePr>
            <a:graphicFrameLocks noGrp="1"/>
          </p:cNvGraphicFramePr>
          <p:nvPr/>
        </p:nvGraphicFramePr>
        <p:xfrm>
          <a:off x="5451471" y="4434627"/>
          <a:ext cx="1329398" cy="317422"/>
        </p:xfrm>
        <a:graphic>
          <a:graphicData uri="http://schemas.openxmlformats.org/drawingml/2006/table">
            <a:tbl>
              <a:tblPr firstRow="1" bandRow="1"/>
              <a:tblGrid>
                <a:gridCol w="1329398">
                  <a:extLst>
                    <a:ext uri="{9D8B030D-6E8A-4147-A177-3AD203B41FA5}">
                      <a16:colId xmlns:a16="http://schemas.microsoft.com/office/drawing/2014/main" val="20000"/>
                    </a:ext>
                  </a:extLst>
                </a:gridCol>
              </a:tblGrid>
              <a:tr h="317422">
                <a:tc>
                  <a:txBody>
                    <a:bodyPr/>
                    <a:lstStyle>
                      <a:lvl1pPr marL="0" algn="l" defTabSz="914400" rtl="0" eaLnBrk="1" latinLnBrk="0" hangingPunct="1">
                        <a:defRPr sz="1800" b="1" kern="1200">
                          <a:solidFill>
                            <a:schemeClr val="tx1"/>
                          </a:solidFill>
                          <a:latin typeface="Gotham Book"/>
                        </a:defRPr>
                      </a:lvl1pPr>
                      <a:lvl2pPr marL="457200" algn="l" defTabSz="914400" rtl="0" eaLnBrk="1" latinLnBrk="0" hangingPunct="1">
                        <a:defRPr sz="1800" b="1" kern="1200">
                          <a:solidFill>
                            <a:schemeClr val="tx1"/>
                          </a:solidFill>
                          <a:latin typeface="Gotham Book"/>
                        </a:defRPr>
                      </a:lvl2pPr>
                      <a:lvl3pPr marL="914400" algn="l" defTabSz="914400" rtl="0" eaLnBrk="1" latinLnBrk="0" hangingPunct="1">
                        <a:defRPr sz="1800" b="1" kern="1200">
                          <a:solidFill>
                            <a:schemeClr val="tx1"/>
                          </a:solidFill>
                          <a:latin typeface="Gotham Book"/>
                        </a:defRPr>
                      </a:lvl3pPr>
                      <a:lvl4pPr marL="1371600" algn="l" defTabSz="914400" rtl="0" eaLnBrk="1" latinLnBrk="0" hangingPunct="1">
                        <a:defRPr sz="1800" b="1" kern="1200">
                          <a:solidFill>
                            <a:schemeClr val="tx1"/>
                          </a:solidFill>
                          <a:latin typeface="Gotham Book"/>
                        </a:defRPr>
                      </a:lvl4pPr>
                      <a:lvl5pPr marL="1828800" algn="l" defTabSz="914400" rtl="0" eaLnBrk="1" latinLnBrk="0" hangingPunct="1">
                        <a:defRPr sz="1800" b="1" kern="1200">
                          <a:solidFill>
                            <a:schemeClr val="tx1"/>
                          </a:solidFill>
                          <a:latin typeface="Gotham Book"/>
                        </a:defRPr>
                      </a:lvl5pPr>
                      <a:lvl6pPr marL="2286000" algn="l" defTabSz="914400" rtl="0" eaLnBrk="1" latinLnBrk="0" hangingPunct="1">
                        <a:defRPr sz="1800" b="1" kern="1200">
                          <a:solidFill>
                            <a:schemeClr val="tx1"/>
                          </a:solidFill>
                          <a:latin typeface="Gotham Book"/>
                        </a:defRPr>
                      </a:lvl6pPr>
                      <a:lvl7pPr marL="2743200" algn="l" defTabSz="914400" rtl="0" eaLnBrk="1" latinLnBrk="0" hangingPunct="1">
                        <a:defRPr sz="1800" b="1" kern="1200">
                          <a:solidFill>
                            <a:schemeClr val="tx1"/>
                          </a:solidFill>
                          <a:latin typeface="Gotham Book"/>
                        </a:defRPr>
                      </a:lvl7pPr>
                      <a:lvl8pPr marL="3200400" algn="l" defTabSz="914400" rtl="0" eaLnBrk="1" latinLnBrk="0" hangingPunct="1">
                        <a:defRPr sz="1800" b="1" kern="1200">
                          <a:solidFill>
                            <a:schemeClr val="tx1"/>
                          </a:solidFill>
                          <a:latin typeface="Gotham Book"/>
                        </a:defRPr>
                      </a:lvl8pPr>
                      <a:lvl9pPr marL="3657600" algn="l" defTabSz="914400" rtl="0" eaLnBrk="1" latinLnBrk="0" hangingPunct="1">
                        <a:defRPr sz="1800" b="1" kern="1200">
                          <a:solidFill>
                            <a:schemeClr val="tx1"/>
                          </a:solidFill>
                          <a:latin typeface="Gotham Book"/>
                        </a:defRPr>
                      </a:lvl9pPr>
                    </a:lstStyle>
                    <a:p>
                      <a:pPr algn="ctr"/>
                      <a:r>
                        <a:rPr lang="en-US" sz="900" dirty="0">
                          <a:latin typeface="GothamBook" pitchFamily="50" charset="0"/>
                          <a:cs typeface="Gotham Book" charset="0"/>
                        </a:rPr>
                        <a:t>3</a:t>
                      </a:r>
                      <a:r>
                        <a:rPr lang="zh-CN" altLang="en-US" sz="900" dirty="0">
                          <a:latin typeface="GothamBook" pitchFamily="50" charset="0"/>
                          <a:cs typeface="Gotham Book" charset="0"/>
                        </a:rPr>
                        <a:t>家子公司</a:t>
                      </a:r>
                      <a:endParaRPr lang="en-US" sz="900" dirty="0">
                        <a:latin typeface="GothamBook" pitchFamily="50" charset="0"/>
                        <a:cs typeface="Gotham Book" charset="0"/>
                      </a:endParaRPr>
                    </a:p>
                  </a:txBody>
                  <a:tcPr>
                    <a:lnL>
                      <a:noFill/>
                    </a:lnL>
                    <a:lnR>
                      <a:noFill/>
                    </a:lnR>
                    <a:lnT w="12700" cmpd="sng">
                      <a:solidFill>
                        <a:srgbClr val="CEDFEC"/>
                      </a:solidFill>
                    </a:lnT>
                    <a:lnB w="12700" cmpd="sng">
                      <a:solidFill>
                        <a:srgbClr val="CEDFE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graphicFrame>
        <p:nvGraphicFramePr>
          <p:cNvPr id="39" name="Table 38"/>
          <p:cNvGraphicFramePr>
            <a:graphicFrameLocks noGrp="1"/>
          </p:cNvGraphicFramePr>
          <p:nvPr/>
        </p:nvGraphicFramePr>
        <p:xfrm>
          <a:off x="3776440" y="4425744"/>
          <a:ext cx="1329397" cy="350430"/>
        </p:xfrm>
        <a:graphic>
          <a:graphicData uri="http://schemas.openxmlformats.org/drawingml/2006/table">
            <a:tbl>
              <a:tblPr firstRow="1" bandRow="1"/>
              <a:tblGrid>
                <a:gridCol w="1329397">
                  <a:extLst>
                    <a:ext uri="{9D8B030D-6E8A-4147-A177-3AD203B41FA5}">
                      <a16:colId xmlns:a16="http://schemas.microsoft.com/office/drawing/2014/main" val="20000"/>
                    </a:ext>
                  </a:extLst>
                </a:gridCol>
              </a:tblGrid>
              <a:tr h="350430">
                <a:tc>
                  <a:txBody>
                    <a:bodyPr/>
                    <a:lstStyle>
                      <a:lvl1pPr marL="0" algn="l" defTabSz="914400" rtl="0" eaLnBrk="1" latinLnBrk="0" hangingPunct="1">
                        <a:defRPr sz="1800" b="1" kern="1200">
                          <a:solidFill>
                            <a:schemeClr val="tx1"/>
                          </a:solidFill>
                          <a:latin typeface="Gotham Book"/>
                        </a:defRPr>
                      </a:lvl1pPr>
                      <a:lvl2pPr marL="457200" algn="l" defTabSz="914400" rtl="0" eaLnBrk="1" latinLnBrk="0" hangingPunct="1">
                        <a:defRPr sz="1800" b="1" kern="1200">
                          <a:solidFill>
                            <a:schemeClr val="tx1"/>
                          </a:solidFill>
                          <a:latin typeface="Gotham Book"/>
                        </a:defRPr>
                      </a:lvl2pPr>
                      <a:lvl3pPr marL="914400" algn="l" defTabSz="914400" rtl="0" eaLnBrk="1" latinLnBrk="0" hangingPunct="1">
                        <a:defRPr sz="1800" b="1" kern="1200">
                          <a:solidFill>
                            <a:schemeClr val="tx1"/>
                          </a:solidFill>
                          <a:latin typeface="Gotham Book"/>
                        </a:defRPr>
                      </a:lvl3pPr>
                      <a:lvl4pPr marL="1371600" algn="l" defTabSz="914400" rtl="0" eaLnBrk="1" latinLnBrk="0" hangingPunct="1">
                        <a:defRPr sz="1800" b="1" kern="1200">
                          <a:solidFill>
                            <a:schemeClr val="tx1"/>
                          </a:solidFill>
                          <a:latin typeface="Gotham Book"/>
                        </a:defRPr>
                      </a:lvl4pPr>
                      <a:lvl5pPr marL="1828800" algn="l" defTabSz="914400" rtl="0" eaLnBrk="1" latinLnBrk="0" hangingPunct="1">
                        <a:defRPr sz="1800" b="1" kern="1200">
                          <a:solidFill>
                            <a:schemeClr val="tx1"/>
                          </a:solidFill>
                          <a:latin typeface="Gotham Book"/>
                        </a:defRPr>
                      </a:lvl5pPr>
                      <a:lvl6pPr marL="2286000" algn="l" defTabSz="914400" rtl="0" eaLnBrk="1" latinLnBrk="0" hangingPunct="1">
                        <a:defRPr sz="1800" b="1" kern="1200">
                          <a:solidFill>
                            <a:schemeClr val="tx1"/>
                          </a:solidFill>
                          <a:latin typeface="Gotham Book"/>
                        </a:defRPr>
                      </a:lvl6pPr>
                      <a:lvl7pPr marL="2743200" algn="l" defTabSz="914400" rtl="0" eaLnBrk="1" latinLnBrk="0" hangingPunct="1">
                        <a:defRPr sz="1800" b="1" kern="1200">
                          <a:solidFill>
                            <a:schemeClr val="tx1"/>
                          </a:solidFill>
                          <a:latin typeface="Gotham Book"/>
                        </a:defRPr>
                      </a:lvl7pPr>
                      <a:lvl8pPr marL="3200400" algn="l" defTabSz="914400" rtl="0" eaLnBrk="1" latinLnBrk="0" hangingPunct="1">
                        <a:defRPr sz="1800" b="1" kern="1200">
                          <a:solidFill>
                            <a:schemeClr val="tx1"/>
                          </a:solidFill>
                          <a:latin typeface="Gotham Book"/>
                        </a:defRPr>
                      </a:lvl8pPr>
                      <a:lvl9pPr marL="3657600" algn="l" defTabSz="914400" rtl="0" eaLnBrk="1" latinLnBrk="0" hangingPunct="1">
                        <a:defRPr sz="1800" b="1" kern="1200">
                          <a:solidFill>
                            <a:schemeClr val="tx1"/>
                          </a:solidFill>
                          <a:latin typeface="Gotham Book"/>
                        </a:defRPr>
                      </a:lvl9pPr>
                    </a:lstStyle>
                    <a:p>
                      <a:pPr marL="0" marR="0" indent="0" algn="ctr" defTabSz="914400" rtl="0" eaLnBrk="1" fontAlgn="auto" latinLnBrk="0" hangingPunct="1">
                        <a:lnSpc>
                          <a:spcPct val="100000"/>
                        </a:lnSpc>
                        <a:spcBef>
                          <a:spcPts val="0"/>
                        </a:spcBef>
                        <a:spcAft>
                          <a:spcPts val="0"/>
                        </a:spcAft>
                        <a:buClrTx/>
                        <a:buSzTx/>
                        <a:buFontTx/>
                        <a:buNone/>
                        <a:defRPr/>
                      </a:pPr>
                      <a:r>
                        <a:rPr lang="en-US" sz="900" dirty="0">
                          <a:latin typeface="GothamBook" pitchFamily="50" charset="0"/>
                          <a:cs typeface="Gotham Book" charset="0"/>
                        </a:rPr>
                        <a:t>5</a:t>
                      </a:r>
                      <a:r>
                        <a:rPr lang="zh-CN" altLang="en-US" sz="900" dirty="0">
                          <a:latin typeface="GothamBook" pitchFamily="50" charset="0"/>
                          <a:cs typeface="Gotham Book" charset="0"/>
                        </a:rPr>
                        <a:t>家子公司</a:t>
                      </a:r>
                      <a:endParaRPr lang="en-US" altLang="zh-CN" sz="900" dirty="0">
                        <a:latin typeface="GothamBook" pitchFamily="50" charset="0"/>
                        <a:cs typeface="Gotham Book" charset="0"/>
                      </a:endParaRPr>
                    </a:p>
                  </a:txBody>
                  <a:tcPr>
                    <a:lnL>
                      <a:noFill/>
                    </a:lnL>
                    <a:lnR>
                      <a:noFill/>
                    </a:lnR>
                    <a:lnT w="12700" cmpd="sng">
                      <a:solidFill>
                        <a:srgbClr val="CEDFEC"/>
                      </a:solidFill>
                    </a:lnT>
                    <a:lnB w="12700" cmpd="sng">
                      <a:solidFill>
                        <a:srgbClr val="CEDFE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graphicFrame>
        <p:nvGraphicFramePr>
          <p:cNvPr id="40" name="Table 39"/>
          <p:cNvGraphicFramePr>
            <a:graphicFrameLocks noGrp="1"/>
          </p:cNvGraphicFramePr>
          <p:nvPr/>
        </p:nvGraphicFramePr>
        <p:xfrm>
          <a:off x="8756030" y="4442369"/>
          <a:ext cx="1505744" cy="324896"/>
        </p:xfrm>
        <a:graphic>
          <a:graphicData uri="http://schemas.openxmlformats.org/drawingml/2006/table">
            <a:tbl>
              <a:tblPr firstRow="1" bandRow="1"/>
              <a:tblGrid>
                <a:gridCol w="1505744">
                  <a:extLst>
                    <a:ext uri="{9D8B030D-6E8A-4147-A177-3AD203B41FA5}">
                      <a16:colId xmlns:a16="http://schemas.microsoft.com/office/drawing/2014/main" val="20000"/>
                    </a:ext>
                  </a:extLst>
                </a:gridCol>
              </a:tblGrid>
              <a:tr h="324896">
                <a:tc>
                  <a:txBody>
                    <a:bodyPr/>
                    <a:lstStyle>
                      <a:lvl1pPr marL="0" algn="l" defTabSz="914400" rtl="0" eaLnBrk="1" latinLnBrk="0" hangingPunct="1">
                        <a:defRPr sz="1800" b="1" kern="1200">
                          <a:solidFill>
                            <a:schemeClr val="tx1"/>
                          </a:solidFill>
                          <a:latin typeface="Gotham Book"/>
                        </a:defRPr>
                      </a:lvl1pPr>
                      <a:lvl2pPr marL="457200" algn="l" defTabSz="914400" rtl="0" eaLnBrk="1" latinLnBrk="0" hangingPunct="1">
                        <a:defRPr sz="1800" b="1" kern="1200">
                          <a:solidFill>
                            <a:schemeClr val="tx1"/>
                          </a:solidFill>
                          <a:latin typeface="Gotham Book"/>
                        </a:defRPr>
                      </a:lvl2pPr>
                      <a:lvl3pPr marL="914400" algn="l" defTabSz="914400" rtl="0" eaLnBrk="1" latinLnBrk="0" hangingPunct="1">
                        <a:defRPr sz="1800" b="1" kern="1200">
                          <a:solidFill>
                            <a:schemeClr val="tx1"/>
                          </a:solidFill>
                          <a:latin typeface="Gotham Book"/>
                        </a:defRPr>
                      </a:lvl3pPr>
                      <a:lvl4pPr marL="1371600" algn="l" defTabSz="914400" rtl="0" eaLnBrk="1" latinLnBrk="0" hangingPunct="1">
                        <a:defRPr sz="1800" b="1" kern="1200">
                          <a:solidFill>
                            <a:schemeClr val="tx1"/>
                          </a:solidFill>
                          <a:latin typeface="Gotham Book"/>
                        </a:defRPr>
                      </a:lvl4pPr>
                      <a:lvl5pPr marL="1828800" algn="l" defTabSz="914400" rtl="0" eaLnBrk="1" latinLnBrk="0" hangingPunct="1">
                        <a:defRPr sz="1800" b="1" kern="1200">
                          <a:solidFill>
                            <a:schemeClr val="tx1"/>
                          </a:solidFill>
                          <a:latin typeface="Gotham Book"/>
                        </a:defRPr>
                      </a:lvl5pPr>
                      <a:lvl6pPr marL="2286000" algn="l" defTabSz="914400" rtl="0" eaLnBrk="1" latinLnBrk="0" hangingPunct="1">
                        <a:defRPr sz="1800" b="1" kern="1200">
                          <a:solidFill>
                            <a:schemeClr val="tx1"/>
                          </a:solidFill>
                          <a:latin typeface="Gotham Book"/>
                        </a:defRPr>
                      </a:lvl6pPr>
                      <a:lvl7pPr marL="2743200" algn="l" defTabSz="914400" rtl="0" eaLnBrk="1" latinLnBrk="0" hangingPunct="1">
                        <a:defRPr sz="1800" b="1" kern="1200">
                          <a:solidFill>
                            <a:schemeClr val="tx1"/>
                          </a:solidFill>
                          <a:latin typeface="Gotham Book"/>
                        </a:defRPr>
                      </a:lvl7pPr>
                      <a:lvl8pPr marL="3200400" algn="l" defTabSz="914400" rtl="0" eaLnBrk="1" latinLnBrk="0" hangingPunct="1">
                        <a:defRPr sz="1800" b="1" kern="1200">
                          <a:solidFill>
                            <a:schemeClr val="tx1"/>
                          </a:solidFill>
                          <a:latin typeface="Gotham Book"/>
                        </a:defRPr>
                      </a:lvl8pPr>
                      <a:lvl9pPr marL="3657600" algn="l" defTabSz="914400" rtl="0" eaLnBrk="1" latinLnBrk="0" hangingPunct="1">
                        <a:defRPr sz="1800" b="1" kern="1200">
                          <a:solidFill>
                            <a:schemeClr val="tx1"/>
                          </a:solidFill>
                          <a:latin typeface="Gotham Book"/>
                        </a:defRPr>
                      </a:lvl9pPr>
                    </a:lstStyle>
                    <a:p>
                      <a:pPr algn="ctr"/>
                      <a:r>
                        <a:rPr lang="en-US" sz="900" dirty="0">
                          <a:latin typeface="GothamBook" pitchFamily="50" charset="0"/>
                          <a:cs typeface="Gotham Book" charset="0"/>
                        </a:rPr>
                        <a:t>2020</a:t>
                      </a:r>
                      <a:r>
                        <a:rPr lang="zh-CN" altLang="en-US" sz="900" dirty="0">
                          <a:latin typeface="GothamBook" pitchFamily="50" charset="0"/>
                          <a:cs typeface="Gotham Book" charset="0"/>
                        </a:rPr>
                        <a:t>年</a:t>
                      </a:r>
                      <a:r>
                        <a:rPr lang="en-US" altLang="zh-CN" sz="900" dirty="0">
                          <a:latin typeface="GothamBook" pitchFamily="50" charset="0"/>
                          <a:cs typeface="Gotham Book" charset="0"/>
                        </a:rPr>
                        <a:t>10</a:t>
                      </a:r>
                      <a:r>
                        <a:rPr lang="zh-CN" altLang="en-US" sz="900" dirty="0">
                          <a:latin typeface="GothamBook" pitchFamily="50" charset="0"/>
                          <a:cs typeface="Gotham Book" charset="0"/>
                        </a:rPr>
                        <a:t>月</a:t>
                      </a:r>
                      <a:r>
                        <a:rPr lang="en-US" altLang="zh-CN" sz="900" dirty="0">
                          <a:latin typeface="GothamBook" pitchFamily="50" charset="0"/>
                          <a:cs typeface="Gotham Book" charset="0"/>
                        </a:rPr>
                        <a:t>7</a:t>
                      </a:r>
                      <a:r>
                        <a:rPr lang="zh-CN" altLang="en-US" sz="900" dirty="0">
                          <a:latin typeface="GothamBook" pitchFamily="50" charset="0"/>
                          <a:cs typeface="Gotham Book" charset="0"/>
                        </a:rPr>
                        <a:t>日</a:t>
                      </a:r>
                      <a:endParaRPr lang="en-US" sz="900" dirty="0">
                        <a:latin typeface="GothamBook" pitchFamily="50" charset="0"/>
                        <a:cs typeface="Gotham Book" charset="0"/>
                      </a:endParaRPr>
                    </a:p>
                  </a:txBody>
                  <a:tcPr>
                    <a:lnL>
                      <a:noFill/>
                    </a:lnL>
                    <a:lnR>
                      <a:noFill/>
                    </a:lnR>
                    <a:lnT w="12700" cmpd="sng">
                      <a:solidFill>
                        <a:srgbClr val="CEDFEC"/>
                      </a:solidFill>
                    </a:lnT>
                    <a:lnB w="12700" cmpd="sng">
                      <a:solidFill>
                        <a:srgbClr val="CEDFE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graphicFrame>
        <p:nvGraphicFramePr>
          <p:cNvPr id="41" name="Table 40"/>
          <p:cNvGraphicFramePr>
            <a:graphicFrameLocks noGrp="1"/>
          </p:cNvGraphicFramePr>
          <p:nvPr/>
        </p:nvGraphicFramePr>
        <p:xfrm>
          <a:off x="10419187" y="4416091"/>
          <a:ext cx="1505744" cy="365760"/>
        </p:xfrm>
        <a:graphic>
          <a:graphicData uri="http://schemas.openxmlformats.org/drawingml/2006/table">
            <a:tbl>
              <a:tblPr firstRow="1" bandRow="1"/>
              <a:tblGrid>
                <a:gridCol w="1505744">
                  <a:extLst>
                    <a:ext uri="{9D8B030D-6E8A-4147-A177-3AD203B41FA5}">
                      <a16:colId xmlns:a16="http://schemas.microsoft.com/office/drawing/2014/main" val="20000"/>
                    </a:ext>
                  </a:extLst>
                </a:gridCol>
              </a:tblGrid>
              <a:tr h="324896">
                <a:tc>
                  <a:txBody>
                    <a:bodyPr/>
                    <a:lstStyle>
                      <a:lvl1pPr marL="0" algn="l" defTabSz="914400" rtl="0" eaLnBrk="1" latinLnBrk="0" hangingPunct="1">
                        <a:defRPr sz="1800" b="1" kern="1200">
                          <a:solidFill>
                            <a:schemeClr val="tx1"/>
                          </a:solidFill>
                          <a:latin typeface="Gotham Book"/>
                        </a:defRPr>
                      </a:lvl1pPr>
                      <a:lvl2pPr marL="457200" algn="l" defTabSz="914400" rtl="0" eaLnBrk="1" latinLnBrk="0" hangingPunct="1">
                        <a:defRPr sz="1800" b="1" kern="1200">
                          <a:solidFill>
                            <a:schemeClr val="tx1"/>
                          </a:solidFill>
                          <a:latin typeface="Gotham Book"/>
                        </a:defRPr>
                      </a:lvl2pPr>
                      <a:lvl3pPr marL="914400" algn="l" defTabSz="914400" rtl="0" eaLnBrk="1" latinLnBrk="0" hangingPunct="1">
                        <a:defRPr sz="1800" b="1" kern="1200">
                          <a:solidFill>
                            <a:schemeClr val="tx1"/>
                          </a:solidFill>
                          <a:latin typeface="Gotham Book"/>
                        </a:defRPr>
                      </a:lvl3pPr>
                      <a:lvl4pPr marL="1371600" algn="l" defTabSz="914400" rtl="0" eaLnBrk="1" latinLnBrk="0" hangingPunct="1">
                        <a:defRPr sz="1800" b="1" kern="1200">
                          <a:solidFill>
                            <a:schemeClr val="tx1"/>
                          </a:solidFill>
                          <a:latin typeface="Gotham Book"/>
                        </a:defRPr>
                      </a:lvl4pPr>
                      <a:lvl5pPr marL="1828800" algn="l" defTabSz="914400" rtl="0" eaLnBrk="1" latinLnBrk="0" hangingPunct="1">
                        <a:defRPr sz="1800" b="1" kern="1200">
                          <a:solidFill>
                            <a:schemeClr val="tx1"/>
                          </a:solidFill>
                          <a:latin typeface="Gotham Book"/>
                        </a:defRPr>
                      </a:lvl5pPr>
                      <a:lvl6pPr marL="2286000" algn="l" defTabSz="914400" rtl="0" eaLnBrk="1" latinLnBrk="0" hangingPunct="1">
                        <a:defRPr sz="1800" b="1" kern="1200">
                          <a:solidFill>
                            <a:schemeClr val="tx1"/>
                          </a:solidFill>
                          <a:latin typeface="Gotham Book"/>
                        </a:defRPr>
                      </a:lvl6pPr>
                      <a:lvl7pPr marL="2743200" algn="l" defTabSz="914400" rtl="0" eaLnBrk="1" latinLnBrk="0" hangingPunct="1">
                        <a:defRPr sz="1800" b="1" kern="1200">
                          <a:solidFill>
                            <a:schemeClr val="tx1"/>
                          </a:solidFill>
                          <a:latin typeface="Gotham Book"/>
                        </a:defRPr>
                      </a:lvl7pPr>
                      <a:lvl8pPr marL="3200400" algn="l" defTabSz="914400" rtl="0" eaLnBrk="1" latinLnBrk="0" hangingPunct="1">
                        <a:defRPr sz="1800" b="1" kern="1200">
                          <a:solidFill>
                            <a:schemeClr val="tx1"/>
                          </a:solidFill>
                          <a:latin typeface="Gotham Book"/>
                        </a:defRPr>
                      </a:lvl8pPr>
                      <a:lvl9pPr marL="3657600" algn="l" defTabSz="914400" rtl="0" eaLnBrk="1" latinLnBrk="0" hangingPunct="1">
                        <a:defRPr sz="1800" b="1" kern="1200">
                          <a:solidFill>
                            <a:schemeClr val="tx1"/>
                          </a:solidFill>
                          <a:latin typeface="Gotham Book"/>
                        </a:defRPr>
                      </a:lvl9pPr>
                    </a:lstStyle>
                    <a:p>
                      <a:pPr algn="ctr"/>
                      <a:r>
                        <a:rPr lang="en-US" sz="900" dirty="0">
                          <a:latin typeface="GothamBook" pitchFamily="50" charset="0"/>
                          <a:cs typeface="Gotham Book" charset="0"/>
                        </a:rPr>
                        <a:t>2020</a:t>
                      </a:r>
                      <a:r>
                        <a:rPr lang="zh-CN" altLang="en-US" sz="900" dirty="0">
                          <a:latin typeface="GothamBook" pitchFamily="50" charset="0"/>
                          <a:cs typeface="Gotham Book" charset="0"/>
                        </a:rPr>
                        <a:t>年</a:t>
                      </a:r>
                      <a:r>
                        <a:rPr lang="en-US" altLang="zh-CN" sz="900" dirty="0">
                          <a:latin typeface="GothamBook" pitchFamily="50" charset="0"/>
                          <a:cs typeface="Gotham Book" charset="0"/>
                        </a:rPr>
                        <a:t>7</a:t>
                      </a:r>
                      <a:r>
                        <a:rPr lang="zh-CN" altLang="en-US" sz="900" dirty="0">
                          <a:latin typeface="GothamBook" pitchFamily="50" charset="0"/>
                          <a:cs typeface="Gotham Book" charset="0"/>
                        </a:rPr>
                        <a:t>月</a:t>
                      </a:r>
                      <a:r>
                        <a:rPr lang="en-US" altLang="zh-CN" sz="900" dirty="0">
                          <a:latin typeface="GothamBook" pitchFamily="50" charset="0"/>
                          <a:cs typeface="Gotham Book" charset="0"/>
                        </a:rPr>
                        <a:t>14</a:t>
                      </a:r>
                      <a:r>
                        <a:rPr lang="zh-CN" altLang="en-US" sz="900" dirty="0">
                          <a:latin typeface="GothamBook" pitchFamily="50" charset="0"/>
                          <a:cs typeface="Gotham Book" charset="0"/>
                        </a:rPr>
                        <a:t>日</a:t>
                      </a:r>
                      <a:endParaRPr lang="en-US" sz="900" dirty="0">
                        <a:latin typeface="GothamBook" pitchFamily="50" charset="0"/>
                        <a:cs typeface="Gotham Book" charset="0"/>
                      </a:endParaRPr>
                    </a:p>
                    <a:p>
                      <a:pPr algn="ctr"/>
                      <a:r>
                        <a:rPr lang="en-US" sz="900" dirty="0">
                          <a:latin typeface="GothamBook" pitchFamily="50" charset="0"/>
                          <a:cs typeface="Gotham Book" charset="0"/>
                        </a:rPr>
                        <a:t>(2020</a:t>
                      </a:r>
                      <a:r>
                        <a:rPr lang="zh-CN" altLang="en-US" sz="900" dirty="0">
                          <a:latin typeface="GothamBook" pitchFamily="50" charset="0"/>
                          <a:cs typeface="Gotham Book" charset="0"/>
                        </a:rPr>
                        <a:t>年</a:t>
                      </a:r>
                      <a:r>
                        <a:rPr lang="en-US" altLang="zh-CN" sz="900" dirty="0">
                          <a:latin typeface="GothamBook" pitchFamily="50" charset="0"/>
                          <a:cs typeface="Gotham Book" charset="0"/>
                        </a:rPr>
                        <a:t>10</a:t>
                      </a:r>
                      <a:r>
                        <a:rPr lang="zh-CN" altLang="en-US" sz="900" dirty="0">
                          <a:latin typeface="GothamBook" pitchFamily="50" charset="0"/>
                          <a:cs typeface="Gotham Book" charset="0"/>
                        </a:rPr>
                        <a:t>月</a:t>
                      </a:r>
                      <a:r>
                        <a:rPr lang="en-US" altLang="zh-CN" sz="900" dirty="0">
                          <a:latin typeface="GothamBook" pitchFamily="50" charset="0"/>
                          <a:cs typeface="Gotham Book" charset="0"/>
                        </a:rPr>
                        <a:t>21</a:t>
                      </a:r>
                      <a:r>
                        <a:rPr lang="zh-CN" altLang="en-US" sz="900" dirty="0">
                          <a:latin typeface="GothamBook" pitchFamily="50" charset="0"/>
                          <a:cs typeface="Gotham Book" charset="0"/>
                        </a:rPr>
                        <a:t>日</a:t>
                      </a:r>
                      <a:r>
                        <a:rPr lang="en-US" sz="900" dirty="0">
                          <a:latin typeface="GothamBook" pitchFamily="50" charset="0"/>
                          <a:cs typeface="Gotham Book" charset="0"/>
                        </a:rPr>
                        <a:t>)</a:t>
                      </a:r>
                    </a:p>
                  </a:txBody>
                  <a:tcPr>
                    <a:lnL>
                      <a:noFill/>
                    </a:lnL>
                    <a:lnR>
                      <a:noFill/>
                    </a:lnR>
                    <a:lnT w="12700" cmpd="sng">
                      <a:solidFill>
                        <a:srgbClr val="CEDFEC"/>
                      </a:solidFill>
                    </a:lnT>
                    <a:lnB w="12700" cmpd="sng">
                      <a:solidFill>
                        <a:srgbClr val="CEDFEC"/>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sp>
        <p:nvSpPr>
          <p:cNvPr id="42" name="TextBox 41"/>
          <p:cNvSpPr txBox="1"/>
          <p:nvPr/>
        </p:nvSpPr>
        <p:spPr>
          <a:xfrm>
            <a:off x="7110181" y="4765131"/>
            <a:ext cx="1447390" cy="1102269"/>
          </a:xfrm>
          <a:prstGeom prst="rect">
            <a:avLst/>
          </a:prstGeom>
          <a:noFill/>
          <a:ln w="12700">
            <a:noFill/>
          </a:ln>
        </p:spPr>
        <p:txBody>
          <a:bodyPr wrap="square" lIns="34290" rIns="34290" rtlCol="0">
            <a:noAutofit/>
          </a:bodyPr>
          <a:lstStyle/>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en-US" sz="800" b="1" dirty="0">
                <a:solidFill>
                  <a:srgbClr val="1A315C"/>
                </a:solidFill>
                <a:latin typeface="GothamBook" pitchFamily="50" charset="0"/>
                <a:ea typeface="STKaiti" panose="02010600040101010101" charset="-122"/>
                <a:cs typeface="Gotham Book" charset="0"/>
              </a:rPr>
              <a:t>全球最大的锡生产商，拥有一体化的采矿工艺。</a:t>
            </a:r>
            <a:endParaRPr lang="en-US" sz="800" b="1" dirty="0">
              <a:solidFill>
                <a:srgbClr val="1A315C"/>
              </a:solidFill>
              <a:latin typeface="GothamBook" pitchFamily="50" charset="0"/>
              <a:ea typeface="STKaiti" panose="02010600040101010101" charset="-122"/>
              <a:cs typeface="Gotham Book" charset="0"/>
            </a:endParaRPr>
          </a:p>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en-US" sz="800" b="1" dirty="0">
                <a:solidFill>
                  <a:srgbClr val="1A315C"/>
                </a:solidFill>
                <a:latin typeface="GothamBook" pitchFamily="50" charset="0"/>
                <a:ea typeface="STKaiti" panose="02010600040101010101" charset="-122"/>
              </a:rPr>
              <a:t>印尼最大的锡储量</a:t>
            </a:r>
            <a:endParaRPr kumimoji="0" lang="en-US" sz="800" b="0" i="0" u="none" strike="noStrike" kern="1200" cap="none" spc="0" normalizeH="0" baseline="0" noProof="0" dirty="0">
              <a:ln>
                <a:noFill/>
              </a:ln>
              <a:solidFill>
                <a:srgbClr val="595959"/>
              </a:solidFill>
              <a:effectLst/>
              <a:uLnTx/>
              <a:uFillTx/>
              <a:latin typeface="GothamBook" pitchFamily="50" charset="0"/>
              <a:ea typeface="STKaiti" panose="02010600040101010101" charset="-122"/>
              <a:cs typeface="+mn-cs"/>
            </a:endParaRPr>
          </a:p>
        </p:txBody>
      </p:sp>
      <p:sp>
        <p:nvSpPr>
          <p:cNvPr id="43" name="TextBox 42"/>
          <p:cNvSpPr txBox="1"/>
          <p:nvPr/>
        </p:nvSpPr>
        <p:spPr>
          <a:xfrm>
            <a:off x="3776345" y="4778375"/>
            <a:ext cx="1598295" cy="1089025"/>
          </a:xfrm>
          <a:prstGeom prst="rect">
            <a:avLst/>
          </a:prstGeom>
          <a:noFill/>
          <a:ln w="12700">
            <a:noFill/>
          </a:ln>
        </p:spPr>
        <p:txBody>
          <a:bodyPr wrap="square" lIns="34290" rIns="34290" rtlCol="0">
            <a:noAutofit/>
          </a:bodyPr>
          <a:lstStyle/>
          <a:p>
            <a:pPr marL="68580" lvl="0" indent="-68580" fontAlgn="base">
              <a:lnSpc>
                <a:spcPct val="150000"/>
              </a:lnSpc>
              <a:spcBef>
                <a:spcPts val="450"/>
              </a:spcBef>
              <a:spcAft>
                <a:spcPct val="0"/>
              </a:spcAft>
              <a:buClr>
                <a:srgbClr val="595959"/>
              </a:buClr>
              <a:buFont typeface="Arial" panose="020B0604020202090204" pitchFamily="34" charset="0"/>
              <a:buChar char="•"/>
              <a:defRPr/>
            </a:pPr>
            <a:r>
              <a:rPr lang="zh-CN" altLang="en-US" sz="800" b="1" dirty="0">
                <a:solidFill>
                  <a:srgbClr val="1A315C"/>
                </a:solidFill>
                <a:latin typeface="GothamBook" pitchFamily="50" charset="0"/>
                <a:ea typeface="STKaiti" panose="02010600040101010101" charset="-122"/>
              </a:rPr>
              <a:t>在全球</a:t>
            </a:r>
            <a:r>
              <a:rPr lang="zh-CN" altLang="en-US" sz="800" dirty="0">
                <a:solidFill>
                  <a:srgbClr val="595959"/>
                </a:solidFill>
                <a:latin typeface="GothamBook" pitchFamily="50" charset="0"/>
                <a:ea typeface="STKaiti" panose="02010600040101010101" charset="-122"/>
              </a:rPr>
              <a:t>经营着世界级的格拉斯伯格矿——</a:t>
            </a:r>
            <a:r>
              <a:rPr lang="zh-CN" altLang="en-US" sz="800" b="1" dirty="0">
                <a:solidFill>
                  <a:srgbClr val="1A315C"/>
                </a:solidFill>
                <a:latin typeface="GothamBook" pitchFamily="50" charset="0"/>
                <a:ea typeface="STKaiti" panose="02010600040101010101" charset="-122"/>
              </a:rPr>
              <a:t>世界一大金矿和第二大铜矿</a:t>
            </a:r>
            <a:endParaRPr kumimoji="0" lang="en-US" sz="800" b="1" i="0" u="none" strike="noStrike" kern="1200" cap="none" spc="0" normalizeH="0" baseline="0" noProof="0" dirty="0">
              <a:ln>
                <a:noFill/>
              </a:ln>
              <a:solidFill>
                <a:srgbClr val="1A315C"/>
              </a:solidFill>
              <a:effectLst/>
              <a:uLnTx/>
              <a:uFillTx/>
              <a:latin typeface="GothamBook" pitchFamily="50" charset="0"/>
              <a:ea typeface="STKaiti" panose="02010600040101010101" charset="-122"/>
              <a:cs typeface="+mn-cs"/>
            </a:endParaRPr>
          </a:p>
          <a:p>
            <a:pPr marL="68580" marR="0" lvl="0" indent="-68580" algn="l" defTabSz="914400" rtl="0" eaLnBrk="1" fontAlgn="base" latinLnBrk="0" hangingPunct="1">
              <a:lnSpc>
                <a:spcPct val="150000"/>
              </a:lnSpc>
              <a:spcBef>
                <a:spcPts val="450"/>
              </a:spcBef>
              <a:spcAft>
                <a:spcPct val="0"/>
              </a:spcAft>
              <a:buClr>
                <a:srgbClr val="595959"/>
              </a:buClr>
              <a:buSzTx/>
              <a:buFont typeface="Arial" panose="020B0604020202090204" pitchFamily="34" charset="0"/>
              <a:buChar char="•"/>
              <a:defRPr/>
            </a:pPr>
            <a:r>
              <a:rPr kumimoji="0" lang="zh-CN" altLang="en-US" sz="800" b="0" i="0" u="none" strike="noStrike" kern="1200" cap="none" spc="0" normalizeH="0" baseline="0" noProof="0" dirty="0">
                <a:ln>
                  <a:noFill/>
                </a:ln>
                <a:solidFill>
                  <a:srgbClr val="595959"/>
                </a:solidFill>
                <a:effectLst/>
                <a:uLnTx/>
                <a:uFillTx/>
                <a:latin typeface="GothamBook" pitchFamily="50" charset="0"/>
                <a:ea typeface="STKaiti" panose="02010600040101010101" charset="-122"/>
                <a:cs typeface="+mn-cs"/>
              </a:rPr>
              <a:t>拥有</a:t>
            </a:r>
            <a:r>
              <a:rPr lang="en-US" altLang="zh-CN" sz="800" b="1" dirty="0">
                <a:solidFill>
                  <a:srgbClr val="1A315C"/>
                </a:solidFill>
                <a:latin typeface="GothamBook" pitchFamily="50" charset="0"/>
                <a:ea typeface="STKaiti" panose="02010600040101010101" charset="-122"/>
              </a:rPr>
              <a:t>1,900</a:t>
            </a:r>
            <a:r>
              <a:rPr lang="zh-CN" altLang="en-US" sz="800" b="1" dirty="0">
                <a:solidFill>
                  <a:srgbClr val="1A315C"/>
                </a:solidFill>
                <a:latin typeface="GothamBook" pitchFamily="50" charset="0"/>
                <a:ea typeface="STKaiti" panose="02010600040101010101" charset="-122"/>
              </a:rPr>
              <a:t>万吨</a:t>
            </a:r>
            <a:r>
              <a:rPr lang="zh-CN" altLang="en-US" sz="800" dirty="0">
                <a:solidFill>
                  <a:srgbClr val="595959"/>
                </a:solidFill>
                <a:latin typeface="GothamBook" pitchFamily="50" charset="0"/>
                <a:ea typeface="STKaiti" panose="02010600040101010101" charset="-122"/>
              </a:rPr>
              <a:t>铜和</a:t>
            </a:r>
            <a:r>
              <a:rPr lang="en-US" altLang="zh-CN" sz="800" b="1" dirty="0">
                <a:solidFill>
                  <a:srgbClr val="1A315C"/>
                </a:solidFill>
                <a:latin typeface="GothamBook" pitchFamily="50" charset="0"/>
                <a:ea typeface="STKaiti" panose="02010600040101010101" charset="-122"/>
              </a:rPr>
              <a:t>4,600</a:t>
            </a:r>
            <a:r>
              <a:rPr lang="zh-CN" altLang="en-US" sz="800" b="1" dirty="0">
                <a:solidFill>
                  <a:srgbClr val="1A315C"/>
                </a:solidFill>
                <a:latin typeface="GothamBook" pitchFamily="50" charset="0"/>
                <a:ea typeface="STKaiti" panose="02010600040101010101" charset="-122"/>
              </a:rPr>
              <a:t>万盎司</a:t>
            </a:r>
            <a:r>
              <a:rPr lang="zh-CN" altLang="en-US" sz="800" dirty="0">
                <a:solidFill>
                  <a:srgbClr val="595959"/>
                </a:solidFill>
                <a:latin typeface="GothamBook" pitchFamily="50" charset="0"/>
                <a:ea typeface="STKaiti" panose="02010600040101010101" charset="-122"/>
              </a:rPr>
              <a:t>金的巨大储量</a:t>
            </a:r>
            <a:endParaRPr kumimoji="0" lang="en-US" sz="800" b="0" i="0" u="none" strike="noStrike" kern="1200" cap="none" spc="0" normalizeH="0" baseline="0" noProof="0" dirty="0">
              <a:ln>
                <a:noFill/>
              </a:ln>
              <a:solidFill>
                <a:srgbClr val="595959"/>
              </a:solidFill>
              <a:effectLst/>
              <a:uLnTx/>
              <a:uFillTx/>
              <a:latin typeface="GothamBook" pitchFamily="50" charset="0"/>
              <a:ea typeface="STKaiti" panose="02010600040101010101" charset="-122"/>
              <a:cs typeface="+mn-cs"/>
            </a:endParaRPr>
          </a:p>
        </p:txBody>
      </p:sp>
      <p:sp>
        <p:nvSpPr>
          <p:cNvPr id="44" name="TextBox 43"/>
          <p:cNvSpPr txBox="1"/>
          <p:nvPr/>
        </p:nvSpPr>
        <p:spPr>
          <a:xfrm>
            <a:off x="2036611" y="4768027"/>
            <a:ext cx="1464685" cy="946973"/>
          </a:xfrm>
          <a:prstGeom prst="rect">
            <a:avLst/>
          </a:prstGeom>
          <a:noFill/>
          <a:ln w="12700">
            <a:noFill/>
          </a:ln>
        </p:spPr>
        <p:txBody>
          <a:bodyPr wrap="square" lIns="34290" rIns="34290" rtlCol="0">
            <a:noAutofit/>
          </a:bodyPr>
          <a:lstStyle/>
          <a:p>
            <a:pPr marL="128905" lvl="0" indent="-128905" fontAlgn="base">
              <a:lnSpc>
                <a:spcPct val="150000"/>
              </a:lnSpc>
              <a:spcBef>
                <a:spcPts val="450"/>
              </a:spcBef>
              <a:spcAft>
                <a:spcPct val="0"/>
              </a:spcAft>
              <a:buClr>
                <a:srgbClr val="1A315C"/>
              </a:buClr>
              <a:buFont typeface="Arial" panose="020B0604020202090204" pitchFamily="34" charset="0"/>
              <a:buChar char="•"/>
              <a:defRPr/>
            </a:pPr>
            <a:r>
              <a:rPr lang="zh-CN" altLang="en-US" sz="800" dirty="0">
                <a:solidFill>
                  <a:srgbClr val="595959"/>
                </a:solidFill>
                <a:latin typeface="GothamBook" pitchFamily="50" charset="0"/>
                <a:ea typeface="STKaiti" panose="02010600040101010101" charset="-122"/>
                <a:cs typeface="Gotham Book" charset="0"/>
              </a:rPr>
              <a:t>第五大动力煤生产商，拥有最大的储量</a:t>
            </a:r>
            <a:r>
              <a:rPr lang="zh-CN" altLang="en-US" sz="800" b="1" dirty="0">
                <a:solidFill>
                  <a:srgbClr val="1A315C"/>
                </a:solidFill>
                <a:latin typeface="GothamBook" pitchFamily="50" charset="0"/>
                <a:ea typeface="STKaiti" panose="02010600040101010101" charset="-122"/>
                <a:cs typeface="Gotham Book" charset="0"/>
              </a:rPr>
              <a:t>（</a:t>
            </a:r>
            <a:r>
              <a:rPr lang="en-US" sz="800" b="1" dirty="0">
                <a:solidFill>
                  <a:srgbClr val="1A315C"/>
                </a:solidFill>
                <a:latin typeface="GothamBook" pitchFamily="50" charset="0"/>
                <a:ea typeface="STKaiti" panose="02010600040101010101" charset="-122"/>
                <a:cs typeface="Gotham Book" charset="0"/>
              </a:rPr>
              <a:t>31</a:t>
            </a:r>
            <a:r>
              <a:rPr lang="zh-CN" altLang="en-US" sz="800" b="1" dirty="0">
                <a:solidFill>
                  <a:srgbClr val="1A315C"/>
                </a:solidFill>
                <a:latin typeface="GothamBook" pitchFamily="50" charset="0"/>
                <a:ea typeface="STKaiti" panose="02010600040101010101" charset="-122"/>
                <a:cs typeface="Gotham Book" charset="0"/>
              </a:rPr>
              <a:t>亿吨）</a:t>
            </a:r>
            <a:endParaRPr lang="en-US" sz="800" dirty="0">
              <a:solidFill>
                <a:srgbClr val="595959"/>
              </a:solidFill>
              <a:latin typeface="GothamBook" pitchFamily="50" charset="0"/>
              <a:ea typeface="STKaiti" panose="02010600040101010101" charset="-122"/>
              <a:cs typeface="Gotham Book" charset="0"/>
            </a:endParaRPr>
          </a:p>
          <a:p>
            <a:pPr marL="128905" lvl="0" indent="-128905" fontAlgn="base">
              <a:lnSpc>
                <a:spcPct val="150000"/>
              </a:lnSpc>
              <a:spcBef>
                <a:spcPts val="450"/>
              </a:spcBef>
              <a:spcAft>
                <a:spcPct val="0"/>
              </a:spcAft>
              <a:buClr>
                <a:srgbClr val="1A315C"/>
              </a:buClr>
              <a:buFont typeface="Arial" panose="020B0604020202090204" pitchFamily="34" charset="0"/>
              <a:buChar char="•"/>
              <a:defRPr/>
            </a:pPr>
            <a:r>
              <a:rPr lang="zh-CN" altLang="en-US" sz="800" dirty="0">
                <a:solidFill>
                  <a:srgbClr val="595959"/>
                </a:solidFill>
                <a:latin typeface="GothamBook" pitchFamily="50" charset="0"/>
                <a:ea typeface="STKaiti" panose="02010600040101010101" charset="-122"/>
                <a:cs typeface="Gotham Book" charset="0"/>
              </a:rPr>
              <a:t>矿山到电厂一体化运营</a:t>
            </a:r>
            <a:endParaRPr kumimoji="0" lang="en-US" sz="800" b="0" i="0" u="none" strike="noStrike" kern="1200" cap="none" spc="0" normalizeH="0" baseline="0" noProof="0" dirty="0">
              <a:ln>
                <a:noFill/>
              </a:ln>
              <a:solidFill>
                <a:srgbClr val="595959"/>
              </a:solidFill>
              <a:effectLst/>
              <a:uLnTx/>
              <a:uFillTx/>
              <a:latin typeface="GothamBook" pitchFamily="50" charset="0"/>
              <a:ea typeface="STKaiti" panose="02010600040101010101" charset="-122"/>
              <a:cs typeface="Gotham Book" charset="0"/>
            </a:endParaRPr>
          </a:p>
        </p:txBody>
      </p:sp>
      <p:sp>
        <p:nvSpPr>
          <p:cNvPr id="45" name="TextBox 44"/>
          <p:cNvSpPr txBox="1"/>
          <p:nvPr/>
        </p:nvSpPr>
        <p:spPr>
          <a:xfrm>
            <a:off x="334645" y="4768215"/>
            <a:ext cx="1598295" cy="778510"/>
          </a:xfrm>
          <a:prstGeom prst="rect">
            <a:avLst/>
          </a:prstGeom>
          <a:noFill/>
          <a:ln w="12700">
            <a:noFill/>
          </a:ln>
        </p:spPr>
        <p:txBody>
          <a:bodyPr wrap="square" lIns="34290" rIns="34290" rtlCol="0">
            <a:noAutofit/>
          </a:bodyPr>
          <a:lstStyle/>
          <a:p>
            <a:pPr marL="68580" lvl="0" indent="-68580" algn="l" fontAlgn="base">
              <a:lnSpc>
                <a:spcPct val="150000"/>
              </a:lnSpc>
              <a:spcBef>
                <a:spcPts val="450"/>
              </a:spcBef>
              <a:buClr>
                <a:srgbClr val="1A315C"/>
              </a:buClr>
              <a:buSzTx/>
              <a:buFont typeface="Arial" panose="020B0604020202090204" pitchFamily="34" charset="0"/>
              <a:buChar char="•"/>
              <a:defRPr/>
            </a:pPr>
            <a:r>
              <a:rPr lang="en-US" sz="800" b="1" noProof="0" dirty="0">
                <a:ln>
                  <a:noFill/>
                </a:ln>
                <a:solidFill>
                  <a:srgbClr val="1A315C"/>
                </a:solidFill>
                <a:effectLst/>
                <a:uLnTx/>
                <a:uFillTx/>
                <a:latin typeface="GothamBook" pitchFamily="50" charset="0"/>
                <a:ea typeface="STKaiti" panose="02010600040101010101" charset="-122"/>
                <a:cs typeface="Gotham Book" charset="0"/>
              </a:rPr>
              <a:t>世界第四大镍矿生产商</a:t>
            </a:r>
            <a:endParaRPr kumimoji="0" lang="en-US" sz="800" b="1" i="0" u="none" strike="noStrike" kern="1200" cap="none" spc="0" normalizeH="0" baseline="0" noProof="0" dirty="0">
              <a:ln>
                <a:noFill/>
              </a:ln>
              <a:solidFill>
                <a:srgbClr val="1A315C"/>
              </a:solidFill>
              <a:effectLst/>
              <a:uLnTx/>
              <a:uFillTx/>
              <a:latin typeface="GothamBook" pitchFamily="50" charset="0"/>
              <a:ea typeface="STKaiti" panose="02010600040101010101" charset="-122"/>
              <a:cs typeface="Gotham Book" charset="0"/>
            </a:endParaRPr>
          </a:p>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en-US" sz="800" dirty="0">
                <a:solidFill>
                  <a:srgbClr val="595959"/>
                </a:solidFill>
                <a:latin typeface="GothamBook" pitchFamily="50" charset="0"/>
                <a:ea typeface="STKaiti" panose="02010600040101010101" charset="-122"/>
                <a:cs typeface="Gotham Book" charset="0"/>
              </a:rPr>
              <a:t>东南亚地区</a:t>
            </a:r>
            <a:r>
              <a:rPr lang="zh-CN" altLang="en-US" sz="800" b="1" dirty="0">
                <a:solidFill>
                  <a:srgbClr val="1A315C"/>
                </a:solidFill>
                <a:latin typeface="GothamBook" pitchFamily="50" charset="0"/>
                <a:ea typeface="STKaiti" panose="02010600040101010101" charset="-122"/>
                <a:cs typeface="Gotham Book" charset="0"/>
              </a:rPr>
              <a:t>第三大镍铁生产商</a:t>
            </a:r>
            <a:endParaRPr lang="en-US" sz="800" b="1" dirty="0">
              <a:solidFill>
                <a:srgbClr val="1A315C"/>
              </a:solidFill>
              <a:latin typeface="GothamBook" pitchFamily="50" charset="0"/>
              <a:ea typeface="STKaiti" panose="02010600040101010101" charset="-122"/>
              <a:cs typeface="Gotham Book" charset="0"/>
            </a:endParaRPr>
          </a:p>
        </p:txBody>
      </p:sp>
      <p:sp>
        <p:nvSpPr>
          <p:cNvPr id="46" name="TextBox 45"/>
          <p:cNvSpPr txBox="1"/>
          <p:nvPr/>
        </p:nvSpPr>
        <p:spPr>
          <a:xfrm>
            <a:off x="5396493" y="4754281"/>
            <a:ext cx="1714176" cy="1113119"/>
          </a:xfrm>
          <a:prstGeom prst="rect">
            <a:avLst/>
          </a:prstGeom>
          <a:noFill/>
          <a:ln w="12700">
            <a:noFill/>
          </a:ln>
        </p:spPr>
        <p:txBody>
          <a:bodyPr wrap="square" lIns="34290" rIns="34290" rtlCol="0">
            <a:noAutofit/>
          </a:bodyPr>
          <a:lstStyle/>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en-US" sz="800" b="1" dirty="0">
                <a:solidFill>
                  <a:srgbClr val="1A315C"/>
                </a:solidFill>
                <a:latin typeface="GothamBook" pitchFamily="50" charset="0"/>
                <a:ea typeface="STKaiti" panose="02010600040101010101" charset="-122"/>
              </a:rPr>
              <a:t>印尼唯一一家电解铝生产商，年产能</a:t>
            </a:r>
            <a:r>
              <a:rPr lang="en-US" altLang="zh-CN" sz="800" b="1" dirty="0">
                <a:solidFill>
                  <a:srgbClr val="1A315C"/>
                </a:solidFill>
                <a:latin typeface="GothamBook" pitchFamily="50" charset="0"/>
                <a:ea typeface="STKaiti" panose="02010600040101010101" charset="-122"/>
              </a:rPr>
              <a:t>25</a:t>
            </a:r>
            <a:r>
              <a:rPr lang="zh-CN" altLang="en-US" sz="800" b="1" dirty="0">
                <a:solidFill>
                  <a:srgbClr val="1A315C"/>
                </a:solidFill>
                <a:latin typeface="GothamBook" pitchFamily="50" charset="0"/>
                <a:ea typeface="STKaiti" panose="02010600040101010101" charset="-122"/>
              </a:rPr>
              <a:t>万吨</a:t>
            </a:r>
            <a:r>
              <a:rPr lang="zh-CN" altLang="en-US" sz="800" dirty="0">
                <a:solidFill>
                  <a:srgbClr val="595959"/>
                </a:solidFill>
                <a:latin typeface="GothamBook" pitchFamily="50" charset="0"/>
                <a:ea typeface="STKaiti" panose="02010600040101010101" charset="-122"/>
              </a:rPr>
              <a:t>。产品包括铝锭、铝坯和铝合金。</a:t>
            </a:r>
            <a:endParaRPr kumimoji="0" lang="en-US" sz="800" b="0" i="0" u="none" strike="noStrike" kern="1200" cap="none" spc="0" normalizeH="0" baseline="0" noProof="0" dirty="0">
              <a:ln>
                <a:noFill/>
              </a:ln>
              <a:solidFill>
                <a:srgbClr val="595959"/>
              </a:solidFill>
              <a:effectLst/>
              <a:uLnTx/>
              <a:uFillTx/>
              <a:latin typeface="GothamBook" pitchFamily="50" charset="0"/>
              <a:ea typeface="STKaiti" panose="02010600040101010101" charset="-122"/>
              <a:cs typeface="+mn-cs"/>
            </a:endParaRPr>
          </a:p>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zh-CN" sz="800" dirty="0">
                <a:solidFill>
                  <a:srgbClr val="595959"/>
                </a:solidFill>
                <a:latin typeface="GothamBook" pitchFamily="50" charset="0"/>
                <a:ea typeface="STKaiti" panose="02010600040101010101" charset="-122"/>
              </a:rPr>
              <a:t>拥有总装机容量为</a:t>
            </a:r>
            <a:r>
              <a:rPr lang="en-US" altLang="zh-CN" sz="800" b="1" dirty="0">
                <a:solidFill>
                  <a:srgbClr val="1A315C"/>
                </a:solidFill>
                <a:latin typeface="GothamBook" pitchFamily="50" charset="0"/>
                <a:ea typeface="STKaiti" panose="02010600040101010101" charset="-122"/>
              </a:rPr>
              <a:t>603</a:t>
            </a:r>
            <a:r>
              <a:rPr lang="zh-CN" altLang="zh-CN" sz="800" b="1" dirty="0">
                <a:solidFill>
                  <a:srgbClr val="1A315C"/>
                </a:solidFill>
                <a:latin typeface="GothamBook" pitchFamily="50" charset="0"/>
                <a:ea typeface="STKaiti" panose="02010600040101010101" charset="-122"/>
              </a:rPr>
              <a:t>兆瓦</a:t>
            </a:r>
            <a:r>
              <a:rPr lang="zh-CN" altLang="zh-CN" sz="800" dirty="0">
                <a:solidFill>
                  <a:srgbClr val="595959"/>
                </a:solidFill>
                <a:latin typeface="GothamBook" pitchFamily="50" charset="0"/>
                <a:ea typeface="STKaiti" panose="02010600040101010101" charset="-122"/>
              </a:rPr>
              <a:t>的水力发电厂（</a:t>
            </a:r>
            <a:r>
              <a:rPr lang="en-US" altLang="zh-CN" sz="800" dirty="0">
                <a:solidFill>
                  <a:srgbClr val="595959"/>
                </a:solidFill>
                <a:latin typeface="GothamBook" pitchFamily="50" charset="0"/>
                <a:ea typeface="STKaiti" panose="02010600040101010101" charset="-122"/>
              </a:rPr>
              <a:t>PLTA</a:t>
            </a:r>
            <a:r>
              <a:rPr lang="zh-CN" altLang="zh-CN" sz="800" dirty="0">
                <a:solidFill>
                  <a:srgbClr val="595959"/>
                </a:solidFill>
                <a:latin typeface="GothamBook" pitchFamily="50" charset="0"/>
                <a:ea typeface="STKaiti" panose="02010600040101010101" charset="-122"/>
              </a:rPr>
              <a:t>）</a:t>
            </a:r>
            <a:endParaRPr lang="en-US" sz="800" dirty="0">
              <a:solidFill>
                <a:srgbClr val="595959"/>
              </a:solidFill>
              <a:latin typeface="GothamBook" pitchFamily="50" charset="0"/>
              <a:ea typeface="STKaiti" panose="02010600040101010101" charset="-122"/>
            </a:endParaRPr>
          </a:p>
        </p:txBody>
      </p:sp>
      <p:sp>
        <p:nvSpPr>
          <p:cNvPr id="47" name="TextBox 46"/>
          <p:cNvSpPr txBox="1"/>
          <p:nvPr/>
        </p:nvSpPr>
        <p:spPr>
          <a:xfrm>
            <a:off x="8805166" y="4765131"/>
            <a:ext cx="1444014" cy="1102269"/>
          </a:xfrm>
          <a:prstGeom prst="rect">
            <a:avLst/>
          </a:prstGeom>
          <a:noFill/>
          <a:ln w="12700">
            <a:noFill/>
          </a:ln>
        </p:spPr>
        <p:txBody>
          <a:bodyPr wrap="square" lIns="34290" rIns="34290" rtlCol="0">
            <a:noAutofit/>
          </a:bodyPr>
          <a:lstStyle/>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en-US" sz="800" dirty="0">
                <a:solidFill>
                  <a:srgbClr val="595959"/>
                </a:solidFill>
                <a:latin typeface="GothamBook" pitchFamily="50" charset="0"/>
                <a:ea typeface="STKaiti" panose="02010600040101010101" charset="-122"/>
              </a:rPr>
              <a:t>与</a:t>
            </a:r>
            <a:r>
              <a:rPr lang="en-US" altLang="zh-CN" sz="800" dirty="0">
                <a:solidFill>
                  <a:srgbClr val="595959"/>
                </a:solidFill>
                <a:latin typeface="GothamBook" pitchFamily="50" charset="0"/>
                <a:ea typeface="STKaiti" panose="02010600040101010101" charset="-122"/>
              </a:rPr>
              <a:t>ANTAM</a:t>
            </a:r>
            <a:r>
              <a:rPr lang="zh-CN" altLang="en-US" sz="800" dirty="0">
                <a:solidFill>
                  <a:srgbClr val="595959"/>
                </a:solidFill>
                <a:latin typeface="GothamBook" pitchFamily="50" charset="0"/>
                <a:ea typeface="STKaiti" panose="02010600040101010101" charset="-122"/>
              </a:rPr>
              <a:t>一起</a:t>
            </a:r>
            <a:r>
              <a:rPr lang="zh-CN" altLang="en-US" sz="800" b="1" dirty="0">
                <a:solidFill>
                  <a:srgbClr val="595959"/>
                </a:solidFill>
                <a:latin typeface="GothamBook" pitchFamily="50" charset="0"/>
                <a:ea typeface="STKaiti" panose="02010600040101010101" charset="-122"/>
              </a:rPr>
              <a:t>成为印度尼西亚第二大镍生产商。</a:t>
            </a:r>
            <a:endParaRPr kumimoji="0" lang="en-US" sz="800" b="1" i="0" u="none" strike="noStrike" kern="1200" cap="none" spc="0" normalizeH="0" baseline="0" noProof="0" dirty="0">
              <a:ln>
                <a:noFill/>
              </a:ln>
              <a:solidFill>
                <a:srgbClr val="595959"/>
              </a:solidFill>
              <a:effectLst/>
              <a:uLnTx/>
              <a:uFillTx/>
              <a:latin typeface="GothamBook" pitchFamily="50" charset="0"/>
              <a:ea typeface="STKaiti" panose="02010600040101010101" charset="-122"/>
              <a:cs typeface="+mn-cs"/>
            </a:endParaRPr>
          </a:p>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en-US" sz="800" dirty="0">
                <a:solidFill>
                  <a:srgbClr val="595959"/>
                </a:solidFill>
                <a:latin typeface="GothamBook" pitchFamily="50" charset="0"/>
                <a:ea typeface="STKaiti" panose="02010600040101010101" charset="-122"/>
              </a:rPr>
              <a:t>冰镍产量为</a:t>
            </a:r>
            <a:r>
              <a:rPr lang="en-US" altLang="zh-CN" sz="800" b="1" dirty="0">
                <a:solidFill>
                  <a:srgbClr val="1A315C"/>
                </a:solidFill>
                <a:latin typeface="GothamBook" pitchFamily="50" charset="0"/>
                <a:ea typeface="STKaiti" panose="02010600040101010101" charset="-122"/>
              </a:rPr>
              <a:t>71,000</a:t>
            </a:r>
            <a:r>
              <a:rPr lang="zh-CN" altLang="en-US" sz="800" b="1" dirty="0">
                <a:solidFill>
                  <a:srgbClr val="1A315C"/>
                </a:solidFill>
                <a:latin typeface="GothamBook" pitchFamily="50" charset="0"/>
                <a:ea typeface="STKaiti" panose="02010600040101010101" charset="-122"/>
              </a:rPr>
              <a:t>吨</a:t>
            </a:r>
            <a:endParaRPr kumimoji="0" lang="en-US" sz="800" b="1" i="0" u="none" strike="noStrike" kern="1200" cap="none" spc="0" normalizeH="0" baseline="0" noProof="0" dirty="0">
              <a:ln>
                <a:noFill/>
              </a:ln>
              <a:solidFill>
                <a:srgbClr val="1A315C"/>
              </a:solidFill>
              <a:effectLst/>
              <a:uLnTx/>
              <a:uFillTx/>
              <a:latin typeface="GothamBook" pitchFamily="50" charset="0"/>
              <a:ea typeface="STKaiti" panose="02010600040101010101" charset="-122"/>
              <a:cs typeface="+mn-cs"/>
            </a:endParaRPr>
          </a:p>
        </p:txBody>
      </p:sp>
      <p:sp>
        <p:nvSpPr>
          <p:cNvPr id="48" name="TextBox 47"/>
          <p:cNvSpPr txBox="1"/>
          <p:nvPr/>
        </p:nvSpPr>
        <p:spPr>
          <a:xfrm>
            <a:off x="10469023" y="4798032"/>
            <a:ext cx="1505744" cy="1161717"/>
          </a:xfrm>
          <a:prstGeom prst="rect">
            <a:avLst/>
          </a:prstGeom>
          <a:noFill/>
          <a:ln w="12700">
            <a:noFill/>
          </a:ln>
        </p:spPr>
        <p:txBody>
          <a:bodyPr wrap="square" lIns="34290" rIns="34290" rtlCol="0">
            <a:noAutofit/>
          </a:bodyPr>
          <a:lstStyle/>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en-US" altLang="zh-CN" sz="800" dirty="0">
                <a:solidFill>
                  <a:srgbClr val="595959"/>
                </a:solidFill>
                <a:latin typeface="GothamBook" pitchFamily="50" charset="0"/>
                <a:ea typeface="STKaiti" panose="02010600040101010101" charset="-122"/>
              </a:rPr>
              <a:t>MIND ID</a:t>
            </a:r>
            <a:r>
              <a:rPr lang="zh-CN" altLang="zh-CN" sz="800" dirty="0">
                <a:solidFill>
                  <a:srgbClr val="595959"/>
                </a:solidFill>
                <a:latin typeface="GothamBook" pitchFamily="50" charset="0"/>
                <a:ea typeface="STKaiti" panose="02010600040101010101" charset="-122"/>
              </a:rPr>
              <a:t>贸易私人有限公司</a:t>
            </a:r>
            <a:r>
              <a:rPr lang="zh-CN" altLang="en-US" sz="800" dirty="0">
                <a:solidFill>
                  <a:srgbClr val="595959"/>
                </a:solidFill>
                <a:latin typeface="GothamBook" pitchFamily="50" charset="0"/>
                <a:ea typeface="STKaiti" panose="02010600040101010101" charset="-122"/>
              </a:rPr>
              <a:t>（</a:t>
            </a:r>
            <a:r>
              <a:rPr lang="en-US" altLang="zh-CN" sz="800" dirty="0">
                <a:solidFill>
                  <a:srgbClr val="595959"/>
                </a:solidFill>
                <a:latin typeface="GothamBook" pitchFamily="50" charset="0"/>
                <a:ea typeface="STKaiti" panose="02010600040101010101" charset="-122"/>
              </a:rPr>
              <a:t> MIND ID Trading Pte. Ltd. </a:t>
            </a:r>
            <a:r>
              <a:rPr lang="zh-CN" altLang="en-US" sz="800" dirty="0">
                <a:solidFill>
                  <a:srgbClr val="595959"/>
                </a:solidFill>
                <a:latin typeface="GothamBook" pitchFamily="50" charset="0"/>
                <a:ea typeface="STKaiti" panose="02010600040101010101" charset="-122"/>
              </a:rPr>
              <a:t>）</a:t>
            </a:r>
            <a:r>
              <a:rPr lang="zh-CN" altLang="zh-CN" sz="800" dirty="0">
                <a:solidFill>
                  <a:srgbClr val="595959"/>
                </a:solidFill>
                <a:latin typeface="GothamBook" pitchFamily="50" charset="0"/>
                <a:ea typeface="STKaiti" panose="02010600040101010101" charset="-122"/>
              </a:rPr>
              <a:t>是</a:t>
            </a:r>
            <a:r>
              <a:rPr lang="en-US" altLang="zh-CN" sz="800" b="1" dirty="0">
                <a:solidFill>
                  <a:srgbClr val="1A315C"/>
                </a:solidFill>
                <a:latin typeface="GothamBook" pitchFamily="50" charset="0"/>
                <a:ea typeface="STKaiti" panose="02010600040101010101" charset="-122"/>
              </a:rPr>
              <a:t>MIND ID的交易中心</a:t>
            </a:r>
            <a:endParaRPr lang="en-US" sz="800" dirty="0">
              <a:solidFill>
                <a:srgbClr val="595959"/>
              </a:solidFill>
              <a:latin typeface="GothamBook" pitchFamily="50" charset="0"/>
              <a:ea typeface="STKaiti" panose="02010600040101010101" charset="-122"/>
            </a:endParaRPr>
          </a:p>
          <a:p>
            <a:pPr marL="68580" lvl="0" indent="-68580" fontAlgn="base">
              <a:lnSpc>
                <a:spcPct val="150000"/>
              </a:lnSpc>
              <a:spcBef>
                <a:spcPts val="450"/>
              </a:spcBef>
              <a:spcAft>
                <a:spcPct val="0"/>
              </a:spcAft>
              <a:buClr>
                <a:srgbClr val="1A315C"/>
              </a:buClr>
              <a:buFont typeface="Arial" panose="020B0604020202090204" pitchFamily="34" charset="0"/>
              <a:buChar char="•"/>
              <a:defRPr/>
            </a:pPr>
            <a:r>
              <a:rPr lang="zh-CN" altLang="en-US" sz="800" dirty="0">
                <a:solidFill>
                  <a:srgbClr val="595959"/>
                </a:solidFill>
                <a:latin typeface="GothamBook" pitchFamily="50" charset="0"/>
                <a:ea typeface="STKaiti" panose="02010600040101010101" charset="-122"/>
              </a:rPr>
              <a:t>执行单一的营销职能，集中资源和物流能力，提高运营效率。</a:t>
            </a:r>
            <a:endParaRPr kumimoji="0" lang="en-US" sz="800" b="0" i="0" u="none" strike="noStrike" kern="1200" cap="none" spc="0" normalizeH="0" baseline="0" noProof="0" dirty="0">
              <a:ln>
                <a:noFill/>
              </a:ln>
              <a:solidFill>
                <a:srgbClr val="595959"/>
              </a:solidFill>
              <a:effectLst/>
              <a:uLnTx/>
              <a:uFillTx/>
              <a:latin typeface="GothamBook" pitchFamily="50" charset="0"/>
              <a:ea typeface="STKaiti" panose="02010600040101010101" charset="-122"/>
              <a:cs typeface="+mn-cs"/>
            </a:endParaRPr>
          </a:p>
        </p:txBody>
      </p:sp>
      <p:sp>
        <p:nvSpPr>
          <p:cNvPr id="54" name="TextBox 53"/>
          <p:cNvSpPr txBox="1"/>
          <p:nvPr/>
        </p:nvSpPr>
        <p:spPr>
          <a:xfrm>
            <a:off x="338236" y="626884"/>
            <a:ext cx="11453235" cy="361637"/>
          </a:xfrm>
          <a:prstGeom prst="rect">
            <a:avLst/>
          </a:prstGeom>
          <a:noFill/>
        </p:spPr>
        <p:txBody>
          <a:bodyPr wrap="square">
            <a:spAutoFit/>
          </a:bodyPr>
          <a:lstStyle/>
          <a:p>
            <a:pPr lvl="0" algn="just">
              <a:defRPr/>
            </a:pPr>
            <a:r>
              <a:rPr lang="en-US" altLang="zh-CN" sz="1750" dirty="0">
                <a:solidFill>
                  <a:srgbClr val="15325B"/>
                </a:solidFill>
                <a:latin typeface="GothamBold" pitchFamily="50" charset="0"/>
              </a:rPr>
              <a:t>MIND ID</a:t>
            </a:r>
            <a:r>
              <a:rPr lang="zh-CN" altLang="en-US" sz="1750" dirty="0">
                <a:solidFill>
                  <a:srgbClr val="15325B"/>
                </a:solidFill>
                <a:latin typeface="GothamBold" pitchFamily="50" charset="0"/>
              </a:rPr>
              <a:t>集团致力于实现更</a:t>
            </a:r>
            <a:r>
              <a:rPr lang="zh-CN" altLang="en-US" sz="1750" dirty="0">
                <a:solidFill>
                  <a:srgbClr val="008000"/>
                </a:solidFill>
                <a:latin typeface="GothamBold" pitchFamily="50" charset="0"/>
              </a:rPr>
              <a:t>环保</a:t>
            </a:r>
            <a:r>
              <a:rPr lang="zh-CN" altLang="en-US" sz="1750" dirty="0">
                <a:solidFill>
                  <a:srgbClr val="15325B"/>
                </a:solidFill>
                <a:latin typeface="GothamBold" pitchFamily="50" charset="0"/>
              </a:rPr>
              <a:t>、更负责任、</a:t>
            </a:r>
            <a:r>
              <a:rPr lang="zh-CN" altLang="en-US" sz="1750" dirty="0">
                <a:solidFill>
                  <a:srgbClr val="C00000"/>
                </a:solidFill>
                <a:latin typeface="GothamBold" pitchFamily="50" charset="0"/>
              </a:rPr>
              <a:t>更符合可持续原则</a:t>
            </a:r>
            <a:r>
              <a:rPr lang="zh-CN" altLang="en-US" sz="1750" dirty="0">
                <a:solidFill>
                  <a:srgbClr val="15325B"/>
                </a:solidFill>
                <a:latin typeface="GothamBold" pitchFamily="50" charset="0"/>
              </a:rPr>
              <a:t>的采矿作业，并成为每一项作业活动的</a:t>
            </a:r>
            <a:r>
              <a:rPr lang="zh-CN" altLang="en-US" sz="1750" dirty="0">
                <a:solidFill>
                  <a:srgbClr val="C00000"/>
                </a:solidFill>
                <a:latin typeface="GothamBold" pitchFamily="50" charset="0"/>
              </a:rPr>
              <a:t>绿色发起者</a:t>
            </a:r>
            <a:r>
              <a:rPr lang="zh-CN" altLang="en-US" sz="1750" dirty="0">
                <a:solidFill>
                  <a:srgbClr val="15325B"/>
                </a:solidFill>
                <a:latin typeface="GothamBold" pitchFamily="50" charset="0"/>
              </a:rPr>
              <a:t>。</a:t>
            </a:r>
            <a:endParaRPr kumimoji="0" lang="en-ID" sz="1750" b="0" i="0" u="none" strike="noStrike" kern="1200" cap="none" spc="0" normalizeH="0" baseline="0" noProof="0" dirty="0">
              <a:ln>
                <a:noFill/>
              </a:ln>
              <a:solidFill>
                <a:srgbClr val="15325B"/>
              </a:solidFill>
              <a:effectLst/>
              <a:uLnTx/>
              <a:uFillTx/>
              <a:latin typeface="GothamBold" pitchFamily="50"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id-ID" sz="1100" b="0" i="0" u="none" strike="noStrike" kern="1200" cap="none" spc="0" normalizeH="0" baseline="0" noProof="0">
                <a:ln>
                  <a:noFill/>
                </a:ln>
                <a:solidFill>
                  <a:srgbClr val="000000">
                    <a:lumMod val="75000"/>
                    <a:lumOff val="25000"/>
                  </a:srgbClr>
                </a:solidFill>
                <a:effectLst/>
                <a:uLnTx/>
                <a:uFillTx/>
                <a:latin typeface="Gotham Book" charset="0"/>
              </a:rPr>
              <a:t>|          </a:t>
            </a:r>
            <a:fld id="{7904F5B5-DD6E-6442-8C14-4BFE420CE974}" type="slidenum">
              <a:rPr kumimoji="0" lang="id-ID" sz="1100" b="0" i="0" u="none" strike="noStrike" kern="1200" cap="none" spc="0" normalizeH="0" baseline="0" noProof="0" smtClean="0">
                <a:ln>
                  <a:noFill/>
                </a:ln>
                <a:solidFill>
                  <a:srgbClr val="000000">
                    <a:lumMod val="75000"/>
                    <a:lumOff val="25000"/>
                  </a:srgbClr>
                </a:solidFill>
                <a:effectLst/>
                <a:uLnTx/>
                <a:uFillTx/>
                <a:latin typeface="Gotham Book" charset="0"/>
              </a:rPr>
              <a:t>4</a:t>
            </a:fld>
            <a:endParaRPr kumimoji="0" lang="id-ID" sz="1100" b="0" i="0" u="none" strike="noStrike" kern="1200" cap="none" spc="0" normalizeH="0" baseline="0" noProof="0">
              <a:ln>
                <a:noFill/>
              </a:ln>
              <a:solidFill>
                <a:srgbClr val="000000">
                  <a:lumMod val="75000"/>
                  <a:lumOff val="25000"/>
                </a:srgbClr>
              </a:solidFill>
              <a:effectLst/>
              <a:uLnTx/>
              <a:uFillTx/>
              <a:latin typeface="Gotham Book" charset="0"/>
            </a:endParaRPr>
          </a:p>
        </p:txBody>
      </p:sp>
      <p:sp>
        <p:nvSpPr>
          <p:cNvPr id="4" name="Footer Placeholder 3"/>
          <p:cNvSpPr>
            <a:spLocks noGrp="1"/>
          </p:cNvSpPr>
          <p:nvPr>
            <p:ph type="ftr" sz="quarter" idx="11"/>
          </p:nvPr>
        </p:nvSpPr>
        <p:spPr>
          <a:xfrm>
            <a:off x="334963" y="6406601"/>
            <a:ext cx="10153525" cy="365125"/>
          </a:xfrm>
        </p:spPr>
        <p:txBody>
          <a:bodyPr/>
          <a:lstStyle/>
          <a:p>
            <a:pPr lvl="0" algn="l">
              <a:defRPr/>
            </a:pPr>
            <a:r>
              <a:rPr lang="zh-CN" altLang="zh-CN" dirty="0"/>
              <a:t>本演示文稿由</a:t>
            </a:r>
            <a:r>
              <a:rPr lang="en-US" altLang="zh-CN" dirty="0"/>
              <a:t>MIND ID</a:t>
            </a:r>
            <a:r>
              <a:rPr lang="zh-CN" altLang="zh-CN" dirty="0"/>
              <a:t>专门编制。未经</a:t>
            </a:r>
            <a:r>
              <a:rPr lang="en-US" altLang="zh-CN" dirty="0"/>
              <a:t>MIND ID</a:t>
            </a:r>
            <a:r>
              <a:rPr lang="zh-CN" altLang="zh-CN" dirty="0"/>
              <a:t>书面同意，不得以任何形式使用、复制或传输本演示文稿的内容。版权所有。</a:t>
            </a:r>
            <a:endParaRPr kumimoji="0" lang="en-US" sz="900" b="0" i="0" u="none" strike="noStrike" kern="1200" cap="none" spc="0" normalizeH="0" baseline="0" noProof="0" dirty="0">
              <a:ln>
                <a:noFill/>
              </a:ln>
              <a:solidFill>
                <a:srgbClr val="FFFFFF">
                  <a:lumMod val="50000"/>
                </a:srgbClr>
              </a:solidFill>
              <a:effectLst/>
              <a:uLnTx/>
              <a:uFillTx/>
              <a:latin typeface="Gotham Book" charset="0"/>
              <a:ea typeface="Gotham Book" charset="0"/>
              <a:cs typeface="Gotham Book" charset="0"/>
            </a:endParaRPr>
          </a:p>
        </p:txBody>
      </p:sp>
      <p:sp>
        <p:nvSpPr>
          <p:cNvPr id="5" name="Title 1"/>
          <p:cNvSpPr txBox="1"/>
          <p:nvPr/>
        </p:nvSpPr>
        <p:spPr>
          <a:xfrm>
            <a:off x="329794" y="544516"/>
            <a:ext cx="8492384" cy="576039"/>
          </a:xfrm>
          <a:prstGeom prst="rect">
            <a:avLst/>
          </a:prstGeom>
        </p:spPr>
        <p:txBody>
          <a:bodyPr vert="horz" lIns="0" tIns="0" rIns="91440" bIns="45720" rtlCol="0" anchor="ctr">
            <a:noAutofit/>
          </a:bodyPr>
          <a:lstStyle>
            <a:lvl1pPr algn="l" defTabSz="914400" rtl="0" eaLnBrk="1" latinLnBrk="0" hangingPunct="1">
              <a:lnSpc>
                <a:spcPts val="2000"/>
              </a:lnSpc>
              <a:spcBef>
                <a:spcPct val="0"/>
              </a:spcBef>
              <a:buNone/>
              <a:defRPr sz="1600" b="0" i="0" kern="1200" baseline="0">
                <a:solidFill>
                  <a:schemeClr val="accent1"/>
                </a:solidFill>
                <a:latin typeface="Gotham Medium" charset="0"/>
                <a:ea typeface="Gotham Medium" charset="0"/>
                <a:cs typeface="Gotham Medium" charset="0"/>
              </a:defRPr>
            </a:lvl1pPr>
          </a:lstStyle>
          <a:p>
            <a:pPr marL="0" marR="0" lvl="0" indent="0" algn="l" defTabSz="914400" rtl="0" eaLnBrk="1" fontAlgn="ctr" latinLnBrk="0" hangingPunct="1">
              <a:lnSpc>
                <a:spcPct val="100000"/>
              </a:lnSpc>
              <a:spcBef>
                <a:spcPts val="0"/>
              </a:spcBef>
              <a:spcAft>
                <a:spcPts val="0"/>
              </a:spcAft>
              <a:buClrTx/>
              <a:buSzTx/>
              <a:buFontTx/>
              <a:buNone/>
              <a:defRPr/>
            </a:pPr>
            <a:r>
              <a:rPr lang="zh-CN" altLang="en-US" sz="2400" b="1" dirty="0">
                <a:solidFill>
                  <a:srgbClr val="002060"/>
                </a:solidFill>
                <a:latin typeface="GothamBold" pitchFamily="50" charset="0"/>
                <a:ea typeface="+mn-ea"/>
                <a:cs typeface="Gotham Medium" charset="0"/>
              </a:rPr>
              <a:t>截至</a:t>
            </a:r>
            <a:r>
              <a:rPr lang="en-US" altLang="zh-CN" sz="2400" b="1" dirty="0">
                <a:solidFill>
                  <a:srgbClr val="002060"/>
                </a:solidFill>
                <a:latin typeface="GothamBold" pitchFamily="50" charset="0"/>
                <a:ea typeface="+mn-ea"/>
                <a:cs typeface="Gotham Medium" charset="0"/>
              </a:rPr>
              <a:t>2022</a:t>
            </a:r>
            <a:r>
              <a:rPr lang="zh-CN" altLang="en-US" sz="2400" b="1" dirty="0">
                <a:solidFill>
                  <a:srgbClr val="002060"/>
                </a:solidFill>
                <a:latin typeface="GothamBold" pitchFamily="50" charset="0"/>
                <a:ea typeface="+mn-ea"/>
                <a:cs typeface="Gotham Medium" charset="0"/>
              </a:rPr>
              <a:t>年底</a:t>
            </a:r>
            <a:r>
              <a:rPr lang="en-US" altLang="zh-CN" sz="2400" b="1" dirty="0">
                <a:solidFill>
                  <a:srgbClr val="002060"/>
                </a:solidFill>
                <a:latin typeface="GothamBold" pitchFamily="50" charset="0"/>
                <a:ea typeface="+mn-ea"/>
                <a:cs typeface="Gotham Medium" charset="0"/>
              </a:rPr>
              <a:t>MIND ID</a:t>
            </a:r>
            <a:r>
              <a:rPr lang="zh-CN" altLang="en-US" sz="2400" b="1" dirty="0">
                <a:solidFill>
                  <a:srgbClr val="002060"/>
                </a:solidFill>
                <a:latin typeface="GothamBold" pitchFamily="50" charset="0"/>
                <a:ea typeface="+mn-ea"/>
                <a:cs typeface="Gotham Medium" charset="0"/>
              </a:rPr>
              <a:t>商品分布图</a:t>
            </a:r>
            <a:endParaRPr kumimoji="0" lang="en-US" sz="2400" b="1" i="0" u="none" strike="noStrike" kern="1200" cap="none" spc="0" normalizeH="0" baseline="0" noProof="0" dirty="0">
              <a:ln>
                <a:noFill/>
              </a:ln>
              <a:solidFill>
                <a:srgbClr val="002060"/>
              </a:solidFill>
              <a:effectLst/>
              <a:uLnTx/>
              <a:uFillTx/>
              <a:latin typeface="GothamBold" pitchFamily="50" charset="0"/>
              <a:ea typeface="+mn-ea"/>
              <a:cs typeface="Gotham Medium" charset="0"/>
            </a:endParaRPr>
          </a:p>
        </p:txBody>
      </p:sp>
      <p:grpSp>
        <p:nvGrpSpPr>
          <p:cNvPr id="6" name="Group 5"/>
          <p:cNvGrpSpPr/>
          <p:nvPr/>
        </p:nvGrpSpPr>
        <p:grpSpPr>
          <a:xfrm>
            <a:off x="2514891" y="4662664"/>
            <a:ext cx="1344743" cy="1454540"/>
            <a:chOff x="1220476" y="4178536"/>
            <a:chExt cx="1344743" cy="1454540"/>
          </a:xfrm>
        </p:grpSpPr>
        <p:grpSp>
          <p:nvGrpSpPr>
            <p:cNvPr id="7" name="Group 6"/>
            <p:cNvGrpSpPr/>
            <p:nvPr/>
          </p:nvGrpSpPr>
          <p:grpSpPr>
            <a:xfrm>
              <a:off x="1220476" y="4178536"/>
              <a:ext cx="1344743" cy="1454540"/>
              <a:chOff x="1554389" y="3812019"/>
              <a:chExt cx="1597764" cy="1728220"/>
            </a:xfrm>
          </p:grpSpPr>
          <p:sp>
            <p:nvSpPr>
              <p:cNvPr id="9" name="Rectangle: Rounded Corners 8"/>
              <p:cNvSpPr/>
              <p:nvPr/>
            </p:nvSpPr>
            <p:spPr>
              <a:xfrm>
                <a:off x="1688253" y="4676439"/>
                <a:ext cx="1330036" cy="863800"/>
              </a:xfrm>
              <a:prstGeom prst="roundRect">
                <a:avLst>
                  <a:gd name="adj" fmla="val 14305"/>
                </a:avLst>
              </a:prstGeom>
              <a:solidFill>
                <a:srgbClr val="27325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0" name="Rectangle: Rounded Corners 9"/>
              <p:cNvSpPr/>
              <p:nvPr/>
            </p:nvSpPr>
            <p:spPr>
              <a:xfrm>
                <a:off x="1554389" y="5009530"/>
                <a:ext cx="1597764" cy="276999"/>
              </a:xfrm>
              <a:prstGeom prst="roundRect">
                <a:avLst>
                  <a:gd name="adj" fmla="val 50000"/>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1" name="Oval 10"/>
              <p:cNvSpPr/>
              <p:nvPr/>
            </p:nvSpPr>
            <p:spPr>
              <a:xfrm>
                <a:off x="1953221" y="4135582"/>
                <a:ext cx="800100" cy="800100"/>
              </a:xfrm>
              <a:prstGeom prst="ellipse">
                <a:avLst/>
              </a:prstGeom>
              <a:solidFill>
                <a:srgbClr val="FFFFFF"/>
              </a:solidFill>
              <a:ln w="57150"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2" name="Straight Connector 11"/>
              <p:cNvCxnSpPr/>
              <p:nvPr/>
            </p:nvCxnSpPr>
            <p:spPr>
              <a:xfrm>
                <a:off x="2353271" y="3954776"/>
                <a:ext cx="0" cy="180806"/>
              </a:xfrm>
              <a:prstGeom prst="line">
                <a:avLst/>
              </a:prstGeom>
              <a:noFill/>
              <a:ln w="28575" cap="flat" cmpd="sng" algn="ctr">
                <a:solidFill>
                  <a:srgbClr val="922F4F"/>
                </a:solidFill>
                <a:prstDash val="solid"/>
                <a:miter lim="800000"/>
              </a:ln>
              <a:effectLst/>
            </p:spPr>
          </p:cxnSp>
          <p:sp>
            <p:nvSpPr>
              <p:cNvPr id="13" name="Oval 12"/>
              <p:cNvSpPr/>
              <p:nvPr/>
            </p:nvSpPr>
            <p:spPr>
              <a:xfrm>
                <a:off x="2236691" y="3812019"/>
                <a:ext cx="233160" cy="233160"/>
              </a:xfrm>
              <a:prstGeom prst="ellipse">
                <a:avLst/>
              </a:prstGeom>
              <a:solidFill>
                <a:srgbClr val="E81C24"/>
              </a:solidFill>
              <a:ln w="28575"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4" name="object 12"/>
              <p:cNvSpPr txBox="1"/>
              <p:nvPr/>
            </p:nvSpPr>
            <p:spPr>
              <a:xfrm>
                <a:off x="1831577" y="5043349"/>
                <a:ext cx="1115082" cy="20798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defRPr/>
                </a:pPr>
                <a:r>
                  <a:rPr lang="zh-CN" altLang="en-US" sz="1050" b="1" kern="0" spc="-114" dirty="0">
                    <a:solidFill>
                      <a:prstClr val="white"/>
                    </a:solidFill>
                    <a:latin typeface="GothamBook" pitchFamily="50" charset="0"/>
                    <a:cs typeface="Arial" panose="020B0604020202090204"/>
                  </a:rPr>
                  <a:t>煤</a:t>
                </a:r>
                <a:endParaRPr kumimoji="0" sz="1050" b="1" i="0" u="none" strike="noStrike" kern="0" cap="none" spc="0" normalizeH="0" baseline="0" noProof="0" dirty="0">
                  <a:ln>
                    <a:noFill/>
                  </a:ln>
                  <a:solidFill>
                    <a:prstClr val="white"/>
                  </a:solidFill>
                  <a:effectLst/>
                  <a:uLnTx/>
                  <a:uFillTx/>
                  <a:latin typeface="GothamBook" pitchFamily="50" charset="0"/>
                  <a:ea typeface="+mn-ea"/>
                  <a:cs typeface="Arial" panose="020B0604020202090204"/>
                </a:endParaRPr>
              </a:p>
            </p:txBody>
          </p:sp>
        </p:grpSp>
        <p:sp>
          <p:nvSpPr>
            <p:cNvPr id="8" name="object 17"/>
            <p:cNvSpPr/>
            <p:nvPr/>
          </p:nvSpPr>
          <p:spPr>
            <a:xfrm>
              <a:off x="1674305" y="4647349"/>
              <a:ext cx="467093" cy="270509"/>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1400" b="0" i="0" u="none" strike="noStrike" kern="0" cap="none" spc="0" normalizeH="0" baseline="0" noProof="0">
                <a:ln>
                  <a:noFill/>
                </a:ln>
                <a:solidFill>
                  <a:prstClr val="black"/>
                </a:solidFill>
                <a:effectLst/>
                <a:uLnTx/>
                <a:uFillTx/>
                <a:latin typeface="GothamBook" pitchFamily="50" charset="0"/>
                <a:ea typeface="+mn-ea"/>
                <a:cs typeface="+mn-cs"/>
              </a:endParaRPr>
            </a:p>
          </p:txBody>
        </p:sp>
      </p:grpSp>
      <p:grpSp>
        <p:nvGrpSpPr>
          <p:cNvPr id="15" name="Group 14"/>
          <p:cNvGrpSpPr/>
          <p:nvPr/>
        </p:nvGrpSpPr>
        <p:grpSpPr>
          <a:xfrm>
            <a:off x="4038993" y="4662672"/>
            <a:ext cx="1404223" cy="1450592"/>
            <a:chOff x="3205446" y="4178537"/>
            <a:chExt cx="1537395" cy="1487946"/>
          </a:xfrm>
        </p:grpSpPr>
        <p:grpSp>
          <p:nvGrpSpPr>
            <p:cNvPr id="16" name="Group 15"/>
            <p:cNvGrpSpPr/>
            <p:nvPr/>
          </p:nvGrpSpPr>
          <p:grpSpPr>
            <a:xfrm>
              <a:off x="3205446" y="4178537"/>
              <a:ext cx="1537395" cy="1487946"/>
              <a:chOff x="4089065" y="3812019"/>
              <a:chExt cx="1826665" cy="1767911"/>
            </a:xfrm>
          </p:grpSpPr>
          <p:sp>
            <p:nvSpPr>
              <p:cNvPr id="18" name="Rectangle: Rounded Corners 17"/>
              <p:cNvSpPr/>
              <p:nvPr/>
            </p:nvSpPr>
            <p:spPr>
              <a:xfrm>
                <a:off x="4214416" y="4716128"/>
                <a:ext cx="1608698" cy="863802"/>
              </a:xfrm>
              <a:prstGeom prst="roundRect">
                <a:avLst>
                  <a:gd name="adj" fmla="val 14305"/>
                </a:avLst>
              </a:prstGeom>
              <a:solidFill>
                <a:srgbClr val="27325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9" name="Oval 18"/>
              <p:cNvSpPr/>
              <p:nvPr/>
            </p:nvSpPr>
            <p:spPr>
              <a:xfrm>
                <a:off x="4559312" y="4135582"/>
                <a:ext cx="800100" cy="800100"/>
              </a:xfrm>
              <a:prstGeom prst="ellipse">
                <a:avLst/>
              </a:prstGeom>
              <a:solidFill>
                <a:srgbClr val="FFFFFF"/>
              </a:solidFill>
              <a:ln w="57150"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20" name="Straight Connector 19"/>
              <p:cNvCxnSpPr/>
              <p:nvPr/>
            </p:nvCxnSpPr>
            <p:spPr>
              <a:xfrm>
                <a:off x="4959362" y="3954776"/>
                <a:ext cx="0" cy="180806"/>
              </a:xfrm>
              <a:prstGeom prst="line">
                <a:avLst/>
              </a:prstGeom>
              <a:noFill/>
              <a:ln w="28575" cap="flat" cmpd="sng" algn="ctr">
                <a:solidFill>
                  <a:srgbClr val="922F4F"/>
                </a:solidFill>
                <a:prstDash val="solid"/>
                <a:miter lim="800000"/>
              </a:ln>
              <a:effectLst/>
            </p:spPr>
          </p:cxnSp>
          <p:sp>
            <p:nvSpPr>
              <p:cNvPr id="21" name="Oval 20"/>
              <p:cNvSpPr/>
              <p:nvPr/>
            </p:nvSpPr>
            <p:spPr>
              <a:xfrm>
                <a:off x="4842782" y="3812019"/>
                <a:ext cx="233160" cy="233160"/>
              </a:xfrm>
              <a:prstGeom prst="ellipse">
                <a:avLst/>
              </a:prstGeom>
              <a:solidFill>
                <a:srgbClr val="00B050"/>
              </a:solidFill>
              <a:ln w="28575"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2" name="Rectangle: Rounded Corners 21"/>
              <p:cNvSpPr/>
              <p:nvPr/>
            </p:nvSpPr>
            <p:spPr>
              <a:xfrm>
                <a:off x="4089065" y="5039762"/>
                <a:ext cx="1826665" cy="292548"/>
              </a:xfrm>
              <a:prstGeom prst="roundRect">
                <a:avLst>
                  <a:gd name="adj" fmla="val 50000"/>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3" name="object 12"/>
              <p:cNvSpPr txBox="1"/>
              <p:nvPr/>
            </p:nvSpPr>
            <p:spPr>
              <a:xfrm>
                <a:off x="4590434" y="5053780"/>
                <a:ext cx="800101" cy="213340"/>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defRPr/>
                </a:pPr>
                <a:r>
                  <a:rPr lang="zh-CN" altLang="en-US" sz="1050" b="1" kern="0" spc="-114" dirty="0">
                    <a:solidFill>
                      <a:prstClr val="white"/>
                    </a:solidFill>
                    <a:latin typeface="GothamBook" pitchFamily="50" charset="0"/>
                    <a:cs typeface="Arial" panose="020B0604020202090204"/>
                  </a:rPr>
                  <a:t>镍</a:t>
                </a:r>
                <a:endParaRPr kumimoji="0" sz="1050" b="1" i="0" u="none" strike="noStrike" kern="0" cap="none" spc="0" normalizeH="0" baseline="0" noProof="0" dirty="0">
                  <a:ln>
                    <a:noFill/>
                  </a:ln>
                  <a:solidFill>
                    <a:prstClr val="white"/>
                  </a:solidFill>
                  <a:effectLst/>
                  <a:uLnTx/>
                  <a:uFillTx/>
                  <a:latin typeface="GothamBook" pitchFamily="50" charset="0"/>
                  <a:ea typeface="+mn-ea"/>
                  <a:cs typeface="Arial" panose="020B0604020202090204"/>
                </a:endParaRPr>
              </a:p>
            </p:txBody>
          </p:sp>
        </p:grpSp>
        <p:sp>
          <p:nvSpPr>
            <p:cNvPr id="17" name="object 19"/>
            <p:cNvSpPr/>
            <p:nvPr/>
          </p:nvSpPr>
          <p:spPr>
            <a:xfrm>
              <a:off x="3765271" y="4579554"/>
              <a:ext cx="341268" cy="382518"/>
            </a:xfrm>
            <a:prstGeom prst="rect">
              <a:avLst/>
            </a:prstGeom>
            <a:blipFill>
              <a:blip r:embed="rId3" cstate="screen"/>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1400" b="0" i="0" u="none" strike="noStrike" kern="0" cap="none" spc="0" normalizeH="0" baseline="0" noProof="0">
                <a:ln>
                  <a:noFill/>
                </a:ln>
                <a:solidFill>
                  <a:prstClr val="black"/>
                </a:solidFill>
                <a:effectLst/>
                <a:uLnTx/>
                <a:uFillTx/>
                <a:latin typeface="GothamBook" pitchFamily="50" charset="0"/>
                <a:ea typeface="+mn-ea"/>
                <a:cs typeface="+mn-cs"/>
              </a:endParaRPr>
            </a:p>
          </p:txBody>
        </p:sp>
      </p:grpSp>
      <p:grpSp>
        <p:nvGrpSpPr>
          <p:cNvPr id="24" name="Group 23"/>
          <p:cNvGrpSpPr/>
          <p:nvPr/>
        </p:nvGrpSpPr>
        <p:grpSpPr>
          <a:xfrm>
            <a:off x="8575383" y="4645815"/>
            <a:ext cx="1157027" cy="1452753"/>
            <a:chOff x="10362625" y="4180327"/>
            <a:chExt cx="1157027" cy="1452753"/>
          </a:xfrm>
        </p:grpSpPr>
        <p:grpSp>
          <p:nvGrpSpPr>
            <p:cNvPr id="25" name="Group 24"/>
            <p:cNvGrpSpPr/>
            <p:nvPr/>
          </p:nvGrpSpPr>
          <p:grpSpPr>
            <a:xfrm>
              <a:off x="10362625" y="4180327"/>
              <a:ext cx="1157027" cy="1452753"/>
              <a:chOff x="1611351" y="3814145"/>
              <a:chExt cx="1374728" cy="1726096"/>
            </a:xfrm>
          </p:grpSpPr>
          <p:sp>
            <p:nvSpPr>
              <p:cNvPr id="27" name="Rectangle: Rounded Corners 26"/>
              <p:cNvSpPr/>
              <p:nvPr/>
            </p:nvSpPr>
            <p:spPr>
              <a:xfrm>
                <a:off x="1733889" y="4676439"/>
                <a:ext cx="1122051" cy="863802"/>
              </a:xfrm>
              <a:prstGeom prst="roundRect">
                <a:avLst>
                  <a:gd name="adj" fmla="val 14305"/>
                </a:avLst>
              </a:prstGeom>
              <a:solidFill>
                <a:srgbClr val="27325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8" name="Rectangle: Rounded Corners 27"/>
              <p:cNvSpPr/>
              <p:nvPr/>
            </p:nvSpPr>
            <p:spPr>
              <a:xfrm>
                <a:off x="1611351" y="5038379"/>
                <a:ext cx="1374728" cy="281564"/>
              </a:xfrm>
              <a:prstGeom prst="roundRect">
                <a:avLst>
                  <a:gd name="adj" fmla="val 50000"/>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9" name="Oval 28"/>
              <p:cNvSpPr/>
              <p:nvPr/>
            </p:nvSpPr>
            <p:spPr>
              <a:xfrm>
                <a:off x="1854920" y="4137708"/>
                <a:ext cx="800100" cy="800100"/>
              </a:xfrm>
              <a:prstGeom prst="ellipse">
                <a:avLst/>
              </a:prstGeom>
              <a:solidFill>
                <a:srgbClr val="FFFFFF"/>
              </a:solidFill>
              <a:ln w="57150"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30" name="Straight Connector 29"/>
              <p:cNvCxnSpPr/>
              <p:nvPr/>
            </p:nvCxnSpPr>
            <p:spPr>
              <a:xfrm>
                <a:off x="2254970" y="3956902"/>
                <a:ext cx="0" cy="180806"/>
              </a:xfrm>
              <a:prstGeom prst="line">
                <a:avLst/>
              </a:prstGeom>
              <a:noFill/>
              <a:ln w="28575" cap="flat" cmpd="sng" algn="ctr">
                <a:solidFill>
                  <a:srgbClr val="922F4F"/>
                </a:solidFill>
                <a:prstDash val="solid"/>
                <a:miter lim="800000"/>
              </a:ln>
              <a:effectLst/>
            </p:spPr>
          </p:cxnSp>
          <p:sp>
            <p:nvSpPr>
              <p:cNvPr id="31" name="Oval 30"/>
              <p:cNvSpPr/>
              <p:nvPr/>
            </p:nvSpPr>
            <p:spPr>
              <a:xfrm>
                <a:off x="2138390" y="3814145"/>
                <a:ext cx="233160" cy="233160"/>
              </a:xfrm>
              <a:prstGeom prst="ellipse">
                <a:avLst/>
              </a:prstGeom>
              <a:solidFill>
                <a:srgbClr val="000000">
                  <a:lumMod val="75000"/>
                  <a:lumOff val="25000"/>
                </a:srgbClr>
              </a:solidFill>
              <a:ln w="28575"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32" name="object 12"/>
              <p:cNvSpPr txBox="1"/>
              <p:nvPr/>
            </p:nvSpPr>
            <p:spPr>
              <a:xfrm>
                <a:off x="1843265" y="5065493"/>
                <a:ext cx="866955" cy="20798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defRPr/>
                </a:pPr>
                <a:r>
                  <a:rPr lang="zh-CN" altLang="en-US" sz="1050" b="1" kern="0" spc="-114" dirty="0">
                    <a:solidFill>
                      <a:prstClr val="white"/>
                    </a:solidFill>
                    <a:latin typeface="GothamBook" pitchFamily="50" charset="0"/>
                    <a:cs typeface="Arial" panose="020B0604020202090204"/>
                  </a:rPr>
                  <a:t>锡</a:t>
                </a:r>
                <a:endParaRPr kumimoji="0" sz="1050" b="1" i="0" u="none" strike="noStrike" kern="0" cap="none" spc="0" normalizeH="0" baseline="0" noProof="0" dirty="0">
                  <a:ln>
                    <a:noFill/>
                  </a:ln>
                  <a:solidFill>
                    <a:prstClr val="white"/>
                  </a:solidFill>
                  <a:effectLst/>
                  <a:uLnTx/>
                  <a:uFillTx/>
                  <a:latin typeface="GothamBook" pitchFamily="50" charset="0"/>
                  <a:ea typeface="+mn-ea"/>
                  <a:cs typeface="Arial" panose="020B0604020202090204"/>
                </a:endParaRPr>
              </a:p>
            </p:txBody>
          </p:sp>
        </p:grpSp>
        <p:sp>
          <p:nvSpPr>
            <p:cNvPr id="26" name="object 20"/>
            <p:cNvSpPr/>
            <p:nvPr/>
          </p:nvSpPr>
          <p:spPr>
            <a:xfrm>
              <a:off x="10682598" y="4663295"/>
              <a:ext cx="452361" cy="281249"/>
            </a:xfrm>
            <a:prstGeom prst="rect">
              <a:avLst/>
            </a:prstGeom>
            <a:blipFill>
              <a:blip r:embed="rId4" cstate="screen"/>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1400" b="0" i="0" u="none" strike="noStrike" kern="0" cap="none" spc="0" normalizeH="0" baseline="0" noProof="0">
                <a:ln>
                  <a:noFill/>
                </a:ln>
                <a:solidFill>
                  <a:prstClr val="black"/>
                </a:solidFill>
                <a:effectLst/>
                <a:uLnTx/>
                <a:uFillTx/>
                <a:latin typeface="GothamBook" pitchFamily="50" charset="0"/>
                <a:ea typeface="+mn-ea"/>
                <a:cs typeface="+mn-cs"/>
              </a:endParaRPr>
            </a:p>
          </p:txBody>
        </p:sp>
      </p:grpSp>
      <p:grpSp>
        <p:nvGrpSpPr>
          <p:cNvPr id="33" name="Group 32"/>
          <p:cNvGrpSpPr/>
          <p:nvPr/>
        </p:nvGrpSpPr>
        <p:grpSpPr>
          <a:xfrm>
            <a:off x="1013204" y="4671442"/>
            <a:ext cx="1344743" cy="1416046"/>
            <a:chOff x="5312298" y="4181202"/>
            <a:chExt cx="1344743" cy="1416046"/>
          </a:xfrm>
        </p:grpSpPr>
        <p:grpSp>
          <p:nvGrpSpPr>
            <p:cNvPr id="34" name="Group 33"/>
            <p:cNvGrpSpPr/>
            <p:nvPr/>
          </p:nvGrpSpPr>
          <p:grpSpPr>
            <a:xfrm>
              <a:off x="5312298" y="4181202"/>
              <a:ext cx="1344743" cy="1416046"/>
              <a:chOff x="1554389" y="3812019"/>
              <a:chExt cx="1597764" cy="1682483"/>
            </a:xfrm>
          </p:grpSpPr>
          <p:sp>
            <p:nvSpPr>
              <p:cNvPr id="36" name="Rectangle: Rounded Corners 35"/>
              <p:cNvSpPr/>
              <p:nvPr/>
            </p:nvSpPr>
            <p:spPr>
              <a:xfrm>
                <a:off x="1688253" y="4676440"/>
                <a:ext cx="1330036" cy="818062"/>
              </a:xfrm>
              <a:prstGeom prst="roundRect">
                <a:avLst>
                  <a:gd name="adj" fmla="val 14305"/>
                </a:avLst>
              </a:prstGeom>
              <a:solidFill>
                <a:srgbClr val="27325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37" name="Rectangle: Rounded Corners 36"/>
              <p:cNvSpPr/>
              <p:nvPr/>
            </p:nvSpPr>
            <p:spPr>
              <a:xfrm>
                <a:off x="1554389" y="5009530"/>
                <a:ext cx="1597764" cy="276999"/>
              </a:xfrm>
              <a:prstGeom prst="roundRect">
                <a:avLst>
                  <a:gd name="adj" fmla="val 50000"/>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38" name="Oval 37"/>
              <p:cNvSpPr/>
              <p:nvPr/>
            </p:nvSpPr>
            <p:spPr>
              <a:xfrm>
                <a:off x="1953221" y="4135582"/>
                <a:ext cx="800100" cy="800100"/>
              </a:xfrm>
              <a:prstGeom prst="ellipse">
                <a:avLst/>
              </a:prstGeom>
              <a:solidFill>
                <a:srgbClr val="FFFFFF"/>
              </a:solidFill>
              <a:ln w="57150"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39" name="Straight Connector 38"/>
              <p:cNvCxnSpPr/>
              <p:nvPr/>
            </p:nvCxnSpPr>
            <p:spPr>
              <a:xfrm>
                <a:off x="2353271" y="3954776"/>
                <a:ext cx="0" cy="180806"/>
              </a:xfrm>
              <a:prstGeom prst="line">
                <a:avLst/>
              </a:prstGeom>
              <a:noFill/>
              <a:ln w="28575" cap="flat" cmpd="sng" algn="ctr">
                <a:solidFill>
                  <a:srgbClr val="922F4F"/>
                </a:solidFill>
                <a:prstDash val="solid"/>
                <a:miter lim="800000"/>
              </a:ln>
              <a:effectLst/>
            </p:spPr>
          </p:cxnSp>
          <p:sp>
            <p:nvSpPr>
              <p:cNvPr id="40" name="Oval 39"/>
              <p:cNvSpPr/>
              <p:nvPr/>
            </p:nvSpPr>
            <p:spPr>
              <a:xfrm>
                <a:off x="2236691" y="3812019"/>
                <a:ext cx="233160" cy="233160"/>
              </a:xfrm>
              <a:prstGeom prst="ellipse">
                <a:avLst/>
              </a:prstGeom>
              <a:solidFill>
                <a:srgbClr val="00B0F0"/>
              </a:solidFill>
              <a:ln w="28575"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41" name="object 12"/>
              <p:cNvSpPr txBox="1"/>
              <p:nvPr/>
            </p:nvSpPr>
            <p:spPr>
              <a:xfrm>
                <a:off x="1918650" y="5008001"/>
                <a:ext cx="866957" cy="20798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defRPr/>
                </a:pPr>
                <a:r>
                  <a:rPr kumimoji="0" lang="zh-CN" altLang="en-US" sz="1050" b="1" i="0" u="none" strike="noStrike" kern="0" cap="none" spc="-114" normalizeH="0" baseline="0" noProof="0" dirty="0">
                    <a:ln>
                      <a:noFill/>
                    </a:ln>
                    <a:solidFill>
                      <a:prstClr val="white"/>
                    </a:solidFill>
                    <a:effectLst/>
                    <a:uLnTx/>
                    <a:uFillTx/>
                    <a:latin typeface="GothamBook" pitchFamily="50" charset="0"/>
                    <a:ea typeface="+mn-ea"/>
                    <a:cs typeface="Arial" panose="020B0604020202090204"/>
                  </a:rPr>
                  <a:t>铝土矿</a:t>
                </a:r>
                <a:endParaRPr kumimoji="0" sz="1050" b="1" i="0" u="none" strike="noStrike" kern="0" cap="none" spc="0" normalizeH="0" baseline="0" noProof="0" dirty="0">
                  <a:ln>
                    <a:noFill/>
                  </a:ln>
                  <a:solidFill>
                    <a:prstClr val="white"/>
                  </a:solidFill>
                  <a:effectLst/>
                  <a:uLnTx/>
                  <a:uFillTx/>
                  <a:latin typeface="GothamBook" pitchFamily="50" charset="0"/>
                  <a:ea typeface="+mn-ea"/>
                  <a:cs typeface="Arial" panose="020B0604020202090204"/>
                </a:endParaRPr>
              </a:p>
            </p:txBody>
          </p:sp>
        </p:grpSp>
        <p:sp>
          <p:nvSpPr>
            <p:cNvPr id="35" name="object 21"/>
            <p:cNvSpPr/>
            <p:nvPr/>
          </p:nvSpPr>
          <p:spPr>
            <a:xfrm>
              <a:off x="5785269" y="4598929"/>
              <a:ext cx="394955" cy="380836"/>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1400" b="0" i="0" u="none" strike="noStrike" kern="0" cap="none" spc="0" normalizeH="0" baseline="0" noProof="0">
                <a:ln>
                  <a:noFill/>
                </a:ln>
                <a:solidFill>
                  <a:prstClr val="black"/>
                </a:solidFill>
                <a:effectLst/>
                <a:uLnTx/>
                <a:uFillTx/>
                <a:latin typeface="GothamBook" pitchFamily="50" charset="0"/>
                <a:ea typeface="+mn-ea"/>
                <a:cs typeface="+mn-cs"/>
              </a:endParaRPr>
            </a:p>
          </p:txBody>
        </p:sp>
      </p:grpSp>
      <p:grpSp>
        <p:nvGrpSpPr>
          <p:cNvPr id="42" name="Group 41"/>
          <p:cNvGrpSpPr/>
          <p:nvPr/>
        </p:nvGrpSpPr>
        <p:grpSpPr>
          <a:xfrm>
            <a:off x="7030904" y="4648190"/>
            <a:ext cx="1361545" cy="1452753"/>
            <a:chOff x="6933729" y="4184700"/>
            <a:chExt cx="1361545" cy="1452753"/>
          </a:xfrm>
        </p:grpSpPr>
        <p:grpSp>
          <p:nvGrpSpPr>
            <p:cNvPr id="43" name="Group 42"/>
            <p:cNvGrpSpPr/>
            <p:nvPr/>
          </p:nvGrpSpPr>
          <p:grpSpPr>
            <a:xfrm>
              <a:off x="6933729" y="4184700"/>
              <a:ext cx="1361545" cy="1452753"/>
              <a:chOff x="1578822" y="3814145"/>
              <a:chExt cx="1617727" cy="1726096"/>
            </a:xfrm>
          </p:grpSpPr>
          <p:sp>
            <p:nvSpPr>
              <p:cNvPr id="45" name="Rectangle: Rounded Corners 44"/>
              <p:cNvSpPr/>
              <p:nvPr/>
            </p:nvSpPr>
            <p:spPr>
              <a:xfrm>
                <a:off x="1758411" y="4676439"/>
                <a:ext cx="1328763" cy="863802"/>
              </a:xfrm>
              <a:prstGeom prst="roundRect">
                <a:avLst>
                  <a:gd name="adj" fmla="val 14305"/>
                </a:avLst>
              </a:prstGeom>
              <a:solidFill>
                <a:srgbClr val="27325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46" name="Rectangle: Rounded Corners 45"/>
              <p:cNvSpPr/>
              <p:nvPr/>
            </p:nvSpPr>
            <p:spPr>
              <a:xfrm>
                <a:off x="1578822" y="5028211"/>
                <a:ext cx="1617727" cy="258319"/>
              </a:xfrm>
              <a:prstGeom prst="roundRect">
                <a:avLst>
                  <a:gd name="adj" fmla="val 50000"/>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47" name="Oval 46"/>
              <p:cNvSpPr/>
              <p:nvPr/>
            </p:nvSpPr>
            <p:spPr>
              <a:xfrm>
                <a:off x="1981263" y="4137708"/>
                <a:ext cx="800100" cy="800100"/>
              </a:xfrm>
              <a:prstGeom prst="ellipse">
                <a:avLst/>
              </a:prstGeom>
              <a:solidFill>
                <a:srgbClr val="FFFFFF"/>
              </a:solidFill>
              <a:ln w="57150"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48" name="Straight Connector 47"/>
              <p:cNvCxnSpPr/>
              <p:nvPr/>
            </p:nvCxnSpPr>
            <p:spPr>
              <a:xfrm>
                <a:off x="2381314" y="3956902"/>
                <a:ext cx="0" cy="180806"/>
              </a:xfrm>
              <a:prstGeom prst="line">
                <a:avLst/>
              </a:prstGeom>
              <a:noFill/>
              <a:ln w="28575" cap="flat" cmpd="sng" algn="ctr">
                <a:solidFill>
                  <a:srgbClr val="922F4F"/>
                </a:solidFill>
                <a:prstDash val="solid"/>
                <a:miter lim="800000"/>
              </a:ln>
              <a:effectLst/>
            </p:spPr>
          </p:cxnSp>
          <p:sp>
            <p:nvSpPr>
              <p:cNvPr id="49" name="Oval 48"/>
              <p:cNvSpPr/>
              <p:nvPr/>
            </p:nvSpPr>
            <p:spPr>
              <a:xfrm>
                <a:off x="2264733" y="3814145"/>
                <a:ext cx="233160" cy="233160"/>
              </a:xfrm>
              <a:prstGeom prst="ellipse">
                <a:avLst/>
              </a:prstGeom>
              <a:solidFill>
                <a:srgbClr val="0862A3">
                  <a:lumMod val="75000"/>
                </a:srgbClr>
              </a:solidFill>
              <a:ln w="28575"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50" name="object 12"/>
              <p:cNvSpPr txBox="1"/>
              <p:nvPr/>
            </p:nvSpPr>
            <p:spPr>
              <a:xfrm>
                <a:off x="1910117" y="5028588"/>
                <a:ext cx="866957" cy="20798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defRPr/>
                </a:pPr>
                <a:r>
                  <a:rPr kumimoji="0" lang="zh-CN" altLang="en-US" sz="1050" b="1" i="0" u="none" strike="noStrike" kern="0" cap="none" spc="-114" normalizeH="0" baseline="0" noProof="0" dirty="0">
                    <a:ln>
                      <a:noFill/>
                    </a:ln>
                    <a:solidFill>
                      <a:prstClr val="white"/>
                    </a:solidFill>
                    <a:effectLst/>
                    <a:uLnTx/>
                    <a:uFillTx/>
                    <a:latin typeface="GothamBook" pitchFamily="50" charset="0"/>
                    <a:ea typeface="+mn-ea"/>
                    <a:cs typeface="Arial" panose="020B0604020202090204"/>
                  </a:rPr>
                  <a:t>铜</a:t>
                </a:r>
                <a:endParaRPr kumimoji="0" sz="1050" b="1" i="0" u="none" strike="noStrike" kern="0" cap="none" spc="0" normalizeH="0" baseline="0" noProof="0" dirty="0">
                  <a:ln>
                    <a:noFill/>
                  </a:ln>
                  <a:solidFill>
                    <a:prstClr val="white"/>
                  </a:solidFill>
                  <a:effectLst/>
                  <a:uLnTx/>
                  <a:uFillTx/>
                  <a:latin typeface="GothamBook" pitchFamily="50" charset="0"/>
                  <a:ea typeface="+mn-ea"/>
                  <a:cs typeface="Arial" panose="020B0604020202090204"/>
                </a:endParaRPr>
              </a:p>
            </p:txBody>
          </p:sp>
        </p:grpSp>
        <p:sp>
          <p:nvSpPr>
            <p:cNvPr id="44" name="object 10"/>
            <p:cNvSpPr/>
            <p:nvPr/>
          </p:nvSpPr>
          <p:spPr>
            <a:xfrm>
              <a:off x="7406483" y="4656236"/>
              <a:ext cx="403646" cy="272216"/>
            </a:xfrm>
            <a:prstGeom prst="rect">
              <a:avLst/>
            </a:prstGeom>
            <a:blipFill>
              <a:blip r:embed="rId6" cstate="screen"/>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1400" b="0" i="0" u="none" strike="noStrike" kern="0" cap="none" spc="0" normalizeH="0" baseline="0" noProof="0">
                <a:ln>
                  <a:noFill/>
                </a:ln>
                <a:solidFill>
                  <a:prstClr val="black"/>
                </a:solidFill>
                <a:effectLst/>
                <a:uLnTx/>
                <a:uFillTx/>
                <a:latin typeface="GothamBook" pitchFamily="50" charset="0"/>
                <a:ea typeface="+mn-ea"/>
                <a:cs typeface="+mn-cs"/>
              </a:endParaRPr>
            </a:p>
          </p:txBody>
        </p:sp>
      </p:grpSp>
      <p:grpSp>
        <p:nvGrpSpPr>
          <p:cNvPr id="51" name="Group 50"/>
          <p:cNvGrpSpPr/>
          <p:nvPr/>
        </p:nvGrpSpPr>
        <p:grpSpPr>
          <a:xfrm>
            <a:off x="9885075" y="4663538"/>
            <a:ext cx="1344743" cy="1416046"/>
            <a:chOff x="1554389" y="3812019"/>
            <a:chExt cx="1597764" cy="1682483"/>
          </a:xfrm>
        </p:grpSpPr>
        <p:sp>
          <p:nvSpPr>
            <p:cNvPr id="52" name="Rectangle: Rounded Corners 51"/>
            <p:cNvSpPr/>
            <p:nvPr/>
          </p:nvSpPr>
          <p:spPr>
            <a:xfrm>
              <a:off x="1688253" y="4676440"/>
              <a:ext cx="1330036" cy="818062"/>
            </a:xfrm>
            <a:prstGeom prst="roundRect">
              <a:avLst>
                <a:gd name="adj" fmla="val 14305"/>
              </a:avLst>
            </a:prstGeom>
            <a:solidFill>
              <a:srgbClr val="27325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53" name="Rectangle: Rounded Corners 52"/>
            <p:cNvSpPr/>
            <p:nvPr/>
          </p:nvSpPr>
          <p:spPr>
            <a:xfrm>
              <a:off x="1554389" y="5009530"/>
              <a:ext cx="1597764" cy="276999"/>
            </a:xfrm>
            <a:prstGeom prst="roundRect">
              <a:avLst>
                <a:gd name="adj" fmla="val 50000"/>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54" name="Oval 53"/>
            <p:cNvSpPr/>
            <p:nvPr/>
          </p:nvSpPr>
          <p:spPr>
            <a:xfrm>
              <a:off x="1953221" y="4135582"/>
              <a:ext cx="800100" cy="800100"/>
            </a:xfrm>
            <a:prstGeom prst="ellipse">
              <a:avLst/>
            </a:prstGeom>
            <a:solidFill>
              <a:srgbClr val="FFFFFF"/>
            </a:solidFill>
            <a:ln w="57150"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55" name="Straight Connector 54"/>
            <p:cNvCxnSpPr/>
            <p:nvPr/>
          </p:nvCxnSpPr>
          <p:spPr>
            <a:xfrm>
              <a:off x="2353271" y="3954776"/>
              <a:ext cx="0" cy="180806"/>
            </a:xfrm>
            <a:prstGeom prst="line">
              <a:avLst/>
            </a:prstGeom>
            <a:noFill/>
            <a:ln w="28575" cap="flat" cmpd="sng" algn="ctr">
              <a:solidFill>
                <a:srgbClr val="922F4F"/>
              </a:solidFill>
              <a:prstDash val="solid"/>
              <a:miter lim="800000"/>
            </a:ln>
            <a:effectLst/>
          </p:spPr>
        </p:cxnSp>
        <p:sp>
          <p:nvSpPr>
            <p:cNvPr id="56" name="Oval 55"/>
            <p:cNvSpPr/>
            <p:nvPr/>
          </p:nvSpPr>
          <p:spPr>
            <a:xfrm>
              <a:off x="2236691" y="3812019"/>
              <a:ext cx="233160" cy="233160"/>
            </a:xfrm>
            <a:prstGeom prst="ellipse">
              <a:avLst/>
            </a:prstGeom>
            <a:solidFill>
              <a:srgbClr val="FFFFFF">
                <a:lumMod val="75000"/>
              </a:srgbClr>
            </a:solidFill>
            <a:ln w="28575"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57" name="object 12"/>
            <p:cNvSpPr txBox="1"/>
            <p:nvPr/>
          </p:nvSpPr>
          <p:spPr>
            <a:xfrm>
              <a:off x="1919728" y="5026086"/>
              <a:ext cx="866957" cy="20798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defRPr/>
              </a:pPr>
              <a:r>
                <a:rPr kumimoji="0" lang="zh-CN" altLang="en-US" sz="1050" b="1" i="0" u="none" strike="noStrike" kern="0" cap="none" spc="-114" normalizeH="0" baseline="0" noProof="0" dirty="0">
                  <a:ln>
                    <a:noFill/>
                  </a:ln>
                  <a:solidFill>
                    <a:prstClr val="white"/>
                  </a:solidFill>
                  <a:effectLst/>
                  <a:uLnTx/>
                  <a:uFillTx/>
                  <a:latin typeface="GothamBook" pitchFamily="50" charset="0"/>
                  <a:ea typeface="+mn-ea"/>
                  <a:cs typeface="Arial" panose="020B0604020202090204"/>
                </a:rPr>
                <a:t>铝</a:t>
              </a:r>
              <a:endParaRPr kumimoji="0" sz="1050" b="1" i="0" u="none" strike="noStrike" kern="0" cap="none" spc="0" normalizeH="0" baseline="0" noProof="0" dirty="0">
                <a:ln>
                  <a:noFill/>
                </a:ln>
                <a:solidFill>
                  <a:prstClr val="white"/>
                </a:solidFill>
                <a:effectLst/>
                <a:uLnTx/>
                <a:uFillTx/>
                <a:latin typeface="GothamBook" pitchFamily="50" charset="0"/>
                <a:ea typeface="+mn-ea"/>
                <a:cs typeface="Arial" panose="020B0604020202090204"/>
              </a:endParaRPr>
            </a:p>
          </p:txBody>
        </p:sp>
      </p:grpSp>
      <p:pic>
        <p:nvPicPr>
          <p:cNvPr id="58" name="Picture 57" descr="A picture containing indoor, blurry&#10;&#10;Description automatically generated"/>
          <p:cNvPicPr>
            <a:picLocks noChangeAspect="1"/>
          </p:cNvPicPr>
          <p:nvPr/>
        </p:nvPicPr>
        <p:blipFill>
          <a:blip r:embed="rId7" cstate="screen"/>
          <a:stretch>
            <a:fillRect/>
          </a:stretch>
        </p:blipFill>
        <p:spPr>
          <a:xfrm>
            <a:off x="10406007" y="5151228"/>
            <a:ext cx="295481" cy="286790"/>
          </a:xfrm>
          <a:prstGeom prst="rect">
            <a:avLst/>
          </a:prstGeom>
        </p:spPr>
      </p:pic>
      <p:grpSp>
        <p:nvGrpSpPr>
          <p:cNvPr id="59" name="Group 58"/>
          <p:cNvGrpSpPr/>
          <p:nvPr/>
        </p:nvGrpSpPr>
        <p:grpSpPr>
          <a:xfrm>
            <a:off x="5609977" y="4648192"/>
            <a:ext cx="1236664" cy="1485700"/>
            <a:chOff x="8743192" y="4184702"/>
            <a:chExt cx="1236664" cy="1485700"/>
          </a:xfrm>
        </p:grpSpPr>
        <p:grpSp>
          <p:nvGrpSpPr>
            <p:cNvPr id="60" name="Group 59"/>
            <p:cNvGrpSpPr/>
            <p:nvPr/>
          </p:nvGrpSpPr>
          <p:grpSpPr>
            <a:xfrm>
              <a:off x="8743192" y="4184702"/>
              <a:ext cx="1236664" cy="1485700"/>
              <a:chOff x="1544251" y="3814145"/>
              <a:chExt cx="1469349" cy="1765242"/>
            </a:xfrm>
          </p:grpSpPr>
          <p:sp>
            <p:nvSpPr>
              <p:cNvPr id="62" name="Rectangle: Rounded Corners 61"/>
              <p:cNvSpPr/>
              <p:nvPr/>
            </p:nvSpPr>
            <p:spPr>
              <a:xfrm>
                <a:off x="1661429" y="4676441"/>
                <a:ext cx="1227861" cy="902946"/>
              </a:xfrm>
              <a:prstGeom prst="roundRect">
                <a:avLst>
                  <a:gd name="adj" fmla="val 14305"/>
                </a:avLst>
              </a:prstGeom>
              <a:solidFill>
                <a:srgbClr val="27325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63" name="Rectangle: Rounded Corners 62"/>
              <p:cNvSpPr/>
              <p:nvPr/>
            </p:nvSpPr>
            <p:spPr>
              <a:xfrm>
                <a:off x="1544251" y="5017016"/>
                <a:ext cx="1469349" cy="269514"/>
              </a:xfrm>
              <a:prstGeom prst="roundRect">
                <a:avLst>
                  <a:gd name="adj" fmla="val 50000"/>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64" name="Oval 63"/>
              <p:cNvSpPr/>
              <p:nvPr/>
            </p:nvSpPr>
            <p:spPr>
              <a:xfrm>
                <a:off x="1854920" y="4137708"/>
                <a:ext cx="800100" cy="800100"/>
              </a:xfrm>
              <a:prstGeom prst="ellipse">
                <a:avLst/>
              </a:prstGeom>
              <a:solidFill>
                <a:srgbClr val="FFFFFF"/>
              </a:solidFill>
              <a:ln w="57150"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65" name="Straight Connector 64"/>
              <p:cNvCxnSpPr/>
              <p:nvPr/>
            </p:nvCxnSpPr>
            <p:spPr>
              <a:xfrm>
                <a:off x="2254970" y="3956902"/>
                <a:ext cx="0" cy="180806"/>
              </a:xfrm>
              <a:prstGeom prst="line">
                <a:avLst/>
              </a:prstGeom>
              <a:noFill/>
              <a:ln w="28575" cap="flat" cmpd="sng" algn="ctr">
                <a:solidFill>
                  <a:srgbClr val="922F4F"/>
                </a:solidFill>
                <a:prstDash val="solid"/>
                <a:miter lim="800000"/>
              </a:ln>
              <a:effectLst/>
            </p:spPr>
          </p:cxnSp>
          <p:sp>
            <p:nvSpPr>
              <p:cNvPr id="66" name="Oval 65"/>
              <p:cNvSpPr/>
              <p:nvPr/>
            </p:nvSpPr>
            <p:spPr>
              <a:xfrm>
                <a:off x="2138390" y="3814145"/>
                <a:ext cx="233160" cy="233160"/>
              </a:xfrm>
              <a:prstGeom prst="ellipse">
                <a:avLst/>
              </a:prstGeom>
              <a:solidFill>
                <a:srgbClr val="FFC000"/>
              </a:solidFill>
              <a:ln w="28575" cap="flat" cmpd="sng" algn="ctr">
                <a:solidFill>
                  <a:srgbClr val="922F4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1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67" name="object 12"/>
              <p:cNvSpPr txBox="1"/>
              <p:nvPr/>
            </p:nvSpPr>
            <p:spPr>
              <a:xfrm>
                <a:off x="1831654" y="5017016"/>
                <a:ext cx="866957" cy="207984"/>
              </a:xfrm>
              <a:prstGeom prst="rect">
                <a:avLst/>
              </a:prstGeom>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defRPr/>
                </a:pPr>
                <a:r>
                  <a:rPr lang="zh-CN" altLang="en-US" sz="1050" b="1" kern="0" spc="-114" noProof="0" dirty="0">
                    <a:solidFill>
                      <a:prstClr val="white"/>
                    </a:solidFill>
                    <a:latin typeface="GothamBook" pitchFamily="50" charset="0"/>
                    <a:cs typeface="Arial" panose="020B0604020202090204"/>
                  </a:rPr>
                  <a:t>金</a:t>
                </a:r>
                <a:endParaRPr kumimoji="0" sz="1050" b="1" i="0" u="none" strike="noStrike" kern="0" cap="none" spc="0" normalizeH="0" baseline="0" noProof="0" dirty="0">
                  <a:ln>
                    <a:noFill/>
                  </a:ln>
                  <a:solidFill>
                    <a:prstClr val="white"/>
                  </a:solidFill>
                  <a:effectLst/>
                  <a:uLnTx/>
                  <a:uFillTx/>
                  <a:latin typeface="GothamBook" pitchFamily="50" charset="0"/>
                  <a:ea typeface="+mn-ea"/>
                  <a:cs typeface="Arial" panose="020B0604020202090204"/>
                </a:endParaRPr>
              </a:p>
            </p:txBody>
          </p:sp>
        </p:grpSp>
        <p:sp>
          <p:nvSpPr>
            <p:cNvPr id="61" name="object 18"/>
            <p:cNvSpPr/>
            <p:nvPr/>
          </p:nvSpPr>
          <p:spPr>
            <a:xfrm>
              <a:off x="9110909" y="4622241"/>
              <a:ext cx="474539" cy="364489"/>
            </a:xfrm>
            <a:prstGeom prst="rect">
              <a:avLst/>
            </a:prstGeom>
            <a:blipFill>
              <a:blip r:embed="rId8" cstate="screen"/>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defRPr/>
              </a:pPr>
              <a:endParaRPr kumimoji="0" sz="1400" b="0" i="0" u="none" strike="noStrike" kern="0" cap="none" spc="0" normalizeH="0" baseline="0" noProof="0">
                <a:ln>
                  <a:noFill/>
                </a:ln>
                <a:solidFill>
                  <a:prstClr val="black"/>
                </a:solidFill>
                <a:effectLst/>
                <a:uLnTx/>
                <a:uFillTx/>
                <a:latin typeface="GothamBook" pitchFamily="50" charset="0"/>
                <a:ea typeface="+mn-ea"/>
                <a:cs typeface="+mn-cs"/>
              </a:endParaRPr>
            </a:p>
          </p:txBody>
        </p:sp>
      </p:grpSp>
      <p:grpSp>
        <p:nvGrpSpPr>
          <p:cNvPr id="68" name="Group 67"/>
          <p:cNvGrpSpPr/>
          <p:nvPr/>
        </p:nvGrpSpPr>
        <p:grpSpPr>
          <a:xfrm>
            <a:off x="10029294" y="939752"/>
            <a:ext cx="1687573" cy="1433461"/>
            <a:chOff x="10029294" y="939752"/>
            <a:chExt cx="1687573" cy="1433461"/>
          </a:xfrm>
        </p:grpSpPr>
        <p:sp>
          <p:nvSpPr>
            <p:cNvPr id="69" name="Rectangle 68"/>
            <p:cNvSpPr/>
            <p:nvPr/>
          </p:nvSpPr>
          <p:spPr>
            <a:xfrm>
              <a:off x="10029294" y="939752"/>
              <a:ext cx="1687573" cy="1433461"/>
            </a:xfrm>
            <a:prstGeom prst="rect">
              <a:avLst/>
            </a:prstGeom>
            <a:noFill/>
            <a:ln w="12700" cap="flat" cmpd="sng" algn="ctr">
              <a:solidFill>
                <a:srgbClr val="FFFFFF">
                  <a:lumMod val="8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GothamBook" pitchFamily="50" charset="0"/>
                <a:ea typeface="+mn-ea"/>
                <a:cs typeface="+mn-cs"/>
              </a:endParaRPr>
            </a:p>
          </p:txBody>
        </p:sp>
        <p:pic>
          <p:nvPicPr>
            <p:cNvPr id="70" name="Gambar 26"/>
            <p:cNvPicPr>
              <a:picLocks noChangeAspect="1"/>
            </p:cNvPicPr>
            <p:nvPr/>
          </p:nvPicPr>
          <p:blipFill>
            <a:blip r:embed="rId9" cstate="screen"/>
            <a:stretch>
              <a:fillRect/>
            </a:stretch>
          </p:blipFill>
          <p:spPr>
            <a:xfrm>
              <a:off x="10584078" y="1125348"/>
              <a:ext cx="733052" cy="252324"/>
            </a:xfrm>
            <a:prstGeom prst="rect">
              <a:avLst/>
            </a:prstGeom>
          </p:spPr>
        </p:pic>
        <p:pic>
          <p:nvPicPr>
            <p:cNvPr id="71" name="Gambar 25"/>
            <p:cNvPicPr>
              <a:picLocks noChangeAspect="1"/>
            </p:cNvPicPr>
            <p:nvPr/>
          </p:nvPicPr>
          <p:blipFill>
            <a:blip r:embed="rId10" cstate="screen"/>
            <a:stretch>
              <a:fillRect/>
            </a:stretch>
          </p:blipFill>
          <p:spPr>
            <a:xfrm>
              <a:off x="10588874" y="1333400"/>
              <a:ext cx="745774" cy="240717"/>
            </a:xfrm>
            <a:prstGeom prst="rect">
              <a:avLst/>
            </a:prstGeom>
          </p:spPr>
        </p:pic>
        <p:pic>
          <p:nvPicPr>
            <p:cNvPr id="72" name="Picture 71"/>
            <p:cNvPicPr>
              <a:picLocks noChangeAspect="1"/>
            </p:cNvPicPr>
            <p:nvPr/>
          </p:nvPicPr>
          <p:blipFill>
            <a:blip r:embed="rId11" cstate="screen"/>
            <a:stretch>
              <a:fillRect/>
            </a:stretch>
          </p:blipFill>
          <p:spPr>
            <a:xfrm>
              <a:off x="10574800" y="1561877"/>
              <a:ext cx="1131416" cy="186451"/>
            </a:xfrm>
            <a:prstGeom prst="rect">
              <a:avLst/>
            </a:prstGeom>
          </p:spPr>
        </p:pic>
        <p:pic>
          <p:nvPicPr>
            <p:cNvPr id="73" name="Gambar 24"/>
            <p:cNvPicPr>
              <a:picLocks noChangeAspect="1"/>
            </p:cNvPicPr>
            <p:nvPr/>
          </p:nvPicPr>
          <p:blipFill rotWithShape="1">
            <a:blip r:embed="rId12" cstate="screen"/>
            <a:srcRect/>
            <a:stretch>
              <a:fillRect/>
            </a:stretch>
          </p:blipFill>
          <p:spPr>
            <a:xfrm>
              <a:off x="10574800" y="1780925"/>
              <a:ext cx="733053" cy="206586"/>
            </a:xfrm>
            <a:prstGeom prst="rect">
              <a:avLst/>
            </a:prstGeom>
          </p:spPr>
        </p:pic>
        <p:pic>
          <p:nvPicPr>
            <p:cNvPr id="74" name="Gambar 27"/>
            <p:cNvPicPr>
              <a:picLocks noChangeAspect="1"/>
            </p:cNvPicPr>
            <p:nvPr/>
          </p:nvPicPr>
          <p:blipFill>
            <a:blip r:embed="rId13" cstate="screen"/>
            <a:stretch>
              <a:fillRect/>
            </a:stretch>
          </p:blipFill>
          <p:spPr>
            <a:xfrm>
              <a:off x="10586414" y="2027041"/>
              <a:ext cx="705176" cy="214364"/>
            </a:xfrm>
            <a:prstGeom prst="rect">
              <a:avLst/>
            </a:prstGeom>
          </p:spPr>
        </p:pic>
        <p:sp>
          <p:nvSpPr>
            <p:cNvPr id="75" name="Rectangle: Rounded Corners 74"/>
            <p:cNvSpPr/>
            <p:nvPr/>
          </p:nvSpPr>
          <p:spPr>
            <a:xfrm>
              <a:off x="10253992" y="1185663"/>
              <a:ext cx="242537" cy="81138"/>
            </a:xfrm>
            <a:prstGeom prst="roundRect">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GothamBook" pitchFamily="50" charset="0"/>
                <a:ea typeface="+mn-ea"/>
                <a:cs typeface="+mn-cs"/>
              </a:endParaRPr>
            </a:p>
          </p:txBody>
        </p:sp>
        <p:sp>
          <p:nvSpPr>
            <p:cNvPr id="76" name="Rectangle: Rounded Corners 75"/>
            <p:cNvSpPr/>
            <p:nvPr/>
          </p:nvSpPr>
          <p:spPr>
            <a:xfrm>
              <a:off x="10256050" y="1839185"/>
              <a:ext cx="242537" cy="81138"/>
            </a:xfrm>
            <a:prstGeom prst="roundRect">
              <a:avLst/>
            </a:prstGeom>
            <a:solidFill>
              <a:srgbClr val="EC1C2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GothamBook" pitchFamily="50" charset="0"/>
                <a:ea typeface="+mn-ea"/>
                <a:cs typeface="+mn-cs"/>
              </a:endParaRPr>
            </a:p>
          </p:txBody>
        </p:sp>
        <p:sp>
          <p:nvSpPr>
            <p:cNvPr id="77" name="Rectangle: Rounded Corners 76"/>
            <p:cNvSpPr/>
            <p:nvPr/>
          </p:nvSpPr>
          <p:spPr>
            <a:xfrm>
              <a:off x="10253992" y="1378757"/>
              <a:ext cx="242537" cy="81138"/>
            </a:xfrm>
            <a:prstGeom prst="roundRect">
              <a:avLst/>
            </a:prstGeom>
            <a:solidFill>
              <a:srgbClr val="FA7D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GothamBook" pitchFamily="50" charset="0"/>
                <a:ea typeface="+mn-ea"/>
                <a:cs typeface="+mn-cs"/>
              </a:endParaRPr>
            </a:p>
          </p:txBody>
        </p:sp>
        <p:sp>
          <p:nvSpPr>
            <p:cNvPr id="78" name="Rectangle: Rounded Corners 77"/>
            <p:cNvSpPr/>
            <p:nvPr/>
          </p:nvSpPr>
          <p:spPr>
            <a:xfrm>
              <a:off x="10253991" y="1591563"/>
              <a:ext cx="242537" cy="81138"/>
            </a:xfrm>
            <a:prstGeom prst="roundRect">
              <a:avLst/>
            </a:prstGeom>
            <a:solidFill>
              <a:srgbClr val="000000">
                <a:lumMod val="50000"/>
                <a:lumOff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GothamBook" pitchFamily="50" charset="0"/>
                <a:ea typeface="+mn-ea"/>
                <a:cs typeface="+mn-cs"/>
              </a:endParaRPr>
            </a:p>
          </p:txBody>
        </p:sp>
        <p:sp>
          <p:nvSpPr>
            <p:cNvPr id="79" name="Rectangle: Rounded Corners 78"/>
            <p:cNvSpPr/>
            <p:nvPr/>
          </p:nvSpPr>
          <p:spPr>
            <a:xfrm>
              <a:off x="10253991" y="2089992"/>
              <a:ext cx="242537" cy="81138"/>
            </a:xfrm>
            <a:prstGeom prst="roundRect">
              <a:avLst/>
            </a:prstGeom>
            <a:solidFill>
              <a:srgbClr val="0070C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GothamBook" pitchFamily="50" charset="0"/>
                <a:ea typeface="+mn-ea"/>
                <a:cs typeface="+mn-cs"/>
              </a:endParaRPr>
            </a:p>
          </p:txBody>
        </p:sp>
      </p:grpSp>
      <p:graphicFrame>
        <p:nvGraphicFramePr>
          <p:cNvPr id="80" name="Table 79"/>
          <p:cNvGraphicFramePr>
            <a:graphicFrameLocks noGrp="1"/>
          </p:cNvGraphicFramePr>
          <p:nvPr/>
        </p:nvGraphicFramePr>
        <p:xfrm>
          <a:off x="8515610" y="6149616"/>
          <a:ext cx="1286372" cy="436798"/>
        </p:xfrm>
        <a:graphic>
          <a:graphicData uri="http://schemas.openxmlformats.org/drawingml/2006/table">
            <a:tbl>
              <a:tblPr>
                <a:tableStyleId>{5C22544A-7EE6-4342-B048-85BDC9FD1C3A}</a:tableStyleId>
              </a:tblPr>
              <a:tblGrid>
                <a:gridCol w="1286372">
                  <a:extLst>
                    <a:ext uri="{9D8B030D-6E8A-4147-A177-3AD203B41FA5}">
                      <a16:colId xmlns:a16="http://schemas.microsoft.com/office/drawing/2014/main" val="20000"/>
                    </a:ext>
                  </a:extLst>
                </a:gridCol>
              </a:tblGrid>
              <a:tr h="218399">
                <a:tc>
                  <a:txBody>
                    <a:bodyPr/>
                    <a:lstStyle/>
                    <a:p>
                      <a:pPr algn="ctr" fontAlgn="b"/>
                      <a:r>
                        <a:rPr lang="en-US" sz="1100" u="none" strike="noStrike" dirty="0">
                          <a:effectLst/>
                          <a:latin typeface="GothamBook" pitchFamily="50" charset="0"/>
                        </a:rPr>
                        <a:t>91.9</a:t>
                      </a:r>
                      <a:r>
                        <a:rPr lang="zh-CN" altLang="en-US" sz="1100" u="none" strike="noStrike" dirty="0">
                          <a:effectLst/>
                          <a:latin typeface="GothamBook" pitchFamily="50" charset="0"/>
                        </a:rPr>
                        <a:t>万吨锡</a:t>
                      </a:r>
                      <a:r>
                        <a:rPr lang="en-US" sz="1100" u="none" strike="noStrike" dirty="0">
                          <a:effectLst/>
                          <a:latin typeface="GothamBook" pitchFamily="50" charset="0"/>
                        </a:rPr>
                        <a:t> </a:t>
                      </a:r>
                      <a:endParaRPr lang="en-US" sz="1100" b="0" i="0" u="none" strike="noStrike" dirty="0">
                        <a:solidFill>
                          <a:srgbClr val="000000"/>
                        </a:solidFill>
                        <a:effectLst/>
                        <a:latin typeface="GothamBook" pitchFamily="50" charset="0"/>
                      </a:endParaRPr>
                    </a:p>
                  </a:txBody>
                  <a:tcPr marL="6350" marR="6350" marT="6350" marB="0" anchor="ctr">
                    <a:solidFill>
                      <a:srgbClr val="C9F1FF"/>
                    </a:solidFill>
                  </a:tcPr>
                </a:tc>
                <a:extLst>
                  <a:ext uri="{0D108BD9-81ED-4DB2-BD59-A6C34878D82A}">
                    <a16:rowId xmlns:a16="http://schemas.microsoft.com/office/drawing/2014/main" val="10000"/>
                  </a:ext>
                </a:extLst>
              </a:tr>
              <a:tr h="218399">
                <a:tc>
                  <a:txBody>
                    <a:bodyPr/>
                    <a:lstStyle/>
                    <a:p>
                      <a:pPr algn="ctr" fontAlgn="b"/>
                      <a:r>
                        <a:rPr lang="en-US" sz="1100" u="none" strike="noStrike" dirty="0">
                          <a:effectLst/>
                          <a:latin typeface="GothamBook" pitchFamily="50" charset="0"/>
                        </a:rPr>
                        <a:t>30</a:t>
                      </a:r>
                      <a:r>
                        <a:rPr lang="zh-CN" altLang="en-US" sz="1100" u="none" strike="noStrike" dirty="0">
                          <a:effectLst/>
                          <a:latin typeface="GothamBook" pitchFamily="50" charset="0"/>
                        </a:rPr>
                        <a:t>万吨锡</a:t>
                      </a:r>
                      <a:endParaRPr lang="en-US" sz="1100" b="0" i="0" u="none" strike="noStrike" dirty="0">
                        <a:solidFill>
                          <a:srgbClr val="000000"/>
                        </a:solidFill>
                        <a:effectLst/>
                        <a:latin typeface="GothamBook" pitchFamily="50" charset="0"/>
                      </a:endParaRPr>
                    </a:p>
                  </a:txBody>
                  <a:tcPr marL="6350" marR="6350" marT="6350" marB="0" anchor="ctr">
                    <a:solidFill>
                      <a:srgbClr val="FF93BF"/>
                    </a:solidFill>
                  </a:tcPr>
                </a:tc>
                <a:extLst>
                  <a:ext uri="{0D108BD9-81ED-4DB2-BD59-A6C34878D82A}">
                    <a16:rowId xmlns:a16="http://schemas.microsoft.com/office/drawing/2014/main" val="10001"/>
                  </a:ext>
                </a:extLst>
              </a:tr>
            </a:tbl>
          </a:graphicData>
        </a:graphic>
      </p:graphicFrame>
      <p:graphicFrame>
        <p:nvGraphicFramePr>
          <p:cNvPr id="81" name="Table 80"/>
          <p:cNvGraphicFramePr>
            <a:graphicFrameLocks noGrp="1"/>
          </p:cNvGraphicFramePr>
          <p:nvPr/>
        </p:nvGraphicFramePr>
        <p:xfrm>
          <a:off x="1004178" y="6151667"/>
          <a:ext cx="1286372" cy="436798"/>
        </p:xfrm>
        <a:graphic>
          <a:graphicData uri="http://schemas.openxmlformats.org/drawingml/2006/table">
            <a:tbl>
              <a:tblPr>
                <a:tableStyleId>{5C22544A-7EE6-4342-B048-85BDC9FD1C3A}</a:tableStyleId>
              </a:tblPr>
              <a:tblGrid>
                <a:gridCol w="1286372">
                  <a:extLst>
                    <a:ext uri="{9D8B030D-6E8A-4147-A177-3AD203B41FA5}">
                      <a16:colId xmlns:a16="http://schemas.microsoft.com/office/drawing/2014/main" val="20000"/>
                    </a:ext>
                  </a:extLst>
                </a:gridCol>
              </a:tblGrid>
              <a:tr h="218399">
                <a:tc>
                  <a:txBody>
                    <a:bodyPr/>
                    <a:lstStyle/>
                    <a:p>
                      <a:pPr algn="ctr" fontAlgn="ctr">
                        <a:lnSpc>
                          <a:spcPts val="1200"/>
                        </a:lnSpc>
                      </a:pPr>
                      <a:r>
                        <a:rPr lang="en-US" sz="1100" u="none" strike="noStrike" dirty="0">
                          <a:effectLst/>
                          <a:latin typeface="GothamBook" pitchFamily="50" charset="0"/>
                        </a:rPr>
                        <a:t>5.874</a:t>
                      </a:r>
                      <a:r>
                        <a:rPr lang="zh-CN" altLang="en-US" sz="1100" u="none" strike="noStrike" dirty="0">
                          <a:effectLst/>
                          <a:latin typeface="GothamBook" pitchFamily="50" charset="0"/>
                        </a:rPr>
                        <a:t>亿湿公吨</a:t>
                      </a:r>
                      <a:endParaRPr lang="en-US" sz="1100" b="0" i="0" u="none" strike="noStrike" dirty="0">
                        <a:solidFill>
                          <a:srgbClr val="000000"/>
                        </a:solidFill>
                        <a:effectLst/>
                        <a:latin typeface="GothamBook" pitchFamily="50" charset="0"/>
                      </a:endParaRPr>
                    </a:p>
                  </a:txBody>
                  <a:tcPr marL="6350" marR="6350" marT="6350" marB="0" anchor="ctr">
                    <a:solidFill>
                      <a:srgbClr val="C9F1FF"/>
                    </a:solidFill>
                  </a:tcPr>
                </a:tc>
                <a:extLst>
                  <a:ext uri="{0D108BD9-81ED-4DB2-BD59-A6C34878D82A}">
                    <a16:rowId xmlns:a16="http://schemas.microsoft.com/office/drawing/2014/main" val="10000"/>
                  </a:ext>
                </a:extLst>
              </a:tr>
              <a:tr h="218399">
                <a:tc>
                  <a:txBody>
                    <a:bodyPr/>
                    <a:lstStyle/>
                    <a:p>
                      <a:pPr algn="ctr" fontAlgn="ctr">
                        <a:lnSpc>
                          <a:spcPts val="1200"/>
                        </a:lnSpc>
                      </a:pPr>
                      <a:r>
                        <a:rPr lang="en-US" sz="1100" u="none" strike="noStrike" dirty="0">
                          <a:effectLst/>
                          <a:latin typeface="GothamBook" pitchFamily="50" charset="0"/>
                        </a:rPr>
                        <a:t>1.072</a:t>
                      </a:r>
                      <a:r>
                        <a:rPr lang="zh-CN" altLang="en-US" sz="1100" u="none" strike="noStrike" dirty="0">
                          <a:effectLst/>
                          <a:latin typeface="GothamBook" pitchFamily="50" charset="0"/>
                        </a:rPr>
                        <a:t>亿湿公吨</a:t>
                      </a:r>
                      <a:endParaRPr lang="en-US" sz="1100" b="0" i="0" u="none" strike="noStrike" dirty="0">
                        <a:solidFill>
                          <a:srgbClr val="000000"/>
                        </a:solidFill>
                        <a:effectLst/>
                        <a:latin typeface="GothamBook" pitchFamily="50" charset="0"/>
                      </a:endParaRPr>
                    </a:p>
                  </a:txBody>
                  <a:tcPr marL="6350" marR="6350" marT="6350" marB="0" anchor="ctr">
                    <a:solidFill>
                      <a:srgbClr val="FF93BF"/>
                    </a:solidFill>
                  </a:tcPr>
                </a:tc>
                <a:extLst>
                  <a:ext uri="{0D108BD9-81ED-4DB2-BD59-A6C34878D82A}">
                    <a16:rowId xmlns:a16="http://schemas.microsoft.com/office/drawing/2014/main" val="10001"/>
                  </a:ext>
                </a:extLst>
              </a:tr>
            </a:tbl>
          </a:graphicData>
        </a:graphic>
      </p:graphicFrame>
      <p:graphicFrame>
        <p:nvGraphicFramePr>
          <p:cNvPr id="82" name="Table 81"/>
          <p:cNvGraphicFramePr>
            <a:graphicFrameLocks noGrp="1"/>
          </p:cNvGraphicFramePr>
          <p:nvPr/>
        </p:nvGraphicFramePr>
        <p:xfrm>
          <a:off x="2555739" y="6149641"/>
          <a:ext cx="1286372" cy="436798"/>
        </p:xfrm>
        <a:graphic>
          <a:graphicData uri="http://schemas.openxmlformats.org/drawingml/2006/table">
            <a:tbl>
              <a:tblPr>
                <a:tableStyleId>{5C22544A-7EE6-4342-B048-85BDC9FD1C3A}</a:tableStyleId>
              </a:tblPr>
              <a:tblGrid>
                <a:gridCol w="1286372">
                  <a:extLst>
                    <a:ext uri="{9D8B030D-6E8A-4147-A177-3AD203B41FA5}">
                      <a16:colId xmlns:a16="http://schemas.microsoft.com/office/drawing/2014/main" val="20000"/>
                    </a:ext>
                  </a:extLst>
                </a:gridCol>
              </a:tblGrid>
              <a:tr h="218399">
                <a:tc>
                  <a:txBody>
                    <a:bodyPr/>
                    <a:lstStyle/>
                    <a:p>
                      <a:pPr algn="ctr" fontAlgn="b"/>
                      <a:r>
                        <a:rPr lang="en-US" sz="1100" u="none" strike="noStrike" dirty="0">
                          <a:effectLst/>
                          <a:latin typeface="GothamBook" pitchFamily="50" charset="0"/>
                        </a:rPr>
                        <a:t>588.9</a:t>
                      </a:r>
                      <a:r>
                        <a:rPr lang="zh-CN" altLang="en-US" sz="1100" u="none" strike="noStrike" dirty="0">
                          <a:effectLst/>
                          <a:latin typeface="GothamBook" pitchFamily="50" charset="0"/>
                        </a:rPr>
                        <a:t>万吨</a:t>
                      </a:r>
                      <a:r>
                        <a:rPr lang="en-US" sz="1100" u="none" strike="noStrike" dirty="0">
                          <a:effectLst/>
                          <a:latin typeface="GothamBook" pitchFamily="50" charset="0"/>
                        </a:rPr>
                        <a:t> </a:t>
                      </a:r>
                      <a:endParaRPr lang="en-US" sz="1100" b="0" i="0" u="none" strike="noStrike" dirty="0">
                        <a:solidFill>
                          <a:srgbClr val="000000"/>
                        </a:solidFill>
                        <a:effectLst/>
                        <a:latin typeface="GothamBook" pitchFamily="50" charset="0"/>
                      </a:endParaRPr>
                    </a:p>
                  </a:txBody>
                  <a:tcPr marL="6350" marR="6350" marT="6350" marB="0" anchor="ctr">
                    <a:solidFill>
                      <a:srgbClr val="C9F1FF"/>
                    </a:solidFill>
                  </a:tcPr>
                </a:tc>
                <a:extLst>
                  <a:ext uri="{0D108BD9-81ED-4DB2-BD59-A6C34878D82A}">
                    <a16:rowId xmlns:a16="http://schemas.microsoft.com/office/drawing/2014/main" val="10000"/>
                  </a:ext>
                </a:extLst>
              </a:tr>
              <a:tr h="218399">
                <a:tc>
                  <a:txBody>
                    <a:bodyPr/>
                    <a:lstStyle/>
                    <a:p>
                      <a:pPr algn="ctr" fontAlgn="b"/>
                      <a:r>
                        <a:rPr lang="en-US" sz="1100" u="none" strike="noStrike" dirty="0">
                          <a:effectLst/>
                          <a:latin typeface="GothamBook" pitchFamily="50" charset="0"/>
                        </a:rPr>
                        <a:t>305.3</a:t>
                      </a:r>
                      <a:r>
                        <a:rPr lang="zh-CN" altLang="en-US" sz="1100" u="none" strike="noStrike" dirty="0">
                          <a:effectLst/>
                          <a:latin typeface="GothamBook" pitchFamily="50" charset="0"/>
                        </a:rPr>
                        <a:t>万吨</a:t>
                      </a:r>
                      <a:endParaRPr lang="en-US" sz="1100" b="0" i="0" u="none" strike="noStrike" dirty="0">
                        <a:solidFill>
                          <a:srgbClr val="000000"/>
                        </a:solidFill>
                        <a:effectLst/>
                        <a:latin typeface="GothamBook" pitchFamily="50" charset="0"/>
                      </a:endParaRPr>
                    </a:p>
                  </a:txBody>
                  <a:tcPr marL="6350" marR="6350" marT="6350" marB="0" anchor="ctr">
                    <a:solidFill>
                      <a:srgbClr val="FF93BF"/>
                    </a:solidFill>
                  </a:tcPr>
                </a:tc>
                <a:extLst>
                  <a:ext uri="{0D108BD9-81ED-4DB2-BD59-A6C34878D82A}">
                    <a16:rowId xmlns:a16="http://schemas.microsoft.com/office/drawing/2014/main" val="10001"/>
                  </a:ext>
                </a:extLst>
              </a:tr>
            </a:tbl>
          </a:graphicData>
        </a:graphic>
      </p:graphicFrame>
      <p:graphicFrame>
        <p:nvGraphicFramePr>
          <p:cNvPr id="83" name="Table 82"/>
          <p:cNvGraphicFramePr>
            <a:graphicFrameLocks noGrp="1"/>
          </p:cNvGraphicFramePr>
          <p:nvPr/>
        </p:nvGraphicFramePr>
        <p:xfrm>
          <a:off x="4135355" y="6149641"/>
          <a:ext cx="1286372" cy="436798"/>
        </p:xfrm>
        <a:graphic>
          <a:graphicData uri="http://schemas.openxmlformats.org/drawingml/2006/table">
            <a:tbl>
              <a:tblPr>
                <a:tableStyleId>{5C22544A-7EE6-4342-B048-85BDC9FD1C3A}</a:tableStyleId>
              </a:tblPr>
              <a:tblGrid>
                <a:gridCol w="1286372">
                  <a:extLst>
                    <a:ext uri="{9D8B030D-6E8A-4147-A177-3AD203B41FA5}">
                      <a16:colId xmlns:a16="http://schemas.microsoft.com/office/drawing/2014/main" val="20000"/>
                    </a:ext>
                  </a:extLst>
                </a:gridCol>
              </a:tblGrid>
              <a:tr h="218399">
                <a:tc>
                  <a:txBody>
                    <a:bodyPr/>
                    <a:lstStyle/>
                    <a:p>
                      <a:pPr algn="ctr" fontAlgn="ctr">
                        <a:lnSpc>
                          <a:spcPts val="1200"/>
                        </a:lnSpc>
                      </a:pPr>
                      <a:r>
                        <a:rPr lang="en-US" sz="1100" u="none" strike="noStrike" dirty="0">
                          <a:effectLst/>
                          <a:latin typeface="GothamBook" pitchFamily="50" charset="0"/>
                        </a:rPr>
                        <a:t>14.08</a:t>
                      </a:r>
                      <a:r>
                        <a:rPr lang="zh-CN" altLang="en-US" sz="1100" u="none" strike="noStrike" dirty="0">
                          <a:effectLst/>
                          <a:latin typeface="GothamBook" pitchFamily="50" charset="0"/>
                        </a:rPr>
                        <a:t>亿湿公吨</a:t>
                      </a:r>
                      <a:endParaRPr lang="en-US" sz="1100" b="0" i="0" u="none" strike="noStrike" dirty="0">
                        <a:solidFill>
                          <a:srgbClr val="000000"/>
                        </a:solidFill>
                        <a:effectLst/>
                        <a:latin typeface="GothamBook" pitchFamily="50" charset="0"/>
                      </a:endParaRPr>
                    </a:p>
                  </a:txBody>
                  <a:tcPr marL="6350" marR="6350" marT="6350" marB="0" anchor="ctr">
                    <a:solidFill>
                      <a:srgbClr val="C9F1FF"/>
                    </a:solidFill>
                  </a:tcPr>
                </a:tc>
                <a:extLst>
                  <a:ext uri="{0D108BD9-81ED-4DB2-BD59-A6C34878D82A}">
                    <a16:rowId xmlns:a16="http://schemas.microsoft.com/office/drawing/2014/main" val="10000"/>
                  </a:ext>
                </a:extLst>
              </a:tr>
              <a:tr h="218399">
                <a:tc>
                  <a:txBody>
                    <a:bodyPr/>
                    <a:lstStyle/>
                    <a:p>
                      <a:pPr algn="ctr" fontAlgn="ctr">
                        <a:lnSpc>
                          <a:spcPts val="1200"/>
                        </a:lnSpc>
                      </a:pPr>
                      <a:r>
                        <a:rPr lang="en-US" sz="1100" u="none" strike="noStrike" dirty="0">
                          <a:effectLst/>
                          <a:latin typeface="GothamBook" pitchFamily="50" charset="0"/>
                        </a:rPr>
                        <a:t>3.819</a:t>
                      </a:r>
                      <a:r>
                        <a:rPr lang="zh-CN" altLang="en-US" sz="1100" u="none" strike="noStrike" dirty="0">
                          <a:effectLst/>
                          <a:latin typeface="GothamBook" pitchFamily="50" charset="0"/>
                        </a:rPr>
                        <a:t>亿湿公吨</a:t>
                      </a:r>
                      <a:endParaRPr lang="en-US" sz="1100" b="0" i="0" u="none" strike="noStrike" dirty="0">
                        <a:solidFill>
                          <a:srgbClr val="000000"/>
                        </a:solidFill>
                        <a:effectLst/>
                        <a:latin typeface="GothamBook" pitchFamily="50" charset="0"/>
                      </a:endParaRPr>
                    </a:p>
                  </a:txBody>
                  <a:tcPr marL="6350" marR="6350" marT="6350" marB="0" anchor="ctr">
                    <a:solidFill>
                      <a:srgbClr val="FF93BF"/>
                    </a:solidFill>
                  </a:tcPr>
                </a:tc>
                <a:extLst>
                  <a:ext uri="{0D108BD9-81ED-4DB2-BD59-A6C34878D82A}">
                    <a16:rowId xmlns:a16="http://schemas.microsoft.com/office/drawing/2014/main" val="10001"/>
                  </a:ext>
                </a:extLst>
              </a:tr>
            </a:tbl>
          </a:graphicData>
        </a:graphic>
      </p:graphicFrame>
      <p:graphicFrame>
        <p:nvGraphicFramePr>
          <p:cNvPr id="84" name="Table 83"/>
          <p:cNvGraphicFramePr>
            <a:graphicFrameLocks noGrp="1"/>
          </p:cNvGraphicFramePr>
          <p:nvPr/>
        </p:nvGraphicFramePr>
        <p:xfrm>
          <a:off x="5584762" y="6148911"/>
          <a:ext cx="1383288" cy="436798"/>
        </p:xfrm>
        <a:graphic>
          <a:graphicData uri="http://schemas.openxmlformats.org/drawingml/2006/table">
            <a:tbl>
              <a:tblPr>
                <a:tableStyleId>{5C22544A-7EE6-4342-B048-85BDC9FD1C3A}</a:tableStyleId>
              </a:tblPr>
              <a:tblGrid>
                <a:gridCol w="1383288">
                  <a:extLst>
                    <a:ext uri="{9D8B030D-6E8A-4147-A177-3AD203B41FA5}">
                      <a16:colId xmlns:a16="http://schemas.microsoft.com/office/drawing/2014/main" val="20000"/>
                    </a:ext>
                  </a:extLst>
                </a:gridCol>
              </a:tblGrid>
              <a:tr h="218399">
                <a:tc>
                  <a:txBody>
                    <a:bodyPr/>
                    <a:lstStyle/>
                    <a:p>
                      <a:pPr algn="ctr" fontAlgn="b"/>
                      <a:r>
                        <a:rPr lang="en-US" sz="1100" u="none" strike="noStrike" dirty="0">
                          <a:effectLst/>
                          <a:latin typeface="GothamBook" pitchFamily="50" charset="0"/>
                        </a:rPr>
                        <a:t>518.49</a:t>
                      </a:r>
                      <a:r>
                        <a:rPr lang="zh-CN" altLang="en-US" sz="1100" u="none" strike="noStrike" dirty="0">
                          <a:effectLst/>
                          <a:latin typeface="GothamBook" pitchFamily="50" charset="0"/>
                        </a:rPr>
                        <a:t>亿盎司</a:t>
                      </a:r>
                      <a:endParaRPr lang="en-US" sz="1100" b="0" i="0" u="none" strike="noStrike" dirty="0">
                        <a:solidFill>
                          <a:srgbClr val="000000"/>
                        </a:solidFill>
                        <a:effectLst/>
                        <a:latin typeface="GothamBook" pitchFamily="50" charset="0"/>
                      </a:endParaRPr>
                    </a:p>
                  </a:txBody>
                  <a:tcPr marL="6350" marR="6350" marT="6350" marB="0" anchor="ctr">
                    <a:solidFill>
                      <a:srgbClr val="C9F1FF"/>
                    </a:solidFill>
                  </a:tcPr>
                </a:tc>
                <a:extLst>
                  <a:ext uri="{0D108BD9-81ED-4DB2-BD59-A6C34878D82A}">
                    <a16:rowId xmlns:a16="http://schemas.microsoft.com/office/drawing/2014/main" val="10000"/>
                  </a:ext>
                </a:extLst>
              </a:tr>
              <a:tr h="218399">
                <a:tc>
                  <a:txBody>
                    <a:bodyPr/>
                    <a:lstStyle/>
                    <a:p>
                      <a:pPr algn="ctr" fontAlgn="b"/>
                      <a:r>
                        <a:rPr lang="en-US" sz="1100" u="none" strike="noStrike" dirty="0">
                          <a:effectLst/>
                          <a:latin typeface="GothamBook" pitchFamily="50" charset="0"/>
                        </a:rPr>
                        <a:t>26,590</a:t>
                      </a:r>
                      <a:r>
                        <a:rPr lang="zh-CN" altLang="en-US" sz="1100" u="none" strike="noStrike" dirty="0">
                          <a:effectLst/>
                          <a:latin typeface="GothamBook" pitchFamily="50" charset="0"/>
                        </a:rPr>
                        <a:t>盎司</a:t>
                      </a:r>
                      <a:endParaRPr lang="en-US" sz="1100" u="none" strike="noStrike" dirty="0">
                        <a:effectLst/>
                        <a:latin typeface="GothamBook" pitchFamily="50" charset="0"/>
                      </a:endParaRPr>
                    </a:p>
                  </a:txBody>
                  <a:tcPr marL="6350" marR="6350" marT="6350" marB="0" anchor="ctr">
                    <a:solidFill>
                      <a:srgbClr val="FF93BF"/>
                    </a:solidFill>
                  </a:tcPr>
                </a:tc>
                <a:extLst>
                  <a:ext uri="{0D108BD9-81ED-4DB2-BD59-A6C34878D82A}">
                    <a16:rowId xmlns:a16="http://schemas.microsoft.com/office/drawing/2014/main" val="10001"/>
                  </a:ext>
                </a:extLst>
              </a:tr>
            </a:tbl>
          </a:graphicData>
        </a:graphic>
      </p:graphicFrame>
      <p:graphicFrame>
        <p:nvGraphicFramePr>
          <p:cNvPr id="85" name="Table 84"/>
          <p:cNvGraphicFramePr>
            <a:graphicFrameLocks noGrp="1"/>
          </p:cNvGraphicFramePr>
          <p:nvPr/>
        </p:nvGraphicFramePr>
        <p:xfrm>
          <a:off x="7044326" y="6147513"/>
          <a:ext cx="1383288" cy="436798"/>
        </p:xfrm>
        <a:graphic>
          <a:graphicData uri="http://schemas.openxmlformats.org/drawingml/2006/table">
            <a:tbl>
              <a:tblPr>
                <a:tableStyleId>{5C22544A-7EE6-4342-B048-85BDC9FD1C3A}</a:tableStyleId>
              </a:tblPr>
              <a:tblGrid>
                <a:gridCol w="1383288">
                  <a:extLst>
                    <a:ext uri="{9D8B030D-6E8A-4147-A177-3AD203B41FA5}">
                      <a16:colId xmlns:a16="http://schemas.microsoft.com/office/drawing/2014/main" val="20000"/>
                    </a:ext>
                  </a:extLst>
                </a:gridCol>
              </a:tblGrid>
              <a:tr h="218399">
                <a:tc>
                  <a:txBody>
                    <a:bodyPr/>
                    <a:lstStyle/>
                    <a:p>
                      <a:pPr algn="ctr" fontAlgn="b"/>
                      <a:r>
                        <a:rPr lang="en-US" sz="1100" u="none" strike="noStrike" baseline="0" dirty="0">
                          <a:effectLst/>
                          <a:latin typeface="GothamBook" pitchFamily="50" charset="0"/>
                        </a:rPr>
                        <a:t>4,284.6</a:t>
                      </a:r>
                      <a:r>
                        <a:rPr lang="zh-CN" altLang="en-US" sz="1100" u="none" strike="noStrike" baseline="0" dirty="0">
                          <a:effectLst/>
                          <a:latin typeface="GothamBook" pitchFamily="50" charset="0"/>
                        </a:rPr>
                        <a:t>万磅铜</a:t>
                      </a:r>
                      <a:endParaRPr lang="en-US" sz="1100" b="0" i="0" u="none" strike="noStrike" dirty="0">
                        <a:solidFill>
                          <a:srgbClr val="000000"/>
                        </a:solidFill>
                        <a:effectLst/>
                        <a:latin typeface="GothamBook" pitchFamily="50" charset="0"/>
                      </a:endParaRPr>
                    </a:p>
                  </a:txBody>
                  <a:tcPr marL="6350" marR="6350" marT="6350" marB="0" anchor="ctr">
                    <a:solidFill>
                      <a:srgbClr val="C9F1FF"/>
                    </a:solidFill>
                  </a:tcPr>
                </a:tc>
                <a:extLst>
                  <a:ext uri="{0D108BD9-81ED-4DB2-BD59-A6C34878D82A}">
                    <a16:rowId xmlns:a16="http://schemas.microsoft.com/office/drawing/2014/main" val="10000"/>
                  </a:ext>
                </a:extLst>
              </a:tr>
              <a:tr h="218399">
                <a:tc>
                  <a:txBody>
                    <a:bodyPr/>
                    <a:lstStyle/>
                    <a:p>
                      <a:pPr algn="ctr" fontAlgn="b"/>
                      <a:r>
                        <a:rPr lang="en-US" sz="1100" u="none" strike="noStrike" dirty="0">
                          <a:effectLst/>
                          <a:latin typeface="GothamBook" pitchFamily="50" charset="0"/>
                        </a:rPr>
                        <a:t>3,221.4</a:t>
                      </a:r>
                      <a:r>
                        <a:rPr lang="zh-CN" altLang="en-US" sz="1100" u="none" strike="noStrike" dirty="0">
                          <a:effectLst/>
                          <a:latin typeface="GothamBook" pitchFamily="50" charset="0"/>
                        </a:rPr>
                        <a:t>万磅铜</a:t>
                      </a:r>
                      <a:endParaRPr lang="en-US" sz="1100" u="none" strike="noStrike" dirty="0">
                        <a:effectLst/>
                        <a:latin typeface="GothamBook" pitchFamily="50" charset="0"/>
                      </a:endParaRPr>
                    </a:p>
                  </a:txBody>
                  <a:tcPr marL="6350" marR="6350" marT="6350" marB="0" anchor="ctr">
                    <a:solidFill>
                      <a:srgbClr val="FF93BF"/>
                    </a:solidFill>
                  </a:tcPr>
                </a:tc>
                <a:extLst>
                  <a:ext uri="{0D108BD9-81ED-4DB2-BD59-A6C34878D82A}">
                    <a16:rowId xmlns:a16="http://schemas.microsoft.com/office/drawing/2014/main" val="10001"/>
                  </a:ext>
                </a:extLst>
              </a:tr>
            </a:tbl>
          </a:graphicData>
        </a:graphic>
      </p:graphicFrame>
      <p:graphicFrame>
        <p:nvGraphicFramePr>
          <p:cNvPr id="86" name="Table 85"/>
          <p:cNvGraphicFramePr>
            <a:graphicFrameLocks noGrp="1"/>
          </p:cNvGraphicFramePr>
          <p:nvPr/>
        </p:nvGraphicFramePr>
        <p:xfrm>
          <a:off x="9905224" y="6133892"/>
          <a:ext cx="1551561" cy="436798"/>
        </p:xfrm>
        <a:graphic>
          <a:graphicData uri="http://schemas.openxmlformats.org/drawingml/2006/table">
            <a:tbl>
              <a:tblPr>
                <a:tableStyleId>{5C22544A-7EE6-4342-B048-85BDC9FD1C3A}</a:tableStyleId>
              </a:tblPr>
              <a:tblGrid>
                <a:gridCol w="1551561">
                  <a:extLst>
                    <a:ext uri="{9D8B030D-6E8A-4147-A177-3AD203B41FA5}">
                      <a16:colId xmlns:a16="http://schemas.microsoft.com/office/drawing/2014/main" val="20000"/>
                    </a:ext>
                  </a:extLst>
                </a:gridCol>
              </a:tblGrid>
              <a:tr h="436798">
                <a:tc>
                  <a:txBody>
                    <a:bodyPr/>
                    <a:lstStyle/>
                    <a:p>
                      <a:pPr algn="ctr" fontAlgn="b"/>
                      <a:r>
                        <a:rPr lang="zh-CN" altLang="en-US" sz="1100" u="none" strike="noStrike" dirty="0">
                          <a:effectLst/>
                          <a:latin typeface="GothamBook" pitchFamily="50" charset="0"/>
                        </a:rPr>
                        <a:t>工厂年产能</a:t>
                      </a:r>
                      <a:r>
                        <a:rPr lang="en-US" altLang="zh-CN" sz="1100" u="none" strike="noStrike" dirty="0">
                          <a:effectLst/>
                          <a:latin typeface="GothamBook" pitchFamily="50" charset="0"/>
                        </a:rPr>
                        <a:t>2.5</a:t>
                      </a:r>
                      <a:r>
                        <a:rPr lang="zh-CN" altLang="en-US" sz="1100" u="none" strike="noStrike" dirty="0">
                          <a:effectLst/>
                          <a:latin typeface="GothamBook" pitchFamily="50" charset="0"/>
                        </a:rPr>
                        <a:t>亿吨</a:t>
                      </a:r>
                      <a:endParaRPr lang="en-US" sz="1100" b="0" i="0" u="none" strike="noStrike" dirty="0">
                        <a:solidFill>
                          <a:srgbClr val="000000"/>
                        </a:solidFill>
                        <a:effectLst/>
                        <a:latin typeface="GothamBook" pitchFamily="50" charset="0"/>
                      </a:endParaRPr>
                    </a:p>
                  </a:txBody>
                  <a:tcPr marL="6350" marR="6350" marT="6350" marB="0" anchor="ctr">
                    <a:solidFill>
                      <a:srgbClr val="FFC000"/>
                    </a:solidFill>
                  </a:tcPr>
                </a:tc>
                <a:extLst>
                  <a:ext uri="{0D108BD9-81ED-4DB2-BD59-A6C34878D82A}">
                    <a16:rowId xmlns:a16="http://schemas.microsoft.com/office/drawing/2014/main" val="10000"/>
                  </a:ext>
                </a:extLst>
              </a:tr>
            </a:tbl>
          </a:graphicData>
        </a:graphic>
      </p:graphicFrame>
      <p:graphicFrame>
        <p:nvGraphicFramePr>
          <p:cNvPr id="87" name="Table 86"/>
          <p:cNvGraphicFramePr>
            <a:graphicFrameLocks noGrp="1"/>
          </p:cNvGraphicFramePr>
          <p:nvPr/>
        </p:nvGraphicFramePr>
        <p:xfrm>
          <a:off x="112489" y="6142091"/>
          <a:ext cx="847691" cy="436798"/>
        </p:xfrm>
        <a:graphic>
          <a:graphicData uri="http://schemas.openxmlformats.org/drawingml/2006/table">
            <a:tbl>
              <a:tblPr>
                <a:tableStyleId>{5C22544A-7EE6-4342-B048-85BDC9FD1C3A}</a:tableStyleId>
              </a:tblPr>
              <a:tblGrid>
                <a:gridCol w="847691">
                  <a:extLst>
                    <a:ext uri="{9D8B030D-6E8A-4147-A177-3AD203B41FA5}">
                      <a16:colId xmlns:a16="http://schemas.microsoft.com/office/drawing/2014/main" val="20000"/>
                    </a:ext>
                  </a:extLst>
                </a:gridCol>
              </a:tblGrid>
              <a:tr h="218399">
                <a:tc>
                  <a:txBody>
                    <a:bodyPr/>
                    <a:lstStyle/>
                    <a:p>
                      <a:pPr algn="l" fontAlgn="ctr">
                        <a:lnSpc>
                          <a:spcPts val="1200"/>
                        </a:lnSpc>
                      </a:pPr>
                      <a:r>
                        <a:rPr lang="zh-CN" altLang="en-US" sz="1100" b="0" i="0" u="none" strike="noStrike" dirty="0">
                          <a:solidFill>
                            <a:srgbClr val="000000"/>
                          </a:solidFill>
                          <a:effectLst/>
                          <a:latin typeface="GothamBook" pitchFamily="50" charset="0"/>
                        </a:rPr>
                        <a:t>资源量</a:t>
                      </a:r>
                    </a:p>
                  </a:txBody>
                  <a:tcPr marL="6350" marR="6350" marT="6350" marB="0" anchor="ctr">
                    <a:solidFill>
                      <a:srgbClr val="C9F1FF"/>
                    </a:solidFill>
                  </a:tcPr>
                </a:tc>
                <a:extLst>
                  <a:ext uri="{0D108BD9-81ED-4DB2-BD59-A6C34878D82A}">
                    <a16:rowId xmlns:a16="http://schemas.microsoft.com/office/drawing/2014/main" val="10000"/>
                  </a:ext>
                </a:extLst>
              </a:tr>
              <a:tr h="218399">
                <a:tc>
                  <a:txBody>
                    <a:bodyPr/>
                    <a:lstStyle/>
                    <a:p>
                      <a:pPr algn="l" fontAlgn="ctr">
                        <a:lnSpc>
                          <a:spcPts val="1200"/>
                        </a:lnSpc>
                      </a:pPr>
                      <a:r>
                        <a:rPr lang="zh-CN" altLang="en-US" sz="1100" b="0" i="0" u="none" strike="noStrike" dirty="0">
                          <a:solidFill>
                            <a:srgbClr val="000000"/>
                          </a:solidFill>
                          <a:effectLst/>
                          <a:latin typeface="GothamBook" pitchFamily="50" charset="0"/>
                        </a:rPr>
                        <a:t>储量</a:t>
                      </a:r>
                      <a:endParaRPr lang="en-US" sz="1100" b="0" i="0" u="none" strike="noStrike" dirty="0">
                        <a:solidFill>
                          <a:srgbClr val="000000"/>
                        </a:solidFill>
                        <a:effectLst/>
                        <a:latin typeface="GothamBook" pitchFamily="50" charset="0"/>
                      </a:endParaRPr>
                    </a:p>
                  </a:txBody>
                  <a:tcPr marL="6350" marR="6350" marT="6350" marB="0" anchor="ctr">
                    <a:solidFill>
                      <a:srgbClr val="FF93BF"/>
                    </a:solidFill>
                  </a:tcPr>
                </a:tc>
                <a:extLst>
                  <a:ext uri="{0D108BD9-81ED-4DB2-BD59-A6C34878D82A}">
                    <a16:rowId xmlns:a16="http://schemas.microsoft.com/office/drawing/2014/main" val="10001"/>
                  </a:ext>
                </a:extLst>
              </a:tr>
            </a:tbl>
          </a:graphicData>
        </a:graphic>
      </p:graphicFrame>
      <p:grpSp>
        <p:nvGrpSpPr>
          <p:cNvPr id="88" name="Group 87"/>
          <p:cNvGrpSpPr/>
          <p:nvPr/>
        </p:nvGrpSpPr>
        <p:grpSpPr>
          <a:xfrm>
            <a:off x="569363" y="1201218"/>
            <a:ext cx="11123134" cy="3646898"/>
            <a:chOff x="635669" y="1364113"/>
            <a:chExt cx="11123133" cy="3646897"/>
          </a:xfrm>
        </p:grpSpPr>
        <p:grpSp>
          <p:nvGrpSpPr>
            <p:cNvPr id="89" name="Group 88"/>
            <p:cNvGrpSpPr/>
            <p:nvPr/>
          </p:nvGrpSpPr>
          <p:grpSpPr>
            <a:xfrm>
              <a:off x="6062345" y="4112123"/>
              <a:ext cx="702906" cy="178108"/>
              <a:chOff x="1360034" y="1282621"/>
              <a:chExt cx="702906" cy="178108"/>
            </a:xfrm>
            <a:solidFill>
              <a:srgbClr val="EC1C24">
                <a:lumMod val="75000"/>
              </a:srgbClr>
            </a:solidFill>
          </p:grpSpPr>
          <p:sp>
            <p:nvSpPr>
              <p:cNvPr id="276" name="Rectangle: Rounded Corners 275"/>
              <p:cNvSpPr/>
              <p:nvPr/>
            </p:nvSpPr>
            <p:spPr>
              <a:xfrm>
                <a:off x="1360034" y="1295629"/>
                <a:ext cx="524504"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77" name="object 36"/>
              <p:cNvSpPr txBox="1"/>
              <p:nvPr/>
            </p:nvSpPr>
            <p:spPr>
              <a:xfrm>
                <a:off x="1549772" y="1282621"/>
                <a:ext cx="513168" cy="152606"/>
              </a:xfrm>
              <a:prstGeom prst="rect">
                <a:avLst/>
              </a:prstGeom>
              <a:noFill/>
              <a:ln>
                <a:noFill/>
              </a:ln>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defRPr/>
                </a:pPr>
                <a:r>
                  <a:rPr kumimoji="0" lang="zh-CN" altLang="en-US" sz="900" b="0" i="0" u="none" strike="noStrike" kern="0" cap="none" spc="-45" normalizeH="0" baseline="0" noProof="0" dirty="0">
                    <a:ln>
                      <a:noFill/>
                    </a:ln>
                    <a:solidFill>
                      <a:prstClr val="white"/>
                    </a:solidFill>
                    <a:effectLst/>
                    <a:uLnTx/>
                    <a:uFillTx/>
                    <a:latin typeface="GothamBook" pitchFamily="50" charset="0"/>
                    <a:ea typeface="+mn-ea"/>
                    <a:cs typeface="Trebuchet MS" panose="020B0703020202090204"/>
                  </a:rPr>
                  <a:t>胡武</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90" name="Group 89"/>
            <p:cNvGrpSpPr/>
            <p:nvPr/>
          </p:nvGrpSpPr>
          <p:grpSpPr>
            <a:xfrm>
              <a:off x="4804269" y="3752555"/>
              <a:ext cx="469063" cy="201105"/>
              <a:chOff x="368142" y="1286451"/>
              <a:chExt cx="1047550" cy="174278"/>
            </a:xfrm>
            <a:solidFill>
              <a:srgbClr val="000000">
                <a:lumMod val="50000"/>
                <a:lumOff val="50000"/>
              </a:srgbClr>
            </a:solidFill>
          </p:grpSpPr>
          <p:sp>
            <p:nvSpPr>
              <p:cNvPr id="274" name="Rectangle: Rounded Corners 273"/>
              <p:cNvSpPr/>
              <p:nvPr/>
            </p:nvSpPr>
            <p:spPr>
              <a:xfrm>
                <a:off x="368142" y="1295629"/>
                <a:ext cx="1047550" cy="165100"/>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75" name="object 36"/>
              <p:cNvSpPr txBox="1"/>
              <p:nvPr/>
            </p:nvSpPr>
            <p:spPr>
              <a:xfrm>
                <a:off x="458878" y="1286451"/>
                <a:ext cx="818808" cy="132249"/>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格雷西</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sp>
          <p:nvSpPr>
            <p:cNvPr id="91" name="Freeform 5"/>
            <p:cNvSpPr>
              <a:spLocks noEditPoints="1"/>
            </p:cNvSpPr>
            <p:nvPr/>
          </p:nvSpPr>
          <p:spPr bwMode="auto">
            <a:xfrm>
              <a:off x="635669" y="1398762"/>
              <a:ext cx="10707686" cy="3612248"/>
            </a:xfrm>
            <a:custGeom>
              <a:avLst/>
              <a:gdLst>
                <a:gd name="T0" fmla="*/ 22910 w 29722"/>
                <a:gd name="T1" fmla="*/ 5170 h 10912"/>
                <a:gd name="T2" fmla="*/ 15973 w 29722"/>
                <a:gd name="T3" fmla="*/ 9281 h 10912"/>
                <a:gd name="T4" fmla="*/ 3659 w 29722"/>
                <a:gd name="T5" fmla="*/ 6035 h 10912"/>
                <a:gd name="T6" fmla="*/ 6015 w 29722"/>
                <a:gd name="T7" fmla="*/ 3320 h 10912"/>
                <a:gd name="T8" fmla="*/ 13311 w 29722"/>
                <a:gd name="T9" fmla="*/ 8343 h 10912"/>
                <a:gd name="T10" fmla="*/ 6009 w 29722"/>
                <a:gd name="T11" fmla="*/ 3580 h 10912"/>
                <a:gd name="T12" fmla="*/ 25015 w 29722"/>
                <a:gd name="T13" fmla="*/ 5241 h 10912"/>
                <a:gd name="T14" fmla="*/ 18972 w 29722"/>
                <a:gd name="T15" fmla="*/ 7237 h 10912"/>
                <a:gd name="T16" fmla="*/ 12244 w 29722"/>
                <a:gd name="T17" fmla="*/ 8370 h 10912"/>
                <a:gd name="T18" fmla="*/ 14631 w 29722"/>
                <a:gd name="T19" fmla="*/ 9103 h 10912"/>
                <a:gd name="T20" fmla="*/ 18658 w 29722"/>
                <a:gd name="T21" fmla="*/ 5091 h 10912"/>
                <a:gd name="T22" fmla="*/ 21422 w 29722"/>
                <a:gd name="T23" fmla="*/ 2275 h 10912"/>
                <a:gd name="T24" fmla="*/ 6156 w 29722"/>
                <a:gd name="T25" fmla="*/ 3693 h 10912"/>
                <a:gd name="T26" fmla="*/ 7256 w 29722"/>
                <a:gd name="T27" fmla="*/ 1800 h 10912"/>
                <a:gd name="T28" fmla="*/ 14711 w 29722"/>
                <a:gd name="T29" fmla="*/ 1166 h 10912"/>
                <a:gd name="T30" fmla="*/ 23852 w 29722"/>
                <a:gd name="T31" fmla="*/ 8381 h 10912"/>
                <a:gd name="T32" fmla="*/ 23758 w 29722"/>
                <a:gd name="T33" fmla="*/ 6848 h 10912"/>
                <a:gd name="T34" fmla="*/ 23684 w 29722"/>
                <a:gd name="T35" fmla="*/ 5482 h 10912"/>
                <a:gd name="T36" fmla="*/ 22677 w 29722"/>
                <a:gd name="T37" fmla="*/ 8810 h 10912"/>
                <a:gd name="T38" fmla="*/ 25432 w 29722"/>
                <a:gd name="T39" fmla="*/ 7818 h 10912"/>
                <a:gd name="T40" fmla="*/ 3222 w 29722"/>
                <a:gd name="T41" fmla="*/ 5498 h 10912"/>
                <a:gd name="T42" fmla="*/ 6191 w 29722"/>
                <a:gd name="T43" fmla="*/ 3019 h 10912"/>
                <a:gd name="T44" fmla="*/ 9341 w 29722"/>
                <a:gd name="T45" fmla="*/ 4435 h 10912"/>
                <a:gd name="T46" fmla="*/ 18876 w 29722"/>
                <a:gd name="T47" fmla="*/ 9121 h 10912"/>
                <a:gd name="T48" fmla="*/ 20577 w 29722"/>
                <a:gd name="T49" fmla="*/ 898 h 10912"/>
                <a:gd name="T50" fmla="*/ 21416 w 29722"/>
                <a:gd name="T51" fmla="*/ 6208 h 10912"/>
                <a:gd name="T52" fmla="*/ 20763 w 29722"/>
                <a:gd name="T53" fmla="*/ 4019 h 10912"/>
                <a:gd name="T54" fmla="*/ 2604 w 29722"/>
                <a:gd name="T55" fmla="*/ 4580 h 10912"/>
                <a:gd name="T56" fmla="*/ 7186 w 29722"/>
                <a:gd name="T57" fmla="*/ 4959 h 10912"/>
                <a:gd name="T58" fmla="*/ 12626 w 29722"/>
                <a:gd name="T59" fmla="*/ 9041 h 10912"/>
                <a:gd name="T60" fmla="*/ 20052 w 29722"/>
                <a:gd name="T61" fmla="*/ 8748 h 10912"/>
                <a:gd name="T62" fmla="*/ 17955 w 29722"/>
                <a:gd name="T63" fmla="*/ 6979 h 10912"/>
                <a:gd name="T64" fmla="*/ 21683 w 29722"/>
                <a:gd name="T65" fmla="*/ 2117 h 10912"/>
                <a:gd name="T66" fmla="*/ 23139 w 29722"/>
                <a:gd name="T67" fmla="*/ 4615 h 10912"/>
                <a:gd name="T68" fmla="*/ 23345 w 29722"/>
                <a:gd name="T69" fmla="*/ 8892 h 10912"/>
                <a:gd name="T70" fmla="*/ 9838 w 29722"/>
                <a:gd name="T71" fmla="*/ 5564 h 10912"/>
                <a:gd name="T72" fmla="*/ 13929 w 29722"/>
                <a:gd name="T73" fmla="*/ 5221 h 10912"/>
                <a:gd name="T74" fmla="*/ 15380 w 29722"/>
                <a:gd name="T75" fmla="*/ 3285 h 10912"/>
                <a:gd name="T76" fmla="*/ 13985 w 29722"/>
                <a:gd name="T77" fmla="*/ 1016 h 10912"/>
                <a:gd name="T78" fmla="*/ 9860 w 29722"/>
                <a:gd name="T79" fmla="*/ 3151 h 10912"/>
                <a:gd name="T80" fmla="*/ 6203 w 29722"/>
                <a:gd name="T81" fmla="*/ 5346 h 10912"/>
                <a:gd name="T82" fmla="*/ 3817 w 29722"/>
                <a:gd name="T83" fmla="*/ 2553 h 10912"/>
                <a:gd name="T84" fmla="*/ 772 w 29722"/>
                <a:gd name="T85" fmla="*/ 1166 h 10912"/>
                <a:gd name="T86" fmla="*/ 5471 w 29722"/>
                <a:gd name="T87" fmla="*/ 6925 h 10912"/>
                <a:gd name="T88" fmla="*/ 9815 w 29722"/>
                <a:gd name="T89" fmla="*/ 8226 h 10912"/>
                <a:gd name="T90" fmla="*/ 8992 w 29722"/>
                <a:gd name="T91" fmla="*/ 8761 h 10912"/>
                <a:gd name="T92" fmla="*/ 15843 w 29722"/>
                <a:gd name="T93" fmla="*/ 6093 h 10912"/>
                <a:gd name="T94" fmla="*/ 17151 w 29722"/>
                <a:gd name="T95" fmla="*/ 6522 h 10912"/>
                <a:gd name="T96" fmla="*/ 17485 w 29722"/>
                <a:gd name="T97" fmla="*/ 4843 h 10912"/>
                <a:gd name="T98" fmla="*/ 17463 w 29722"/>
                <a:gd name="T99" fmla="*/ 3496 h 10912"/>
                <a:gd name="T100" fmla="*/ 16723 w 29722"/>
                <a:gd name="T101" fmla="*/ 2951 h 10912"/>
                <a:gd name="T102" fmla="*/ 29201 w 29722"/>
                <a:gd name="T103" fmla="*/ 5311 h 10912"/>
                <a:gd name="T104" fmla="*/ 25291 w 29722"/>
                <a:gd name="T105" fmla="*/ 4341 h 10912"/>
                <a:gd name="T106" fmla="*/ 25171 w 29722"/>
                <a:gd name="T107" fmla="*/ 5156 h 10912"/>
                <a:gd name="T108" fmla="*/ 24466 w 29722"/>
                <a:gd name="T109" fmla="*/ 6380 h 10912"/>
                <a:gd name="T110" fmla="*/ 27211 w 29722"/>
                <a:gd name="T111" fmla="*/ 6947 h 10912"/>
                <a:gd name="T112" fmla="*/ 29127 w 29722"/>
                <a:gd name="T113" fmla="*/ 9011 h 10912"/>
                <a:gd name="T114" fmla="*/ 14051 w 29722"/>
                <a:gd name="T115" fmla="*/ 9591 h 10912"/>
                <a:gd name="T116" fmla="*/ 17782 w 29722"/>
                <a:gd name="T117" fmla="*/ 9301 h 10912"/>
                <a:gd name="T118" fmla="*/ 18920 w 29722"/>
                <a:gd name="T119" fmla="*/ 9929 h 10912"/>
                <a:gd name="T120" fmla="*/ 22209 w 29722"/>
                <a:gd name="T121" fmla="*/ 5638 h 10912"/>
                <a:gd name="T122" fmla="*/ 25681 w 29722"/>
                <a:gd name="T123" fmla="*/ 7623 h 10912"/>
                <a:gd name="T124" fmla="*/ 21773 w 29722"/>
                <a:gd name="T125" fmla="*/ 3455 h 10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722" h="10912">
                  <a:moveTo>
                    <a:pt x="5965" y="3462"/>
                  </a:moveTo>
                  <a:lnTo>
                    <a:pt x="5965" y="3458"/>
                  </a:lnTo>
                  <a:lnTo>
                    <a:pt x="5963" y="3455"/>
                  </a:lnTo>
                  <a:lnTo>
                    <a:pt x="5961" y="3446"/>
                  </a:lnTo>
                  <a:lnTo>
                    <a:pt x="5955" y="3444"/>
                  </a:lnTo>
                  <a:lnTo>
                    <a:pt x="5953" y="3449"/>
                  </a:lnTo>
                  <a:lnTo>
                    <a:pt x="5952" y="3450"/>
                  </a:lnTo>
                  <a:lnTo>
                    <a:pt x="5953" y="3456"/>
                  </a:lnTo>
                  <a:lnTo>
                    <a:pt x="5955" y="3459"/>
                  </a:lnTo>
                  <a:lnTo>
                    <a:pt x="5959" y="3459"/>
                  </a:lnTo>
                  <a:lnTo>
                    <a:pt x="5961" y="3459"/>
                  </a:lnTo>
                  <a:lnTo>
                    <a:pt x="5964" y="3462"/>
                  </a:lnTo>
                  <a:lnTo>
                    <a:pt x="5965" y="3462"/>
                  </a:lnTo>
                  <a:close/>
                  <a:moveTo>
                    <a:pt x="5546" y="3467"/>
                  </a:moveTo>
                  <a:lnTo>
                    <a:pt x="5546" y="3467"/>
                  </a:lnTo>
                  <a:lnTo>
                    <a:pt x="5553" y="3488"/>
                  </a:lnTo>
                  <a:lnTo>
                    <a:pt x="5558" y="3484"/>
                  </a:lnTo>
                  <a:lnTo>
                    <a:pt x="5564" y="3484"/>
                  </a:lnTo>
                  <a:lnTo>
                    <a:pt x="5565" y="3477"/>
                  </a:lnTo>
                  <a:lnTo>
                    <a:pt x="5560" y="3474"/>
                  </a:lnTo>
                  <a:lnTo>
                    <a:pt x="5553" y="3467"/>
                  </a:lnTo>
                  <a:lnTo>
                    <a:pt x="5550" y="3462"/>
                  </a:lnTo>
                  <a:lnTo>
                    <a:pt x="5544" y="3456"/>
                  </a:lnTo>
                  <a:lnTo>
                    <a:pt x="5540" y="3449"/>
                  </a:lnTo>
                  <a:lnTo>
                    <a:pt x="5539" y="3445"/>
                  </a:lnTo>
                  <a:lnTo>
                    <a:pt x="5532" y="3447"/>
                  </a:lnTo>
                  <a:lnTo>
                    <a:pt x="5533" y="3452"/>
                  </a:lnTo>
                  <a:lnTo>
                    <a:pt x="5546" y="3467"/>
                  </a:lnTo>
                  <a:close/>
                  <a:moveTo>
                    <a:pt x="5997" y="3465"/>
                  </a:moveTo>
                  <a:lnTo>
                    <a:pt x="5997" y="3465"/>
                  </a:lnTo>
                  <a:lnTo>
                    <a:pt x="5994" y="3466"/>
                  </a:lnTo>
                  <a:lnTo>
                    <a:pt x="5994" y="3469"/>
                  </a:lnTo>
                  <a:lnTo>
                    <a:pt x="5993" y="3470"/>
                  </a:lnTo>
                  <a:lnTo>
                    <a:pt x="5996" y="3474"/>
                  </a:lnTo>
                  <a:lnTo>
                    <a:pt x="5997" y="3481"/>
                  </a:lnTo>
                  <a:lnTo>
                    <a:pt x="6003" y="3498"/>
                  </a:lnTo>
                  <a:lnTo>
                    <a:pt x="6003" y="3494"/>
                  </a:lnTo>
                  <a:lnTo>
                    <a:pt x="6001" y="3486"/>
                  </a:lnTo>
                  <a:lnTo>
                    <a:pt x="6001" y="3481"/>
                  </a:lnTo>
                  <a:lnTo>
                    <a:pt x="6001" y="3478"/>
                  </a:lnTo>
                  <a:lnTo>
                    <a:pt x="5999" y="3475"/>
                  </a:lnTo>
                  <a:lnTo>
                    <a:pt x="5999" y="3473"/>
                  </a:lnTo>
                  <a:lnTo>
                    <a:pt x="6000" y="3468"/>
                  </a:lnTo>
                  <a:lnTo>
                    <a:pt x="5997" y="3465"/>
                  </a:lnTo>
                  <a:close/>
                  <a:moveTo>
                    <a:pt x="6106" y="3505"/>
                  </a:moveTo>
                  <a:lnTo>
                    <a:pt x="6106" y="3505"/>
                  </a:lnTo>
                  <a:lnTo>
                    <a:pt x="6104" y="3499"/>
                  </a:lnTo>
                  <a:lnTo>
                    <a:pt x="6100" y="3492"/>
                  </a:lnTo>
                  <a:lnTo>
                    <a:pt x="6096" y="3491"/>
                  </a:lnTo>
                  <a:lnTo>
                    <a:pt x="6093" y="3495"/>
                  </a:lnTo>
                  <a:lnTo>
                    <a:pt x="6097" y="3498"/>
                  </a:lnTo>
                  <a:lnTo>
                    <a:pt x="6107" y="3508"/>
                  </a:lnTo>
                  <a:lnTo>
                    <a:pt x="6106" y="3505"/>
                  </a:lnTo>
                  <a:close/>
                  <a:moveTo>
                    <a:pt x="6069" y="3498"/>
                  </a:moveTo>
                  <a:lnTo>
                    <a:pt x="6069" y="3498"/>
                  </a:lnTo>
                  <a:lnTo>
                    <a:pt x="6068" y="3502"/>
                  </a:lnTo>
                  <a:lnTo>
                    <a:pt x="6073" y="3504"/>
                  </a:lnTo>
                  <a:lnTo>
                    <a:pt x="6076" y="3505"/>
                  </a:lnTo>
                  <a:lnTo>
                    <a:pt x="6080" y="3507"/>
                  </a:lnTo>
                  <a:lnTo>
                    <a:pt x="6086" y="3507"/>
                  </a:lnTo>
                  <a:lnTo>
                    <a:pt x="6077" y="3500"/>
                  </a:lnTo>
                  <a:lnTo>
                    <a:pt x="6069" y="3498"/>
                  </a:lnTo>
                  <a:close/>
                  <a:moveTo>
                    <a:pt x="5516" y="3516"/>
                  </a:moveTo>
                  <a:lnTo>
                    <a:pt x="5516" y="3516"/>
                  </a:lnTo>
                  <a:lnTo>
                    <a:pt x="5520" y="3523"/>
                  </a:lnTo>
                  <a:lnTo>
                    <a:pt x="5527" y="3533"/>
                  </a:lnTo>
                  <a:lnTo>
                    <a:pt x="5544" y="3541"/>
                  </a:lnTo>
                  <a:lnTo>
                    <a:pt x="5543" y="3532"/>
                  </a:lnTo>
                  <a:lnTo>
                    <a:pt x="5535" y="3521"/>
                  </a:lnTo>
                  <a:lnTo>
                    <a:pt x="5516" y="3516"/>
                  </a:lnTo>
                  <a:close/>
                  <a:moveTo>
                    <a:pt x="6171" y="3538"/>
                  </a:moveTo>
                  <a:lnTo>
                    <a:pt x="6171" y="3538"/>
                  </a:lnTo>
                  <a:lnTo>
                    <a:pt x="6169" y="3536"/>
                  </a:lnTo>
                  <a:lnTo>
                    <a:pt x="6167" y="3532"/>
                  </a:lnTo>
                  <a:lnTo>
                    <a:pt x="6163" y="3530"/>
                  </a:lnTo>
                  <a:lnTo>
                    <a:pt x="6153" y="3529"/>
                  </a:lnTo>
                  <a:lnTo>
                    <a:pt x="6148" y="3527"/>
                  </a:lnTo>
                  <a:lnTo>
                    <a:pt x="6143" y="3528"/>
                  </a:lnTo>
                  <a:lnTo>
                    <a:pt x="6144" y="3533"/>
                  </a:lnTo>
                  <a:lnTo>
                    <a:pt x="6145" y="3542"/>
                  </a:lnTo>
                  <a:lnTo>
                    <a:pt x="6145" y="3549"/>
                  </a:lnTo>
                  <a:lnTo>
                    <a:pt x="6148" y="3553"/>
                  </a:lnTo>
                  <a:lnTo>
                    <a:pt x="6149" y="3557"/>
                  </a:lnTo>
                  <a:lnTo>
                    <a:pt x="6149" y="3567"/>
                  </a:lnTo>
                  <a:lnTo>
                    <a:pt x="6153" y="3572"/>
                  </a:lnTo>
                  <a:lnTo>
                    <a:pt x="6155" y="3572"/>
                  </a:lnTo>
                  <a:lnTo>
                    <a:pt x="6155" y="3572"/>
                  </a:lnTo>
                  <a:lnTo>
                    <a:pt x="6156" y="3569"/>
                  </a:lnTo>
                  <a:lnTo>
                    <a:pt x="6155" y="3563"/>
                  </a:lnTo>
                  <a:lnTo>
                    <a:pt x="6154" y="3559"/>
                  </a:lnTo>
                  <a:lnTo>
                    <a:pt x="6152" y="3552"/>
                  </a:lnTo>
                  <a:lnTo>
                    <a:pt x="6153" y="3546"/>
                  </a:lnTo>
                  <a:lnTo>
                    <a:pt x="6152" y="3537"/>
                  </a:lnTo>
                  <a:lnTo>
                    <a:pt x="6163" y="3539"/>
                  </a:lnTo>
                  <a:lnTo>
                    <a:pt x="6171" y="3538"/>
                  </a:lnTo>
                  <a:close/>
                  <a:moveTo>
                    <a:pt x="6089" y="3544"/>
                  </a:moveTo>
                  <a:lnTo>
                    <a:pt x="6089" y="3544"/>
                  </a:lnTo>
                  <a:lnTo>
                    <a:pt x="6092" y="3550"/>
                  </a:lnTo>
                  <a:lnTo>
                    <a:pt x="6102" y="3553"/>
                  </a:lnTo>
                  <a:lnTo>
                    <a:pt x="6093" y="3542"/>
                  </a:lnTo>
                  <a:lnTo>
                    <a:pt x="6089" y="3544"/>
                  </a:lnTo>
                  <a:close/>
                  <a:moveTo>
                    <a:pt x="6001" y="3714"/>
                  </a:moveTo>
                  <a:lnTo>
                    <a:pt x="6001" y="3714"/>
                  </a:lnTo>
                  <a:lnTo>
                    <a:pt x="6003" y="3717"/>
                  </a:lnTo>
                  <a:lnTo>
                    <a:pt x="6006" y="3721"/>
                  </a:lnTo>
                  <a:lnTo>
                    <a:pt x="6011" y="3718"/>
                  </a:lnTo>
                  <a:lnTo>
                    <a:pt x="6017" y="3725"/>
                  </a:lnTo>
                  <a:lnTo>
                    <a:pt x="6020" y="3732"/>
                  </a:lnTo>
                  <a:lnTo>
                    <a:pt x="6023" y="3733"/>
                  </a:lnTo>
                  <a:lnTo>
                    <a:pt x="6025" y="3734"/>
                  </a:lnTo>
                  <a:lnTo>
                    <a:pt x="6025" y="3735"/>
                  </a:lnTo>
                  <a:lnTo>
                    <a:pt x="6027" y="3722"/>
                  </a:lnTo>
                  <a:lnTo>
                    <a:pt x="6018" y="3708"/>
                  </a:lnTo>
                  <a:lnTo>
                    <a:pt x="6006" y="3697"/>
                  </a:lnTo>
                  <a:lnTo>
                    <a:pt x="6002" y="3693"/>
                  </a:lnTo>
                  <a:lnTo>
                    <a:pt x="5998" y="3694"/>
                  </a:lnTo>
                  <a:lnTo>
                    <a:pt x="6003" y="3701"/>
                  </a:lnTo>
                  <a:lnTo>
                    <a:pt x="6003" y="3705"/>
                  </a:lnTo>
                  <a:lnTo>
                    <a:pt x="6002" y="3708"/>
                  </a:lnTo>
                  <a:lnTo>
                    <a:pt x="6001" y="3714"/>
                  </a:lnTo>
                  <a:close/>
                  <a:moveTo>
                    <a:pt x="6125" y="3711"/>
                  </a:moveTo>
                  <a:lnTo>
                    <a:pt x="6125" y="3711"/>
                  </a:lnTo>
                  <a:lnTo>
                    <a:pt x="6126" y="3715"/>
                  </a:lnTo>
                  <a:lnTo>
                    <a:pt x="6131" y="3720"/>
                  </a:lnTo>
                  <a:lnTo>
                    <a:pt x="6136" y="3721"/>
                  </a:lnTo>
                  <a:lnTo>
                    <a:pt x="6138" y="3727"/>
                  </a:lnTo>
                  <a:lnTo>
                    <a:pt x="6143" y="3731"/>
                  </a:lnTo>
                  <a:lnTo>
                    <a:pt x="6147" y="3726"/>
                  </a:lnTo>
                  <a:lnTo>
                    <a:pt x="6145" y="3722"/>
                  </a:lnTo>
                  <a:lnTo>
                    <a:pt x="6143" y="3718"/>
                  </a:lnTo>
                  <a:lnTo>
                    <a:pt x="6142" y="3716"/>
                  </a:lnTo>
                  <a:lnTo>
                    <a:pt x="6137" y="3711"/>
                  </a:lnTo>
                  <a:lnTo>
                    <a:pt x="6132" y="3709"/>
                  </a:lnTo>
                  <a:lnTo>
                    <a:pt x="6125" y="3706"/>
                  </a:lnTo>
                  <a:lnTo>
                    <a:pt x="6125" y="3711"/>
                  </a:lnTo>
                  <a:close/>
                  <a:moveTo>
                    <a:pt x="6293" y="3774"/>
                  </a:moveTo>
                  <a:lnTo>
                    <a:pt x="6293" y="3774"/>
                  </a:lnTo>
                  <a:lnTo>
                    <a:pt x="6287" y="3771"/>
                  </a:lnTo>
                  <a:lnTo>
                    <a:pt x="6285" y="3773"/>
                  </a:lnTo>
                  <a:lnTo>
                    <a:pt x="6286" y="3778"/>
                  </a:lnTo>
                  <a:lnTo>
                    <a:pt x="6288" y="3781"/>
                  </a:lnTo>
                  <a:lnTo>
                    <a:pt x="6298" y="3782"/>
                  </a:lnTo>
                  <a:lnTo>
                    <a:pt x="6306" y="3780"/>
                  </a:lnTo>
                  <a:lnTo>
                    <a:pt x="6314" y="3783"/>
                  </a:lnTo>
                  <a:lnTo>
                    <a:pt x="6312" y="3773"/>
                  </a:lnTo>
                  <a:lnTo>
                    <a:pt x="6310" y="3770"/>
                  </a:lnTo>
                  <a:lnTo>
                    <a:pt x="6307" y="3766"/>
                  </a:lnTo>
                  <a:lnTo>
                    <a:pt x="6305" y="3764"/>
                  </a:lnTo>
                  <a:lnTo>
                    <a:pt x="6303" y="3761"/>
                  </a:lnTo>
                  <a:lnTo>
                    <a:pt x="6304" y="3770"/>
                  </a:lnTo>
                  <a:lnTo>
                    <a:pt x="6293" y="3774"/>
                  </a:lnTo>
                  <a:close/>
                  <a:moveTo>
                    <a:pt x="6350" y="3827"/>
                  </a:moveTo>
                  <a:lnTo>
                    <a:pt x="6350" y="3827"/>
                  </a:lnTo>
                  <a:lnTo>
                    <a:pt x="6350" y="3834"/>
                  </a:lnTo>
                  <a:lnTo>
                    <a:pt x="6357" y="3841"/>
                  </a:lnTo>
                  <a:lnTo>
                    <a:pt x="6366" y="3846"/>
                  </a:lnTo>
                  <a:lnTo>
                    <a:pt x="6373" y="3850"/>
                  </a:lnTo>
                  <a:lnTo>
                    <a:pt x="6376" y="3855"/>
                  </a:lnTo>
                  <a:lnTo>
                    <a:pt x="6373" y="3846"/>
                  </a:lnTo>
                  <a:lnTo>
                    <a:pt x="6372" y="3843"/>
                  </a:lnTo>
                  <a:lnTo>
                    <a:pt x="6369" y="3842"/>
                  </a:lnTo>
                  <a:lnTo>
                    <a:pt x="6364" y="3839"/>
                  </a:lnTo>
                  <a:lnTo>
                    <a:pt x="6363" y="3836"/>
                  </a:lnTo>
                  <a:lnTo>
                    <a:pt x="6357" y="3831"/>
                  </a:lnTo>
                  <a:lnTo>
                    <a:pt x="6350" y="3827"/>
                  </a:lnTo>
                  <a:close/>
                  <a:moveTo>
                    <a:pt x="6260" y="3843"/>
                  </a:moveTo>
                  <a:lnTo>
                    <a:pt x="6260" y="3843"/>
                  </a:lnTo>
                  <a:lnTo>
                    <a:pt x="6270" y="3850"/>
                  </a:lnTo>
                  <a:lnTo>
                    <a:pt x="6279" y="3859"/>
                  </a:lnTo>
                  <a:lnTo>
                    <a:pt x="6272" y="3845"/>
                  </a:lnTo>
                  <a:lnTo>
                    <a:pt x="6263" y="3837"/>
                  </a:lnTo>
                  <a:lnTo>
                    <a:pt x="6260" y="3843"/>
                  </a:lnTo>
                  <a:close/>
                  <a:moveTo>
                    <a:pt x="6411" y="3891"/>
                  </a:moveTo>
                  <a:lnTo>
                    <a:pt x="6411" y="3891"/>
                  </a:lnTo>
                  <a:lnTo>
                    <a:pt x="6410" y="3890"/>
                  </a:lnTo>
                  <a:lnTo>
                    <a:pt x="6409" y="3891"/>
                  </a:lnTo>
                  <a:lnTo>
                    <a:pt x="6411" y="3892"/>
                  </a:lnTo>
                  <a:lnTo>
                    <a:pt x="6411" y="3891"/>
                  </a:lnTo>
                  <a:close/>
                  <a:moveTo>
                    <a:pt x="5955" y="4020"/>
                  </a:moveTo>
                  <a:lnTo>
                    <a:pt x="5955" y="4020"/>
                  </a:lnTo>
                  <a:lnTo>
                    <a:pt x="5954" y="4025"/>
                  </a:lnTo>
                  <a:lnTo>
                    <a:pt x="5959" y="4030"/>
                  </a:lnTo>
                  <a:lnTo>
                    <a:pt x="5961" y="4033"/>
                  </a:lnTo>
                  <a:lnTo>
                    <a:pt x="5963" y="4030"/>
                  </a:lnTo>
                  <a:lnTo>
                    <a:pt x="5964" y="4022"/>
                  </a:lnTo>
                  <a:lnTo>
                    <a:pt x="5963" y="4018"/>
                  </a:lnTo>
                  <a:lnTo>
                    <a:pt x="5961" y="4014"/>
                  </a:lnTo>
                  <a:lnTo>
                    <a:pt x="5955" y="4020"/>
                  </a:lnTo>
                  <a:close/>
                  <a:moveTo>
                    <a:pt x="5907" y="4021"/>
                  </a:moveTo>
                  <a:lnTo>
                    <a:pt x="5907" y="4021"/>
                  </a:lnTo>
                  <a:lnTo>
                    <a:pt x="5902" y="4026"/>
                  </a:lnTo>
                  <a:lnTo>
                    <a:pt x="5903" y="4030"/>
                  </a:lnTo>
                  <a:lnTo>
                    <a:pt x="5906" y="4036"/>
                  </a:lnTo>
                  <a:lnTo>
                    <a:pt x="5912" y="4037"/>
                  </a:lnTo>
                  <a:lnTo>
                    <a:pt x="5915" y="4033"/>
                  </a:lnTo>
                  <a:lnTo>
                    <a:pt x="5918" y="4031"/>
                  </a:lnTo>
                  <a:lnTo>
                    <a:pt x="5922" y="4029"/>
                  </a:lnTo>
                  <a:lnTo>
                    <a:pt x="5912" y="4019"/>
                  </a:lnTo>
                  <a:lnTo>
                    <a:pt x="5907" y="4021"/>
                  </a:lnTo>
                  <a:close/>
                  <a:moveTo>
                    <a:pt x="5835" y="4138"/>
                  </a:moveTo>
                  <a:lnTo>
                    <a:pt x="5835" y="4138"/>
                  </a:lnTo>
                  <a:lnTo>
                    <a:pt x="5836" y="4135"/>
                  </a:lnTo>
                  <a:lnTo>
                    <a:pt x="5833" y="4135"/>
                  </a:lnTo>
                  <a:lnTo>
                    <a:pt x="5835" y="4138"/>
                  </a:lnTo>
                  <a:close/>
                  <a:moveTo>
                    <a:pt x="5963" y="4224"/>
                  </a:moveTo>
                  <a:lnTo>
                    <a:pt x="5963" y="4224"/>
                  </a:lnTo>
                  <a:lnTo>
                    <a:pt x="5962" y="4227"/>
                  </a:lnTo>
                  <a:lnTo>
                    <a:pt x="5968" y="4230"/>
                  </a:lnTo>
                  <a:lnTo>
                    <a:pt x="5963" y="4224"/>
                  </a:lnTo>
                  <a:close/>
                  <a:moveTo>
                    <a:pt x="5945" y="4484"/>
                  </a:moveTo>
                  <a:lnTo>
                    <a:pt x="5945" y="4484"/>
                  </a:lnTo>
                  <a:lnTo>
                    <a:pt x="5959" y="4479"/>
                  </a:lnTo>
                  <a:lnTo>
                    <a:pt x="5965" y="4467"/>
                  </a:lnTo>
                  <a:lnTo>
                    <a:pt x="5944" y="4469"/>
                  </a:lnTo>
                  <a:lnTo>
                    <a:pt x="5946" y="4472"/>
                  </a:lnTo>
                  <a:lnTo>
                    <a:pt x="5945" y="4476"/>
                  </a:lnTo>
                  <a:lnTo>
                    <a:pt x="5945" y="4484"/>
                  </a:lnTo>
                  <a:close/>
                  <a:moveTo>
                    <a:pt x="5629" y="3086"/>
                  </a:moveTo>
                  <a:lnTo>
                    <a:pt x="5629" y="3086"/>
                  </a:lnTo>
                  <a:lnTo>
                    <a:pt x="5629" y="3086"/>
                  </a:lnTo>
                  <a:lnTo>
                    <a:pt x="5630" y="3086"/>
                  </a:lnTo>
                  <a:lnTo>
                    <a:pt x="5630" y="3085"/>
                  </a:lnTo>
                  <a:lnTo>
                    <a:pt x="5630" y="3085"/>
                  </a:lnTo>
                  <a:lnTo>
                    <a:pt x="5629" y="3084"/>
                  </a:lnTo>
                  <a:lnTo>
                    <a:pt x="5628" y="3085"/>
                  </a:lnTo>
                  <a:lnTo>
                    <a:pt x="5629" y="3086"/>
                  </a:lnTo>
                  <a:close/>
                  <a:moveTo>
                    <a:pt x="6073" y="4356"/>
                  </a:moveTo>
                  <a:lnTo>
                    <a:pt x="6073" y="4356"/>
                  </a:lnTo>
                  <a:lnTo>
                    <a:pt x="6071" y="4357"/>
                  </a:lnTo>
                  <a:lnTo>
                    <a:pt x="6072" y="4358"/>
                  </a:lnTo>
                  <a:lnTo>
                    <a:pt x="6072" y="4358"/>
                  </a:lnTo>
                  <a:lnTo>
                    <a:pt x="6072" y="4358"/>
                  </a:lnTo>
                  <a:lnTo>
                    <a:pt x="6073" y="4358"/>
                  </a:lnTo>
                  <a:lnTo>
                    <a:pt x="6073" y="4357"/>
                  </a:lnTo>
                  <a:lnTo>
                    <a:pt x="6073" y="4357"/>
                  </a:lnTo>
                  <a:lnTo>
                    <a:pt x="6073" y="4356"/>
                  </a:lnTo>
                  <a:close/>
                  <a:moveTo>
                    <a:pt x="19702" y="755"/>
                  </a:moveTo>
                  <a:lnTo>
                    <a:pt x="19702" y="755"/>
                  </a:lnTo>
                  <a:lnTo>
                    <a:pt x="19704" y="752"/>
                  </a:lnTo>
                  <a:lnTo>
                    <a:pt x="19705" y="750"/>
                  </a:lnTo>
                  <a:lnTo>
                    <a:pt x="19703" y="747"/>
                  </a:lnTo>
                  <a:lnTo>
                    <a:pt x="19702" y="750"/>
                  </a:lnTo>
                  <a:lnTo>
                    <a:pt x="19699" y="750"/>
                  </a:lnTo>
                  <a:lnTo>
                    <a:pt x="19695" y="756"/>
                  </a:lnTo>
                  <a:lnTo>
                    <a:pt x="19698" y="758"/>
                  </a:lnTo>
                  <a:lnTo>
                    <a:pt x="19702" y="755"/>
                  </a:lnTo>
                  <a:close/>
                  <a:moveTo>
                    <a:pt x="19671" y="799"/>
                  </a:moveTo>
                  <a:lnTo>
                    <a:pt x="19671" y="799"/>
                  </a:lnTo>
                  <a:lnTo>
                    <a:pt x="19673" y="793"/>
                  </a:lnTo>
                  <a:lnTo>
                    <a:pt x="19668" y="794"/>
                  </a:lnTo>
                  <a:lnTo>
                    <a:pt x="19668" y="797"/>
                  </a:lnTo>
                  <a:lnTo>
                    <a:pt x="19671" y="799"/>
                  </a:lnTo>
                  <a:close/>
                  <a:moveTo>
                    <a:pt x="19669" y="812"/>
                  </a:moveTo>
                  <a:lnTo>
                    <a:pt x="19669" y="812"/>
                  </a:lnTo>
                  <a:lnTo>
                    <a:pt x="19671" y="809"/>
                  </a:lnTo>
                  <a:lnTo>
                    <a:pt x="19673" y="808"/>
                  </a:lnTo>
                  <a:lnTo>
                    <a:pt x="19672" y="800"/>
                  </a:lnTo>
                  <a:lnTo>
                    <a:pt x="19668" y="803"/>
                  </a:lnTo>
                  <a:lnTo>
                    <a:pt x="19668" y="811"/>
                  </a:lnTo>
                  <a:lnTo>
                    <a:pt x="19669" y="812"/>
                  </a:lnTo>
                  <a:close/>
                  <a:moveTo>
                    <a:pt x="23003" y="5091"/>
                  </a:moveTo>
                  <a:lnTo>
                    <a:pt x="23003" y="5091"/>
                  </a:lnTo>
                  <a:lnTo>
                    <a:pt x="23003" y="5087"/>
                  </a:lnTo>
                  <a:lnTo>
                    <a:pt x="22994" y="5087"/>
                  </a:lnTo>
                  <a:lnTo>
                    <a:pt x="22985" y="5085"/>
                  </a:lnTo>
                  <a:lnTo>
                    <a:pt x="22984" y="5084"/>
                  </a:lnTo>
                  <a:lnTo>
                    <a:pt x="22983" y="5084"/>
                  </a:lnTo>
                  <a:lnTo>
                    <a:pt x="22981" y="5082"/>
                  </a:lnTo>
                  <a:lnTo>
                    <a:pt x="22980" y="5082"/>
                  </a:lnTo>
                  <a:lnTo>
                    <a:pt x="22976" y="5083"/>
                  </a:lnTo>
                  <a:lnTo>
                    <a:pt x="22975" y="5085"/>
                  </a:lnTo>
                  <a:lnTo>
                    <a:pt x="22974" y="5084"/>
                  </a:lnTo>
                  <a:lnTo>
                    <a:pt x="22973" y="5083"/>
                  </a:lnTo>
                  <a:lnTo>
                    <a:pt x="22972" y="5083"/>
                  </a:lnTo>
                  <a:lnTo>
                    <a:pt x="22971" y="5087"/>
                  </a:lnTo>
                  <a:lnTo>
                    <a:pt x="22975" y="5089"/>
                  </a:lnTo>
                  <a:lnTo>
                    <a:pt x="22981" y="5090"/>
                  </a:lnTo>
                  <a:lnTo>
                    <a:pt x="22983" y="5090"/>
                  </a:lnTo>
                  <a:lnTo>
                    <a:pt x="22985" y="5090"/>
                  </a:lnTo>
                  <a:lnTo>
                    <a:pt x="22992" y="5091"/>
                  </a:lnTo>
                  <a:lnTo>
                    <a:pt x="22999" y="5091"/>
                  </a:lnTo>
                  <a:lnTo>
                    <a:pt x="23003" y="5091"/>
                  </a:lnTo>
                  <a:close/>
                  <a:moveTo>
                    <a:pt x="23028" y="5092"/>
                  </a:moveTo>
                  <a:lnTo>
                    <a:pt x="23028" y="5092"/>
                  </a:lnTo>
                  <a:lnTo>
                    <a:pt x="23026" y="5090"/>
                  </a:lnTo>
                  <a:lnTo>
                    <a:pt x="23025" y="5089"/>
                  </a:lnTo>
                  <a:lnTo>
                    <a:pt x="23025" y="5089"/>
                  </a:lnTo>
                  <a:lnTo>
                    <a:pt x="23023" y="5088"/>
                  </a:lnTo>
                  <a:lnTo>
                    <a:pt x="23020" y="5089"/>
                  </a:lnTo>
                  <a:lnTo>
                    <a:pt x="23019" y="5088"/>
                  </a:lnTo>
                  <a:lnTo>
                    <a:pt x="23016" y="5089"/>
                  </a:lnTo>
                  <a:lnTo>
                    <a:pt x="23012" y="5089"/>
                  </a:lnTo>
                  <a:lnTo>
                    <a:pt x="23011" y="5088"/>
                  </a:lnTo>
                  <a:lnTo>
                    <a:pt x="23007" y="5089"/>
                  </a:lnTo>
                  <a:lnTo>
                    <a:pt x="23007" y="5092"/>
                  </a:lnTo>
                  <a:lnTo>
                    <a:pt x="23010" y="5091"/>
                  </a:lnTo>
                  <a:lnTo>
                    <a:pt x="23018" y="5091"/>
                  </a:lnTo>
                  <a:lnTo>
                    <a:pt x="23026" y="5094"/>
                  </a:lnTo>
                  <a:lnTo>
                    <a:pt x="23028" y="5092"/>
                  </a:lnTo>
                  <a:close/>
                  <a:moveTo>
                    <a:pt x="22879" y="5138"/>
                  </a:moveTo>
                  <a:lnTo>
                    <a:pt x="22879" y="5138"/>
                  </a:lnTo>
                  <a:lnTo>
                    <a:pt x="22877" y="5141"/>
                  </a:lnTo>
                  <a:lnTo>
                    <a:pt x="22882" y="5144"/>
                  </a:lnTo>
                  <a:lnTo>
                    <a:pt x="22892" y="5137"/>
                  </a:lnTo>
                  <a:lnTo>
                    <a:pt x="22904" y="5134"/>
                  </a:lnTo>
                  <a:lnTo>
                    <a:pt x="22919" y="5133"/>
                  </a:lnTo>
                  <a:lnTo>
                    <a:pt x="22924" y="5129"/>
                  </a:lnTo>
                  <a:lnTo>
                    <a:pt x="22922" y="5127"/>
                  </a:lnTo>
                  <a:lnTo>
                    <a:pt x="22917" y="5126"/>
                  </a:lnTo>
                  <a:lnTo>
                    <a:pt x="22916" y="5126"/>
                  </a:lnTo>
                  <a:lnTo>
                    <a:pt x="22914" y="5127"/>
                  </a:lnTo>
                  <a:lnTo>
                    <a:pt x="22912" y="5130"/>
                  </a:lnTo>
                  <a:lnTo>
                    <a:pt x="22912" y="5127"/>
                  </a:lnTo>
                  <a:lnTo>
                    <a:pt x="22910" y="5128"/>
                  </a:lnTo>
                  <a:lnTo>
                    <a:pt x="22908" y="5130"/>
                  </a:lnTo>
                  <a:lnTo>
                    <a:pt x="22907" y="5127"/>
                  </a:lnTo>
                  <a:lnTo>
                    <a:pt x="22903" y="5127"/>
                  </a:lnTo>
                  <a:lnTo>
                    <a:pt x="22898" y="5130"/>
                  </a:lnTo>
                  <a:lnTo>
                    <a:pt x="22892" y="5131"/>
                  </a:lnTo>
                  <a:lnTo>
                    <a:pt x="22890" y="5132"/>
                  </a:lnTo>
                  <a:lnTo>
                    <a:pt x="22887" y="5132"/>
                  </a:lnTo>
                  <a:lnTo>
                    <a:pt x="22884" y="5133"/>
                  </a:lnTo>
                  <a:lnTo>
                    <a:pt x="22886" y="5137"/>
                  </a:lnTo>
                  <a:lnTo>
                    <a:pt x="22882" y="5138"/>
                  </a:lnTo>
                  <a:lnTo>
                    <a:pt x="22879" y="5138"/>
                  </a:lnTo>
                  <a:close/>
                  <a:moveTo>
                    <a:pt x="22880" y="5147"/>
                  </a:moveTo>
                  <a:lnTo>
                    <a:pt x="22880" y="5147"/>
                  </a:lnTo>
                  <a:lnTo>
                    <a:pt x="22882" y="5153"/>
                  </a:lnTo>
                  <a:lnTo>
                    <a:pt x="22887" y="5149"/>
                  </a:lnTo>
                  <a:lnTo>
                    <a:pt x="22887" y="5146"/>
                  </a:lnTo>
                  <a:lnTo>
                    <a:pt x="22884" y="5144"/>
                  </a:lnTo>
                  <a:lnTo>
                    <a:pt x="22880" y="5147"/>
                  </a:lnTo>
                  <a:close/>
                  <a:moveTo>
                    <a:pt x="22885" y="5159"/>
                  </a:moveTo>
                  <a:lnTo>
                    <a:pt x="22885" y="5159"/>
                  </a:lnTo>
                  <a:lnTo>
                    <a:pt x="22886" y="5155"/>
                  </a:lnTo>
                  <a:lnTo>
                    <a:pt x="22883" y="5156"/>
                  </a:lnTo>
                  <a:lnTo>
                    <a:pt x="22880" y="5159"/>
                  </a:lnTo>
                  <a:lnTo>
                    <a:pt x="22882" y="5160"/>
                  </a:lnTo>
                  <a:lnTo>
                    <a:pt x="22885" y="5159"/>
                  </a:lnTo>
                  <a:close/>
                  <a:moveTo>
                    <a:pt x="22900" y="5167"/>
                  </a:moveTo>
                  <a:lnTo>
                    <a:pt x="22900" y="5167"/>
                  </a:lnTo>
                  <a:lnTo>
                    <a:pt x="22904" y="5170"/>
                  </a:lnTo>
                  <a:lnTo>
                    <a:pt x="22907" y="5171"/>
                  </a:lnTo>
                  <a:lnTo>
                    <a:pt x="22907" y="5168"/>
                  </a:lnTo>
                  <a:lnTo>
                    <a:pt x="22903" y="5166"/>
                  </a:lnTo>
                  <a:lnTo>
                    <a:pt x="22900" y="5167"/>
                  </a:lnTo>
                  <a:close/>
                  <a:moveTo>
                    <a:pt x="22934" y="5178"/>
                  </a:moveTo>
                  <a:lnTo>
                    <a:pt x="22934" y="5178"/>
                  </a:lnTo>
                  <a:lnTo>
                    <a:pt x="22937" y="5178"/>
                  </a:lnTo>
                  <a:lnTo>
                    <a:pt x="22939" y="5178"/>
                  </a:lnTo>
                  <a:lnTo>
                    <a:pt x="22939" y="5176"/>
                  </a:lnTo>
                  <a:lnTo>
                    <a:pt x="22936" y="5175"/>
                  </a:lnTo>
                  <a:lnTo>
                    <a:pt x="22938" y="5173"/>
                  </a:lnTo>
                  <a:lnTo>
                    <a:pt x="22934" y="5172"/>
                  </a:lnTo>
                  <a:lnTo>
                    <a:pt x="22930" y="5171"/>
                  </a:lnTo>
                  <a:lnTo>
                    <a:pt x="22927" y="5172"/>
                  </a:lnTo>
                  <a:lnTo>
                    <a:pt x="22924" y="5171"/>
                  </a:lnTo>
                  <a:lnTo>
                    <a:pt x="22922" y="5170"/>
                  </a:lnTo>
                  <a:lnTo>
                    <a:pt x="22920" y="5170"/>
                  </a:lnTo>
                  <a:lnTo>
                    <a:pt x="22915" y="5168"/>
                  </a:lnTo>
                  <a:lnTo>
                    <a:pt x="22909" y="5165"/>
                  </a:lnTo>
                  <a:lnTo>
                    <a:pt x="22908" y="5168"/>
                  </a:lnTo>
                  <a:lnTo>
                    <a:pt x="22910" y="5170"/>
                  </a:lnTo>
                  <a:lnTo>
                    <a:pt x="22912" y="5172"/>
                  </a:lnTo>
                  <a:lnTo>
                    <a:pt x="22914" y="5172"/>
                  </a:lnTo>
                  <a:lnTo>
                    <a:pt x="22916" y="5174"/>
                  </a:lnTo>
                  <a:lnTo>
                    <a:pt x="22922" y="5175"/>
                  </a:lnTo>
                  <a:lnTo>
                    <a:pt x="22931" y="5176"/>
                  </a:lnTo>
                  <a:lnTo>
                    <a:pt x="22934" y="5178"/>
                  </a:lnTo>
                  <a:close/>
                  <a:moveTo>
                    <a:pt x="23201" y="5184"/>
                  </a:moveTo>
                  <a:lnTo>
                    <a:pt x="23201" y="5184"/>
                  </a:lnTo>
                  <a:lnTo>
                    <a:pt x="23202" y="5184"/>
                  </a:lnTo>
                  <a:lnTo>
                    <a:pt x="23204" y="5188"/>
                  </a:lnTo>
                  <a:lnTo>
                    <a:pt x="23210" y="5190"/>
                  </a:lnTo>
                  <a:lnTo>
                    <a:pt x="23213" y="5191"/>
                  </a:lnTo>
                  <a:lnTo>
                    <a:pt x="23220" y="5194"/>
                  </a:lnTo>
                  <a:lnTo>
                    <a:pt x="23221" y="5193"/>
                  </a:lnTo>
                  <a:lnTo>
                    <a:pt x="23216" y="5190"/>
                  </a:lnTo>
                  <a:lnTo>
                    <a:pt x="23211" y="5186"/>
                  </a:lnTo>
                  <a:lnTo>
                    <a:pt x="23206" y="5182"/>
                  </a:lnTo>
                  <a:lnTo>
                    <a:pt x="23201" y="5181"/>
                  </a:lnTo>
                  <a:lnTo>
                    <a:pt x="23198" y="5181"/>
                  </a:lnTo>
                  <a:lnTo>
                    <a:pt x="23195" y="5182"/>
                  </a:lnTo>
                  <a:lnTo>
                    <a:pt x="23197" y="5183"/>
                  </a:lnTo>
                  <a:lnTo>
                    <a:pt x="23199" y="5185"/>
                  </a:lnTo>
                  <a:lnTo>
                    <a:pt x="23201" y="5184"/>
                  </a:lnTo>
                  <a:close/>
                  <a:moveTo>
                    <a:pt x="22909" y="5225"/>
                  </a:moveTo>
                  <a:lnTo>
                    <a:pt x="22909" y="5225"/>
                  </a:lnTo>
                  <a:lnTo>
                    <a:pt x="22895" y="5222"/>
                  </a:lnTo>
                  <a:lnTo>
                    <a:pt x="22889" y="5222"/>
                  </a:lnTo>
                  <a:lnTo>
                    <a:pt x="22886" y="5222"/>
                  </a:lnTo>
                  <a:lnTo>
                    <a:pt x="22882" y="5223"/>
                  </a:lnTo>
                  <a:lnTo>
                    <a:pt x="22881" y="5225"/>
                  </a:lnTo>
                  <a:lnTo>
                    <a:pt x="22882" y="5227"/>
                  </a:lnTo>
                  <a:lnTo>
                    <a:pt x="22884" y="5227"/>
                  </a:lnTo>
                  <a:lnTo>
                    <a:pt x="22892" y="5227"/>
                  </a:lnTo>
                  <a:lnTo>
                    <a:pt x="22900" y="5229"/>
                  </a:lnTo>
                  <a:lnTo>
                    <a:pt x="22907" y="5230"/>
                  </a:lnTo>
                  <a:lnTo>
                    <a:pt x="22907" y="5229"/>
                  </a:lnTo>
                  <a:lnTo>
                    <a:pt x="22910" y="5228"/>
                  </a:lnTo>
                  <a:lnTo>
                    <a:pt x="22909" y="5225"/>
                  </a:lnTo>
                  <a:close/>
                  <a:moveTo>
                    <a:pt x="22920" y="5228"/>
                  </a:moveTo>
                  <a:lnTo>
                    <a:pt x="22920" y="5228"/>
                  </a:lnTo>
                  <a:lnTo>
                    <a:pt x="22914" y="5227"/>
                  </a:lnTo>
                  <a:lnTo>
                    <a:pt x="22910" y="5229"/>
                  </a:lnTo>
                  <a:lnTo>
                    <a:pt x="22911" y="5230"/>
                  </a:lnTo>
                  <a:lnTo>
                    <a:pt x="22913" y="5231"/>
                  </a:lnTo>
                  <a:lnTo>
                    <a:pt x="22915" y="5230"/>
                  </a:lnTo>
                  <a:lnTo>
                    <a:pt x="22916" y="5230"/>
                  </a:lnTo>
                  <a:lnTo>
                    <a:pt x="22918" y="5233"/>
                  </a:lnTo>
                  <a:lnTo>
                    <a:pt x="22921" y="5234"/>
                  </a:lnTo>
                  <a:lnTo>
                    <a:pt x="22925" y="5234"/>
                  </a:lnTo>
                  <a:lnTo>
                    <a:pt x="22928" y="5234"/>
                  </a:lnTo>
                  <a:lnTo>
                    <a:pt x="22930" y="5233"/>
                  </a:lnTo>
                  <a:lnTo>
                    <a:pt x="22928" y="5230"/>
                  </a:lnTo>
                  <a:lnTo>
                    <a:pt x="22925" y="5229"/>
                  </a:lnTo>
                  <a:lnTo>
                    <a:pt x="22920" y="5228"/>
                  </a:lnTo>
                  <a:close/>
                  <a:moveTo>
                    <a:pt x="22953" y="5230"/>
                  </a:moveTo>
                  <a:lnTo>
                    <a:pt x="22953" y="5230"/>
                  </a:lnTo>
                  <a:lnTo>
                    <a:pt x="22951" y="5232"/>
                  </a:lnTo>
                  <a:lnTo>
                    <a:pt x="22945" y="5233"/>
                  </a:lnTo>
                  <a:lnTo>
                    <a:pt x="22943" y="5236"/>
                  </a:lnTo>
                  <a:lnTo>
                    <a:pt x="22949" y="5237"/>
                  </a:lnTo>
                  <a:lnTo>
                    <a:pt x="22952" y="5238"/>
                  </a:lnTo>
                  <a:lnTo>
                    <a:pt x="22963" y="5234"/>
                  </a:lnTo>
                  <a:lnTo>
                    <a:pt x="22966" y="5232"/>
                  </a:lnTo>
                  <a:lnTo>
                    <a:pt x="22969" y="5231"/>
                  </a:lnTo>
                  <a:lnTo>
                    <a:pt x="22969" y="5229"/>
                  </a:lnTo>
                  <a:lnTo>
                    <a:pt x="22966" y="5229"/>
                  </a:lnTo>
                  <a:lnTo>
                    <a:pt x="22961" y="5229"/>
                  </a:lnTo>
                  <a:lnTo>
                    <a:pt x="22953" y="5230"/>
                  </a:lnTo>
                  <a:close/>
                  <a:moveTo>
                    <a:pt x="22992" y="5252"/>
                  </a:moveTo>
                  <a:lnTo>
                    <a:pt x="22992" y="5252"/>
                  </a:lnTo>
                  <a:lnTo>
                    <a:pt x="23005" y="5252"/>
                  </a:lnTo>
                  <a:lnTo>
                    <a:pt x="23010" y="5252"/>
                  </a:lnTo>
                  <a:lnTo>
                    <a:pt x="23019" y="5249"/>
                  </a:lnTo>
                  <a:lnTo>
                    <a:pt x="23015" y="5247"/>
                  </a:lnTo>
                  <a:lnTo>
                    <a:pt x="23007" y="5245"/>
                  </a:lnTo>
                  <a:lnTo>
                    <a:pt x="22996" y="5246"/>
                  </a:lnTo>
                  <a:lnTo>
                    <a:pt x="22986" y="5248"/>
                  </a:lnTo>
                  <a:lnTo>
                    <a:pt x="22987" y="5251"/>
                  </a:lnTo>
                  <a:lnTo>
                    <a:pt x="22992" y="5252"/>
                  </a:lnTo>
                  <a:close/>
                  <a:moveTo>
                    <a:pt x="22201" y="4565"/>
                  </a:moveTo>
                  <a:lnTo>
                    <a:pt x="22201" y="4565"/>
                  </a:lnTo>
                  <a:lnTo>
                    <a:pt x="22198" y="4567"/>
                  </a:lnTo>
                  <a:lnTo>
                    <a:pt x="22203" y="4570"/>
                  </a:lnTo>
                  <a:lnTo>
                    <a:pt x="22210" y="4569"/>
                  </a:lnTo>
                  <a:lnTo>
                    <a:pt x="22216" y="4571"/>
                  </a:lnTo>
                  <a:lnTo>
                    <a:pt x="22216" y="4561"/>
                  </a:lnTo>
                  <a:lnTo>
                    <a:pt x="22214" y="4557"/>
                  </a:lnTo>
                  <a:lnTo>
                    <a:pt x="22210" y="4554"/>
                  </a:lnTo>
                  <a:lnTo>
                    <a:pt x="22205" y="4553"/>
                  </a:lnTo>
                  <a:lnTo>
                    <a:pt x="22202" y="4553"/>
                  </a:lnTo>
                  <a:lnTo>
                    <a:pt x="22199" y="4551"/>
                  </a:lnTo>
                  <a:lnTo>
                    <a:pt x="22196" y="4549"/>
                  </a:lnTo>
                  <a:lnTo>
                    <a:pt x="22187" y="4548"/>
                  </a:lnTo>
                  <a:lnTo>
                    <a:pt x="22176" y="4551"/>
                  </a:lnTo>
                  <a:lnTo>
                    <a:pt x="22172" y="4555"/>
                  </a:lnTo>
                  <a:lnTo>
                    <a:pt x="22170" y="4559"/>
                  </a:lnTo>
                  <a:lnTo>
                    <a:pt x="22168" y="4560"/>
                  </a:lnTo>
                  <a:lnTo>
                    <a:pt x="22172" y="4567"/>
                  </a:lnTo>
                  <a:lnTo>
                    <a:pt x="22176" y="4566"/>
                  </a:lnTo>
                  <a:lnTo>
                    <a:pt x="22176" y="4563"/>
                  </a:lnTo>
                  <a:lnTo>
                    <a:pt x="22178" y="4562"/>
                  </a:lnTo>
                  <a:lnTo>
                    <a:pt x="22176" y="4560"/>
                  </a:lnTo>
                  <a:lnTo>
                    <a:pt x="22178" y="4559"/>
                  </a:lnTo>
                  <a:lnTo>
                    <a:pt x="22181" y="4561"/>
                  </a:lnTo>
                  <a:lnTo>
                    <a:pt x="22184" y="4562"/>
                  </a:lnTo>
                  <a:lnTo>
                    <a:pt x="22189" y="4560"/>
                  </a:lnTo>
                  <a:lnTo>
                    <a:pt x="22191" y="4558"/>
                  </a:lnTo>
                  <a:lnTo>
                    <a:pt x="22194" y="4559"/>
                  </a:lnTo>
                  <a:lnTo>
                    <a:pt x="22197" y="4556"/>
                  </a:lnTo>
                  <a:lnTo>
                    <a:pt x="22200" y="4555"/>
                  </a:lnTo>
                  <a:lnTo>
                    <a:pt x="22203" y="4559"/>
                  </a:lnTo>
                  <a:lnTo>
                    <a:pt x="22202" y="4563"/>
                  </a:lnTo>
                  <a:lnTo>
                    <a:pt x="22201" y="4565"/>
                  </a:lnTo>
                  <a:close/>
                  <a:moveTo>
                    <a:pt x="26630" y="4620"/>
                  </a:moveTo>
                  <a:lnTo>
                    <a:pt x="26630" y="4620"/>
                  </a:lnTo>
                  <a:lnTo>
                    <a:pt x="26632" y="4620"/>
                  </a:lnTo>
                  <a:lnTo>
                    <a:pt x="26640" y="4615"/>
                  </a:lnTo>
                  <a:lnTo>
                    <a:pt x="26643" y="4615"/>
                  </a:lnTo>
                  <a:lnTo>
                    <a:pt x="26644" y="4615"/>
                  </a:lnTo>
                  <a:lnTo>
                    <a:pt x="26644" y="4612"/>
                  </a:lnTo>
                  <a:lnTo>
                    <a:pt x="26652" y="4605"/>
                  </a:lnTo>
                  <a:lnTo>
                    <a:pt x="26650" y="4601"/>
                  </a:lnTo>
                  <a:lnTo>
                    <a:pt x="26644" y="4600"/>
                  </a:lnTo>
                  <a:lnTo>
                    <a:pt x="26636" y="4602"/>
                  </a:lnTo>
                  <a:lnTo>
                    <a:pt x="26628" y="4608"/>
                  </a:lnTo>
                  <a:lnTo>
                    <a:pt x="26627" y="4615"/>
                  </a:lnTo>
                  <a:lnTo>
                    <a:pt x="26629" y="4617"/>
                  </a:lnTo>
                  <a:lnTo>
                    <a:pt x="26630" y="4620"/>
                  </a:lnTo>
                  <a:close/>
                  <a:moveTo>
                    <a:pt x="22771" y="4759"/>
                  </a:moveTo>
                  <a:lnTo>
                    <a:pt x="22771" y="4759"/>
                  </a:lnTo>
                  <a:lnTo>
                    <a:pt x="22773" y="4756"/>
                  </a:lnTo>
                  <a:lnTo>
                    <a:pt x="22780" y="4752"/>
                  </a:lnTo>
                  <a:lnTo>
                    <a:pt x="22785" y="4752"/>
                  </a:lnTo>
                  <a:lnTo>
                    <a:pt x="22793" y="4745"/>
                  </a:lnTo>
                  <a:lnTo>
                    <a:pt x="22791" y="4744"/>
                  </a:lnTo>
                  <a:lnTo>
                    <a:pt x="22783" y="4743"/>
                  </a:lnTo>
                  <a:lnTo>
                    <a:pt x="22776" y="4746"/>
                  </a:lnTo>
                  <a:lnTo>
                    <a:pt x="22767" y="4748"/>
                  </a:lnTo>
                  <a:lnTo>
                    <a:pt x="22759" y="4753"/>
                  </a:lnTo>
                  <a:lnTo>
                    <a:pt x="22757" y="4761"/>
                  </a:lnTo>
                  <a:lnTo>
                    <a:pt x="22766" y="4762"/>
                  </a:lnTo>
                  <a:lnTo>
                    <a:pt x="22771" y="4759"/>
                  </a:lnTo>
                  <a:close/>
                  <a:moveTo>
                    <a:pt x="22391" y="4953"/>
                  </a:moveTo>
                  <a:lnTo>
                    <a:pt x="22391" y="4953"/>
                  </a:lnTo>
                  <a:lnTo>
                    <a:pt x="22385" y="4944"/>
                  </a:lnTo>
                  <a:lnTo>
                    <a:pt x="22381" y="4955"/>
                  </a:lnTo>
                  <a:lnTo>
                    <a:pt x="22385" y="4957"/>
                  </a:lnTo>
                  <a:lnTo>
                    <a:pt x="22387" y="4961"/>
                  </a:lnTo>
                  <a:lnTo>
                    <a:pt x="22391" y="4953"/>
                  </a:lnTo>
                  <a:close/>
                  <a:moveTo>
                    <a:pt x="26379" y="4967"/>
                  </a:moveTo>
                  <a:lnTo>
                    <a:pt x="26379" y="4967"/>
                  </a:lnTo>
                  <a:lnTo>
                    <a:pt x="26384" y="4967"/>
                  </a:lnTo>
                  <a:lnTo>
                    <a:pt x="26385" y="4963"/>
                  </a:lnTo>
                  <a:lnTo>
                    <a:pt x="26386" y="4961"/>
                  </a:lnTo>
                  <a:lnTo>
                    <a:pt x="26388" y="4960"/>
                  </a:lnTo>
                  <a:lnTo>
                    <a:pt x="26387" y="4957"/>
                  </a:lnTo>
                  <a:lnTo>
                    <a:pt x="26385" y="4954"/>
                  </a:lnTo>
                  <a:lnTo>
                    <a:pt x="26384" y="4952"/>
                  </a:lnTo>
                  <a:lnTo>
                    <a:pt x="26382" y="4951"/>
                  </a:lnTo>
                  <a:lnTo>
                    <a:pt x="26369" y="4954"/>
                  </a:lnTo>
                  <a:lnTo>
                    <a:pt x="26372" y="4957"/>
                  </a:lnTo>
                  <a:lnTo>
                    <a:pt x="26370" y="4958"/>
                  </a:lnTo>
                  <a:lnTo>
                    <a:pt x="26370" y="4965"/>
                  </a:lnTo>
                  <a:lnTo>
                    <a:pt x="26376" y="4969"/>
                  </a:lnTo>
                  <a:lnTo>
                    <a:pt x="26379" y="4967"/>
                  </a:lnTo>
                  <a:close/>
                  <a:moveTo>
                    <a:pt x="22383" y="4968"/>
                  </a:moveTo>
                  <a:lnTo>
                    <a:pt x="22383" y="4968"/>
                  </a:lnTo>
                  <a:lnTo>
                    <a:pt x="22384" y="4975"/>
                  </a:lnTo>
                  <a:lnTo>
                    <a:pt x="22396" y="4984"/>
                  </a:lnTo>
                  <a:lnTo>
                    <a:pt x="22395" y="4976"/>
                  </a:lnTo>
                  <a:lnTo>
                    <a:pt x="22396" y="4969"/>
                  </a:lnTo>
                  <a:lnTo>
                    <a:pt x="22394" y="4960"/>
                  </a:lnTo>
                  <a:lnTo>
                    <a:pt x="22387" y="4962"/>
                  </a:lnTo>
                  <a:lnTo>
                    <a:pt x="22383" y="4968"/>
                  </a:lnTo>
                  <a:close/>
                  <a:moveTo>
                    <a:pt x="25682" y="5122"/>
                  </a:moveTo>
                  <a:lnTo>
                    <a:pt x="25682" y="5122"/>
                  </a:lnTo>
                  <a:lnTo>
                    <a:pt x="25686" y="5125"/>
                  </a:lnTo>
                  <a:lnTo>
                    <a:pt x="25690" y="5122"/>
                  </a:lnTo>
                  <a:lnTo>
                    <a:pt x="25691" y="5113"/>
                  </a:lnTo>
                  <a:lnTo>
                    <a:pt x="25688" y="5108"/>
                  </a:lnTo>
                  <a:lnTo>
                    <a:pt x="25687" y="5100"/>
                  </a:lnTo>
                  <a:lnTo>
                    <a:pt x="25677" y="5105"/>
                  </a:lnTo>
                  <a:lnTo>
                    <a:pt x="25681" y="5116"/>
                  </a:lnTo>
                  <a:lnTo>
                    <a:pt x="25682" y="5122"/>
                  </a:lnTo>
                  <a:close/>
                  <a:moveTo>
                    <a:pt x="22799" y="5215"/>
                  </a:moveTo>
                  <a:lnTo>
                    <a:pt x="22799" y="5215"/>
                  </a:lnTo>
                  <a:lnTo>
                    <a:pt x="22802" y="5215"/>
                  </a:lnTo>
                  <a:lnTo>
                    <a:pt x="22804" y="5214"/>
                  </a:lnTo>
                  <a:lnTo>
                    <a:pt x="22808" y="5216"/>
                  </a:lnTo>
                  <a:lnTo>
                    <a:pt x="22811" y="5214"/>
                  </a:lnTo>
                  <a:lnTo>
                    <a:pt x="22813" y="5212"/>
                  </a:lnTo>
                  <a:lnTo>
                    <a:pt x="22811" y="5209"/>
                  </a:lnTo>
                  <a:lnTo>
                    <a:pt x="22806" y="5209"/>
                  </a:lnTo>
                  <a:lnTo>
                    <a:pt x="22802" y="5209"/>
                  </a:lnTo>
                  <a:lnTo>
                    <a:pt x="22794" y="5206"/>
                  </a:lnTo>
                  <a:lnTo>
                    <a:pt x="22787" y="5207"/>
                  </a:lnTo>
                  <a:lnTo>
                    <a:pt x="22771" y="5204"/>
                  </a:lnTo>
                  <a:lnTo>
                    <a:pt x="22758" y="5204"/>
                  </a:lnTo>
                  <a:lnTo>
                    <a:pt x="22759" y="5207"/>
                  </a:lnTo>
                  <a:lnTo>
                    <a:pt x="22761" y="5206"/>
                  </a:lnTo>
                  <a:lnTo>
                    <a:pt x="22761" y="5207"/>
                  </a:lnTo>
                  <a:lnTo>
                    <a:pt x="22764" y="5208"/>
                  </a:lnTo>
                  <a:lnTo>
                    <a:pt x="22775" y="5210"/>
                  </a:lnTo>
                  <a:lnTo>
                    <a:pt x="22779" y="5208"/>
                  </a:lnTo>
                  <a:lnTo>
                    <a:pt x="22781" y="5210"/>
                  </a:lnTo>
                  <a:lnTo>
                    <a:pt x="22776" y="5212"/>
                  </a:lnTo>
                  <a:lnTo>
                    <a:pt x="22772" y="5214"/>
                  </a:lnTo>
                  <a:lnTo>
                    <a:pt x="22769" y="5213"/>
                  </a:lnTo>
                  <a:lnTo>
                    <a:pt x="22762" y="5211"/>
                  </a:lnTo>
                  <a:lnTo>
                    <a:pt x="22757" y="5212"/>
                  </a:lnTo>
                  <a:lnTo>
                    <a:pt x="22756" y="5214"/>
                  </a:lnTo>
                  <a:lnTo>
                    <a:pt x="22763" y="5214"/>
                  </a:lnTo>
                  <a:lnTo>
                    <a:pt x="22765" y="5215"/>
                  </a:lnTo>
                  <a:lnTo>
                    <a:pt x="22770" y="5218"/>
                  </a:lnTo>
                  <a:lnTo>
                    <a:pt x="22774" y="5221"/>
                  </a:lnTo>
                  <a:lnTo>
                    <a:pt x="22779" y="5222"/>
                  </a:lnTo>
                  <a:lnTo>
                    <a:pt x="22784" y="5224"/>
                  </a:lnTo>
                  <a:lnTo>
                    <a:pt x="22788" y="5223"/>
                  </a:lnTo>
                  <a:lnTo>
                    <a:pt x="22792" y="5223"/>
                  </a:lnTo>
                  <a:lnTo>
                    <a:pt x="22794" y="5223"/>
                  </a:lnTo>
                  <a:lnTo>
                    <a:pt x="22797" y="5222"/>
                  </a:lnTo>
                  <a:lnTo>
                    <a:pt x="22795" y="5220"/>
                  </a:lnTo>
                  <a:lnTo>
                    <a:pt x="22793" y="5217"/>
                  </a:lnTo>
                  <a:lnTo>
                    <a:pt x="22793" y="5215"/>
                  </a:lnTo>
                  <a:lnTo>
                    <a:pt x="22793" y="5214"/>
                  </a:lnTo>
                  <a:lnTo>
                    <a:pt x="22799" y="5215"/>
                  </a:lnTo>
                  <a:close/>
                  <a:moveTo>
                    <a:pt x="24041" y="7484"/>
                  </a:moveTo>
                  <a:lnTo>
                    <a:pt x="24041" y="7484"/>
                  </a:lnTo>
                  <a:lnTo>
                    <a:pt x="24039" y="7482"/>
                  </a:lnTo>
                  <a:lnTo>
                    <a:pt x="24034" y="7482"/>
                  </a:lnTo>
                  <a:lnTo>
                    <a:pt x="24031" y="7483"/>
                  </a:lnTo>
                  <a:lnTo>
                    <a:pt x="24026" y="7486"/>
                  </a:lnTo>
                  <a:lnTo>
                    <a:pt x="24023" y="7491"/>
                  </a:lnTo>
                  <a:lnTo>
                    <a:pt x="24021" y="7502"/>
                  </a:lnTo>
                  <a:lnTo>
                    <a:pt x="24024" y="7510"/>
                  </a:lnTo>
                  <a:lnTo>
                    <a:pt x="24027" y="7512"/>
                  </a:lnTo>
                  <a:lnTo>
                    <a:pt x="24027" y="7514"/>
                  </a:lnTo>
                  <a:lnTo>
                    <a:pt x="24032" y="7516"/>
                  </a:lnTo>
                  <a:lnTo>
                    <a:pt x="24036" y="7514"/>
                  </a:lnTo>
                  <a:lnTo>
                    <a:pt x="24041" y="7503"/>
                  </a:lnTo>
                  <a:lnTo>
                    <a:pt x="24041" y="7496"/>
                  </a:lnTo>
                  <a:lnTo>
                    <a:pt x="24039" y="7486"/>
                  </a:lnTo>
                  <a:lnTo>
                    <a:pt x="24041" y="7484"/>
                  </a:lnTo>
                  <a:close/>
                  <a:moveTo>
                    <a:pt x="25712" y="7508"/>
                  </a:moveTo>
                  <a:lnTo>
                    <a:pt x="25712" y="7508"/>
                  </a:lnTo>
                  <a:lnTo>
                    <a:pt x="25714" y="7507"/>
                  </a:lnTo>
                  <a:lnTo>
                    <a:pt x="25718" y="7505"/>
                  </a:lnTo>
                  <a:lnTo>
                    <a:pt x="25722" y="7501"/>
                  </a:lnTo>
                  <a:lnTo>
                    <a:pt x="25724" y="7500"/>
                  </a:lnTo>
                  <a:lnTo>
                    <a:pt x="25723" y="7498"/>
                  </a:lnTo>
                  <a:lnTo>
                    <a:pt x="25721" y="7494"/>
                  </a:lnTo>
                  <a:lnTo>
                    <a:pt x="25719" y="7493"/>
                  </a:lnTo>
                  <a:lnTo>
                    <a:pt x="25709" y="7491"/>
                  </a:lnTo>
                  <a:lnTo>
                    <a:pt x="25707" y="7493"/>
                  </a:lnTo>
                  <a:lnTo>
                    <a:pt x="25705" y="7499"/>
                  </a:lnTo>
                  <a:lnTo>
                    <a:pt x="25704" y="7507"/>
                  </a:lnTo>
                  <a:lnTo>
                    <a:pt x="25706" y="7510"/>
                  </a:lnTo>
                  <a:lnTo>
                    <a:pt x="25712" y="7508"/>
                  </a:lnTo>
                  <a:close/>
                  <a:moveTo>
                    <a:pt x="25534" y="8279"/>
                  </a:moveTo>
                  <a:lnTo>
                    <a:pt x="25534" y="8279"/>
                  </a:lnTo>
                  <a:lnTo>
                    <a:pt x="25537" y="8276"/>
                  </a:lnTo>
                  <a:lnTo>
                    <a:pt x="25534" y="8273"/>
                  </a:lnTo>
                  <a:lnTo>
                    <a:pt x="25530" y="8270"/>
                  </a:lnTo>
                  <a:lnTo>
                    <a:pt x="25525" y="8264"/>
                  </a:lnTo>
                  <a:lnTo>
                    <a:pt x="25519" y="8267"/>
                  </a:lnTo>
                  <a:lnTo>
                    <a:pt x="25517" y="8265"/>
                  </a:lnTo>
                  <a:lnTo>
                    <a:pt x="25515" y="8267"/>
                  </a:lnTo>
                  <a:lnTo>
                    <a:pt x="25515" y="8279"/>
                  </a:lnTo>
                  <a:lnTo>
                    <a:pt x="25529" y="8278"/>
                  </a:lnTo>
                  <a:lnTo>
                    <a:pt x="25534" y="8279"/>
                  </a:lnTo>
                  <a:close/>
                  <a:moveTo>
                    <a:pt x="9951" y="7497"/>
                  </a:moveTo>
                  <a:lnTo>
                    <a:pt x="9951" y="7497"/>
                  </a:lnTo>
                  <a:lnTo>
                    <a:pt x="9953" y="7502"/>
                  </a:lnTo>
                  <a:lnTo>
                    <a:pt x="9956" y="7497"/>
                  </a:lnTo>
                  <a:lnTo>
                    <a:pt x="9952" y="7493"/>
                  </a:lnTo>
                  <a:lnTo>
                    <a:pt x="9951" y="7497"/>
                  </a:lnTo>
                  <a:close/>
                  <a:moveTo>
                    <a:pt x="9813" y="7548"/>
                  </a:moveTo>
                  <a:lnTo>
                    <a:pt x="9813" y="7548"/>
                  </a:lnTo>
                  <a:lnTo>
                    <a:pt x="9815" y="7547"/>
                  </a:lnTo>
                  <a:lnTo>
                    <a:pt x="9813" y="7543"/>
                  </a:lnTo>
                  <a:lnTo>
                    <a:pt x="9809" y="7544"/>
                  </a:lnTo>
                  <a:lnTo>
                    <a:pt x="9813" y="7548"/>
                  </a:lnTo>
                  <a:close/>
                  <a:moveTo>
                    <a:pt x="10077" y="7579"/>
                  </a:moveTo>
                  <a:lnTo>
                    <a:pt x="10077" y="7579"/>
                  </a:lnTo>
                  <a:lnTo>
                    <a:pt x="10082" y="7568"/>
                  </a:lnTo>
                  <a:lnTo>
                    <a:pt x="10081" y="7564"/>
                  </a:lnTo>
                  <a:lnTo>
                    <a:pt x="10075" y="7566"/>
                  </a:lnTo>
                  <a:lnTo>
                    <a:pt x="10075" y="7572"/>
                  </a:lnTo>
                  <a:lnTo>
                    <a:pt x="10076" y="7573"/>
                  </a:lnTo>
                  <a:lnTo>
                    <a:pt x="10075" y="7576"/>
                  </a:lnTo>
                  <a:lnTo>
                    <a:pt x="10077" y="7579"/>
                  </a:lnTo>
                  <a:close/>
                  <a:moveTo>
                    <a:pt x="13724" y="8270"/>
                  </a:moveTo>
                  <a:lnTo>
                    <a:pt x="13724" y="8270"/>
                  </a:lnTo>
                  <a:lnTo>
                    <a:pt x="13719" y="8273"/>
                  </a:lnTo>
                  <a:lnTo>
                    <a:pt x="13729" y="8279"/>
                  </a:lnTo>
                  <a:lnTo>
                    <a:pt x="13735" y="8275"/>
                  </a:lnTo>
                  <a:lnTo>
                    <a:pt x="13738" y="8273"/>
                  </a:lnTo>
                  <a:lnTo>
                    <a:pt x="13734" y="8267"/>
                  </a:lnTo>
                  <a:lnTo>
                    <a:pt x="13724" y="8270"/>
                  </a:lnTo>
                  <a:close/>
                  <a:moveTo>
                    <a:pt x="13522" y="8286"/>
                  </a:moveTo>
                  <a:lnTo>
                    <a:pt x="13522" y="8286"/>
                  </a:lnTo>
                  <a:lnTo>
                    <a:pt x="13500" y="8279"/>
                  </a:lnTo>
                  <a:lnTo>
                    <a:pt x="13506" y="8286"/>
                  </a:lnTo>
                  <a:lnTo>
                    <a:pt x="13522" y="8286"/>
                  </a:lnTo>
                  <a:close/>
                  <a:moveTo>
                    <a:pt x="12382" y="8313"/>
                  </a:moveTo>
                  <a:lnTo>
                    <a:pt x="12382" y="8313"/>
                  </a:lnTo>
                  <a:lnTo>
                    <a:pt x="12387" y="8313"/>
                  </a:lnTo>
                  <a:lnTo>
                    <a:pt x="12391" y="8315"/>
                  </a:lnTo>
                  <a:lnTo>
                    <a:pt x="12394" y="8313"/>
                  </a:lnTo>
                  <a:lnTo>
                    <a:pt x="12396" y="8301"/>
                  </a:lnTo>
                  <a:lnTo>
                    <a:pt x="12396" y="8292"/>
                  </a:lnTo>
                  <a:lnTo>
                    <a:pt x="12388" y="8288"/>
                  </a:lnTo>
                  <a:lnTo>
                    <a:pt x="12381" y="8304"/>
                  </a:lnTo>
                  <a:lnTo>
                    <a:pt x="12382" y="8313"/>
                  </a:lnTo>
                  <a:close/>
                  <a:moveTo>
                    <a:pt x="12774" y="8401"/>
                  </a:moveTo>
                  <a:lnTo>
                    <a:pt x="12774" y="8401"/>
                  </a:lnTo>
                  <a:lnTo>
                    <a:pt x="12776" y="8400"/>
                  </a:lnTo>
                  <a:lnTo>
                    <a:pt x="12781" y="8397"/>
                  </a:lnTo>
                  <a:lnTo>
                    <a:pt x="12782" y="8393"/>
                  </a:lnTo>
                  <a:lnTo>
                    <a:pt x="12782" y="8387"/>
                  </a:lnTo>
                  <a:lnTo>
                    <a:pt x="12775" y="8390"/>
                  </a:lnTo>
                  <a:lnTo>
                    <a:pt x="12768" y="8392"/>
                  </a:lnTo>
                  <a:lnTo>
                    <a:pt x="12769" y="8394"/>
                  </a:lnTo>
                  <a:lnTo>
                    <a:pt x="12768" y="8396"/>
                  </a:lnTo>
                  <a:lnTo>
                    <a:pt x="12774" y="8401"/>
                  </a:lnTo>
                  <a:close/>
                  <a:moveTo>
                    <a:pt x="17295" y="8498"/>
                  </a:moveTo>
                  <a:lnTo>
                    <a:pt x="17295" y="8498"/>
                  </a:lnTo>
                  <a:lnTo>
                    <a:pt x="17306" y="8496"/>
                  </a:lnTo>
                  <a:lnTo>
                    <a:pt x="17309" y="8487"/>
                  </a:lnTo>
                  <a:lnTo>
                    <a:pt x="17300" y="8481"/>
                  </a:lnTo>
                  <a:lnTo>
                    <a:pt x="17291" y="8482"/>
                  </a:lnTo>
                  <a:lnTo>
                    <a:pt x="17286" y="8485"/>
                  </a:lnTo>
                  <a:lnTo>
                    <a:pt x="17285" y="8488"/>
                  </a:lnTo>
                  <a:lnTo>
                    <a:pt x="17281" y="8493"/>
                  </a:lnTo>
                  <a:lnTo>
                    <a:pt x="17276" y="8493"/>
                  </a:lnTo>
                  <a:lnTo>
                    <a:pt x="17277" y="8495"/>
                  </a:lnTo>
                  <a:lnTo>
                    <a:pt x="17278" y="8497"/>
                  </a:lnTo>
                  <a:lnTo>
                    <a:pt x="17276" y="8500"/>
                  </a:lnTo>
                  <a:lnTo>
                    <a:pt x="17277" y="8503"/>
                  </a:lnTo>
                  <a:lnTo>
                    <a:pt x="17287" y="8500"/>
                  </a:lnTo>
                  <a:lnTo>
                    <a:pt x="17295" y="8498"/>
                  </a:lnTo>
                  <a:close/>
                  <a:moveTo>
                    <a:pt x="16064" y="9200"/>
                  </a:moveTo>
                  <a:lnTo>
                    <a:pt x="16064" y="9200"/>
                  </a:lnTo>
                  <a:lnTo>
                    <a:pt x="16060" y="9196"/>
                  </a:lnTo>
                  <a:lnTo>
                    <a:pt x="16056" y="9199"/>
                  </a:lnTo>
                  <a:lnTo>
                    <a:pt x="16054" y="9200"/>
                  </a:lnTo>
                  <a:lnTo>
                    <a:pt x="16052" y="9200"/>
                  </a:lnTo>
                  <a:lnTo>
                    <a:pt x="16051" y="9201"/>
                  </a:lnTo>
                  <a:lnTo>
                    <a:pt x="16051" y="9209"/>
                  </a:lnTo>
                  <a:lnTo>
                    <a:pt x="16056" y="9212"/>
                  </a:lnTo>
                  <a:lnTo>
                    <a:pt x="16062" y="9213"/>
                  </a:lnTo>
                  <a:lnTo>
                    <a:pt x="16065" y="9215"/>
                  </a:lnTo>
                  <a:lnTo>
                    <a:pt x="16071" y="9209"/>
                  </a:lnTo>
                  <a:lnTo>
                    <a:pt x="16074" y="9204"/>
                  </a:lnTo>
                  <a:lnTo>
                    <a:pt x="16073" y="9200"/>
                  </a:lnTo>
                  <a:lnTo>
                    <a:pt x="16069" y="9202"/>
                  </a:lnTo>
                  <a:lnTo>
                    <a:pt x="16064" y="9200"/>
                  </a:lnTo>
                  <a:close/>
                  <a:moveTo>
                    <a:pt x="15977" y="9286"/>
                  </a:moveTo>
                  <a:lnTo>
                    <a:pt x="15977" y="9286"/>
                  </a:lnTo>
                  <a:lnTo>
                    <a:pt x="15983" y="9284"/>
                  </a:lnTo>
                  <a:lnTo>
                    <a:pt x="15986" y="9281"/>
                  </a:lnTo>
                  <a:lnTo>
                    <a:pt x="15981" y="9276"/>
                  </a:lnTo>
                  <a:lnTo>
                    <a:pt x="15973" y="9281"/>
                  </a:lnTo>
                  <a:lnTo>
                    <a:pt x="15974" y="9286"/>
                  </a:lnTo>
                  <a:lnTo>
                    <a:pt x="15975" y="9291"/>
                  </a:lnTo>
                  <a:lnTo>
                    <a:pt x="15977" y="9286"/>
                  </a:lnTo>
                  <a:close/>
                  <a:moveTo>
                    <a:pt x="15660" y="9384"/>
                  </a:moveTo>
                  <a:lnTo>
                    <a:pt x="15660" y="9384"/>
                  </a:lnTo>
                  <a:lnTo>
                    <a:pt x="15659" y="9382"/>
                  </a:lnTo>
                  <a:lnTo>
                    <a:pt x="15656" y="9381"/>
                  </a:lnTo>
                  <a:lnTo>
                    <a:pt x="15655" y="9384"/>
                  </a:lnTo>
                  <a:lnTo>
                    <a:pt x="15652" y="9384"/>
                  </a:lnTo>
                  <a:lnTo>
                    <a:pt x="15650" y="9387"/>
                  </a:lnTo>
                  <a:lnTo>
                    <a:pt x="15652" y="9389"/>
                  </a:lnTo>
                  <a:lnTo>
                    <a:pt x="15652" y="9393"/>
                  </a:lnTo>
                  <a:lnTo>
                    <a:pt x="15650" y="9394"/>
                  </a:lnTo>
                  <a:lnTo>
                    <a:pt x="15648" y="9395"/>
                  </a:lnTo>
                  <a:lnTo>
                    <a:pt x="15649" y="9397"/>
                  </a:lnTo>
                  <a:lnTo>
                    <a:pt x="15651" y="9399"/>
                  </a:lnTo>
                  <a:lnTo>
                    <a:pt x="15651" y="9402"/>
                  </a:lnTo>
                  <a:lnTo>
                    <a:pt x="15656" y="9405"/>
                  </a:lnTo>
                  <a:lnTo>
                    <a:pt x="15658" y="9397"/>
                  </a:lnTo>
                  <a:lnTo>
                    <a:pt x="15661" y="9398"/>
                  </a:lnTo>
                  <a:lnTo>
                    <a:pt x="15663" y="9398"/>
                  </a:lnTo>
                  <a:lnTo>
                    <a:pt x="15662" y="9392"/>
                  </a:lnTo>
                  <a:lnTo>
                    <a:pt x="15667" y="9389"/>
                  </a:lnTo>
                  <a:lnTo>
                    <a:pt x="15660" y="9384"/>
                  </a:lnTo>
                  <a:close/>
                  <a:moveTo>
                    <a:pt x="16015" y="9490"/>
                  </a:moveTo>
                  <a:lnTo>
                    <a:pt x="16015" y="9490"/>
                  </a:lnTo>
                  <a:lnTo>
                    <a:pt x="16019" y="9491"/>
                  </a:lnTo>
                  <a:lnTo>
                    <a:pt x="16020" y="9493"/>
                  </a:lnTo>
                  <a:lnTo>
                    <a:pt x="16027" y="9487"/>
                  </a:lnTo>
                  <a:lnTo>
                    <a:pt x="16029" y="9482"/>
                  </a:lnTo>
                  <a:lnTo>
                    <a:pt x="16027" y="9476"/>
                  </a:lnTo>
                  <a:lnTo>
                    <a:pt x="16022" y="9474"/>
                  </a:lnTo>
                  <a:lnTo>
                    <a:pt x="16021" y="9473"/>
                  </a:lnTo>
                  <a:lnTo>
                    <a:pt x="16020" y="9472"/>
                  </a:lnTo>
                  <a:lnTo>
                    <a:pt x="16019" y="9469"/>
                  </a:lnTo>
                  <a:lnTo>
                    <a:pt x="16017" y="9470"/>
                  </a:lnTo>
                  <a:lnTo>
                    <a:pt x="16011" y="9478"/>
                  </a:lnTo>
                  <a:lnTo>
                    <a:pt x="16009" y="9488"/>
                  </a:lnTo>
                  <a:lnTo>
                    <a:pt x="16013" y="9491"/>
                  </a:lnTo>
                  <a:lnTo>
                    <a:pt x="16015" y="9490"/>
                  </a:lnTo>
                  <a:close/>
                  <a:moveTo>
                    <a:pt x="16333" y="9540"/>
                  </a:moveTo>
                  <a:lnTo>
                    <a:pt x="16333" y="9540"/>
                  </a:lnTo>
                  <a:lnTo>
                    <a:pt x="16337" y="9542"/>
                  </a:lnTo>
                  <a:lnTo>
                    <a:pt x="16344" y="9540"/>
                  </a:lnTo>
                  <a:lnTo>
                    <a:pt x="16349" y="9537"/>
                  </a:lnTo>
                  <a:lnTo>
                    <a:pt x="16358" y="9530"/>
                  </a:lnTo>
                  <a:lnTo>
                    <a:pt x="16357" y="9520"/>
                  </a:lnTo>
                  <a:lnTo>
                    <a:pt x="16353" y="9514"/>
                  </a:lnTo>
                  <a:lnTo>
                    <a:pt x="16346" y="9511"/>
                  </a:lnTo>
                  <a:lnTo>
                    <a:pt x="16340" y="9514"/>
                  </a:lnTo>
                  <a:lnTo>
                    <a:pt x="16333" y="9523"/>
                  </a:lnTo>
                  <a:lnTo>
                    <a:pt x="16332" y="9526"/>
                  </a:lnTo>
                  <a:lnTo>
                    <a:pt x="16328" y="9531"/>
                  </a:lnTo>
                  <a:lnTo>
                    <a:pt x="16327" y="9534"/>
                  </a:lnTo>
                  <a:lnTo>
                    <a:pt x="16328" y="9535"/>
                  </a:lnTo>
                  <a:lnTo>
                    <a:pt x="16330" y="9537"/>
                  </a:lnTo>
                  <a:lnTo>
                    <a:pt x="16333" y="9540"/>
                  </a:lnTo>
                  <a:close/>
                  <a:moveTo>
                    <a:pt x="16289" y="10459"/>
                  </a:moveTo>
                  <a:lnTo>
                    <a:pt x="16289" y="10459"/>
                  </a:lnTo>
                  <a:lnTo>
                    <a:pt x="16286" y="10458"/>
                  </a:lnTo>
                  <a:lnTo>
                    <a:pt x="16275" y="10461"/>
                  </a:lnTo>
                  <a:lnTo>
                    <a:pt x="16270" y="10465"/>
                  </a:lnTo>
                  <a:lnTo>
                    <a:pt x="16270" y="10469"/>
                  </a:lnTo>
                  <a:lnTo>
                    <a:pt x="16275" y="10470"/>
                  </a:lnTo>
                  <a:lnTo>
                    <a:pt x="16286" y="10470"/>
                  </a:lnTo>
                  <a:lnTo>
                    <a:pt x="16290" y="10467"/>
                  </a:lnTo>
                  <a:lnTo>
                    <a:pt x="16293" y="10463"/>
                  </a:lnTo>
                  <a:lnTo>
                    <a:pt x="16293" y="10459"/>
                  </a:lnTo>
                  <a:lnTo>
                    <a:pt x="16290" y="10456"/>
                  </a:lnTo>
                  <a:lnTo>
                    <a:pt x="16289" y="10459"/>
                  </a:lnTo>
                  <a:close/>
                  <a:moveTo>
                    <a:pt x="17887" y="10788"/>
                  </a:moveTo>
                  <a:lnTo>
                    <a:pt x="17887" y="10788"/>
                  </a:lnTo>
                  <a:lnTo>
                    <a:pt x="17884" y="10785"/>
                  </a:lnTo>
                  <a:lnTo>
                    <a:pt x="17883" y="10780"/>
                  </a:lnTo>
                  <a:lnTo>
                    <a:pt x="17875" y="10778"/>
                  </a:lnTo>
                  <a:lnTo>
                    <a:pt x="17864" y="10780"/>
                  </a:lnTo>
                  <a:lnTo>
                    <a:pt x="17870" y="10787"/>
                  </a:lnTo>
                  <a:lnTo>
                    <a:pt x="17881" y="10796"/>
                  </a:lnTo>
                  <a:lnTo>
                    <a:pt x="17888" y="10800"/>
                  </a:lnTo>
                  <a:lnTo>
                    <a:pt x="17891" y="10798"/>
                  </a:lnTo>
                  <a:lnTo>
                    <a:pt x="17892" y="10799"/>
                  </a:lnTo>
                  <a:lnTo>
                    <a:pt x="17895" y="10798"/>
                  </a:lnTo>
                  <a:lnTo>
                    <a:pt x="17893" y="10794"/>
                  </a:lnTo>
                  <a:lnTo>
                    <a:pt x="17887" y="10788"/>
                  </a:lnTo>
                  <a:close/>
                  <a:moveTo>
                    <a:pt x="8527" y="1067"/>
                  </a:moveTo>
                  <a:lnTo>
                    <a:pt x="8527" y="1067"/>
                  </a:lnTo>
                  <a:lnTo>
                    <a:pt x="8530" y="1060"/>
                  </a:lnTo>
                  <a:lnTo>
                    <a:pt x="8531" y="1054"/>
                  </a:lnTo>
                  <a:lnTo>
                    <a:pt x="8526" y="1057"/>
                  </a:lnTo>
                  <a:lnTo>
                    <a:pt x="8526" y="1061"/>
                  </a:lnTo>
                  <a:lnTo>
                    <a:pt x="8524" y="1064"/>
                  </a:lnTo>
                  <a:lnTo>
                    <a:pt x="8519" y="1071"/>
                  </a:lnTo>
                  <a:lnTo>
                    <a:pt x="8520" y="1074"/>
                  </a:lnTo>
                  <a:lnTo>
                    <a:pt x="8527" y="1067"/>
                  </a:lnTo>
                  <a:close/>
                  <a:moveTo>
                    <a:pt x="8295" y="1152"/>
                  </a:moveTo>
                  <a:lnTo>
                    <a:pt x="8295" y="1152"/>
                  </a:lnTo>
                  <a:lnTo>
                    <a:pt x="8298" y="1154"/>
                  </a:lnTo>
                  <a:lnTo>
                    <a:pt x="8300" y="1150"/>
                  </a:lnTo>
                  <a:lnTo>
                    <a:pt x="8302" y="1152"/>
                  </a:lnTo>
                  <a:lnTo>
                    <a:pt x="8304" y="1151"/>
                  </a:lnTo>
                  <a:lnTo>
                    <a:pt x="8309" y="1145"/>
                  </a:lnTo>
                  <a:lnTo>
                    <a:pt x="8308" y="1138"/>
                  </a:lnTo>
                  <a:lnTo>
                    <a:pt x="8312" y="1130"/>
                  </a:lnTo>
                  <a:lnTo>
                    <a:pt x="8312" y="1128"/>
                  </a:lnTo>
                  <a:lnTo>
                    <a:pt x="8311" y="1125"/>
                  </a:lnTo>
                  <a:lnTo>
                    <a:pt x="8308" y="1124"/>
                  </a:lnTo>
                  <a:lnTo>
                    <a:pt x="8304" y="1128"/>
                  </a:lnTo>
                  <a:lnTo>
                    <a:pt x="8299" y="1137"/>
                  </a:lnTo>
                  <a:lnTo>
                    <a:pt x="8297" y="1141"/>
                  </a:lnTo>
                  <a:lnTo>
                    <a:pt x="8297" y="1146"/>
                  </a:lnTo>
                  <a:lnTo>
                    <a:pt x="8298" y="1147"/>
                  </a:lnTo>
                  <a:lnTo>
                    <a:pt x="8297" y="1149"/>
                  </a:lnTo>
                  <a:lnTo>
                    <a:pt x="8295" y="1152"/>
                  </a:lnTo>
                  <a:close/>
                  <a:moveTo>
                    <a:pt x="8337" y="1301"/>
                  </a:moveTo>
                  <a:lnTo>
                    <a:pt x="8337" y="1301"/>
                  </a:lnTo>
                  <a:lnTo>
                    <a:pt x="8341" y="1302"/>
                  </a:lnTo>
                  <a:lnTo>
                    <a:pt x="8344" y="1300"/>
                  </a:lnTo>
                  <a:lnTo>
                    <a:pt x="8348" y="1292"/>
                  </a:lnTo>
                  <a:lnTo>
                    <a:pt x="8346" y="1286"/>
                  </a:lnTo>
                  <a:lnTo>
                    <a:pt x="8338" y="1284"/>
                  </a:lnTo>
                  <a:lnTo>
                    <a:pt x="8335" y="1283"/>
                  </a:lnTo>
                  <a:lnTo>
                    <a:pt x="8330" y="1289"/>
                  </a:lnTo>
                  <a:lnTo>
                    <a:pt x="8331" y="1295"/>
                  </a:lnTo>
                  <a:lnTo>
                    <a:pt x="8337" y="1301"/>
                  </a:lnTo>
                  <a:close/>
                  <a:moveTo>
                    <a:pt x="8419" y="1379"/>
                  </a:moveTo>
                  <a:lnTo>
                    <a:pt x="8419" y="1379"/>
                  </a:lnTo>
                  <a:lnTo>
                    <a:pt x="8425" y="1368"/>
                  </a:lnTo>
                  <a:lnTo>
                    <a:pt x="8423" y="1365"/>
                  </a:lnTo>
                  <a:lnTo>
                    <a:pt x="8420" y="1363"/>
                  </a:lnTo>
                  <a:lnTo>
                    <a:pt x="8419" y="1360"/>
                  </a:lnTo>
                  <a:lnTo>
                    <a:pt x="8417" y="1353"/>
                  </a:lnTo>
                  <a:lnTo>
                    <a:pt x="8414" y="1349"/>
                  </a:lnTo>
                  <a:lnTo>
                    <a:pt x="8408" y="1345"/>
                  </a:lnTo>
                  <a:lnTo>
                    <a:pt x="8400" y="1344"/>
                  </a:lnTo>
                  <a:lnTo>
                    <a:pt x="8394" y="1345"/>
                  </a:lnTo>
                  <a:lnTo>
                    <a:pt x="8394" y="1349"/>
                  </a:lnTo>
                  <a:lnTo>
                    <a:pt x="8398" y="1349"/>
                  </a:lnTo>
                  <a:lnTo>
                    <a:pt x="8402" y="1351"/>
                  </a:lnTo>
                  <a:lnTo>
                    <a:pt x="8406" y="1352"/>
                  </a:lnTo>
                  <a:lnTo>
                    <a:pt x="8407" y="1356"/>
                  </a:lnTo>
                  <a:lnTo>
                    <a:pt x="8409" y="1360"/>
                  </a:lnTo>
                  <a:lnTo>
                    <a:pt x="8406" y="1367"/>
                  </a:lnTo>
                  <a:lnTo>
                    <a:pt x="8411" y="1370"/>
                  </a:lnTo>
                  <a:lnTo>
                    <a:pt x="8416" y="1370"/>
                  </a:lnTo>
                  <a:lnTo>
                    <a:pt x="8417" y="1368"/>
                  </a:lnTo>
                  <a:lnTo>
                    <a:pt x="8420" y="1373"/>
                  </a:lnTo>
                  <a:lnTo>
                    <a:pt x="8419" y="1379"/>
                  </a:lnTo>
                  <a:close/>
                  <a:moveTo>
                    <a:pt x="8946" y="1847"/>
                  </a:moveTo>
                  <a:lnTo>
                    <a:pt x="8946" y="1847"/>
                  </a:lnTo>
                  <a:lnTo>
                    <a:pt x="8950" y="1853"/>
                  </a:lnTo>
                  <a:lnTo>
                    <a:pt x="8948" y="1858"/>
                  </a:lnTo>
                  <a:lnTo>
                    <a:pt x="8946" y="1859"/>
                  </a:lnTo>
                  <a:lnTo>
                    <a:pt x="8946" y="1862"/>
                  </a:lnTo>
                  <a:lnTo>
                    <a:pt x="8962" y="1853"/>
                  </a:lnTo>
                  <a:lnTo>
                    <a:pt x="8958" y="1846"/>
                  </a:lnTo>
                  <a:lnTo>
                    <a:pt x="8960" y="1844"/>
                  </a:lnTo>
                  <a:lnTo>
                    <a:pt x="8961" y="1841"/>
                  </a:lnTo>
                  <a:lnTo>
                    <a:pt x="8960" y="1840"/>
                  </a:lnTo>
                  <a:lnTo>
                    <a:pt x="8957" y="1837"/>
                  </a:lnTo>
                  <a:lnTo>
                    <a:pt x="8953" y="1835"/>
                  </a:lnTo>
                  <a:lnTo>
                    <a:pt x="8949" y="1834"/>
                  </a:lnTo>
                  <a:lnTo>
                    <a:pt x="8945" y="1832"/>
                  </a:lnTo>
                  <a:lnTo>
                    <a:pt x="8941" y="1838"/>
                  </a:lnTo>
                  <a:lnTo>
                    <a:pt x="8942" y="1842"/>
                  </a:lnTo>
                  <a:lnTo>
                    <a:pt x="8946" y="1847"/>
                  </a:lnTo>
                  <a:close/>
                  <a:moveTo>
                    <a:pt x="8971" y="2047"/>
                  </a:moveTo>
                  <a:lnTo>
                    <a:pt x="8971" y="2047"/>
                  </a:lnTo>
                  <a:lnTo>
                    <a:pt x="8973" y="2048"/>
                  </a:lnTo>
                  <a:lnTo>
                    <a:pt x="8978" y="2047"/>
                  </a:lnTo>
                  <a:lnTo>
                    <a:pt x="8984" y="2044"/>
                  </a:lnTo>
                  <a:lnTo>
                    <a:pt x="8990" y="2037"/>
                  </a:lnTo>
                  <a:lnTo>
                    <a:pt x="8997" y="2031"/>
                  </a:lnTo>
                  <a:lnTo>
                    <a:pt x="8999" y="2027"/>
                  </a:lnTo>
                  <a:lnTo>
                    <a:pt x="8998" y="2023"/>
                  </a:lnTo>
                  <a:lnTo>
                    <a:pt x="8996" y="2020"/>
                  </a:lnTo>
                  <a:lnTo>
                    <a:pt x="8992" y="2021"/>
                  </a:lnTo>
                  <a:lnTo>
                    <a:pt x="8988" y="2029"/>
                  </a:lnTo>
                  <a:lnTo>
                    <a:pt x="8984" y="2032"/>
                  </a:lnTo>
                  <a:lnTo>
                    <a:pt x="8982" y="2036"/>
                  </a:lnTo>
                  <a:lnTo>
                    <a:pt x="8975" y="2040"/>
                  </a:lnTo>
                  <a:lnTo>
                    <a:pt x="8971" y="2047"/>
                  </a:lnTo>
                  <a:close/>
                  <a:moveTo>
                    <a:pt x="8768" y="2088"/>
                  </a:moveTo>
                  <a:lnTo>
                    <a:pt x="8768" y="2088"/>
                  </a:lnTo>
                  <a:lnTo>
                    <a:pt x="8769" y="2081"/>
                  </a:lnTo>
                  <a:lnTo>
                    <a:pt x="8774" y="2067"/>
                  </a:lnTo>
                  <a:lnTo>
                    <a:pt x="8767" y="2069"/>
                  </a:lnTo>
                  <a:lnTo>
                    <a:pt x="8766" y="2071"/>
                  </a:lnTo>
                  <a:lnTo>
                    <a:pt x="8764" y="2072"/>
                  </a:lnTo>
                  <a:lnTo>
                    <a:pt x="8764" y="2075"/>
                  </a:lnTo>
                  <a:lnTo>
                    <a:pt x="8763" y="2084"/>
                  </a:lnTo>
                  <a:lnTo>
                    <a:pt x="8763" y="2091"/>
                  </a:lnTo>
                  <a:lnTo>
                    <a:pt x="8764" y="2092"/>
                  </a:lnTo>
                  <a:lnTo>
                    <a:pt x="8768" y="2088"/>
                  </a:lnTo>
                  <a:close/>
                  <a:moveTo>
                    <a:pt x="9006" y="2202"/>
                  </a:moveTo>
                  <a:lnTo>
                    <a:pt x="9006" y="2202"/>
                  </a:lnTo>
                  <a:lnTo>
                    <a:pt x="9009" y="2205"/>
                  </a:lnTo>
                  <a:lnTo>
                    <a:pt x="9015" y="2206"/>
                  </a:lnTo>
                  <a:lnTo>
                    <a:pt x="9015" y="2204"/>
                  </a:lnTo>
                  <a:lnTo>
                    <a:pt x="9016" y="2201"/>
                  </a:lnTo>
                  <a:lnTo>
                    <a:pt x="9017" y="2196"/>
                  </a:lnTo>
                  <a:lnTo>
                    <a:pt x="9017" y="2192"/>
                  </a:lnTo>
                  <a:lnTo>
                    <a:pt x="9005" y="2193"/>
                  </a:lnTo>
                  <a:lnTo>
                    <a:pt x="9003" y="2197"/>
                  </a:lnTo>
                  <a:lnTo>
                    <a:pt x="9007" y="2199"/>
                  </a:lnTo>
                  <a:lnTo>
                    <a:pt x="9006" y="2202"/>
                  </a:lnTo>
                  <a:close/>
                  <a:moveTo>
                    <a:pt x="9106" y="2465"/>
                  </a:moveTo>
                  <a:lnTo>
                    <a:pt x="9106" y="2465"/>
                  </a:lnTo>
                  <a:lnTo>
                    <a:pt x="9103" y="2469"/>
                  </a:lnTo>
                  <a:lnTo>
                    <a:pt x="9108" y="2478"/>
                  </a:lnTo>
                  <a:lnTo>
                    <a:pt x="9114" y="2472"/>
                  </a:lnTo>
                  <a:lnTo>
                    <a:pt x="9112" y="2470"/>
                  </a:lnTo>
                  <a:lnTo>
                    <a:pt x="9108" y="2468"/>
                  </a:lnTo>
                  <a:lnTo>
                    <a:pt x="9106" y="2465"/>
                  </a:lnTo>
                  <a:close/>
                  <a:moveTo>
                    <a:pt x="8014" y="3088"/>
                  </a:moveTo>
                  <a:lnTo>
                    <a:pt x="8014" y="3088"/>
                  </a:lnTo>
                  <a:lnTo>
                    <a:pt x="8011" y="3083"/>
                  </a:lnTo>
                  <a:lnTo>
                    <a:pt x="8009" y="3086"/>
                  </a:lnTo>
                  <a:lnTo>
                    <a:pt x="8005" y="3090"/>
                  </a:lnTo>
                  <a:lnTo>
                    <a:pt x="8004" y="3100"/>
                  </a:lnTo>
                  <a:lnTo>
                    <a:pt x="8017" y="3096"/>
                  </a:lnTo>
                  <a:lnTo>
                    <a:pt x="8014" y="3088"/>
                  </a:lnTo>
                  <a:close/>
                  <a:moveTo>
                    <a:pt x="8852" y="3306"/>
                  </a:moveTo>
                  <a:lnTo>
                    <a:pt x="8852" y="3306"/>
                  </a:lnTo>
                  <a:lnTo>
                    <a:pt x="8854" y="3310"/>
                  </a:lnTo>
                  <a:lnTo>
                    <a:pt x="8856" y="3318"/>
                  </a:lnTo>
                  <a:lnTo>
                    <a:pt x="8857" y="3323"/>
                  </a:lnTo>
                  <a:lnTo>
                    <a:pt x="8869" y="3331"/>
                  </a:lnTo>
                  <a:lnTo>
                    <a:pt x="8870" y="3324"/>
                  </a:lnTo>
                  <a:lnTo>
                    <a:pt x="8865" y="3315"/>
                  </a:lnTo>
                  <a:lnTo>
                    <a:pt x="8863" y="3314"/>
                  </a:lnTo>
                  <a:lnTo>
                    <a:pt x="8862" y="3310"/>
                  </a:lnTo>
                  <a:lnTo>
                    <a:pt x="8856" y="3300"/>
                  </a:lnTo>
                  <a:lnTo>
                    <a:pt x="8855" y="3285"/>
                  </a:lnTo>
                  <a:lnTo>
                    <a:pt x="8847" y="3292"/>
                  </a:lnTo>
                  <a:lnTo>
                    <a:pt x="8851" y="3298"/>
                  </a:lnTo>
                  <a:lnTo>
                    <a:pt x="8852" y="3306"/>
                  </a:lnTo>
                  <a:close/>
                  <a:moveTo>
                    <a:pt x="7737" y="3411"/>
                  </a:moveTo>
                  <a:lnTo>
                    <a:pt x="7737" y="3411"/>
                  </a:lnTo>
                  <a:lnTo>
                    <a:pt x="7735" y="3418"/>
                  </a:lnTo>
                  <a:lnTo>
                    <a:pt x="7741" y="3415"/>
                  </a:lnTo>
                  <a:lnTo>
                    <a:pt x="7737" y="3411"/>
                  </a:lnTo>
                  <a:close/>
                  <a:moveTo>
                    <a:pt x="8941" y="3481"/>
                  </a:moveTo>
                  <a:lnTo>
                    <a:pt x="8941" y="3481"/>
                  </a:lnTo>
                  <a:lnTo>
                    <a:pt x="8941" y="3484"/>
                  </a:lnTo>
                  <a:lnTo>
                    <a:pt x="8943" y="3485"/>
                  </a:lnTo>
                  <a:lnTo>
                    <a:pt x="8946" y="3485"/>
                  </a:lnTo>
                  <a:lnTo>
                    <a:pt x="8947" y="3489"/>
                  </a:lnTo>
                  <a:lnTo>
                    <a:pt x="8951" y="3492"/>
                  </a:lnTo>
                  <a:lnTo>
                    <a:pt x="8953" y="3497"/>
                  </a:lnTo>
                  <a:lnTo>
                    <a:pt x="8954" y="3497"/>
                  </a:lnTo>
                  <a:lnTo>
                    <a:pt x="8956" y="3495"/>
                  </a:lnTo>
                  <a:lnTo>
                    <a:pt x="8956" y="3489"/>
                  </a:lnTo>
                  <a:lnTo>
                    <a:pt x="8955" y="3481"/>
                  </a:lnTo>
                  <a:lnTo>
                    <a:pt x="8954" y="3475"/>
                  </a:lnTo>
                  <a:lnTo>
                    <a:pt x="8953" y="3471"/>
                  </a:lnTo>
                  <a:lnTo>
                    <a:pt x="8952" y="3472"/>
                  </a:lnTo>
                  <a:lnTo>
                    <a:pt x="8950" y="3473"/>
                  </a:lnTo>
                  <a:lnTo>
                    <a:pt x="8948" y="3473"/>
                  </a:lnTo>
                  <a:lnTo>
                    <a:pt x="8949" y="3475"/>
                  </a:lnTo>
                  <a:lnTo>
                    <a:pt x="8945" y="3478"/>
                  </a:lnTo>
                  <a:lnTo>
                    <a:pt x="8941" y="3481"/>
                  </a:lnTo>
                  <a:close/>
                  <a:moveTo>
                    <a:pt x="7886" y="3727"/>
                  </a:moveTo>
                  <a:lnTo>
                    <a:pt x="7886" y="3727"/>
                  </a:lnTo>
                  <a:lnTo>
                    <a:pt x="7886" y="3730"/>
                  </a:lnTo>
                  <a:lnTo>
                    <a:pt x="7886" y="3735"/>
                  </a:lnTo>
                  <a:lnTo>
                    <a:pt x="7890" y="3739"/>
                  </a:lnTo>
                  <a:lnTo>
                    <a:pt x="7897" y="3740"/>
                  </a:lnTo>
                  <a:lnTo>
                    <a:pt x="7899" y="3740"/>
                  </a:lnTo>
                  <a:lnTo>
                    <a:pt x="7897" y="3735"/>
                  </a:lnTo>
                  <a:lnTo>
                    <a:pt x="7898" y="3731"/>
                  </a:lnTo>
                  <a:lnTo>
                    <a:pt x="7899" y="3729"/>
                  </a:lnTo>
                  <a:lnTo>
                    <a:pt x="7898" y="3726"/>
                  </a:lnTo>
                  <a:lnTo>
                    <a:pt x="7900" y="3724"/>
                  </a:lnTo>
                  <a:lnTo>
                    <a:pt x="7908" y="3717"/>
                  </a:lnTo>
                  <a:lnTo>
                    <a:pt x="7910" y="3715"/>
                  </a:lnTo>
                  <a:lnTo>
                    <a:pt x="7909" y="3711"/>
                  </a:lnTo>
                  <a:lnTo>
                    <a:pt x="7906" y="3711"/>
                  </a:lnTo>
                  <a:lnTo>
                    <a:pt x="7900" y="3715"/>
                  </a:lnTo>
                  <a:lnTo>
                    <a:pt x="7889" y="3720"/>
                  </a:lnTo>
                  <a:lnTo>
                    <a:pt x="7887" y="3719"/>
                  </a:lnTo>
                  <a:lnTo>
                    <a:pt x="7884" y="3720"/>
                  </a:lnTo>
                  <a:lnTo>
                    <a:pt x="7883" y="3724"/>
                  </a:lnTo>
                  <a:lnTo>
                    <a:pt x="7886" y="3725"/>
                  </a:lnTo>
                  <a:lnTo>
                    <a:pt x="7886" y="3727"/>
                  </a:lnTo>
                  <a:close/>
                  <a:moveTo>
                    <a:pt x="7369" y="1786"/>
                  </a:moveTo>
                  <a:lnTo>
                    <a:pt x="7369" y="1786"/>
                  </a:lnTo>
                  <a:lnTo>
                    <a:pt x="7374" y="1784"/>
                  </a:lnTo>
                  <a:lnTo>
                    <a:pt x="7380" y="1786"/>
                  </a:lnTo>
                  <a:lnTo>
                    <a:pt x="7383" y="1787"/>
                  </a:lnTo>
                  <a:lnTo>
                    <a:pt x="7384" y="1779"/>
                  </a:lnTo>
                  <a:lnTo>
                    <a:pt x="7380" y="1774"/>
                  </a:lnTo>
                  <a:lnTo>
                    <a:pt x="7374" y="1772"/>
                  </a:lnTo>
                  <a:lnTo>
                    <a:pt x="7372" y="1770"/>
                  </a:lnTo>
                  <a:lnTo>
                    <a:pt x="7366" y="1778"/>
                  </a:lnTo>
                  <a:lnTo>
                    <a:pt x="7363" y="1783"/>
                  </a:lnTo>
                  <a:lnTo>
                    <a:pt x="7365" y="1785"/>
                  </a:lnTo>
                  <a:lnTo>
                    <a:pt x="7369" y="1786"/>
                  </a:lnTo>
                  <a:close/>
                  <a:moveTo>
                    <a:pt x="6872" y="1805"/>
                  </a:moveTo>
                  <a:lnTo>
                    <a:pt x="6872" y="1805"/>
                  </a:lnTo>
                  <a:lnTo>
                    <a:pt x="6874" y="1810"/>
                  </a:lnTo>
                  <a:lnTo>
                    <a:pt x="6881" y="1814"/>
                  </a:lnTo>
                  <a:lnTo>
                    <a:pt x="6880" y="1810"/>
                  </a:lnTo>
                  <a:lnTo>
                    <a:pt x="6882" y="1809"/>
                  </a:lnTo>
                  <a:lnTo>
                    <a:pt x="6888" y="1811"/>
                  </a:lnTo>
                  <a:lnTo>
                    <a:pt x="6888" y="1806"/>
                  </a:lnTo>
                  <a:lnTo>
                    <a:pt x="6883" y="1797"/>
                  </a:lnTo>
                  <a:lnTo>
                    <a:pt x="6879" y="1793"/>
                  </a:lnTo>
                  <a:lnTo>
                    <a:pt x="6872" y="1794"/>
                  </a:lnTo>
                  <a:lnTo>
                    <a:pt x="6871" y="1799"/>
                  </a:lnTo>
                  <a:lnTo>
                    <a:pt x="6872" y="1803"/>
                  </a:lnTo>
                  <a:lnTo>
                    <a:pt x="6870" y="1804"/>
                  </a:lnTo>
                  <a:lnTo>
                    <a:pt x="6872" y="1805"/>
                  </a:lnTo>
                  <a:close/>
                  <a:moveTo>
                    <a:pt x="7087" y="1852"/>
                  </a:moveTo>
                  <a:lnTo>
                    <a:pt x="7087" y="1852"/>
                  </a:lnTo>
                  <a:lnTo>
                    <a:pt x="7086" y="1856"/>
                  </a:lnTo>
                  <a:lnTo>
                    <a:pt x="7088" y="1859"/>
                  </a:lnTo>
                  <a:lnTo>
                    <a:pt x="7094" y="1849"/>
                  </a:lnTo>
                  <a:lnTo>
                    <a:pt x="7091" y="1847"/>
                  </a:lnTo>
                  <a:lnTo>
                    <a:pt x="7093" y="1842"/>
                  </a:lnTo>
                  <a:lnTo>
                    <a:pt x="7096" y="1841"/>
                  </a:lnTo>
                  <a:lnTo>
                    <a:pt x="7092" y="1834"/>
                  </a:lnTo>
                  <a:lnTo>
                    <a:pt x="7094" y="1830"/>
                  </a:lnTo>
                  <a:lnTo>
                    <a:pt x="7095" y="1821"/>
                  </a:lnTo>
                  <a:lnTo>
                    <a:pt x="7094" y="1816"/>
                  </a:lnTo>
                  <a:lnTo>
                    <a:pt x="7085" y="1821"/>
                  </a:lnTo>
                  <a:lnTo>
                    <a:pt x="7082" y="1828"/>
                  </a:lnTo>
                  <a:lnTo>
                    <a:pt x="7082" y="1830"/>
                  </a:lnTo>
                  <a:lnTo>
                    <a:pt x="7082" y="1836"/>
                  </a:lnTo>
                  <a:lnTo>
                    <a:pt x="7082" y="1839"/>
                  </a:lnTo>
                  <a:lnTo>
                    <a:pt x="7081" y="1842"/>
                  </a:lnTo>
                  <a:lnTo>
                    <a:pt x="7081" y="1849"/>
                  </a:lnTo>
                  <a:lnTo>
                    <a:pt x="7081" y="1854"/>
                  </a:lnTo>
                  <a:lnTo>
                    <a:pt x="7084" y="1854"/>
                  </a:lnTo>
                  <a:lnTo>
                    <a:pt x="7087" y="1852"/>
                  </a:lnTo>
                  <a:close/>
                  <a:moveTo>
                    <a:pt x="6702" y="2037"/>
                  </a:moveTo>
                  <a:lnTo>
                    <a:pt x="6702" y="2037"/>
                  </a:lnTo>
                  <a:lnTo>
                    <a:pt x="6700" y="2036"/>
                  </a:lnTo>
                  <a:lnTo>
                    <a:pt x="6701" y="2038"/>
                  </a:lnTo>
                  <a:lnTo>
                    <a:pt x="6702" y="2037"/>
                  </a:lnTo>
                  <a:close/>
                  <a:moveTo>
                    <a:pt x="1050" y="2417"/>
                  </a:moveTo>
                  <a:lnTo>
                    <a:pt x="1050" y="2417"/>
                  </a:lnTo>
                  <a:lnTo>
                    <a:pt x="1062" y="2406"/>
                  </a:lnTo>
                  <a:lnTo>
                    <a:pt x="1053" y="2404"/>
                  </a:lnTo>
                  <a:lnTo>
                    <a:pt x="1050" y="2398"/>
                  </a:lnTo>
                  <a:lnTo>
                    <a:pt x="1032" y="2393"/>
                  </a:lnTo>
                  <a:lnTo>
                    <a:pt x="1036" y="2408"/>
                  </a:lnTo>
                  <a:lnTo>
                    <a:pt x="1050" y="2417"/>
                  </a:lnTo>
                  <a:close/>
                  <a:moveTo>
                    <a:pt x="1500" y="3266"/>
                  </a:moveTo>
                  <a:lnTo>
                    <a:pt x="1500" y="3266"/>
                  </a:lnTo>
                  <a:lnTo>
                    <a:pt x="1489" y="3268"/>
                  </a:lnTo>
                  <a:lnTo>
                    <a:pt x="1489" y="3275"/>
                  </a:lnTo>
                  <a:lnTo>
                    <a:pt x="1504" y="3284"/>
                  </a:lnTo>
                  <a:lnTo>
                    <a:pt x="1505" y="3277"/>
                  </a:lnTo>
                  <a:lnTo>
                    <a:pt x="1504" y="3274"/>
                  </a:lnTo>
                  <a:lnTo>
                    <a:pt x="1500" y="3266"/>
                  </a:lnTo>
                  <a:close/>
                  <a:moveTo>
                    <a:pt x="2052" y="3876"/>
                  </a:moveTo>
                  <a:lnTo>
                    <a:pt x="2052" y="3876"/>
                  </a:lnTo>
                  <a:lnTo>
                    <a:pt x="2049" y="3885"/>
                  </a:lnTo>
                  <a:lnTo>
                    <a:pt x="2053" y="3896"/>
                  </a:lnTo>
                  <a:lnTo>
                    <a:pt x="2065" y="3886"/>
                  </a:lnTo>
                  <a:lnTo>
                    <a:pt x="2059" y="3873"/>
                  </a:lnTo>
                  <a:lnTo>
                    <a:pt x="2052" y="3876"/>
                  </a:lnTo>
                  <a:close/>
                  <a:moveTo>
                    <a:pt x="3659" y="6035"/>
                  </a:moveTo>
                  <a:lnTo>
                    <a:pt x="3659" y="6035"/>
                  </a:lnTo>
                  <a:lnTo>
                    <a:pt x="3655" y="6035"/>
                  </a:lnTo>
                  <a:lnTo>
                    <a:pt x="3648" y="6031"/>
                  </a:lnTo>
                  <a:lnTo>
                    <a:pt x="3637" y="6029"/>
                  </a:lnTo>
                  <a:lnTo>
                    <a:pt x="3632" y="6030"/>
                  </a:lnTo>
                  <a:lnTo>
                    <a:pt x="3632" y="6035"/>
                  </a:lnTo>
                  <a:lnTo>
                    <a:pt x="3633" y="6038"/>
                  </a:lnTo>
                  <a:lnTo>
                    <a:pt x="3637" y="6038"/>
                  </a:lnTo>
                  <a:lnTo>
                    <a:pt x="3641" y="6040"/>
                  </a:lnTo>
                  <a:lnTo>
                    <a:pt x="3651" y="6041"/>
                  </a:lnTo>
                  <a:lnTo>
                    <a:pt x="3661" y="6038"/>
                  </a:lnTo>
                  <a:lnTo>
                    <a:pt x="3660" y="6037"/>
                  </a:lnTo>
                  <a:lnTo>
                    <a:pt x="3659" y="6035"/>
                  </a:lnTo>
                  <a:close/>
                  <a:moveTo>
                    <a:pt x="3890" y="6376"/>
                  </a:moveTo>
                  <a:lnTo>
                    <a:pt x="3890" y="6376"/>
                  </a:lnTo>
                  <a:lnTo>
                    <a:pt x="3885" y="6384"/>
                  </a:lnTo>
                  <a:lnTo>
                    <a:pt x="3890" y="6388"/>
                  </a:lnTo>
                  <a:lnTo>
                    <a:pt x="3899" y="6380"/>
                  </a:lnTo>
                  <a:lnTo>
                    <a:pt x="3901" y="6376"/>
                  </a:lnTo>
                  <a:lnTo>
                    <a:pt x="3895" y="6370"/>
                  </a:lnTo>
                  <a:lnTo>
                    <a:pt x="3890" y="6376"/>
                  </a:lnTo>
                  <a:close/>
                  <a:moveTo>
                    <a:pt x="3870" y="2320"/>
                  </a:moveTo>
                  <a:lnTo>
                    <a:pt x="3870" y="2320"/>
                  </a:lnTo>
                  <a:lnTo>
                    <a:pt x="3881" y="2321"/>
                  </a:lnTo>
                  <a:lnTo>
                    <a:pt x="3893" y="2318"/>
                  </a:lnTo>
                  <a:lnTo>
                    <a:pt x="3898" y="2312"/>
                  </a:lnTo>
                  <a:lnTo>
                    <a:pt x="3892" y="2311"/>
                  </a:lnTo>
                  <a:lnTo>
                    <a:pt x="3878" y="2310"/>
                  </a:lnTo>
                  <a:lnTo>
                    <a:pt x="3867" y="2312"/>
                  </a:lnTo>
                  <a:lnTo>
                    <a:pt x="3856" y="2313"/>
                  </a:lnTo>
                  <a:lnTo>
                    <a:pt x="3858" y="2321"/>
                  </a:lnTo>
                  <a:lnTo>
                    <a:pt x="3870" y="2320"/>
                  </a:lnTo>
                  <a:close/>
                  <a:moveTo>
                    <a:pt x="6961" y="5345"/>
                  </a:moveTo>
                  <a:lnTo>
                    <a:pt x="6961" y="5345"/>
                  </a:lnTo>
                  <a:lnTo>
                    <a:pt x="6963" y="5348"/>
                  </a:lnTo>
                  <a:lnTo>
                    <a:pt x="6964" y="5355"/>
                  </a:lnTo>
                  <a:lnTo>
                    <a:pt x="6966" y="5359"/>
                  </a:lnTo>
                  <a:lnTo>
                    <a:pt x="6966" y="5359"/>
                  </a:lnTo>
                  <a:lnTo>
                    <a:pt x="6968" y="5355"/>
                  </a:lnTo>
                  <a:lnTo>
                    <a:pt x="6974" y="5352"/>
                  </a:lnTo>
                  <a:lnTo>
                    <a:pt x="6974" y="5348"/>
                  </a:lnTo>
                  <a:lnTo>
                    <a:pt x="6966" y="5344"/>
                  </a:lnTo>
                  <a:lnTo>
                    <a:pt x="6961" y="5345"/>
                  </a:lnTo>
                  <a:close/>
                  <a:moveTo>
                    <a:pt x="7800" y="5358"/>
                  </a:moveTo>
                  <a:lnTo>
                    <a:pt x="7800" y="5358"/>
                  </a:lnTo>
                  <a:lnTo>
                    <a:pt x="7802" y="5356"/>
                  </a:lnTo>
                  <a:lnTo>
                    <a:pt x="7800" y="5352"/>
                  </a:lnTo>
                  <a:lnTo>
                    <a:pt x="7799" y="5349"/>
                  </a:lnTo>
                  <a:lnTo>
                    <a:pt x="7795" y="5348"/>
                  </a:lnTo>
                  <a:lnTo>
                    <a:pt x="7792" y="5349"/>
                  </a:lnTo>
                  <a:lnTo>
                    <a:pt x="7792" y="5355"/>
                  </a:lnTo>
                  <a:lnTo>
                    <a:pt x="7800" y="5358"/>
                  </a:lnTo>
                  <a:close/>
                  <a:moveTo>
                    <a:pt x="7617" y="5626"/>
                  </a:moveTo>
                  <a:lnTo>
                    <a:pt x="7617" y="5626"/>
                  </a:lnTo>
                  <a:lnTo>
                    <a:pt x="7610" y="5626"/>
                  </a:lnTo>
                  <a:lnTo>
                    <a:pt x="7610" y="5631"/>
                  </a:lnTo>
                  <a:lnTo>
                    <a:pt x="7621" y="5629"/>
                  </a:lnTo>
                  <a:lnTo>
                    <a:pt x="7617" y="5626"/>
                  </a:lnTo>
                  <a:close/>
                  <a:moveTo>
                    <a:pt x="7654" y="5641"/>
                  </a:moveTo>
                  <a:lnTo>
                    <a:pt x="7654" y="5641"/>
                  </a:lnTo>
                  <a:lnTo>
                    <a:pt x="7655" y="5633"/>
                  </a:lnTo>
                  <a:lnTo>
                    <a:pt x="7645" y="5630"/>
                  </a:lnTo>
                  <a:lnTo>
                    <a:pt x="7641" y="5637"/>
                  </a:lnTo>
                  <a:lnTo>
                    <a:pt x="7654" y="5641"/>
                  </a:lnTo>
                  <a:close/>
                  <a:moveTo>
                    <a:pt x="7579" y="5668"/>
                  </a:moveTo>
                  <a:lnTo>
                    <a:pt x="7579" y="5668"/>
                  </a:lnTo>
                  <a:lnTo>
                    <a:pt x="7584" y="5661"/>
                  </a:lnTo>
                  <a:lnTo>
                    <a:pt x="7586" y="5656"/>
                  </a:lnTo>
                  <a:lnTo>
                    <a:pt x="7585" y="5652"/>
                  </a:lnTo>
                  <a:lnTo>
                    <a:pt x="7581" y="5651"/>
                  </a:lnTo>
                  <a:lnTo>
                    <a:pt x="7580" y="5648"/>
                  </a:lnTo>
                  <a:lnTo>
                    <a:pt x="7577" y="5648"/>
                  </a:lnTo>
                  <a:lnTo>
                    <a:pt x="7577" y="5653"/>
                  </a:lnTo>
                  <a:lnTo>
                    <a:pt x="7569" y="5657"/>
                  </a:lnTo>
                  <a:lnTo>
                    <a:pt x="7568" y="5667"/>
                  </a:lnTo>
                  <a:lnTo>
                    <a:pt x="7576" y="5670"/>
                  </a:lnTo>
                  <a:lnTo>
                    <a:pt x="7579" y="5668"/>
                  </a:lnTo>
                  <a:close/>
                  <a:moveTo>
                    <a:pt x="8088" y="5734"/>
                  </a:moveTo>
                  <a:lnTo>
                    <a:pt x="8088" y="5734"/>
                  </a:lnTo>
                  <a:lnTo>
                    <a:pt x="8089" y="5728"/>
                  </a:lnTo>
                  <a:lnTo>
                    <a:pt x="8091" y="5721"/>
                  </a:lnTo>
                  <a:lnTo>
                    <a:pt x="8092" y="5718"/>
                  </a:lnTo>
                  <a:lnTo>
                    <a:pt x="8092" y="5715"/>
                  </a:lnTo>
                  <a:lnTo>
                    <a:pt x="8093" y="5713"/>
                  </a:lnTo>
                  <a:lnTo>
                    <a:pt x="8089" y="5710"/>
                  </a:lnTo>
                  <a:lnTo>
                    <a:pt x="8081" y="5714"/>
                  </a:lnTo>
                  <a:lnTo>
                    <a:pt x="8083" y="5723"/>
                  </a:lnTo>
                  <a:lnTo>
                    <a:pt x="8088" y="5734"/>
                  </a:lnTo>
                  <a:close/>
                  <a:moveTo>
                    <a:pt x="6610" y="7449"/>
                  </a:moveTo>
                  <a:lnTo>
                    <a:pt x="6610" y="7449"/>
                  </a:lnTo>
                  <a:lnTo>
                    <a:pt x="6612" y="7448"/>
                  </a:lnTo>
                  <a:lnTo>
                    <a:pt x="6608" y="7445"/>
                  </a:lnTo>
                  <a:lnTo>
                    <a:pt x="6605" y="7444"/>
                  </a:lnTo>
                  <a:lnTo>
                    <a:pt x="6600" y="7444"/>
                  </a:lnTo>
                  <a:lnTo>
                    <a:pt x="6599" y="7443"/>
                  </a:lnTo>
                  <a:lnTo>
                    <a:pt x="6593" y="7446"/>
                  </a:lnTo>
                  <a:lnTo>
                    <a:pt x="6592" y="7452"/>
                  </a:lnTo>
                  <a:lnTo>
                    <a:pt x="6592" y="7455"/>
                  </a:lnTo>
                  <a:lnTo>
                    <a:pt x="6592" y="7458"/>
                  </a:lnTo>
                  <a:lnTo>
                    <a:pt x="6595" y="7459"/>
                  </a:lnTo>
                  <a:lnTo>
                    <a:pt x="6599" y="7462"/>
                  </a:lnTo>
                  <a:lnTo>
                    <a:pt x="6603" y="7461"/>
                  </a:lnTo>
                  <a:lnTo>
                    <a:pt x="6606" y="7458"/>
                  </a:lnTo>
                  <a:lnTo>
                    <a:pt x="6608" y="7455"/>
                  </a:lnTo>
                  <a:lnTo>
                    <a:pt x="6610" y="7449"/>
                  </a:lnTo>
                  <a:close/>
                  <a:moveTo>
                    <a:pt x="7271" y="7540"/>
                  </a:moveTo>
                  <a:lnTo>
                    <a:pt x="7271" y="7540"/>
                  </a:lnTo>
                  <a:lnTo>
                    <a:pt x="7273" y="7543"/>
                  </a:lnTo>
                  <a:lnTo>
                    <a:pt x="7286" y="7544"/>
                  </a:lnTo>
                  <a:lnTo>
                    <a:pt x="7288" y="7543"/>
                  </a:lnTo>
                  <a:lnTo>
                    <a:pt x="7288" y="7540"/>
                  </a:lnTo>
                  <a:lnTo>
                    <a:pt x="7285" y="7539"/>
                  </a:lnTo>
                  <a:lnTo>
                    <a:pt x="7271" y="7540"/>
                  </a:lnTo>
                  <a:close/>
                  <a:moveTo>
                    <a:pt x="7194" y="7619"/>
                  </a:moveTo>
                  <a:lnTo>
                    <a:pt x="7194" y="7619"/>
                  </a:lnTo>
                  <a:lnTo>
                    <a:pt x="7200" y="7627"/>
                  </a:lnTo>
                  <a:lnTo>
                    <a:pt x="7206" y="7624"/>
                  </a:lnTo>
                  <a:lnTo>
                    <a:pt x="7208" y="7622"/>
                  </a:lnTo>
                  <a:lnTo>
                    <a:pt x="7206" y="7617"/>
                  </a:lnTo>
                  <a:lnTo>
                    <a:pt x="7202" y="7615"/>
                  </a:lnTo>
                  <a:lnTo>
                    <a:pt x="7194" y="7619"/>
                  </a:lnTo>
                  <a:close/>
                  <a:moveTo>
                    <a:pt x="6993" y="7632"/>
                  </a:moveTo>
                  <a:lnTo>
                    <a:pt x="6993" y="7632"/>
                  </a:lnTo>
                  <a:lnTo>
                    <a:pt x="6996" y="7634"/>
                  </a:lnTo>
                  <a:lnTo>
                    <a:pt x="6996" y="7635"/>
                  </a:lnTo>
                  <a:lnTo>
                    <a:pt x="7000" y="7635"/>
                  </a:lnTo>
                  <a:lnTo>
                    <a:pt x="7006" y="7643"/>
                  </a:lnTo>
                  <a:lnTo>
                    <a:pt x="7007" y="7651"/>
                  </a:lnTo>
                  <a:lnTo>
                    <a:pt x="7009" y="7647"/>
                  </a:lnTo>
                  <a:lnTo>
                    <a:pt x="7013" y="7646"/>
                  </a:lnTo>
                  <a:lnTo>
                    <a:pt x="7014" y="7637"/>
                  </a:lnTo>
                  <a:lnTo>
                    <a:pt x="7012" y="7626"/>
                  </a:lnTo>
                  <a:lnTo>
                    <a:pt x="6998" y="7628"/>
                  </a:lnTo>
                  <a:lnTo>
                    <a:pt x="6993" y="7632"/>
                  </a:lnTo>
                  <a:close/>
                  <a:moveTo>
                    <a:pt x="6709" y="7701"/>
                  </a:moveTo>
                  <a:lnTo>
                    <a:pt x="6709" y="7701"/>
                  </a:lnTo>
                  <a:lnTo>
                    <a:pt x="6706" y="7706"/>
                  </a:lnTo>
                  <a:lnTo>
                    <a:pt x="6699" y="7718"/>
                  </a:lnTo>
                  <a:lnTo>
                    <a:pt x="6692" y="7728"/>
                  </a:lnTo>
                  <a:lnTo>
                    <a:pt x="6686" y="7734"/>
                  </a:lnTo>
                  <a:lnTo>
                    <a:pt x="6690" y="7738"/>
                  </a:lnTo>
                  <a:lnTo>
                    <a:pt x="6695" y="7734"/>
                  </a:lnTo>
                  <a:lnTo>
                    <a:pt x="6701" y="7731"/>
                  </a:lnTo>
                  <a:lnTo>
                    <a:pt x="6712" y="7722"/>
                  </a:lnTo>
                  <a:lnTo>
                    <a:pt x="6714" y="7719"/>
                  </a:lnTo>
                  <a:lnTo>
                    <a:pt x="6716" y="7714"/>
                  </a:lnTo>
                  <a:lnTo>
                    <a:pt x="6710" y="7709"/>
                  </a:lnTo>
                  <a:lnTo>
                    <a:pt x="6708" y="7711"/>
                  </a:lnTo>
                  <a:lnTo>
                    <a:pt x="6711" y="7706"/>
                  </a:lnTo>
                  <a:lnTo>
                    <a:pt x="6709" y="7701"/>
                  </a:lnTo>
                  <a:close/>
                  <a:moveTo>
                    <a:pt x="6751" y="7751"/>
                  </a:moveTo>
                  <a:lnTo>
                    <a:pt x="6751" y="7751"/>
                  </a:lnTo>
                  <a:lnTo>
                    <a:pt x="6747" y="7752"/>
                  </a:lnTo>
                  <a:lnTo>
                    <a:pt x="6742" y="7750"/>
                  </a:lnTo>
                  <a:lnTo>
                    <a:pt x="6740" y="7753"/>
                  </a:lnTo>
                  <a:lnTo>
                    <a:pt x="6734" y="7757"/>
                  </a:lnTo>
                  <a:lnTo>
                    <a:pt x="6728" y="7754"/>
                  </a:lnTo>
                  <a:lnTo>
                    <a:pt x="6725" y="7758"/>
                  </a:lnTo>
                  <a:lnTo>
                    <a:pt x="6725" y="7763"/>
                  </a:lnTo>
                  <a:lnTo>
                    <a:pt x="6731" y="7769"/>
                  </a:lnTo>
                  <a:lnTo>
                    <a:pt x="6738" y="7772"/>
                  </a:lnTo>
                  <a:lnTo>
                    <a:pt x="6751" y="7775"/>
                  </a:lnTo>
                  <a:lnTo>
                    <a:pt x="6753" y="7768"/>
                  </a:lnTo>
                  <a:lnTo>
                    <a:pt x="6755" y="7758"/>
                  </a:lnTo>
                  <a:lnTo>
                    <a:pt x="6753" y="7752"/>
                  </a:lnTo>
                  <a:lnTo>
                    <a:pt x="6751" y="7751"/>
                  </a:lnTo>
                  <a:close/>
                  <a:moveTo>
                    <a:pt x="6971" y="8280"/>
                  </a:moveTo>
                  <a:lnTo>
                    <a:pt x="6971" y="8280"/>
                  </a:lnTo>
                  <a:lnTo>
                    <a:pt x="6966" y="8284"/>
                  </a:lnTo>
                  <a:lnTo>
                    <a:pt x="6958" y="8286"/>
                  </a:lnTo>
                  <a:lnTo>
                    <a:pt x="6951" y="8288"/>
                  </a:lnTo>
                  <a:lnTo>
                    <a:pt x="6955" y="8294"/>
                  </a:lnTo>
                  <a:lnTo>
                    <a:pt x="6961" y="8292"/>
                  </a:lnTo>
                  <a:lnTo>
                    <a:pt x="6966" y="8290"/>
                  </a:lnTo>
                  <a:lnTo>
                    <a:pt x="6971" y="8288"/>
                  </a:lnTo>
                  <a:lnTo>
                    <a:pt x="6977" y="8286"/>
                  </a:lnTo>
                  <a:lnTo>
                    <a:pt x="6985" y="8279"/>
                  </a:lnTo>
                  <a:lnTo>
                    <a:pt x="6981" y="8278"/>
                  </a:lnTo>
                  <a:lnTo>
                    <a:pt x="6971" y="8280"/>
                  </a:lnTo>
                  <a:close/>
                  <a:moveTo>
                    <a:pt x="6803" y="8308"/>
                  </a:moveTo>
                  <a:lnTo>
                    <a:pt x="6803" y="8308"/>
                  </a:lnTo>
                  <a:lnTo>
                    <a:pt x="6799" y="8309"/>
                  </a:lnTo>
                  <a:lnTo>
                    <a:pt x="6798" y="8310"/>
                  </a:lnTo>
                  <a:lnTo>
                    <a:pt x="6794" y="8311"/>
                  </a:lnTo>
                  <a:lnTo>
                    <a:pt x="6793" y="8317"/>
                  </a:lnTo>
                  <a:lnTo>
                    <a:pt x="6811" y="8321"/>
                  </a:lnTo>
                  <a:lnTo>
                    <a:pt x="6823" y="8318"/>
                  </a:lnTo>
                  <a:lnTo>
                    <a:pt x="6819" y="8312"/>
                  </a:lnTo>
                  <a:lnTo>
                    <a:pt x="6803" y="8308"/>
                  </a:lnTo>
                  <a:close/>
                  <a:moveTo>
                    <a:pt x="5428" y="3072"/>
                  </a:moveTo>
                  <a:lnTo>
                    <a:pt x="5428" y="3072"/>
                  </a:lnTo>
                  <a:lnTo>
                    <a:pt x="5426" y="3064"/>
                  </a:lnTo>
                  <a:lnTo>
                    <a:pt x="5422" y="3059"/>
                  </a:lnTo>
                  <a:lnTo>
                    <a:pt x="5417" y="3053"/>
                  </a:lnTo>
                  <a:lnTo>
                    <a:pt x="5408" y="3060"/>
                  </a:lnTo>
                  <a:lnTo>
                    <a:pt x="5417" y="3073"/>
                  </a:lnTo>
                  <a:lnTo>
                    <a:pt x="5428" y="3072"/>
                  </a:lnTo>
                  <a:close/>
                  <a:moveTo>
                    <a:pt x="5728" y="3058"/>
                  </a:moveTo>
                  <a:lnTo>
                    <a:pt x="5728" y="3058"/>
                  </a:lnTo>
                  <a:lnTo>
                    <a:pt x="5724" y="3056"/>
                  </a:lnTo>
                  <a:lnTo>
                    <a:pt x="5725" y="3061"/>
                  </a:lnTo>
                  <a:lnTo>
                    <a:pt x="5728" y="3058"/>
                  </a:lnTo>
                  <a:close/>
                  <a:moveTo>
                    <a:pt x="5741" y="3068"/>
                  </a:moveTo>
                  <a:lnTo>
                    <a:pt x="5741" y="3068"/>
                  </a:lnTo>
                  <a:lnTo>
                    <a:pt x="5739" y="3059"/>
                  </a:lnTo>
                  <a:lnTo>
                    <a:pt x="5738" y="3062"/>
                  </a:lnTo>
                  <a:lnTo>
                    <a:pt x="5735" y="3062"/>
                  </a:lnTo>
                  <a:lnTo>
                    <a:pt x="5732" y="3067"/>
                  </a:lnTo>
                  <a:lnTo>
                    <a:pt x="5738" y="3068"/>
                  </a:lnTo>
                  <a:lnTo>
                    <a:pt x="5741" y="3068"/>
                  </a:lnTo>
                  <a:close/>
                  <a:moveTo>
                    <a:pt x="5360" y="3083"/>
                  </a:moveTo>
                  <a:lnTo>
                    <a:pt x="5360" y="3083"/>
                  </a:lnTo>
                  <a:lnTo>
                    <a:pt x="5363" y="3072"/>
                  </a:lnTo>
                  <a:lnTo>
                    <a:pt x="5363" y="3068"/>
                  </a:lnTo>
                  <a:lnTo>
                    <a:pt x="5361" y="3066"/>
                  </a:lnTo>
                  <a:lnTo>
                    <a:pt x="5358" y="3065"/>
                  </a:lnTo>
                  <a:lnTo>
                    <a:pt x="5356" y="3068"/>
                  </a:lnTo>
                  <a:lnTo>
                    <a:pt x="5356" y="3069"/>
                  </a:lnTo>
                  <a:lnTo>
                    <a:pt x="5355" y="3074"/>
                  </a:lnTo>
                  <a:lnTo>
                    <a:pt x="5355" y="3078"/>
                  </a:lnTo>
                  <a:lnTo>
                    <a:pt x="5353" y="3082"/>
                  </a:lnTo>
                  <a:lnTo>
                    <a:pt x="5360" y="3083"/>
                  </a:lnTo>
                  <a:close/>
                  <a:moveTo>
                    <a:pt x="5689" y="3105"/>
                  </a:moveTo>
                  <a:lnTo>
                    <a:pt x="5689" y="3105"/>
                  </a:lnTo>
                  <a:lnTo>
                    <a:pt x="5693" y="3100"/>
                  </a:lnTo>
                  <a:lnTo>
                    <a:pt x="5691" y="3096"/>
                  </a:lnTo>
                  <a:lnTo>
                    <a:pt x="5688" y="3096"/>
                  </a:lnTo>
                  <a:lnTo>
                    <a:pt x="5687" y="3094"/>
                  </a:lnTo>
                  <a:lnTo>
                    <a:pt x="5682" y="3089"/>
                  </a:lnTo>
                  <a:lnTo>
                    <a:pt x="5679" y="3098"/>
                  </a:lnTo>
                  <a:lnTo>
                    <a:pt x="5683" y="3103"/>
                  </a:lnTo>
                  <a:lnTo>
                    <a:pt x="5689" y="3105"/>
                  </a:lnTo>
                  <a:close/>
                  <a:moveTo>
                    <a:pt x="5918" y="3141"/>
                  </a:moveTo>
                  <a:lnTo>
                    <a:pt x="5918" y="3141"/>
                  </a:lnTo>
                  <a:lnTo>
                    <a:pt x="5922" y="3145"/>
                  </a:lnTo>
                  <a:lnTo>
                    <a:pt x="5926" y="3141"/>
                  </a:lnTo>
                  <a:lnTo>
                    <a:pt x="5931" y="3137"/>
                  </a:lnTo>
                  <a:lnTo>
                    <a:pt x="5934" y="3134"/>
                  </a:lnTo>
                  <a:lnTo>
                    <a:pt x="5935" y="3128"/>
                  </a:lnTo>
                  <a:lnTo>
                    <a:pt x="5929" y="3120"/>
                  </a:lnTo>
                  <a:lnTo>
                    <a:pt x="5931" y="3117"/>
                  </a:lnTo>
                  <a:lnTo>
                    <a:pt x="5925" y="3117"/>
                  </a:lnTo>
                  <a:lnTo>
                    <a:pt x="5917" y="3121"/>
                  </a:lnTo>
                  <a:lnTo>
                    <a:pt x="5917" y="3125"/>
                  </a:lnTo>
                  <a:lnTo>
                    <a:pt x="5915" y="3132"/>
                  </a:lnTo>
                  <a:lnTo>
                    <a:pt x="5918" y="3141"/>
                  </a:lnTo>
                  <a:close/>
                  <a:moveTo>
                    <a:pt x="5919" y="3164"/>
                  </a:moveTo>
                  <a:lnTo>
                    <a:pt x="5919" y="3164"/>
                  </a:lnTo>
                  <a:lnTo>
                    <a:pt x="5920" y="3166"/>
                  </a:lnTo>
                  <a:lnTo>
                    <a:pt x="5927" y="3161"/>
                  </a:lnTo>
                  <a:lnTo>
                    <a:pt x="5927" y="3157"/>
                  </a:lnTo>
                  <a:lnTo>
                    <a:pt x="5932" y="3152"/>
                  </a:lnTo>
                  <a:lnTo>
                    <a:pt x="5933" y="3149"/>
                  </a:lnTo>
                  <a:lnTo>
                    <a:pt x="5931" y="3144"/>
                  </a:lnTo>
                  <a:lnTo>
                    <a:pt x="5928" y="3142"/>
                  </a:lnTo>
                  <a:lnTo>
                    <a:pt x="5925" y="3146"/>
                  </a:lnTo>
                  <a:lnTo>
                    <a:pt x="5923" y="3148"/>
                  </a:lnTo>
                  <a:lnTo>
                    <a:pt x="5916" y="3149"/>
                  </a:lnTo>
                  <a:lnTo>
                    <a:pt x="5912" y="3153"/>
                  </a:lnTo>
                  <a:lnTo>
                    <a:pt x="5912" y="3162"/>
                  </a:lnTo>
                  <a:lnTo>
                    <a:pt x="5916" y="3165"/>
                  </a:lnTo>
                  <a:lnTo>
                    <a:pt x="5919" y="3164"/>
                  </a:lnTo>
                  <a:close/>
                  <a:moveTo>
                    <a:pt x="5964" y="3167"/>
                  </a:moveTo>
                  <a:lnTo>
                    <a:pt x="5964" y="3167"/>
                  </a:lnTo>
                  <a:lnTo>
                    <a:pt x="5962" y="3170"/>
                  </a:lnTo>
                  <a:lnTo>
                    <a:pt x="5961" y="3174"/>
                  </a:lnTo>
                  <a:lnTo>
                    <a:pt x="5966" y="3175"/>
                  </a:lnTo>
                  <a:lnTo>
                    <a:pt x="5969" y="3178"/>
                  </a:lnTo>
                  <a:lnTo>
                    <a:pt x="5973" y="3176"/>
                  </a:lnTo>
                  <a:lnTo>
                    <a:pt x="5980" y="3178"/>
                  </a:lnTo>
                  <a:lnTo>
                    <a:pt x="5982" y="3174"/>
                  </a:lnTo>
                  <a:lnTo>
                    <a:pt x="5983" y="3170"/>
                  </a:lnTo>
                  <a:lnTo>
                    <a:pt x="5979" y="3165"/>
                  </a:lnTo>
                  <a:lnTo>
                    <a:pt x="5974" y="3163"/>
                  </a:lnTo>
                  <a:lnTo>
                    <a:pt x="5964" y="3167"/>
                  </a:lnTo>
                  <a:close/>
                  <a:moveTo>
                    <a:pt x="5922" y="3179"/>
                  </a:moveTo>
                  <a:lnTo>
                    <a:pt x="5922" y="3179"/>
                  </a:lnTo>
                  <a:lnTo>
                    <a:pt x="5916" y="3181"/>
                  </a:lnTo>
                  <a:lnTo>
                    <a:pt x="5908" y="3179"/>
                  </a:lnTo>
                  <a:lnTo>
                    <a:pt x="5904" y="3178"/>
                  </a:lnTo>
                  <a:lnTo>
                    <a:pt x="5906" y="3182"/>
                  </a:lnTo>
                  <a:lnTo>
                    <a:pt x="5905" y="3184"/>
                  </a:lnTo>
                  <a:lnTo>
                    <a:pt x="5907" y="3188"/>
                  </a:lnTo>
                  <a:lnTo>
                    <a:pt x="5905" y="3190"/>
                  </a:lnTo>
                  <a:lnTo>
                    <a:pt x="5905" y="3193"/>
                  </a:lnTo>
                  <a:lnTo>
                    <a:pt x="5907" y="3196"/>
                  </a:lnTo>
                  <a:lnTo>
                    <a:pt x="5907" y="3198"/>
                  </a:lnTo>
                  <a:lnTo>
                    <a:pt x="5910" y="3203"/>
                  </a:lnTo>
                  <a:lnTo>
                    <a:pt x="5914" y="3204"/>
                  </a:lnTo>
                  <a:lnTo>
                    <a:pt x="5916" y="3203"/>
                  </a:lnTo>
                  <a:lnTo>
                    <a:pt x="5918" y="3201"/>
                  </a:lnTo>
                  <a:lnTo>
                    <a:pt x="5923" y="3199"/>
                  </a:lnTo>
                  <a:lnTo>
                    <a:pt x="5926" y="3198"/>
                  </a:lnTo>
                  <a:lnTo>
                    <a:pt x="5929" y="3198"/>
                  </a:lnTo>
                  <a:lnTo>
                    <a:pt x="5932" y="3198"/>
                  </a:lnTo>
                  <a:lnTo>
                    <a:pt x="5934" y="3196"/>
                  </a:lnTo>
                  <a:lnTo>
                    <a:pt x="5937" y="3197"/>
                  </a:lnTo>
                  <a:lnTo>
                    <a:pt x="5940" y="3195"/>
                  </a:lnTo>
                  <a:lnTo>
                    <a:pt x="5937" y="3193"/>
                  </a:lnTo>
                  <a:lnTo>
                    <a:pt x="5922" y="3186"/>
                  </a:lnTo>
                  <a:lnTo>
                    <a:pt x="5922" y="3179"/>
                  </a:lnTo>
                  <a:close/>
                  <a:moveTo>
                    <a:pt x="5841" y="3228"/>
                  </a:moveTo>
                  <a:lnTo>
                    <a:pt x="5841" y="3228"/>
                  </a:lnTo>
                  <a:lnTo>
                    <a:pt x="5843" y="3227"/>
                  </a:lnTo>
                  <a:lnTo>
                    <a:pt x="5845" y="3222"/>
                  </a:lnTo>
                  <a:lnTo>
                    <a:pt x="5846" y="3219"/>
                  </a:lnTo>
                  <a:lnTo>
                    <a:pt x="5848" y="3213"/>
                  </a:lnTo>
                  <a:lnTo>
                    <a:pt x="5847" y="3212"/>
                  </a:lnTo>
                  <a:lnTo>
                    <a:pt x="5844" y="3212"/>
                  </a:lnTo>
                  <a:lnTo>
                    <a:pt x="5841" y="3215"/>
                  </a:lnTo>
                  <a:lnTo>
                    <a:pt x="5839" y="3222"/>
                  </a:lnTo>
                  <a:lnTo>
                    <a:pt x="5835" y="3223"/>
                  </a:lnTo>
                  <a:lnTo>
                    <a:pt x="5834" y="3225"/>
                  </a:lnTo>
                  <a:lnTo>
                    <a:pt x="5835" y="3230"/>
                  </a:lnTo>
                  <a:lnTo>
                    <a:pt x="5835" y="3231"/>
                  </a:lnTo>
                  <a:lnTo>
                    <a:pt x="5836" y="3231"/>
                  </a:lnTo>
                  <a:lnTo>
                    <a:pt x="5841" y="3228"/>
                  </a:lnTo>
                  <a:close/>
                  <a:moveTo>
                    <a:pt x="6114" y="3237"/>
                  </a:moveTo>
                  <a:lnTo>
                    <a:pt x="6114" y="3237"/>
                  </a:lnTo>
                  <a:lnTo>
                    <a:pt x="6112" y="3235"/>
                  </a:lnTo>
                  <a:lnTo>
                    <a:pt x="6106" y="3233"/>
                  </a:lnTo>
                  <a:lnTo>
                    <a:pt x="6101" y="3234"/>
                  </a:lnTo>
                  <a:lnTo>
                    <a:pt x="6094" y="3235"/>
                  </a:lnTo>
                  <a:lnTo>
                    <a:pt x="6088" y="3238"/>
                  </a:lnTo>
                  <a:lnTo>
                    <a:pt x="6085" y="3242"/>
                  </a:lnTo>
                  <a:lnTo>
                    <a:pt x="6088" y="3245"/>
                  </a:lnTo>
                  <a:lnTo>
                    <a:pt x="6094" y="3244"/>
                  </a:lnTo>
                  <a:lnTo>
                    <a:pt x="6097" y="3245"/>
                  </a:lnTo>
                  <a:lnTo>
                    <a:pt x="6105" y="3248"/>
                  </a:lnTo>
                  <a:lnTo>
                    <a:pt x="6111" y="3252"/>
                  </a:lnTo>
                  <a:lnTo>
                    <a:pt x="6113" y="3249"/>
                  </a:lnTo>
                  <a:lnTo>
                    <a:pt x="6116" y="3246"/>
                  </a:lnTo>
                  <a:lnTo>
                    <a:pt x="6122" y="3245"/>
                  </a:lnTo>
                  <a:lnTo>
                    <a:pt x="6125" y="3243"/>
                  </a:lnTo>
                  <a:lnTo>
                    <a:pt x="6114" y="3237"/>
                  </a:lnTo>
                  <a:close/>
                  <a:moveTo>
                    <a:pt x="6047" y="3257"/>
                  </a:moveTo>
                  <a:lnTo>
                    <a:pt x="6047" y="3257"/>
                  </a:lnTo>
                  <a:lnTo>
                    <a:pt x="6044" y="3257"/>
                  </a:lnTo>
                  <a:lnTo>
                    <a:pt x="6044" y="3263"/>
                  </a:lnTo>
                  <a:lnTo>
                    <a:pt x="6042" y="3279"/>
                  </a:lnTo>
                  <a:lnTo>
                    <a:pt x="6047" y="3277"/>
                  </a:lnTo>
                  <a:lnTo>
                    <a:pt x="6048" y="3269"/>
                  </a:lnTo>
                  <a:lnTo>
                    <a:pt x="6047" y="3264"/>
                  </a:lnTo>
                  <a:lnTo>
                    <a:pt x="6047" y="3257"/>
                  </a:lnTo>
                  <a:close/>
                  <a:moveTo>
                    <a:pt x="5517" y="3309"/>
                  </a:moveTo>
                  <a:lnTo>
                    <a:pt x="5517" y="3309"/>
                  </a:lnTo>
                  <a:lnTo>
                    <a:pt x="5519" y="3306"/>
                  </a:lnTo>
                  <a:lnTo>
                    <a:pt x="5523" y="3304"/>
                  </a:lnTo>
                  <a:lnTo>
                    <a:pt x="5520" y="3296"/>
                  </a:lnTo>
                  <a:lnTo>
                    <a:pt x="5517" y="3292"/>
                  </a:lnTo>
                  <a:lnTo>
                    <a:pt x="5512" y="3293"/>
                  </a:lnTo>
                  <a:lnTo>
                    <a:pt x="5509" y="3295"/>
                  </a:lnTo>
                  <a:lnTo>
                    <a:pt x="5508" y="3299"/>
                  </a:lnTo>
                  <a:lnTo>
                    <a:pt x="5507" y="3308"/>
                  </a:lnTo>
                  <a:lnTo>
                    <a:pt x="5515" y="3318"/>
                  </a:lnTo>
                  <a:lnTo>
                    <a:pt x="5517" y="3309"/>
                  </a:lnTo>
                  <a:close/>
                  <a:moveTo>
                    <a:pt x="6029" y="3316"/>
                  </a:moveTo>
                  <a:lnTo>
                    <a:pt x="6029" y="3316"/>
                  </a:lnTo>
                  <a:lnTo>
                    <a:pt x="6023" y="3314"/>
                  </a:lnTo>
                  <a:lnTo>
                    <a:pt x="6016" y="3313"/>
                  </a:lnTo>
                  <a:lnTo>
                    <a:pt x="6007" y="3314"/>
                  </a:lnTo>
                  <a:lnTo>
                    <a:pt x="6009" y="3318"/>
                  </a:lnTo>
                  <a:lnTo>
                    <a:pt x="6015" y="3320"/>
                  </a:lnTo>
                  <a:lnTo>
                    <a:pt x="6021" y="3318"/>
                  </a:lnTo>
                  <a:lnTo>
                    <a:pt x="6032" y="3322"/>
                  </a:lnTo>
                  <a:lnTo>
                    <a:pt x="6040" y="3328"/>
                  </a:lnTo>
                  <a:lnTo>
                    <a:pt x="6043" y="3324"/>
                  </a:lnTo>
                  <a:lnTo>
                    <a:pt x="6034" y="3318"/>
                  </a:lnTo>
                  <a:lnTo>
                    <a:pt x="6029" y="3316"/>
                  </a:lnTo>
                  <a:close/>
                  <a:moveTo>
                    <a:pt x="6201" y="3347"/>
                  </a:moveTo>
                  <a:lnTo>
                    <a:pt x="6201" y="3347"/>
                  </a:lnTo>
                  <a:lnTo>
                    <a:pt x="6197" y="3348"/>
                  </a:lnTo>
                  <a:lnTo>
                    <a:pt x="6199" y="3352"/>
                  </a:lnTo>
                  <a:lnTo>
                    <a:pt x="6204" y="3354"/>
                  </a:lnTo>
                  <a:lnTo>
                    <a:pt x="6205" y="3354"/>
                  </a:lnTo>
                  <a:lnTo>
                    <a:pt x="6208" y="3355"/>
                  </a:lnTo>
                  <a:lnTo>
                    <a:pt x="6210" y="3355"/>
                  </a:lnTo>
                  <a:lnTo>
                    <a:pt x="6211" y="3356"/>
                  </a:lnTo>
                  <a:lnTo>
                    <a:pt x="6212" y="3354"/>
                  </a:lnTo>
                  <a:lnTo>
                    <a:pt x="6213" y="3353"/>
                  </a:lnTo>
                  <a:lnTo>
                    <a:pt x="6214" y="3349"/>
                  </a:lnTo>
                  <a:lnTo>
                    <a:pt x="6216" y="3344"/>
                  </a:lnTo>
                  <a:lnTo>
                    <a:pt x="6219" y="3342"/>
                  </a:lnTo>
                  <a:lnTo>
                    <a:pt x="6220" y="3340"/>
                  </a:lnTo>
                  <a:lnTo>
                    <a:pt x="6223" y="3337"/>
                  </a:lnTo>
                  <a:lnTo>
                    <a:pt x="6223" y="3336"/>
                  </a:lnTo>
                  <a:lnTo>
                    <a:pt x="6226" y="3334"/>
                  </a:lnTo>
                  <a:lnTo>
                    <a:pt x="6228" y="3331"/>
                  </a:lnTo>
                  <a:lnTo>
                    <a:pt x="6233" y="3324"/>
                  </a:lnTo>
                  <a:lnTo>
                    <a:pt x="6234" y="3320"/>
                  </a:lnTo>
                  <a:lnTo>
                    <a:pt x="6230" y="3321"/>
                  </a:lnTo>
                  <a:lnTo>
                    <a:pt x="6225" y="3325"/>
                  </a:lnTo>
                  <a:lnTo>
                    <a:pt x="6222" y="3326"/>
                  </a:lnTo>
                  <a:lnTo>
                    <a:pt x="6218" y="3325"/>
                  </a:lnTo>
                  <a:lnTo>
                    <a:pt x="6217" y="3325"/>
                  </a:lnTo>
                  <a:lnTo>
                    <a:pt x="6214" y="3326"/>
                  </a:lnTo>
                  <a:lnTo>
                    <a:pt x="6211" y="3327"/>
                  </a:lnTo>
                  <a:lnTo>
                    <a:pt x="6208" y="3331"/>
                  </a:lnTo>
                  <a:lnTo>
                    <a:pt x="6206" y="3334"/>
                  </a:lnTo>
                  <a:lnTo>
                    <a:pt x="6207" y="3338"/>
                  </a:lnTo>
                  <a:lnTo>
                    <a:pt x="6205" y="3344"/>
                  </a:lnTo>
                  <a:lnTo>
                    <a:pt x="6201" y="3347"/>
                  </a:lnTo>
                  <a:close/>
                  <a:moveTo>
                    <a:pt x="5594" y="3337"/>
                  </a:moveTo>
                  <a:lnTo>
                    <a:pt x="5594" y="3337"/>
                  </a:lnTo>
                  <a:lnTo>
                    <a:pt x="5597" y="3339"/>
                  </a:lnTo>
                  <a:lnTo>
                    <a:pt x="5601" y="3345"/>
                  </a:lnTo>
                  <a:lnTo>
                    <a:pt x="5602" y="3344"/>
                  </a:lnTo>
                  <a:lnTo>
                    <a:pt x="5605" y="3341"/>
                  </a:lnTo>
                  <a:lnTo>
                    <a:pt x="5604" y="3338"/>
                  </a:lnTo>
                  <a:lnTo>
                    <a:pt x="5609" y="3336"/>
                  </a:lnTo>
                  <a:lnTo>
                    <a:pt x="5604" y="3329"/>
                  </a:lnTo>
                  <a:lnTo>
                    <a:pt x="5592" y="3325"/>
                  </a:lnTo>
                  <a:lnTo>
                    <a:pt x="5588" y="3326"/>
                  </a:lnTo>
                  <a:lnTo>
                    <a:pt x="5594" y="3334"/>
                  </a:lnTo>
                  <a:lnTo>
                    <a:pt x="5594" y="3337"/>
                  </a:lnTo>
                  <a:close/>
                  <a:moveTo>
                    <a:pt x="6003" y="3357"/>
                  </a:moveTo>
                  <a:lnTo>
                    <a:pt x="6003" y="3357"/>
                  </a:lnTo>
                  <a:lnTo>
                    <a:pt x="6000" y="3357"/>
                  </a:lnTo>
                  <a:lnTo>
                    <a:pt x="5994" y="3360"/>
                  </a:lnTo>
                  <a:lnTo>
                    <a:pt x="5989" y="3358"/>
                  </a:lnTo>
                  <a:lnTo>
                    <a:pt x="5988" y="3361"/>
                  </a:lnTo>
                  <a:lnTo>
                    <a:pt x="5991" y="3367"/>
                  </a:lnTo>
                  <a:lnTo>
                    <a:pt x="5998" y="3369"/>
                  </a:lnTo>
                  <a:lnTo>
                    <a:pt x="6003" y="3368"/>
                  </a:lnTo>
                  <a:lnTo>
                    <a:pt x="6004" y="3369"/>
                  </a:lnTo>
                  <a:lnTo>
                    <a:pt x="6007" y="3367"/>
                  </a:lnTo>
                  <a:lnTo>
                    <a:pt x="6007" y="3365"/>
                  </a:lnTo>
                  <a:lnTo>
                    <a:pt x="6005" y="3364"/>
                  </a:lnTo>
                  <a:lnTo>
                    <a:pt x="6004" y="3363"/>
                  </a:lnTo>
                  <a:lnTo>
                    <a:pt x="6004" y="3360"/>
                  </a:lnTo>
                  <a:lnTo>
                    <a:pt x="6003" y="3357"/>
                  </a:lnTo>
                  <a:close/>
                  <a:moveTo>
                    <a:pt x="6018" y="3362"/>
                  </a:moveTo>
                  <a:lnTo>
                    <a:pt x="6018" y="3362"/>
                  </a:lnTo>
                  <a:lnTo>
                    <a:pt x="6015" y="3362"/>
                  </a:lnTo>
                  <a:lnTo>
                    <a:pt x="6013" y="3366"/>
                  </a:lnTo>
                  <a:lnTo>
                    <a:pt x="6012" y="3367"/>
                  </a:lnTo>
                  <a:lnTo>
                    <a:pt x="6011" y="3369"/>
                  </a:lnTo>
                  <a:lnTo>
                    <a:pt x="6012" y="3372"/>
                  </a:lnTo>
                  <a:lnTo>
                    <a:pt x="6012" y="3375"/>
                  </a:lnTo>
                  <a:lnTo>
                    <a:pt x="6016" y="3376"/>
                  </a:lnTo>
                  <a:lnTo>
                    <a:pt x="6016" y="3374"/>
                  </a:lnTo>
                  <a:lnTo>
                    <a:pt x="6020" y="3376"/>
                  </a:lnTo>
                  <a:lnTo>
                    <a:pt x="6023" y="3377"/>
                  </a:lnTo>
                  <a:lnTo>
                    <a:pt x="6024" y="3376"/>
                  </a:lnTo>
                  <a:lnTo>
                    <a:pt x="6022" y="3370"/>
                  </a:lnTo>
                  <a:lnTo>
                    <a:pt x="6022" y="3366"/>
                  </a:lnTo>
                  <a:lnTo>
                    <a:pt x="6018" y="3362"/>
                  </a:lnTo>
                  <a:close/>
                  <a:moveTo>
                    <a:pt x="5867" y="3413"/>
                  </a:moveTo>
                  <a:lnTo>
                    <a:pt x="5867" y="3413"/>
                  </a:lnTo>
                  <a:lnTo>
                    <a:pt x="5870" y="3406"/>
                  </a:lnTo>
                  <a:lnTo>
                    <a:pt x="5875" y="3403"/>
                  </a:lnTo>
                  <a:lnTo>
                    <a:pt x="5877" y="3401"/>
                  </a:lnTo>
                  <a:lnTo>
                    <a:pt x="5878" y="3399"/>
                  </a:lnTo>
                  <a:lnTo>
                    <a:pt x="5875" y="3396"/>
                  </a:lnTo>
                  <a:lnTo>
                    <a:pt x="5871" y="3392"/>
                  </a:lnTo>
                  <a:lnTo>
                    <a:pt x="5869" y="3388"/>
                  </a:lnTo>
                  <a:lnTo>
                    <a:pt x="5866" y="3387"/>
                  </a:lnTo>
                  <a:lnTo>
                    <a:pt x="5862" y="3390"/>
                  </a:lnTo>
                  <a:lnTo>
                    <a:pt x="5865" y="3392"/>
                  </a:lnTo>
                  <a:lnTo>
                    <a:pt x="5867" y="3399"/>
                  </a:lnTo>
                  <a:lnTo>
                    <a:pt x="5866" y="3409"/>
                  </a:lnTo>
                  <a:lnTo>
                    <a:pt x="5867" y="3413"/>
                  </a:lnTo>
                  <a:close/>
                  <a:moveTo>
                    <a:pt x="5620" y="3402"/>
                  </a:moveTo>
                  <a:lnTo>
                    <a:pt x="5620" y="3402"/>
                  </a:lnTo>
                  <a:lnTo>
                    <a:pt x="5617" y="3399"/>
                  </a:lnTo>
                  <a:lnTo>
                    <a:pt x="5611" y="3397"/>
                  </a:lnTo>
                  <a:lnTo>
                    <a:pt x="5605" y="3393"/>
                  </a:lnTo>
                  <a:lnTo>
                    <a:pt x="5601" y="3393"/>
                  </a:lnTo>
                  <a:lnTo>
                    <a:pt x="5598" y="3391"/>
                  </a:lnTo>
                  <a:lnTo>
                    <a:pt x="5597" y="3395"/>
                  </a:lnTo>
                  <a:lnTo>
                    <a:pt x="5598" y="3397"/>
                  </a:lnTo>
                  <a:lnTo>
                    <a:pt x="5598" y="3403"/>
                  </a:lnTo>
                  <a:lnTo>
                    <a:pt x="5598" y="3408"/>
                  </a:lnTo>
                  <a:lnTo>
                    <a:pt x="5601" y="3410"/>
                  </a:lnTo>
                  <a:lnTo>
                    <a:pt x="5605" y="3409"/>
                  </a:lnTo>
                  <a:lnTo>
                    <a:pt x="5607" y="3412"/>
                  </a:lnTo>
                  <a:lnTo>
                    <a:pt x="5609" y="3412"/>
                  </a:lnTo>
                  <a:lnTo>
                    <a:pt x="5617" y="3413"/>
                  </a:lnTo>
                  <a:lnTo>
                    <a:pt x="5617" y="3411"/>
                  </a:lnTo>
                  <a:lnTo>
                    <a:pt x="5618" y="3407"/>
                  </a:lnTo>
                  <a:lnTo>
                    <a:pt x="5620" y="3402"/>
                  </a:lnTo>
                  <a:close/>
                  <a:moveTo>
                    <a:pt x="11870" y="5929"/>
                  </a:moveTo>
                  <a:lnTo>
                    <a:pt x="11870" y="5929"/>
                  </a:lnTo>
                  <a:lnTo>
                    <a:pt x="11882" y="5920"/>
                  </a:lnTo>
                  <a:lnTo>
                    <a:pt x="11886" y="5916"/>
                  </a:lnTo>
                  <a:lnTo>
                    <a:pt x="11889" y="5911"/>
                  </a:lnTo>
                  <a:lnTo>
                    <a:pt x="11890" y="5906"/>
                  </a:lnTo>
                  <a:lnTo>
                    <a:pt x="11887" y="5901"/>
                  </a:lnTo>
                  <a:lnTo>
                    <a:pt x="11884" y="5892"/>
                  </a:lnTo>
                  <a:lnTo>
                    <a:pt x="11875" y="5898"/>
                  </a:lnTo>
                  <a:lnTo>
                    <a:pt x="11868" y="5906"/>
                  </a:lnTo>
                  <a:lnTo>
                    <a:pt x="11866" y="5911"/>
                  </a:lnTo>
                  <a:lnTo>
                    <a:pt x="11868" y="5917"/>
                  </a:lnTo>
                  <a:lnTo>
                    <a:pt x="11866" y="5920"/>
                  </a:lnTo>
                  <a:lnTo>
                    <a:pt x="11867" y="5924"/>
                  </a:lnTo>
                  <a:lnTo>
                    <a:pt x="11867" y="5922"/>
                  </a:lnTo>
                  <a:lnTo>
                    <a:pt x="11867" y="5927"/>
                  </a:lnTo>
                  <a:lnTo>
                    <a:pt x="11870" y="5929"/>
                  </a:lnTo>
                  <a:close/>
                  <a:moveTo>
                    <a:pt x="13407" y="6813"/>
                  </a:moveTo>
                  <a:lnTo>
                    <a:pt x="13407" y="6813"/>
                  </a:lnTo>
                  <a:lnTo>
                    <a:pt x="13407" y="6811"/>
                  </a:lnTo>
                  <a:lnTo>
                    <a:pt x="13405" y="6813"/>
                  </a:lnTo>
                  <a:lnTo>
                    <a:pt x="13398" y="6818"/>
                  </a:lnTo>
                  <a:lnTo>
                    <a:pt x="13390" y="6822"/>
                  </a:lnTo>
                  <a:lnTo>
                    <a:pt x="13379" y="6831"/>
                  </a:lnTo>
                  <a:lnTo>
                    <a:pt x="13376" y="6835"/>
                  </a:lnTo>
                  <a:lnTo>
                    <a:pt x="13383" y="6837"/>
                  </a:lnTo>
                  <a:lnTo>
                    <a:pt x="13396" y="6830"/>
                  </a:lnTo>
                  <a:lnTo>
                    <a:pt x="13402" y="6823"/>
                  </a:lnTo>
                  <a:lnTo>
                    <a:pt x="13408" y="6814"/>
                  </a:lnTo>
                  <a:lnTo>
                    <a:pt x="13407" y="6813"/>
                  </a:lnTo>
                  <a:close/>
                  <a:moveTo>
                    <a:pt x="13357" y="6941"/>
                  </a:moveTo>
                  <a:lnTo>
                    <a:pt x="13357" y="6941"/>
                  </a:lnTo>
                  <a:lnTo>
                    <a:pt x="13347" y="6952"/>
                  </a:lnTo>
                  <a:lnTo>
                    <a:pt x="13341" y="6957"/>
                  </a:lnTo>
                  <a:lnTo>
                    <a:pt x="13335" y="6963"/>
                  </a:lnTo>
                  <a:lnTo>
                    <a:pt x="13328" y="6975"/>
                  </a:lnTo>
                  <a:lnTo>
                    <a:pt x="13329" y="6980"/>
                  </a:lnTo>
                  <a:lnTo>
                    <a:pt x="13338" y="6974"/>
                  </a:lnTo>
                  <a:lnTo>
                    <a:pt x="13346" y="6968"/>
                  </a:lnTo>
                  <a:lnTo>
                    <a:pt x="13352" y="6961"/>
                  </a:lnTo>
                  <a:lnTo>
                    <a:pt x="13355" y="6957"/>
                  </a:lnTo>
                  <a:lnTo>
                    <a:pt x="13359" y="6946"/>
                  </a:lnTo>
                  <a:lnTo>
                    <a:pt x="13361" y="6937"/>
                  </a:lnTo>
                  <a:lnTo>
                    <a:pt x="13357" y="6941"/>
                  </a:lnTo>
                  <a:close/>
                  <a:moveTo>
                    <a:pt x="12670" y="7077"/>
                  </a:moveTo>
                  <a:lnTo>
                    <a:pt x="12670" y="7077"/>
                  </a:lnTo>
                  <a:lnTo>
                    <a:pt x="12674" y="7074"/>
                  </a:lnTo>
                  <a:lnTo>
                    <a:pt x="12673" y="7068"/>
                  </a:lnTo>
                  <a:lnTo>
                    <a:pt x="12672" y="7050"/>
                  </a:lnTo>
                  <a:lnTo>
                    <a:pt x="12664" y="7055"/>
                  </a:lnTo>
                  <a:lnTo>
                    <a:pt x="12660" y="7068"/>
                  </a:lnTo>
                  <a:lnTo>
                    <a:pt x="12661" y="7079"/>
                  </a:lnTo>
                  <a:lnTo>
                    <a:pt x="12666" y="7085"/>
                  </a:lnTo>
                  <a:lnTo>
                    <a:pt x="12670" y="7077"/>
                  </a:lnTo>
                  <a:close/>
                  <a:moveTo>
                    <a:pt x="12665" y="7090"/>
                  </a:moveTo>
                  <a:lnTo>
                    <a:pt x="12665" y="7090"/>
                  </a:lnTo>
                  <a:lnTo>
                    <a:pt x="12665" y="7089"/>
                  </a:lnTo>
                  <a:lnTo>
                    <a:pt x="12665" y="7090"/>
                  </a:lnTo>
                  <a:close/>
                  <a:moveTo>
                    <a:pt x="14648" y="7153"/>
                  </a:moveTo>
                  <a:lnTo>
                    <a:pt x="14648" y="7153"/>
                  </a:lnTo>
                  <a:lnTo>
                    <a:pt x="14656" y="7147"/>
                  </a:lnTo>
                  <a:lnTo>
                    <a:pt x="14646" y="7134"/>
                  </a:lnTo>
                  <a:lnTo>
                    <a:pt x="14637" y="7145"/>
                  </a:lnTo>
                  <a:lnTo>
                    <a:pt x="14641" y="7154"/>
                  </a:lnTo>
                  <a:lnTo>
                    <a:pt x="14638" y="7163"/>
                  </a:lnTo>
                  <a:lnTo>
                    <a:pt x="14648" y="7153"/>
                  </a:lnTo>
                  <a:close/>
                  <a:moveTo>
                    <a:pt x="14823" y="7256"/>
                  </a:moveTo>
                  <a:lnTo>
                    <a:pt x="14823" y="7256"/>
                  </a:lnTo>
                  <a:lnTo>
                    <a:pt x="14820" y="7250"/>
                  </a:lnTo>
                  <a:lnTo>
                    <a:pt x="14812" y="7250"/>
                  </a:lnTo>
                  <a:lnTo>
                    <a:pt x="14815" y="7258"/>
                  </a:lnTo>
                  <a:lnTo>
                    <a:pt x="14816" y="7270"/>
                  </a:lnTo>
                  <a:lnTo>
                    <a:pt x="14820" y="7280"/>
                  </a:lnTo>
                  <a:lnTo>
                    <a:pt x="14825" y="7283"/>
                  </a:lnTo>
                  <a:lnTo>
                    <a:pt x="14830" y="7286"/>
                  </a:lnTo>
                  <a:lnTo>
                    <a:pt x="14833" y="7272"/>
                  </a:lnTo>
                  <a:lnTo>
                    <a:pt x="14829" y="7263"/>
                  </a:lnTo>
                  <a:lnTo>
                    <a:pt x="14823" y="7256"/>
                  </a:lnTo>
                  <a:close/>
                  <a:moveTo>
                    <a:pt x="12559" y="7296"/>
                  </a:moveTo>
                  <a:lnTo>
                    <a:pt x="12559" y="7296"/>
                  </a:lnTo>
                  <a:lnTo>
                    <a:pt x="12553" y="7293"/>
                  </a:lnTo>
                  <a:lnTo>
                    <a:pt x="12550" y="7293"/>
                  </a:lnTo>
                  <a:lnTo>
                    <a:pt x="12549" y="7296"/>
                  </a:lnTo>
                  <a:lnTo>
                    <a:pt x="12546" y="7300"/>
                  </a:lnTo>
                  <a:lnTo>
                    <a:pt x="12548" y="7305"/>
                  </a:lnTo>
                  <a:lnTo>
                    <a:pt x="12550" y="7312"/>
                  </a:lnTo>
                  <a:lnTo>
                    <a:pt x="12552" y="7314"/>
                  </a:lnTo>
                  <a:lnTo>
                    <a:pt x="12555" y="7318"/>
                  </a:lnTo>
                  <a:lnTo>
                    <a:pt x="12559" y="7318"/>
                  </a:lnTo>
                  <a:lnTo>
                    <a:pt x="12562" y="7318"/>
                  </a:lnTo>
                  <a:lnTo>
                    <a:pt x="12564" y="7307"/>
                  </a:lnTo>
                  <a:lnTo>
                    <a:pt x="12563" y="7303"/>
                  </a:lnTo>
                  <a:lnTo>
                    <a:pt x="12563" y="7301"/>
                  </a:lnTo>
                  <a:lnTo>
                    <a:pt x="12559" y="7296"/>
                  </a:lnTo>
                  <a:close/>
                  <a:moveTo>
                    <a:pt x="12551" y="7394"/>
                  </a:moveTo>
                  <a:lnTo>
                    <a:pt x="12551" y="7394"/>
                  </a:lnTo>
                  <a:lnTo>
                    <a:pt x="12555" y="7398"/>
                  </a:lnTo>
                  <a:lnTo>
                    <a:pt x="12562" y="7396"/>
                  </a:lnTo>
                  <a:lnTo>
                    <a:pt x="12565" y="7393"/>
                  </a:lnTo>
                  <a:lnTo>
                    <a:pt x="12570" y="7385"/>
                  </a:lnTo>
                  <a:lnTo>
                    <a:pt x="12572" y="7383"/>
                  </a:lnTo>
                  <a:lnTo>
                    <a:pt x="12572" y="7378"/>
                  </a:lnTo>
                  <a:lnTo>
                    <a:pt x="12571" y="7371"/>
                  </a:lnTo>
                  <a:lnTo>
                    <a:pt x="12568" y="7371"/>
                  </a:lnTo>
                  <a:lnTo>
                    <a:pt x="12566" y="7370"/>
                  </a:lnTo>
                  <a:lnTo>
                    <a:pt x="12561" y="7370"/>
                  </a:lnTo>
                  <a:lnTo>
                    <a:pt x="12549" y="7368"/>
                  </a:lnTo>
                  <a:lnTo>
                    <a:pt x="12550" y="7362"/>
                  </a:lnTo>
                  <a:lnTo>
                    <a:pt x="12543" y="7361"/>
                  </a:lnTo>
                  <a:lnTo>
                    <a:pt x="12538" y="7364"/>
                  </a:lnTo>
                  <a:lnTo>
                    <a:pt x="12535" y="7368"/>
                  </a:lnTo>
                  <a:lnTo>
                    <a:pt x="12535" y="7379"/>
                  </a:lnTo>
                  <a:lnTo>
                    <a:pt x="12534" y="7384"/>
                  </a:lnTo>
                  <a:lnTo>
                    <a:pt x="12547" y="7388"/>
                  </a:lnTo>
                  <a:lnTo>
                    <a:pt x="12551" y="7394"/>
                  </a:lnTo>
                  <a:close/>
                  <a:moveTo>
                    <a:pt x="14701" y="9032"/>
                  </a:moveTo>
                  <a:lnTo>
                    <a:pt x="14701" y="9032"/>
                  </a:lnTo>
                  <a:lnTo>
                    <a:pt x="14706" y="9034"/>
                  </a:lnTo>
                  <a:lnTo>
                    <a:pt x="14711" y="9026"/>
                  </a:lnTo>
                  <a:lnTo>
                    <a:pt x="14699" y="9019"/>
                  </a:lnTo>
                  <a:lnTo>
                    <a:pt x="14696" y="9027"/>
                  </a:lnTo>
                  <a:lnTo>
                    <a:pt x="14701" y="9032"/>
                  </a:lnTo>
                  <a:close/>
                  <a:moveTo>
                    <a:pt x="14482" y="9046"/>
                  </a:moveTo>
                  <a:lnTo>
                    <a:pt x="14482" y="9046"/>
                  </a:lnTo>
                  <a:lnTo>
                    <a:pt x="14475" y="9046"/>
                  </a:lnTo>
                  <a:lnTo>
                    <a:pt x="14466" y="9048"/>
                  </a:lnTo>
                  <a:lnTo>
                    <a:pt x="14460" y="9056"/>
                  </a:lnTo>
                  <a:lnTo>
                    <a:pt x="14451" y="9055"/>
                  </a:lnTo>
                  <a:lnTo>
                    <a:pt x="14445" y="9057"/>
                  </a:lnTo>
                  <a:lnTo>
                    <a:pt x="14443" y="9062"/>
                  </a:lnTo>
                  <a:lnTo>
                    <a:pt x="14448" y="9061"/>
                  </a:lnTo>
                  <a:lnTo>
                    <a:pt x="14451" y="9064"/>
                  </a:lnTo>
                  <a:lnTo>
                    <a:pt x="14456" y="9065"/>
                  </a:lnTo>
                  <a:lnTo>
                    <a:pt x="14461" y="9065"/>
                  </a:lnTo>
                  <a:lnTo>
                    <a:pt x="14464" y="9062"/>
                  </a:lnTo>
                  <a:lnTo>
                    <a:pt x="14464" y="9061"/>
                  </a:lnTo>
                  <a:lnTo>
                    <a:pt x="14466" y="9062"/>
                  </a:lnTo>
                  <a:lnTo>
                    <a:pt x="14473" y="9059"/>
                  </a:lnTo>
                  <a:lnTo>
                    <a:pt x="14478" y="9058"/>
                  </a:lnTo>
                  <a:lnTo>
                    <a:pt x="14482" y="9055"/>
                  </a:lnTo>
                  <a:lnTo>
                    <a:pt x="14483" y="9053"/>
                  </a:lnTo>
                  <a:lnTo>
                    <a:pt x="14487" y="9052"/>
                  </a:lnTo>
                  <a:lnTo>
                    <a:pt x="14489" y="9050"/>
                  </a:lnTo>
                  <a:lnTo>
                    <a:pt x="14486" y="9049"/>
                  </a:lnTo>
                  <a:lnTo>
                    <a:pt x="14484" y="9047"/>
                  </a:lnTo>
                  <a:lnTo>
                    <a:pt x="14482" y="9046"/>
                  </a:lnTo>
                  <a:close/>
                  <a:moveTo>
                    <a:pt x="14222" y="9229"/>
                  </a:moveTo>
                  <a:lnTo>
                    <a:pt x="14222" y="9229"/>
                  </a:lnTo>
                  <a:lnTo>
                    <a:pt x="14225" y="9226"/>
                  </a:lnTo>
                  <a:lnTo>
                    <a:pt x="14225" y="9222"/>
                  </a:lnTo>
                  <a:lnTo>
                    <a:pt x="14220" y="9222"/>
                  </a:lnTo>
                  <a:lnTo>
                    <a:pt x="14215" y="9220"/>
                  </a:lnTo>
                  <a:lnTo>
                    <a:pt x="14213" y="9222"/>
                  </a:lnTo>
                  <a:lnTo>
                    <a:pt x="14211" y="9220"/>
                  </a:lnTo>
                  <a:lnTo>
                    <a:pt x="14209" y="9219"/>
                  </a:lnTo>
                  <a:lnTo>
                    <a:pt x="14207" y="9221"/>
                  </a:lnTo>
                  <a:lnTo>
                    <a:pt x="14205" y="9227"/>
                  </a:lnTo>
                  <a:lnTo>
                    <a:pt x="14207" y="9238"/>
                  </a:lnTo>
                  <a:lnTo>
                    <a:pt x="14216" y="9234"/>
                  </a:lnTo>
                  <a:lnTo>
                    <a:pt x="14218" y="9232"/>
                  </a:lnTo>
                  <a:lnTo>
                    <a:pt x="14215" y="9230"/>
                  </a:lnTo>
                  <a:lnTo>
                    <a:pt x="14218" y="9228"/>
                  </a:lnTo>
                  <a:lnTo>
                    <a:pt x="14222" y="9229"/>
                  </a:lnTo>
                  <a:close/>
                  <a:moveTo>
                    <a:pt x="14164" y="9241"/>
                  </a:moveTo>
                  <a:lnTo>
                    <a:pt x="14164" y="9241"/>
                  </a:lnTo>
                  <a:lnTo>
                    <a:pt x="14156" y="9241"/>
                  </a:lnTo>
                  <a:lnTo>
                    <a:pt x="14141" y="9240"/>
                  </a:lnTo>
                  <a:lnTo>
                    <a:pt x="14125" y="9244"/>
                  </a:lnTo>
                  <a:lnTo>
                    <a:pt x="14112" y="9247"/>
                  </a:lnTo>
                  <a:lnTo>
                    <a:pt x="14117" y="9250"/>
                  </a:lnTo>
                  <a:lnTo>
                    <a:pt x="14125" y="9251"/>
                  </a:lnTo>
                  <a:lnTo>
                    <a:pt x="14132" y="9249"/>
                  </a:lnTo>
                  <a:lnTo>
                    <a:pt x="14141" y="9247"/>
                  </a:lnTo>
                  <a:lnTo>
                    <a:pt x="14147" y="9250"/>
                  </a:lnTo>
                  <a:lnTo>
                    <a:pt x="14151" y="9250"/>
                  </a:lnTo>
                  <a:lnTo>
                    <a:pt x="14163" y="9247"/>
                  </a:lnTo>
                  <a:lnTo>
                    <a:pt x="14171" y="9242"/>
                  </a:lnTo>
                  <a:lnTo>
                    <a:pt x="14173" y="9241"/>
                  </a:lnTo>
                  <a:lnTo>
                    <a:pt x="14177" y="9240"/>
                  </a:lnTo>
                  <a:lnTo>
                    <a:pt x="14180" y="9243"/>
                  </a:lnTo>
                  <a:lnTo>
                    <a:pt x="14184" y="9241"/>
                  </a:lnTo>
                  <a:lnTo>
                    <a:pt x="14185" y="9231"/>
                  </a:lnTo>
                  <a:lnTo>
                    <a:pt x="14175" y="9232"/>
                  </a:lnTo>
                  <a:lnTo>
                    <a:pt x="14167" y="9236"/>
                  </a:lnTo>
                  <a:lnTo>
                    <a:pt x="14164" y="9241"/>
                  </a:lnTo>
                  <a:close/>
                  <a:moveTo>
                    <a:pt x="18020" y="10897"/>
                  </a:moveTo>
                  <a:lnTo>
                    <a:pt x="18020" y="10897"/>
                  </a:lnTo>
                  <a:lnTo>
                    <a:pt x="18019" y="10893"/>
                  </a:lnTo>
                  <a:lnTo>
                    <a:pt x="18013" y="10889"/>
                  </a:lnTo>
                  <a:lnTo>
                    <a:pt x="18004" y="10885"/>
                  </a:lnTo>
                  <a:lnTo>
                    <a:pt x="17997" y="10888"/>
                  </a:lnTo>
                  <a:lnTo>
                    <a:pt x="17994" y="10887"/>
                  </a:lnTo>
                  <a:lnTo>
                    <a:pt x="17995" y="10891"/>
                  </a:lnTo>
                  <a:lnTo>
                    <a:pt x="17994" y="10895"/>
                  </a:lnTo>
                  <a:lnTo>
                    <a:pt x="17998" y="10899"/>
                  </a:lnTo>
                  <a:lnTo>
                    <a:pt x="18001" y="10904"/>
                  </a:lnTo>
                  <a:lnTo>
                    <a:pt x="18014" y="10912"/>
                  </a:lnTo>
                  <a:lnTo>
                    <a:pt x="18020" y="10910"/>
                  </a:lnTo>
                  <a:lnTo>
                    <a:pt x="18021" y="10903"/>
                  </a:lnTo>
                  <a:lnTo>
                    <a:pt x="18020" y="10900"/>
                  </a:lnTo>
                  <a:lnTo>
                    <a:pt x="18020" y="10897"/>
                  </a:lnTo>
                  <a:close/>
                  <a:moveTo>
                    <a:pt x="13225" y="8293"/>
                  </a:moveTo>
                  <a:lnTo>
                    <a:pt x="13225" y="8293"/>
                  </a:lnTo>
                  <a:lnTo>
                    <a:pt x="13222" y="8292"/>
                  </a:lnTo>
                  <a:lnTo>
                    <a:pt x="13222" y="8296"/>
                  </a:lnTo>
                  <a:lnTo>
                    <a:pt x="13217" y="8295"/>
                  </a:lnTo>
                  <a:lnTo>
                    <a:pt x="13210" y="8296"/>
                  </a:lnTo>
                  <a:lnTo>
                    <a:pt x="13205" y="8296"/>
                  </a:lnTo>
                  <a:lnTo>
                    <a:pt x="13199" y="8302"/>
                  </a:lnTo>
                  <a:lnTo>
                    <a:pt x="13211" y="8312"/>
                  </a:lnTo>
                  <a:lnTo>
                    <a:pt x="13224" y="8315"/>
                  </a:lnTo>
                  <a:lnTo>
                    <a:pt x="13230" y="8315"/>
                  </a:lnTo>
                  <a:lnTo>
                    <a:pt x="13233" y="8312"/>
                  </a:lnTo>
                  <a:lnTo>
                    <a:pt x="13231" y="8311"/>
                  </a:lnTo>
                  <a:lnTo>
                    <a:pt x="13226" y="8305"/>
                  </a:lnTo>
                  <a:lnTo>
                    <a:pt x="13227" y="8299"/>
                  </a:lnTo>
                  <a:lnTo>
                    <a:pt x="13225" y="8293"/>
                  </a:lnTo>
                  <a:close/>
                  <a:moveTo>
                    <a:pt x="13273" y="8303"/>
                  </a:moveTo>
                  <a:lnTo>
                    <a:pt x="13273" y="8303"/>
                  </a:lnTo>
                  <a:lnTo>
                    <a:pt x="13272" y="8299"/>
                  </a:lnTo>
                  <a:lnTo>
                    <a:pt x="13268" y="8300"/>
                  </a:lnTo>
                  <a:lnTo>
                    <a:pt x="13264" y="8302"/>
                  </a:lnTo>
                  <a:lnTo>
                    <a:pt x="13260" y="8306"/>
                  </a:lnTo>
                  <a:lnTo>
                    <a:pt x="13256" y="8308"/>
                  </a:lnTo>
                  <a:lnTo>
                    <a:pt x="13250" y="8315"/>
                  </a:lnTo>
                  <a:lnTo>
                    <a:pt x="13250" y="8320"/>
                  </a:lnTo>
                  <a:lnTo>
                    <a:pt x="13265" y="8331"/>
                  </a:lnTo>
                  <a:lnTo>
                    <a:pt x="13266" y="8326"/>
                  </a:lnTo>
                  <a:lnTo>
                    <a:pt x="13271" y="8325"/>
                  </a:lnTo>
                  <a:lnTo>
                    <a:pt x="13276" y="8323"/>
                  </a:lnTo>
                  <a:lnTo>
                    <a:pt x="13275" y="8315"/>
                  </a:lnTo>
                  <a:lnTo>
                    <a:pt x="13268" y="8308"/>
                  </a:lnTo>
                  <a:lnTo>
                    <a:pt x="13270" y="8304"/>
                  </a:lnTo>
                  <a:lnTo>
                    <a:pt x="13273" y="8303"/>
                  </a:lnTo>
                  <a:close/>
                  <a:moveTo>
                    <a:pt x="13328" y="8352"/>
                  </a:moveTo>
                  <a:lnTo>
                    <a:pt x="13328" y="8352"/>
                  </a:lnTo>
                  <a:lnTo>
                    <a:pt x="13330" y="8342"/>
                  </a:lnTo>
                  <a:lnTo>
                    <a:pt x="13327" y="8332"/>
                  </a:lnTo>
                  <a:lnTo>
                    <a:pt x="13321" y="8337"/>
                  </a:lnTo>
                  <a:lnTo>
                    <a:pt x="13311" y="8335"/>
                  </a:lnTo>
                  <a:lnTo>
                    <a:pt x="13305" y="8334"/>
                  </a:lnTo>
                  <a:lnTo>
                    <a:pt x="13308" y="8340"/>
                  </a:lnTo>
                  <a:lnTo>
                    <a:pt x="13307" y="8342"/>
                  </a:lnTo>
                  <a:lnTo>
                    <a:pt x="13307" y="8344"/>
                  </a:lnTo>
                  <a:lnTo>
                    <a:pt x="13311" y="8343"/>
                  </a:lnTo>
                  <a:lnTo>
                    <a:pt x="13318" y="8344"/>
                  </a:lnTo>
                  <a:lnTo>
                    <a:pt x="13317" y="8349"/>
                  </a:lnTo>
                  <a:lnTo>
                    <a:pt x="13328" y="8352"/>
                  </a:lnTo>
                  <a:close/>
                  <a:moveTo>
                    <a:pt x="8010" y="5624"/>
                  </a:moveTo>
                  <a:lnTo>
                    <a:pt x="8010" y="5624"/>
                  </a:lnTo>
                  <a:lnTo>
                    <a:pt x="8023" y="5618"/>
                  </a:lnTo>
                  <a:lnTo>
                    <a:pt x="8027" y="5616"/>
                  </a:lnTo>
                  <a:lnTo>
                    <a:pt x="8030" y="5611"/>
                  </a:lnTo>
                  <a:lnTo>
                    <a:pt x="8029" y="5607"/>
                  </a:lnTo>
                  <a:lnTo>
                    <a:pt x="8026" y="5605"/>
                  </a:lnTo>
                  <a:lnTo>
                    <a:pt x="8019" y="5596"/>
                  </a:lnTo>
                  <a:lnTo>
                    <a:pt x="8013" y="5599"/>
                  </a:lnTo>
                  <a:lnTo>
                    <a:pt x="8009" y="5597"/>
                  </a:lnTo>
                  <a:lnTo>
                    <a:pt x="8004" y="5600"/>
                  </a:lnTo>
                  <a:lnTo>
                    <a:pt x="8001" y="5601"/>
                  </a:lnTo>
                  <a:lnTo>
                    <a:pt x="7999" y="5604"/>
                  </a:lnTo>
                  <a:lnTo>
                    <a:pt x="8002" y="5605"/>
                  </a:lnTo>
                  <a:lnTo>
                    <a:pt x="8004" y="5605"/>
                  </a:lnTo>
                  <a:lnTo>
                    <a:pt x="8006" y="5604"/>
                  </a:lnTo>
                  <a:lnTo>
                    <a:pt x="8011" y="5606"/>
                  </a:lnTo>
                  <a:lnTo>
                    <a:pt x="8011" y="5611"/>
                  </a:lnTo>
                  <a:lnTo>
                    <a:pt x="8004" y="5612"/>
                  </a:lnTo>
                  <a:lnTo>
                    <a:pt x="8001" y="5612"/>
                  </a:lnTo>
                  <a:lnTo>
                    <a:pt x="7998" y="5612"/>
                  </a:lnTo>
                  <a:lnTo>
                    <a:pt x="7996" y="5618"/>
                  </a:lnTo>
                  <a:lnTo>
                    <a:pt x="8002" y="5622"/>
                  </a:lnTo>
                  <a:lnTo>
                    <a:pt x="8010" y="5624"/>
                  </a:lnTo>
                  <a:close/>
                  <a:moveTo>
                    <a:pt x="8049" y="5708"/>
                  </a:moveTo>
                  <a:lnTo>
                    <a:pt x="8049" y="5708"/>
                  </a:lnTo>
                  <a:lnTo>
                    <a:pt x="8049" y="5705"/>
                  </a:lnTo>
                  <a:lnTo>
                    <a:pt x="8049" y="5701"/>
                  </a:lnTo>
                  <a:lnTo>
                    <a:pt x="8050" y="5698"/>
                  </a:lnTo>
                  <a:lnTo>
                    <a:pt x="8052" y="5697"/>
                  </a:lnTo>
                  <a:lnTo>
                    <a:pt x="8054" y="5694"/>
                  </a:lnTo>
                  <a:lnTo>
                    <a:pt x="8049" y="5682"/>
                  </a:lnTo>
                  <a:lnTo>
                    <a:pt x="8045" y="5684"/>
                  </a:lnTo>
                  <a:lnTo>
                    <a:pt x="8040" y="5686"/>
                  </a:lnTo>
                  <a:lnTo>
                    <a:pt x="8036" y="5688"/>
                  </a:lnTo>
                  <a:lnTo>
                    <a:pt x="8030" y="5690"/>
                  </a:lnTo>
                  <a:lnTo>
                    <a:pt x="8027" y="5696"/>
                  </a:lnTo>
                  <a:lnTo>
                    <a:pt x="8026" y="5698"/>
                  </a:lnTo>
                  <a:lnTo>
                    <a:pt x="8025" y="5704"/>
                  </a:lnTo>
                  <a:lnTo>
                    <a:pt x="8028" y="5705"/>
                  </a:lnTo>
                  <a:lnTo>
                    <a:pt x="8031" y="5702"/>
                  </a:lnTo>
                  <a:lnTo>
                    <a:pt x="8032" y="5703"/>
                  </a:lnTo>
                  <a:lnTo>
                    <a:pt x="8028" y="5710"/>
                  </a:lnTo>
                  <a:lnTo>
                    <a:pt x="8027" y="5715"/>
                  </a:lnTo>
                  <a:lnTo>
                    <a:pt x="8028" y="5716"/>
                  </a:lnTo>
                  <a:lnTo>
                    <a:pt x="8029" y="5717"/>
                  </a:lnTo>
                  <a:lnTo>
                    <a:pt x="8030" y="5718"/>
                  </a:lnTo>
                  <a:lnTo>
                    <a:pt x="8033" y="5717"/>
                  </a:lnTo>
                  <a:lnTo>
                    <a:pt x="8032" y="5720"/>
                  </a:lnTo>
                  <a:lnTo>
                    <a:pt x="8033" y="5722"/>
                  </a:lnTo>
                  <a:lnTo>
                    <a:pt x="8034" y="5722"/>
                  </a:lnTo>
                  <a:lnTo>
                    <a:pt x="8037" y="5722"/>
                  </a:lnTo>
                  <a:lnTo>
                    <a:pt x="8041" y="5720"/>
                  </a:lnTo>
                  <a:lnTo>
                    <a:pt x="8044" y="5717"/>
                  </a:lnTo>
                  <a:lnTo>
                    <a:pt x="8043" y="5714"/>
                  </a:lnTo>
                  <a:lnTo>
                    <a:pt x="8046" y="5714"/>
                  </a:lnTo>
                  <a:lnTo>
                    <a:pt x="8048" y="5713"/>
                  </a:lnTo>
                  <a:lnTo>
                    <a:pt x="8047" y="5711"/>
                  </a:lnTo>
                  <a:lnTo>
                    <a:pt x="8048" y="5710"/>
                  </a:lnTo>
                  <a:lnTo>
                    <a:pt x="8049" y="5708"/>
                  </a:lnTo>
                  <a:close/>
                  <a:moveTo>
                    <a:pt x="9852" y="7492"/>
                  </a:moveTo>
                  <a:lnTo>
                    <a:pt x="9852" y="7492"/>
                  </a:lnTo>
                  <a:lnTo>
                    <a:pt x="9848" y="7491"/>
                  </a:lnTo>
                  <a:lnTo>
                    <a:pt x="9845" y="7492"/>
                  </a:lnTo>
                  <a:lnTo>
                    <a:pt x="9842" y="7495"/>
                  </a:lnTo>
                  <a:lnTo>
                    <a:pt x="9842" y="7501"/>
                  </a:lnTo>
                  <a:lnTo>
                    <a:pt x="9845" y="7505"/>
                  </a:lnTo>
                  <a:lnTo>
                    <a:pt x="9849" y="7513"/>
                  </a:lnTo>
                  <a:lnTo>
                    <a:pt x="9854" y="7509"/>
                  </a:lnTo>
                  <a:lnTo>
                    <a:pt x="9855" y="7507"/>
                  </a:lnTo>
                  <a:lnTo>
                    <a:pt x="9851" y="7503"/>
                  </a:lnTo>
                  <a:lnTo>
                    <a:pt x="9852" y="7495"/>
                  </a:lnTo>
                  <a:lnTo>
                    <a:pt x="9852" y="7492"/>
                  </a:lnTo>
                  <a:close/>
                  <a:moveTo>
                    <a:pt x="6807" y="7577"/>
                  </a:moveTo>
                  <a:lnTo>
                    <a:pt x="6807" y="7577"/>
                  </a:lnTo>
                  <a:lnTo>
                    <a:pt x="6802" y="7576"/>
                  </a:lnTo>
                  <a:lnTo>
                    <a:pt x="6798" y="7572"/>
                  </a:lnTo>
                  <a:lnTo>
                    <a:pt x="6801" y="7569"/>
                  </a:lnTo>
                  <a:lnTo>
                    <a:pt x="6796" y="7565"/>
                  </a:lnTo>
                  <a:lnTo>
                    <a:pt x="6793" y="7568"/>
                  </a:lnTo>
                  <a:lnTo>
                    <a:pt x="6790" y="7574"/>
                  </a:lnTo>
                  <a:lnTo>
                    <a:pt x="6785" y="7572"/>
                  </a:lnTo>
                  <a:lnTo>
                    <a:pt x="6780" y="7573"/>
                  </a:lnTo>
                  <a:lnTo>
                    <a:pt x="6779" y="7574"/>
                  </a:lnTo>
                  <a:lnTo>
                    <a:pt x="6781" y="7579"/>
                  </a:lnTo>
                  <a:lnTo>
                    <a:pt x="6774" y="7587"/>
                  </a:lnTo>
                  <a:lnTo>
                    <a:pt x="6780" y="7593"/>
                  </a:lnTo>
                  <a:lnTo>
                    <a:pt x="6782" y="7601"/>
                  </a:lnTo>
                  <a:lnTo>
                    <a:pt x="6794" y="7596"/>
                  </a:lnTo>
                  <a:lnTo>
                    <a:pt x="6797" y="7595"/>
                  </a:lnTo>
                  <a:lnTo>
                    <a:pt x="6798" y="7590"/>
                  </a:lnTo>
                  <a:lnTo>
                    <a:pt x="6800" y="7587"/>
                  </a:lnTo>
                  <a:lnTo>
                    <a:pt x="6799" y="7583"/>
                  </a:lnTo>
                  <a:lnTo>
                    <a:pt x="6803" y="7580"/>
                  </a:lnTo>
                  <a:lnTo>
                    <a:pt x="6807" y="7577"/>
                  </a:lnTo>
                  <a:close/>
                  <a:moveTo>
                    <a:pt x="8453" y="1459"/>
                  </a:moveTo>
                  <a:lnTo>
                    <a:pt x="8453" y="1459"/>
                  </a:lnTo>
                  <a:lnTo>
                    <a:pt x="8454" y="1455"/>
                  </a:lnTo>
                  <a:lnTo>
                    <a:pt x="8451" y="1448"/>
                  </a:lnTo>
                  <a:lnTo>
                    <a:pt x="8445" y="1442"/>
                  </a:lnTo>
                  <a:lnTo>
                    <a:pt x="8436" y="1441"/>
                  </a:lnTo>
                  <a:lnTo>
                    <a:pt x="8430" y="1449"/>
                  </a:lnTo>
                  <a:lnTo>
                    <a:pt x="8433" y="1461"/>
                  </a:lnTo>
                  <a:lnTo>
                    <a:pt x="8435" y="1462"/>
                  </a:lnTo>
                  <a:lnTo>
                    <a:pt x="8438" y="1461"/>
                  </a:lnTo>
                  <a:lnTo>
                    <a:pt x="8445" y="1461"/>
                  </a:lnTo>
                  <a:lnTo>
                    <a:pt x="8450" y="1461"/>
                  </a:lnTo>
                  <a:lnTo>
                    <a:pt x="8453" y="1459"/>
                  </a:lnTo>
                  <a:close/>
                  <a:moveTo>
                    <a:pt x="8451" y="1491"/>
                  </a:moveTo>
                  <a:lnTo>
                    <a:pt x="8451" y="1491"/>
                  </a:lnTo>
                  <a:lnTo>
                    <a:pt x="8455" y="1487"/>
                  </a:lnTo>
                  <a:lnTo>
                    <a:pt x="8463" y="1488"/>
                  </a:lnTo>
                  <a:lnTo>
                    <a:pt x="8472" y="1483"/>
                  </a:lnTo>
                  <a:lnTo>
                    <a:pt x="8478" y="1474"/>
                  </a:lnTo>
                  <a:lnTo>
                    <a:pt x="8475" y="1465"/>
                  </a:lnTo>
                  <a:lnTo>
                    <a:pt x="8466" y="1461"/>
                  </a:lnTo>
                  <a:lnTo>
                    <a:pt x="8459" y="1462"/>
                  </a:lnTo>
                  <a:lnTo>
                    <a:pt x="8454" y="1474"/>
                  </a:lnTo>
                  <a:lnTo>
                    <a:pt x="8450" y="1476"/>
                  </a:lnTo>
                  <a:lnTo>
                    <a:pt x="8446" y="1480"/>
                  </a:lnTo>
                  <a:lnTo>
                    <a:pt x="8443" y="1486"/>
                  </a:lnTo>
                  <a:lnTo>
                    <a:pt x="8445" y="1492"/>
                  </a:lnTo>
                  <a:lnTo>
                    <a:pt x="8451" y="1491"/>
                  </a:lnTo>
                  <a:close/>
                  <a:moveTo>
                    <a:pt x="8429" y="1508"/>
                  </a:moveTo>
                  <a:lnTo>
                    <a:pt x="8429" y="1508"/>
                  </a:lnTo>
                  <a:lnTo>
                    <a:pt x="8430" y="1500"/>
                  </a:lnTo>
                  <a:lnTo>
                    <a:pt x="8429" y="1492"/>
                  </a:lnTo>
                  <a:lnTo>
                    <a:pt x="8426" y="1489"/>
                  </a:lnTo>
                  <a:lnTo>
                    <a:pt x="8425" y="1490"/>
                  </a:lnTo>
                  <a:lnTo>
                    <a:pt x="8424" y="1493"/>
                  </a:lnTo>
                  <a:lnTo>
                    <a:pt x="8422" y="1497"/>
                  </a:lnTo>
                  <a:lnTo>
                    <a:pt x="8424" y="1505"/>
                  </a:lnTo>
                  <a:lnTo>
                    <a:pt x="8429" y="1508"/>
                  </a:lnTo>
                  <a:close/>
                  <a:moveTo>
                    <a:pt x="7225" y="1678"/>
                  </a:moveTo>
                  <a:lnTo>
                    <a:pt x="7225" y="1678"/>
                  </a:lnTo>
                  <a:lnTo>
                    <a:pt x="7230" y="1684"/>
                  </a:lnTo>
                  <a:lnTo>
                    <a:pt x="7231" y="1680"/>
                  </a:lnTo>
                  <a:lnTo>
                    <a:pt x="7231" y="1667"/>
                  </a:lnTo>
                  <a:lnTo>
                    <a:pt x="7232" y="1664"/>
                  </a:lnTo>
                  <a:lnTo>
                    <a:pt x="7233" y="1662"/>
                  </a:lnTo>
                  <a:lnTo>
                    <a:pt x="7235" y="1665"/>
                  </a:lnTo>
                  <a:lnTo>
                    <a:pt x="7235" y="1673"/>
                  </a:lnTo>
                  <a:lnTo>
                    <a:pt x="7239" y="1678"/>
                  </a:lnTo>
                  <a:lnTo>
                    <a:pt x="7244" y="1678"/>
                  </a:lnTo>
                  <a:lnTo>
                    <a:pt x="7253" y="1658"/>
                  </a:lnTo>
                  <a:lnTo>
                    <a:pt x="7255" y="1647"/>
                  </a:lnTo>
                  <a:lnTo>
                    <a:pt x="7248" y="1647"/>
                  </a:lnTo>
                  <a:lnTo>
                    <a:pt x="7245" y="1641"/>
                  </a:lnTo>
                  <a:lnTo>
                    <a:pt x="7245" y="1631"/>
                  </a:lnTo>
                  <a:lnTo>
                    <a:pt x="7247" y="1625"/>
                  </a:lnTo>
                  <a:lnTo>
                    <a:pt x="7249" y="1622"/>
                  </a:lnTo>
                  <a:lnTo>
                    <a:pt x="7245" y="1621"/>
                  </a:lnTo>
                  <a:lnTo>
                    <a:pt x="7236" y="1624"/>
                  </a:lnTo>
                  <a:lnTo>
                    <a:pt x="7232" y="1630"/>
                  </a:lnTo>
                  <a:lnTo>
                    <a:pt x="7235" y="1641"/>
                  </a:lnTo>
                  <a:lnTo>
                    <a:pt x="7232" y="1646"/>
                  </a:lnTo>
                  <a:lnTo>
                    <a:pt x="7216" y="1655"/>
                  </a:lnTo>
                  <a:lnTo>
                    <a:pt x="7214" y="1662"/>
                  </a:lnTo>
                  <a:lnTo>
                    <a:pt x="7221" y="1674"/>
                  </a:lnTo>
                  <a:lnTo>
                    <a:pt x="7225" y="1678"/>
                  </a:lnTo>
                  <a:close/>
                  <a:moveTo>
                    <a:pt x="3630" y="2384"/>
                  </a:moveTo>
                  <a:lnTo>
                    <a:pt x="3630" y="2384"/>
                  </a:lnTo>
                  <a:lnTo>
                    <a:pt x="3663" y="2408"/>
                  </a:lnTo>
                  <a:lnTo>
                    <a:pt x="3663" y="2400"/>
                  </a:lnTo>
                  <a:lnTo>
                    <a:pt x="3655" y="2381"/>
                  </a:lnTo>
                  <a:lnTo>
                    <a:pt x="3652" y="2378"/>
                  </a:lnTo>
                  <a:lnTo>
                    <a:pt x="3641" y="2371"/>
                  </a:lnTo>
                  <a:lnTo>
                    <a:pt x="3633" y="2370"/>
                  </a:lnTo>
                  <a:lnTo>
                    <a:pt x="3627" y="2373"/>
                  </a:lnTo>
                  <a:lnTo>
                    <a:pt x="3628" y="2379"/>
                  </a:lnTo>
                  <a:lnTo>
                    <a:pt x="3630" y="2384"/>
                  </a:lnTo>
                  <a:close/>
                  <a:moveTo>
                    <a:pt x="19222" y="2712"/>
                  </a:moveTo>
                  <a:lnTo>
                    <a:pt x="19222" y="2712"/>
                  </a:lnTo>
                  <a:lnTo>
                    <a:pt x="19233" y="2716"/>
                  </a:lnTo>
                  <a:lnTo>
                    <a:pt x="19241" y="2718"/>
                  </a:lnTo>
                  <a:lnTo>
                    <a:pt x="19244" y="2715"/>
                  </a:lnTo>
                  <a:lnTo>
                    <a:pt x="19245" y="2711"/>
                  </a:lnTo>
                  <a:lnTo>
                    <a:pt x="19242" y="2701"/>
                  </a:lnTo>
                  <a:lnTo>
                    <a:pt x="19240" y="2698"/>
                  </a:lnTo>
                  <a:lnTo>
                    <a:pt x="19239" y="2692"/>
                  </a:lnTo>
                  <a:lnTo>
                    <a:pt x="19235" y="2684"/>
                  </a:lnTo>
                  <a:lnTo>
                    <a:pt x="19231" y="2682"/>
                  </a:lnTo>
                  <a:lnTo>
                    <a:pt x="19227" y="2689"/>
                  </a:lnTo>
                  <a:lnTo>
                    <a:pt x="19224" y="2694"/>
                  </a:lnTo>
                  <a:lnTo>
                    <a:pt x="19214" y="2697"/>
                  </a:lnTo>
                  <a:lnTo>
                    <a:pt x="19216" y="2704"/>
                  </a:lnTo>
                  <a:lnTo>
                    <a:pt x="19222" y="2712"/>
                  </a:lnTo>
                  <a:close/>
                  <a:moveTo>
                    <a:pt x="5656" y="3155"/>
                  </a:moveTo>
                  <a:lnTo>
                    <a:pt x="5656" y="3155"/>
                  </a:lnTo>
                  <a:lnTo>
                    <a:pt x="5660" y="3152"/>
                  </a:lnTo>
                  <a:lnTo>
                    <a:pt x="5663" y="3150"/>
                  </a:lnTo>
                  <a:lnTo>
                    <a:pt x="5666" y="3154"/>
                  </a:lnTo>
                  <a:lnTo>
                    <a:pt x="5667" y="3166"/>
                  </a:lnTo>
                  <a:lnTo>
                    <a:pt x="5669" y="3172"/>
                  </a:lnTo>
                  <a:lnTo>
                    <a:pt x="5673" y="3177"/>
                  </a:lnTo>
                  <a:lnTo>
                    <a:pt x="5679" y="3179"/>
                  </a:lnTo>
                  <a:lnTo>
                    <a:pt x="5682" y="3182"/>
                  </a:lnTo>
                  <a:lnTo>
                    <a:pt x="5684" y="3184"/>
                  </a:lnTo>
                  <a:lnTo>
                    <a:pt x="5686" y="3181"/>
                  </a:lnTo>
                  <a:lnTo>
                    <a:pt x="5686" y="3177"/>
                  </a:lnTo>
                  <a:lnTo>
                    <a:pt x="5684" y="3172"/>
                  </a:lnTo>
                  <a:lnTo>
                    <a:pt x="5681" y="3151"/>
                  </a:lnTo>
                  <a:lnTo>
                    <a:pt x="5682" y="3147"/>
                  </a:lnTo>
                  <a:lnTo>
                    <a:pt x="5682" y="3140"/>
                  </a:lnTo>
                  <a:lnTo>
                    <a:pt x="5679" y="3130"/>
                  </a:lnTo>
                  <a:lnTo>
                    <a:pt x="5677" y="3128"/>
                  </a:lnTo>
                  <a:lnTo>
                    <a:pt x="5674" y="3130"/>
                  </a:lnTo>
                  <a:lnTo>
                    <a:pt x="5668" y="3127"/>
                  </a:lnTo>
                  <a:lnTo>
                    <a:pt x="5665" y="3127"/>
                  </a:lnTo>
                  <a:lnTo>
                    <a:pt x="5664" y="3131"/>
                  </a:lnTo>
                  <a:lnTo>
                    <a:pt x="5655" y="3140"/>
                  </a:lnTo>
                  <a:lnTo>
                    <a:pt x="5656" y="3145"/>
                  </a:lnTo>
                  <a:lnTo>
                    <a:pt x="5654" y="3152"/>
                  </a:lnTo>
                  <a:lnTo>
                    <a:pt x="5656" y="3155"/>
                  </a:lnTo>
                  <a:close/>
                  <a:moveTo>
                    <a:pt x="8029" y="3191"/>
                  </a:moveTo>
                  <a:lnTo>
                    <a:pt x="8029" y="3191"/>
                  </a:lnTo>
                  <a:lnTo>
                    <a:pt x="8033" y="3193"/>
                  </a:lnTo>
                  <a:lnTo>
                    <a:pt x="8034" y="3197"/>
                  </a:lnTo>
                  <a:lnTo>
                    <a:pt x="8034" y="3201"/>
                  </a:lnTo>
                  <a:lnTo>
                    <a:pt x="8037" y="3205"/>
                  </a:lnTo>
                  <a:lnTo>
                    <a:pt x="8043" y="3208"/>
                  </a:lnTo>
                  <a:lnTo>
                    <a:pt x="8047" y="3208"/>
                  </a:lnTo>
                  <a:lnTo>
                    <a:pt x="8052" y="3206"/>
                  </a:lnTo>
                  <a:lnTo>
                    <a:pt x="8051" y="3196"/>
                  </a:lnTo>
                  <a:lnTo>
                    <a:pt x="8054" y="3193"/>
                  </a:lnTo>
                  <a:lnTo>
                    <a:pt x="8056" y="3194"/>
                  </a:lnTo>
                  <a:lnTo>
                    <a:pt x="8056" y="3192"/>
                  </a:lnTo>
                  <a:lnTo>
                    <a:pt x="8053" y="3180"/>
                  </a:lnTo>
                  <a:lnTo>
                    <a:pt x="8051" y="3176"/>
                  </a:lnTo>
                  <a:lnTo>
                    <a:pt x="8049" y="3175"/>
                  </a:lnTo>
                  <a:lnTo>
                    <a:pt x="8046" y="3175"/>
                  </a:lnTo>
                  <a:lnTo>
                    <a:pt x="8041" y="3177"/>
                  </a:lnTo>
                  <a:lnTo>
                    <a:pt x="8037" y="3178"/>
                  </a:lnTo>
                  <a:lnTo>
                    <a:pt x="8033" y="3177"/>
                  </a:lnTo>
                  <a:lnTo>
                    <a:pt x="8031" y="3175"/>
                  </a:lnTo>
                  <a:lnTo>
                    <a:pt x="8028" y="3175"/>
                  </a:lnTo>
                  <a:lnTo>
                    <a:pt x="8026" y="3175"/>
                  </a:lnTo>
                  <a:lnTo>
                    <a:pt x="8026" y="3187"/>
                  </a:lnTo>
                  <a:lnTo>
                    <a:pt x="8029" y="3191"/>
                  </a:lnTo>
                  <a:close/>
                  <a:moveTo>
                    <a:pt x="5859" y="3210"/>
                  </a:moveTo>
                  <a:lnTo>
                    <a:pt x="5859" y="3210"/>
                  </a:lnTo>
                  <a:lnTo>
                    <a:pt x="5863" y="3197"/>
                  </a:lnTo>
                  <a:lnTo>
                    <a:pt x="5861" y="3190"/>
                  </a:lnTo>
                  <a:lnTo>
                    <a:pt x="5856" y="3186"/>
                  </a:lnTo>
                  <a:lnTo>
                    <a:pt x="5850" y="3181"/>
                  </a:lnTo>
                  <a:lnTo>
                    <a:pt x="5849" y="3178"/>
                  </a:lnTo>
                  <a:lnTo>
                    <a:pt x="5847" y="3177"/>
                  </a:lnTo>
                  <a:lnTo>
                    <a:pt x="5844" y="3182"/>
                  </a:lnTo>
                  <a:lnTo>
                    <a:pt x="5842" y="3204"/>
                  </a:lnTo>
                  <a:lnTo>
                    <a:pt x="5843" y="3206"/>
                  </a:lnTo>
                  <a:lnTo>
                    <a:pt x="5846" y="3206"/>
                  </a:lnTo>
                  <a:lnTo>
                    <a:pt x="5848" y="3207"/>
                  </a:lnTo>
                  <a:lnTo>
                    <a:pt x="5852" y="3212"/>
                  </a:lnTo>
                  <a:lnTo>
                    <a:pt x="5859" y="3210"/>
                  </a:lnTo>
                  <a:close/>
                  <a:moveTo>
                    <a:pt x="6228" y="3230"/>
                  </a:moveTo>
                  <a:lnTo>
                    <a:pt x="6228" y="3230"/>
                  </a:lnTo>
                  <a:lnTo>
                    <a:pt x="6224" y="3230"/>
                  </a:lnTo>
                  <a:lnTo>
                    <a:pt x="6220" y="3225"/>
                  </a:lnTo>
                  <a:lnTo>
                    <a:pt x="6218" y="3226"/>
                  </a:lnTo>
                  <a:lnTo>
                    <a:pt x="6215" y="3228"/>
                  </a:lnTo>
                  <a:lnTo>
                    <a:pt x="6212" y="3234"/>
                  </a:lnTo>
                  <a:lnTo>
                    <a:pt x="6210" y="3242"/>
                  </a:lnTo>
                  <a:lnTo>
                    <a:pt x="6210" y="3247"/>
                  </a:lnTo>
                  <a:lnTo>
                    <a:pt x="6212" y="3249"/>
                  </a:lnTo>
                  <a:lnTo>
                    <a:pt x="6215" y="3252"/>
                  </a:lnTo>
                  <a:lnTo>
                    <a:pt x="6222" y="3250"/>
                  </a:lnTo>
                  <a:lnTo>
                    <a:pt x="6235" y="3238"/>
                  </a:lnTo>
                  <a:lnTo>
                    <a:pt x="6238" y="3233"/>
                  </a:lnTo>
                  <a:lnTo>
                    <a:pt x="6234" y="3230"/>
                  </a:lnTo>
                  <a:lnTo>
                    <a:pt x="6228" y="3230"/>
                  </a:lnTo>
                  <a:close/>
                  <a:moveTo>
                    <a:pt x="6240" y="3251"/>
                  </a:moveTo>
                  <a:lnTo>
                    <a:pt x="6240" y="3251"/>
                  </a:lnTo>
                  <a:lnTo>
                    <a:pt x="6242" y="3256"/>
                  </a:lnTo>
                  <a:lnTo>
                    <a:pt x="6244" y="3258"/>
                  </a:lnTo>
                  <a:lnTo>
                    <a:pt x="6248" y="3260"/>
                  </a:lnTo>
                  <a:lnTo>
                    <a:pt x="6251" y="3260"/>
                  </a:lnTo>
                  <a:lnTo>
                    <a:pt x="6253" y="3259"/>
                  </a:lnTo>
                  <a:lnTo>
                    <a:pt x="6256" y="3259"/>
                  </a:lnTo>
                  <a:lnTo>
                    <a:pt x="6259" y="3257"/>
                  </a:lnTo>
                  <a:lnTo>
                    <a:pt x="6260" y="3239"/>
                  </a:lnTo>
                  <a:lnTo>
                    <a:pt x="6262" y="3235"/>
                  </a:lnTo>
                  <a:lnTo>
                    <a:pt x="6261" y="3232"/>
                  </a:lnTo>
                  <a:lnTo>
                    <a:pt x="6256" y="3230"/>
                  </a:lnTo>
                  <a:lnTo>
                    <a:pt x="6250" y="3231"/>
                  </a:lnTo>
                  <a:lnTo>
                    <a:pt x="6244" y="3237"/>
                  </a:lnTo>
                  <a:lnTo>
                    <a:pt x="6241" y="3244"/>
                  </a:lnTo>
                  <a:lnTo>
                    <a:pt x="6240" y="3251"/>
                  </a:lnTo>
                  <a:close/>
                  <a:moveTo>
                    <a:pt x="6256" y="3304"/>
                  </a:moveTo>
                  <a:lnTo>
                    <a:pt x="6256" y="3304"/>
                  </a:lnTo>
                  <a:lnTo>
                    <a:pt x="6258" y="3309"/>
                  </a:lnTo>
                  <a:lnTo>
                    <a:pt x="6265" y="3312"/>
                  </a:lnTo>
                  <a:lnTo>
                    <a:pt x="6275" y="3314"/>
                  </a:lnTo>
                  <a:lnTo>
                    <a:pt x="6291" y="3320"/>
                  </a:lnTo>
                  <a:lnTo>
                    <a:pt x="6296" y="3319"/>
                  </a:lnTo>
                  <a:lnTo>
                    <a:pt x="6298" y="3315"/>
                  </a:lnTo>
                  <a:lnTo>
                    <a:pt x="6297" y="3307"/>
                  </a:lnTo>
                  <a:lnTo>
                    <a:pt x="6294" y="3300"/>
                  </a:lnTo>
                  <a:lnTo>
                    <a:pt x="6286" y="3297"/>
                  </a:lnTo>
                  <a:lnTo>
                    <a:pt x="6265" y="3294"/>
                  </a:lnTo>
                  <a:lnTo>
                    <a:pt x="6258" y="3298"/>
                  </a:lnTo>
                  <a:lnTo>
                    <a:pt x="6256" y="3304"/>
                  </a:lnTo>
                  <a:close/>
                  <a:moveTo>
                    <a:pt x="6271" y="3324"/>
                  </a:moveTo>
                  <a:lnTo>
                    <a:pt x="6271" y="3324"/>
                  </a:lnTo>
                  <a:lnTo>
                    <a:pt x="6270" y="3317"/>
                  </a:lnTo>
                  <a:lnTo>
                    <a:pt x="6263" y="3313"/>
                  </a:lnTo>
                  <a:lnTo>
                    <a:pt x="6258" y="3316"/>
                  </a:lnTo>
                  <a:lnTo>
                    <a:pt x="6261" y="3325"/>
                  </a:lnTo>
                  <a:lnTo>
                    <a:pt x="6268" y="3328"/>
                  </a:lnTo>
                  <a:lnTo>
                    <a:pt x="6271" y="3324"/>
                  </a:lnTo>
                  <a:close/>
                  <a:moveTo>
                    <a:pt x="5642" y="3340"/>
                  </a:moveTo>
                  <a:lnTo>
                    <a:pt x="5642" y="3340"/>
                  </a:lnTo>
                  <a:lnTo>
                    <a:pt x="5646" y="3337"/>
                  </a:lnTo>
                  <a:lnTo>
                    <a:pt x="5648" y="3333"/>
                  </a:lnTo>
                  <a:lnTo>
                    <a:pt x="5649" y="3329"/>
                  </a:lnTo>
                  <a:lnTo>
                    <a:pt x="5645" y="3328"/>
                  </a:lnTo>
                  <a:lnTo>
                    <a:pt x="5640" y="3329"/>
                  </a:lnTo>
                  <a:lnTo>
                    <a:pt x="5625" y="3333"/>
                  </a:lnTo>
                  <a:lnTo>
                    <a:pt x="5618" y="3334"/>
                  </a:lnTo>
                  <a:lnTo>
                    <a:pt x="5612" y="3332"/>
                  </a:lnTo>
                  <a:lnTo>
                    <a:pt x="5611" y="3335"/>
                  </a:lnTo>
                  <a:lnTo>
                    <a:pt x="5611" y="3341"/>
                  </a:lnTo>
                  <a:lnTo>
                    <a:pt x="5614" y="3346"/>
                  </a:lnTo>
                  <a:lnTo>
                    <a:pt x="5628" y="3359"/>
                  </a:lnTo>
                  <a:lnTo>
                    <a:pt x="5636" y="3359"/>
                  </a:lnTo>
                  <a:lnTo>
                    <a:pt x="5642" y="3361"/>
                  </a:lnTo>
                  <a:lnTo>
                    <a:pt x="5644" y="3359"/>
                  </a:lnTo>
                  <a:lnTo>
                    <a:pt x="5639" y="3348"/>
                  </a:lnTo>
                  <a:lnTo>
                    <a:pt x="5639" y="3344"/>
                  </a:lnTo>
                  <a:lnTo>
                    <a:pt x="5642" y="3340"/>
                  </a:lnTo>
                  <a:close/>
                  <a:moveTo>
                    <a:pt x="5930" y="3426"/>
                  </a:moveTo>
                  <a:lnTo>
                    <a:pt x="5930" y="3426"/>
                  </a:lnTo>
                  <a:lnTo>
                    <a:pt x="5934" y="3448"/>
                  </a:lnTo>
                  <a:lnTo>
                    <a:pt x="5935" y="3450"/>
                  </a:lnTo>
                  <a:lnTo>
                    <a:pt x="5938" y="3454"/>
                  </a:lnTo>
                  <a:lnTo>
                    <a:pt x="5939" y="3451"/>
                  </a:lnTo>
                  <a:lnTo>
                    <a:pt x="5939" y="3445"/>
                  </a:lnTo>
                  <a:lnTo>
                    <a:pt x="5943" y="3439"/>
                  </a:lnTo>
                  <a:lnTo>
                    <a:pt x="5947" y="3436"/>
                  </a:lnTo>
                  <a:lnTo>
                    <a:pt x="5952" y="3435"/>
                  </a:lnTo>
                  <a:lnTo>
                    <a:pt x="5955" y="3432"/>
                  </a:lnTo>
                  <a:lnTo>
                    <a:pt x="5951" y="3424"/>
                  </a:lnTo>
                  <a:lnTo>
                    <a:pt x="5942" y="3418"/>
                  </a:lnTo>
                  <a:lnTo>
                    <a:pt x="5941" y="3415"/>
                  </a:lnTo>
                  <a:lnTo>
                    <a:pt x="5940" y="3412"/>
                  </a:lnTo>
                  <a:lnTo>
                    <a:pt x="5938" y="3410"/>
                  </a:lnTo>
                  <a:lnTo>
                    <a:pt x="5937" y="3412"/>
                  </a:lnTo>
                  <a:lnTo>
                    <a:pt x="5934" y="3418"/>
                  </a:lnTo>
                  <a:lnTo>
                    <a:pt x="5932" y="3422"/>
                  </a:lnTo>
                  <a:lnTo>
                    <a:pt x="5930" y="3426"/>
                  </a:lnTo>
                  <a:close/>
                  <a:moveTo>
                    <a:pt x="6005" y="3582"/>
                  </a:moveTo>
                  <a:lnTo>
                    <a:pt x="6005" y="3582"/>
                  </a:lnTo>
                  <a:lnTo>
                    <a:pt x="6005" y="3585"/>
                  </a:lnTo>
                  <a:lnTo>
                    <a:pt x="6007" y="3601"/>
                  </a:lnTo>
                  <a:lnTo>
                    <a:pt x="6009" y="3604"/>
                  </a:lnTo>
                  <a:lnTo>
                    <a:pt x="6012" y="3606"/>
                  </a:lnTo>
                  <a:lnTo>
                    <a:pt x="6016" y="3600"/>
                  </a:lnTo>
                  <a:lnTo>
                    <a:pt x="6017" y="3590"/>
                  </a:lnTo>
                  <a:lnTo>
                    <a:pt x="6014" y="3584"/>
                  </a:lnTo>
                  <a:lnTo>
                    <a:pt x="6013" y="3582"/>
                  </a:lnTo>
                  <a:lnTo>
                    <a:pt x="6009" y="3580"/>
                  </a:lnTo>
                  <a:lnTo>
                    <a:pt x="6005" y="3582"/>
                  </a:lnTo>
                  <a:close/>
                  <a:moveTo>
                    <a:pt x="6032" y="3612"/>
                  </a:moveTo>
                  <a:lnTo>
                    <a:pt x="6032" y="3612"/>
                  </a:lnTo>
                  <a:lnTo>
                    <a:pt x="6040" y="3623"/>
                  </a:lnTo>
                  <a:lnTo>
                    <a:pt x="6044" y="3626"/>
                  </a:lnTo>
                  <a:lnTo>
                    <a:pt x="6059" y="3623"/>
                  </a:lnTo>
                  <a:lnTo>
                    <a:pt x="6060" y="3621"/>
                  </a:lnTo>
                  <a:lnTo>
                    <a:pt x="6058" y="3618"/>
                  </a:lnTo>
                  <a:lnTo>
                    <a:pt x="6051" y="3611"/>
                  </a:lnTo>
                  <a:lnTo>
                    <a:pt x="6033" y="3598"/>
                  </a:lnTo>
                  <a:lnTo>
                    <a:pt x="6021" y="3597"/>
                  </a:lnTo>
                  <a:lnTo>
                    <a:pt x="6020" y="3602"/>
                  </a:lnTo>
                  <a:lnTo>
                    <a:pt x="6022" y="3605"/>
                  </a:lnTo>
                  <a:lnTo>
                    <a:pt x="6025" y="3608"/>
                  </a:lnTo>
                  <a:lnTo>
                    <a:pt x="6028" y="3609"/>
                  </a:lnTo>
                  <a:lnTo>
                    <a:pt x="6032" y="3612"/>
                  </a:lnTo>
                  <a:close/>
                  <a:moveTo>
                    <a:pt x="22532" y="3605"/>
                  </a:moveTo>
                  <a:lnTo>
                    <a:pt x="22532" y="3605"/>
                  </a:lnTo>
                  <a:lnTo>
                    <a:pt x="22535" y="3606"/>
                  </a:lnTo>
                  <a:lnTo>
                    <a:pt x="22539" y="3611"/>
                  </a:lnTo>
                  <a:lnTo>
                    <a:pt x="22543" y="3620"/>
                  </a:lnTo>
                  <a:lnTo>
                    <a:pt x="22548" y="3627"/>
                  </a:lnTo>
                  <a:lnTo>
                    <a:pt x="22558" y="3629"/>
                  </a:lnTo>
                  <a:lnTo>
                    <a:pt x="22572" y="3624"/>
                  </a:lnTo>
                  <a:lnTo>
                    <a:pt x="22566" y="3605"/>
                  </a:lnTo>
                  <a:lnTo>
                    <a:pt x="22562" y="3603"/>
                  </a:lnTo>
                  <a:lnTo>
                    <a:pt x="22554" y="3600"/>
                  </a:lnTo>
                  <a:lnTo>
                    <a:pt x="22530" y="3600"/>
                  </a:lnTo>
                  <a:lnTo>
                    <a:pt x="22529" y="3600"/>
                  </a:lnTo>
                  <a:lnTo>
                    <a:pt x="22529" y="3602"/>
                  </a:lnTo>
                  <a:lnTo>
                    <a:pt x="22532" y="3605"/>
                  </a:lnTo>
                  <a:close/>
                  <a:moveTo>
                    <a:pt x="5961" y="3677"/>
                  </a:moveTo>
                  <a:lnTo>
                    <a:pt x="5961" y="3677"/>
                  </a:lnTo>
                  <a:lnTo>
                    <a:pt x="5956" y="3674"/>
                  </a:lnTo>
                  <a:lnTo>
                    <a:pt x="5952" y="3677"/>
                  </a:lnTo>
                  <a:lnTo>
                    <a:pt x="5941" y="3692"/>
                  </a:lnTo>
                  <a:lnTo>
                    <a:pt x="5954" y="3699"/>
                  </a:lnTo>
                  <a:lnTo>
                    <a:pt x="5962" y="3697"/>
                  </a:lnTo>
                  <a:lnTo>
                    <a:pt x="5964" y="3688"/>
                  </a:lnTo>
                  <a:lnTo>
                    <a:pt x="5961" y="3677"/>
                  </a:lnTo>
                  <a:close/>
                  <a:moveTo>
                    <a:pt x="22359" y="3845"/>
                  </a:moveTo>
                  <a:lnTo>
                    <a:pt x="22359" y="3845"/>
                  </a:lnTo>
                  <a:lnTo>
                    <a:pt x="22367" y="3851"/>
                  </a:lnTo>
                  <a:lnTo>
                    <a:pt x="22374" y="3854"/>
                  </a:lnTo>
                  <a:lnTo>
                    <a:pt x="22376" y="3853"/>
                  </a:lnTo>
                  <a:lnTo>
                    <a:pt x="22375" y="3851"/>
                  </a:lnTo>
                  <a:lnTo>
                    <a:pt x="22376" y="3848"/>
                  </a:lnTo>
                  <a:lnTo>
                    <a:pt x="22379" y="3847"/>
                  </a:lnTo>
                  <a:lnTo>
                    <a:pt x="22381" y="3845"/>
                  </a:lnTo>
                  <a:lnTo>
                    <a:pt x="22373" y="3838"/>
                  </a:lnTo>
                  <a:lnTo>
                    <a:pt x="22372" y="3835"/>
                  </a:lnTo>
                  <a:lnTo>
                    <a:pt x="22373" y="3834"/>
                  </a:lnTo>
                  <a:lnTo>
                    <a:pt x="22376" y="3833"/>
                  </a:lnTo>
                  <a:lnTo>
                    <a:pt x="22378" y="3834"/>
                  </a:lnTo>
                  <a:lnTo>
                    <a:pt x="22381" y="3840"/>
                  </a:lnTo>
                  <a:lnTo>
                    <a:pt x="22383" y="3842"/>
                  </a:lnTo>
                  <a:lnTo>
                    <a:pt x="22389" y="3842"/>
                  </a:lnTo>
                  <a:lnTo>
                    <a:pt x="22390" y="3843"/>
                  </a:lnTo>
                  <a:lnTo>
                    <a:pt x="22392" y="3845"/>
                  </a:lnTo>
                  <a:lnTo>
                    <a:pt x="22391" y="3847"/>
                  </a:lnTo>
                  <a:lnTo>
                    <a:pt x="22390" y="3850"/>
                  </a:lnTo>
                  <a:lnTo>
                    <a:pt x="22390" y="3854"/>
                  </a:lnTo>
                  <a:lnTo>
                    <a:pt x="22392" y="3855"/>
                  </a:lnTo>
                  <a:lnTo>
                    <a:pt x="22393" y="3847"/>
                  </a:lnTo>
                  <a:lnTo>
                    <a:pt x="22388" y="3836"/>
                  </a:lnTo>
                  <a:lnTo>
                    <a:pt x="22359" y="3814"/>
                  </a:lnTo>
                  <a:lnTo>
                    <a:pt x="22352" y="3818"/>
                  </a:lnTo>
                  <a:lnTo>
                    <a:pt x="22353" y="3831"/>
                  </a:lnTo>
                  <a:lnTo>
                    <a:pt x="22359" y="3845"/>
                  </a:lnTo>
                  <a:close/>
                  <a:moveTo>
                    <a:pt x="1853" y="3834"/>
                  </a:moveTo>
                  <a:lnTo>
                    <a:pt x="1853" y="3834"/>
                  </a:lnTo>
                  <a:lnTo>
                    <a:pt x="1848" y="3835"/>
                  </a:lnTo>
                  <a:lnTo>
                    <a:pt x="1832" y="3840"/>
                  </a:lnTo>
                  <a:lnTo>
                    <a:pt x="1828" y="3846"/>
                  </a:lnTo>
                  <a:lnTo>
                    <a:pt x="1834" y="3847"/>
                  </a:lnTo>
                  <a:lnTo>
                    <a:pt x="1840" y="3854"/>
                  </a:lnTo>
                  <a:lnTo>
                    <a:pt x="1846" y="3856"/>
                  </a:lnTo>
                  <a:lnTo>
                    <a:pt x="1854" y="3860"/>
                  </a:lnTo>
                  <a:lnTo>
                    <a:pt x="1861" y="3860"/>
                  </a:lnTo>
                  <a:lnTo>
                    <a:pt x="1863" y="3855"/>
                  </a:lnTo>
                  <a:lnTo>
                    <a:pt x="1856" y="3837"/>
                  </a:lnTo>
                  <a:lnTo>
                    <a:pt x="1853" y="3834"/>
                  </a:lnTo>
                  <a:close/>
                  <a:moveTo>
                    <a:pt x="5925" y="4039"/>
                  </a:moveTo>
                  <a:lnTo>
                    <a:pt x="5925" y="4039"/>
                  </a:lnTo>
                  <a:lnTo>
                    <a:pt x="5924" y="4043"/>
                  </a:lnTo>
                  <a:lnTo>
                    <a:pt x="5927" y="4049"/>
                  </a:lnTo>
                  <a:lnTo>
                    <a:pt x="5930" y="4051"/>
                  </a:lnTo>
                  <a:lnTo>
                    <a:pt x="5940" y="4052"/>
                  </a:lnTo>
                  <a:lnTo>
                    <a:pt x="5950" y="4053"/>
                  </a:lnTo>
                  <a:lnTo>
                    <a:pt x="5956" y="4053"/>
                  </a:lnTo>
                  <a:lnTo>
                    <a:pt x="5959" y="4049"/>
                  </a:lnTo>
                  <a:lnTo>
                    <a:pt x="5959" y="4043"/>
                  </a:lnTo>
                  <a:lnTo>
                    <a:pt x="5955" y="4040"/>
                  </a:lnTo>
                  <a:lnTo>
                    <a:pt x="5948" y="4040"/>
                  </a:lnTo>
                  <a:lnTo>
                    <a:pt x="5942" y="4042"/>
                  </a:lnTo>
                  <a:lnTo>
                    <a:pt x="5941" y="4042"/>
                  </a:lnTo>
                  <a:lnTo>
                    <a:pt x="5938" y="4039"/>
                  </a:lnTo>
                  <a:lnTo>
                    <a:pt x="5932" y="4037"/>
                  </a:lnTo>
                  <a:lnTo>
                    <a:pt x="5928" y="4037"/>
                  </a:lnTo>
                  <a:lnTo>
                    <a:pt x="5925" y="4039"/>
                  </a:lnTo>
                  <a:close/>
                  <a:moveTo>
                    <a:pt x="5953" y="4075"/>
                  </a:moveTo>
                  <a:lnTo>
                    <a:pt x="5953" y="4075"/>
                  </a:lnTo>
                  <a:lnTo>
                    <a:pt x="5957" y="4060"/>
                  </a:lnTo>
                  <a:lnTo>
                    <a:pt x="5956" y="4056"/>
                  </a:lnTo>
                  <a:lnTo>
                    <a:pt x="5950" y="4060"/>
                  </a:lnTo>
                  <a:lnTo>
                    <a:pt x="5947" y="4060"/>
                  </a:lnTo>
                  <a:lnTo>
                    <a:pt x="5942" y="4055"/>
                  </a:lnTo>
                  <a:lnTo>
                    <a:pt x="5938" y="4055"/>
                  </a:lnTo>
                  <a:lnTo>
                    <a:pt x="5933" y="4056"/>
                  </a:lnTo>
                  <a:lnTo>
                    <a:pt x="5932" y="4060"/>
                  </a:lnTo>
                  <a:lnTo>
                    <a:pt x="5937" y="4072"/>
                  </a:lnTo>
                  <a:lnTo>
                    <a:pt x="5942" y="4077"/>
                  </a:lnTo>
                  <a:lnTo>
                    <a:pt x="5950" y="4078"/>
                  </a:lnTo>
                  <a:lnTo>
                    <a:pt x="5953" y="4075"/>
                  </a:lnTo>
                  <a:close/>
                  <a:moveTo>
                    <a:pt x="17834" y="4108"/>
                  </a:moveTo>
                  <a:lnTo>
                    <a:pt x="17834" y="4108"/>
                  </a:lnTo>
                  <a:lnTo>
                    <a:pt x="17828" y="4109"/>
                  </a:lnTo>
                  <a:lnTo>
                    <a:pt x="17825" y="4111"/>
                  </a:lnTo>
                  <a:lnTo>
                    <a:pt x="17815" y="4111"/>
                  </a:lnTo>
                  <a:lnTo>
                    <a:pt x="17810" y="4114"/>
                  </a:lnTo>
                  <a:lnTo>
                    <a:pt x="17791" y="4117"/>
                  </a:lnTo>
                  <a:lnTo>
                    <a:pt x="17788" y="4122"/>
                  </a:lnTo>
                  <a:lnTo>
                    <a:pt x="17791" y="4125"/>
                  </a:lnTo>
                  <a:lnTo>
                    <a:pt x="17794" y="4124"/>
                  </a:lnTo>
                  <a:lnTo>
                    <a:pt x="17802" y="4126"/>
                  </a:lnTo>
                  <a:lnTo>
                    <a:pt x="17807" y="4130"/>
                  </a:lnTo>
                  <a:lnTo>
                    <a:pt x="17812" y="4132"/>
                  </a:lnTo>
                  <a:lnTo>
                    <a:pt x="17820" y="4126"/>
                  </a:lnTo>
                  <a:lnTo>
                    <a:pt x="17821" y="4124"/>
                  </a:lnTo>
                  <a:lnTo>
                    <a:pt x="17835" y="4123"/>
                  </a:lnTo>
                  <a:lnTo>
                    <a:pt x="17842" y="4121"/>
                  </a:lnTo>
                  <a:lnTo>
                    <a:pt x="17844" y="4119"/>
                  </a:lnTo>
                  <a:lnTo>
                    <a:pt x="17838" y="4110"/>
                  </a:lnTo>
                  <a:lnTo>
                    <a:pt x="17834" y="4108"/>
                  </a:lnTo>
                  <a:close/>
                  <a:moveTo>
                    <a:pt x="23361" y="4463"/>
                  </a:moveTo>
                  <a:lnTo>
                    <a:pt x="23361" y="4463"/>
                  </a:lnTo>
                  <a:lnTo>
                    <a:pt x="23364" y="4460"/>
                  </a:lnTo>
                  <a:lnTo>
                    <a:pt x="23364" y="4456"/>
                  </a:lnTo>
                  <a:lnTo>
                    <a:pt x="23363" y="4452"/>
                  </a:lnTo>
                  <a:lnTo>
                    <a:pt x="23363" y="4450"/>
                  </a:lnTo>
                  <a:lnTo>
                    <a:pt x="23362" y="4445"/>
                  </a:lnTo>
                  <a:lnTo>
                    <a:pt x="23358" y="4442"/>
                  </a:lnTo>
                  <a:lnTo>
                    <a:pt x="23338" y="4447"/>
                  </a:lnTo>
                  <a:lnTo>
                    <a:pt x="23328" y="4453"/>
                  </a:lnTo>
                  <a:lnTo>
                    <a:pt x="23328" y="4460"/>
                  </a:lnTo>
                  <a:lnTo>
                    <a:pt x="23323" y="4469"/>
                  </a:lnTo>
                  <a:lnTo>
                    <a:pt x="23322" y="4474"/>
                  </a:lnTo>
                  <a:lnTo>
                    <a:pt x="23320" y="4479"/>
                  </a:lnTo>
                  <a:lnTo>
                    <a:pt x="23319" y="4495"/>
                  </a:lnTo>
                  <a:lnTo>
                    <a:pt x="23318" y="4498"/>
                  </a:lnTo>
                  <a:lnTo>
                    <a:pt x="23318" y="4501"/>
                  </a:lnTo>
                  <a:lnTo>
                    <a:pt x="23320" y="4502"/>
                  </a:lnTo>
                  <a:lnTo>
                    <a:pt x="23322" y="4501"/>
                  </a:lnTo>
                  <a:lnTo>
                    <a:pt x="23323" y="4499"/>
                  </a:lnTo>
                  <a:lnTo>
                    <a:pt x="23324" y="4500"/>
                  </a:lnTo>
                  <a:lnTo>
                    <a:pt x="23327" y="4502"/>
                  </a:lnTo>
                  <a:lnTo>
                    <a:pt x="23332" y="4503"/>
                  </a:lnTo>
                  <a:lnTo>
                    <a:pt x="23334" y="4502"/>
                  </a:lnTo>
                  <a:lnTo>
                    <a:pt x="23332" y="4500"/>
                  </a:lnTo>
                  <a:lnTo>
                    <a:pt x="23330" y="4499"/>
                  </a:lnTo>
                  <a:lnTo>
                    <a:pt x="23338" y="4499"/>
                  </a:lnTo>
                  <a:lnTo>
                    <a:pt x="23339" y="4496"/>
                  </a:lnTo>
                  <a:lnTo>
                    <a:pt x="23335" y="4493"/>
                  </a:lnTo>
                  <a:lnTo>
                    <a:pt x="23336" y="4491"/>
                  </a:lnTo>
                  <a:lnTo>
                    <a:pt x="23340" y="4491"/>
                  </a:lnTo>
                  <a:lnTo>
                    <a:pt x="23342" y="4489"/>
                  </a:lnTo>
                  <a:lnTo>
                    <a:pt x="23340" y="4485"/>
                  </a:lnTo>
                  <a:lnTo>
                    <a:pt x="23339" y="4481"/>
                  </a:lnTo>
                  <a:lnTo>
                    <a:pt x="23346" y="4478"/>
                  </a:lnTo>
                  <a:lnTo>
                    <a:pt x="23353" y="4477"/>
                  </a:lnTo>
                  <a:lnTo>
                    <a:pt x="23355" y="4474"/>
                  </a:lnTo>
                  <a:lnTo>
                    <a:pt x="23355" y="4466"/>
                  </a:lnTo>
                  <a:lnTo>
                    <a:pt x="23356" y="4465"/>
                  </a:lnTo>
                  <a:lnTo>
                    <a:pt x="23361" y="4463"/>
                  </a:lnTo>
                  <a:close/>
                  <a:moveTo>
                    <a:pt x="5940" y="4474"/>
                  </a:moveTo>
                  <a:lnTo>
                    <a:pt x="5940" y="4474"/>
                  </a:lnTo>
                  <a:lnTo>
                    <a:pt x="5943" y="4476"/>
                  </a:lnTo>
                  <a:lnTo>
                    <a:pt x="5942" y="4470"/>
                  </a:lnTo>
                  <a:lnTo>
                    <a:pt x="5940" y="4474"/>
                  </a:lnTo>
                  <a:close/>
                  <a:moveTo>
                    <a:pt x="21563" y="4519"/>
                  </a:moveTo>
                  <a:lnTo>
                    <a:pt x="21563" y="4519"/>
                  </a:lnTo>
                  <a:lnTo>
                    <a:pt x="21568" y="4521"/>
                  </a:lnTo>
                  <a:lnTo>
                    <a:pt x="21574" y="4518"/>
                  </a:lnTo>
                  <a:lnTo>
                    <a:pt x="21578" y="4514"/>
                  </a:lnTo>
                  <a:lnTo>
                    <a:pt x="21586" y="4509"/>
                  </a:lnTo>
                  <a:lnTo>
                    <a:pt x="21592" y="4509"/>
                  </a:lnTo>
                  <a:lnTo>
                    <a:pt x="21603" y="4514"/>
                  </a:lnTo>
                  <a:lnTo>
                    <a:pt x="21606" y="4518"/>
                  </a:lnTo>
                  <a:lnTo>
                    <a:pt x="21615" y="4522"/>
                  </a:lnTo>
                  <a:lnTo>
                    <a:pt x="21616" y="4521"/>
                  </a:lnTo>
                  <a:lnTo>
                    <a:pt x="21606" y="4511"/>
                  </a:lnTo>
                  <a:lnTo>
                    <a:pt x="21594" y="4500"/>
                  </a:lnTo>
                  <a:lnTo>
                    <a:pt x="21579" y="4494"/>
                  </a:lnTo>
                  <a:lnTo>
                    <a:pt x="21565" y="4494"/>
                  </a:lnTo>
                  <a:lnTo>
                    <a:pt x="21552" y="4501"/>
                  </a:lnTo>
                  <a:lnTo>
                    <a:pt x="21553" y="4506"/>
                  </a:lnTo>
                  <a:lnTo>
                    <a:pt x="21557" y="4507"/>
                  </a:lnTo>
                  <a:lnTo>
                    <a:pt x="21560" y="4512"/>
                  </a:lnTo>
                  <a:lnTo>
                    <a:pt x="21563" y="4519"/>
                  </a:lnTo>
                  <a:close/>
                  <a:moveTo>
                    <a:pt x="20948" y="4579"/>
                  </a:moveTo>
                  <a:lnTo>
                    <a:pt x="20948" y="4579"/>
                  </a:lnTo>
                  <a:lnTo>
                    <a:pt x="20954" y="4584"/>
                  </a:lnTo>
                  <a:lnTo>
                    <a:pt x="20957" y="4583"/>
                  </a:lnTo>
                  <a:lnTo>
                    <a:pt x="20965" y="4576"/>
                  </a:lnTo>
                  <a:lnTo>
                    <a:pt x="20966" y="4572"/>
                  </a:lnTo>
                  <a:lnTo>
                    <a:pt x="20959" y="4547"/>
                  </a:lnTo>
                  <a:lnTo>
                    <a:pt x="20954" y="4535"/>
                  </a:lnTo>
                  <a:lnTo>
                    <a:pt x="20946" y="4529"/>
                  </a:lnTo>
                  <a:lnTo>
                    <a:pt x="20941" y="4530"/>
                  </a:lnTo>
                  <a:lnTo>
                    <a:pt x="20937" y="4535"/>
                  </a:lnTo>
                  <a:lnTo>
                    <a:pt x="20939" y="4539"/>
                  </a:lnTo>
                  <a:lnTo>
                    <a:pt x="20941" y="4542"/>
                  </a:lnTo>
                  <a:lnTo>
                    <a:pt x="20943" y="4546"/>
                  </a:lnTo>
                  <a:lnTo>
                    <a:pt x="20942" y="4571"/>
                  </a:lnTo>
                  <a:lnTo>
                    <a:pt x="20948" y="4579"/>
                  </a:lnTo>
                  <a:close/>
                  <a:moveTo>
                    <a:pt x="18293" y="4627"/>
                  </a:moveTo>
                  <a:lnTo>
                    <a:pt x="18293" y="4627"/>
                  </a:lnTo>
                  <a:lnTo>
                    <a:pt x="18297" y="4618"/>
                  </a:lnTo>
                  <a:lnTo>
                    <a:pt x="18304" y="4567"/>
                  </a:lnTo>
                  <a:lnTo>
                    <a:pt x="18299" y="4561"/>
                  </a:lnTo>
                  <a:lnTo>
                    <a:pt x="18285" y="4569"/>
                  </a:lnTo>
                  <a:lnTo>
                    <a:pt x="18275" y="4582"/>
                  </a:lnTo>
                  <a:lnTo>
                    <a:pt x="18275" y="4588"/>
                  </a:lnTo>
                  <a:lnTo>
                    <a:pt x="18288" y="4625"/>
                  </a:lnTo>
                  <a:lnTo>
                    <a:pt x="18293" y="4627"/>
                  </a:lnTo>
                  <a:close/>
                  <a:moveTo>
                    <a:pt x="26880" y="4598"/>
                  </a:moveTo>
                  <a:lnTo>
                    <a:pt x="26880" y="4598"/>
                  </a:lnTo>
                  <a:lnTo>
                    <a:pt x="26886" y="4607"/>
                  </a:lnTo>
                  <a:lnTo>
                    <a:pt x="26892" y="4608"/>
                  </a:lnTo>
                  <a:lnTo>
                    <a:pt x="26896" y="4603"/>
                  </a:lnTo>
                  <a:lnTo>
                    <a:pt x="26892" y="4595"/>
                  </a:lnTo>
                  <a:lnTo>
                    <a:pt x="26891" y="4590"/>
                  </a:lnTo>
                  <a:lnTo>
                    <a:pt x="26894" y="4586"/>
                  </a:lnTo>
                  <a:lnTo>
                    <a:pt x="26890" y="4577"/>
                  </a:lnTo>
                  <a:lnTo>
                    <a:pt x="26884" y="4570"/>
                  </a:lnTo>
                  <a:lnTo>
                    <a:pt x="26878" y="4569"/>
                  </a:lnTo>
                  <a:lnTo>
                    <a:pt x="26872" y="4573"/>
                  </a:lnTo>
                  <a:lnTo>
                    <a:pt x="26872" y="4578"/>
                  </a:lnTo>
                  <a:lnTo>
                    <a:pt x="26875" y="4583"/>
                  </a:lnTo>
                  <a:lnTo>
                    <a:pt x="26880" y="4598"/>
                  </a:lnTo>
                  <a:close/>
                  <a:moveTo>
                    <a:pt x="21131" y="4628"/>
                  </a:moveTo>
                  <a:lnTo>
                    <a:pt x="21131" y="4628"/>
                  </a:lnTo>
                  <a:lnTo>
                    <a:pt x="21130" y="4627"/>
                  </a:lnTo>
                  <a:lnTo>
                    <a:pt x="21130" y="4628"/>
                  </a:lnTo>
                  <a:lnTo>
                    <a:pt x="21131" y="4628"/>
                  </a:lnTo>
                  <a:close/>
                  <a:moveTo>
                    <a:pt x="21525" y="4867"/>
                  </a:moveTo>
                  <a:lnTo>
                    <a:pt x="21525" y="4867"/>
                  </a:lnTo>
                  <a:lnTo>
                    <a:pt x="21536" y="4872"/>
                  </a:lnTo>
                  <a:lnTo>
                    <a:pt x="21542" y="4870"/>
                  </a:lnTo>
                  <a:lnTo>
                    <a:pt x="21553" y="4864"/>
                  </a:lnTo>
                  <a:lnTo>
                    <a:pt x="21557" y="4859"/>
                  </a:lnTo>
                  <a:lnTo>
                    <a:pt x="21560" y="4852"/>
                  </a:lnTo>
                  <a:lnTo>
                    <a:pt x="21559" y="4843"/>
                  </a:lnTo>
                  <a:lnTo>
                    <a:pt x="21556" y="4835"/>
                  </a:lnTo>
                  <a:lnTo>
                    <a:pt x="21546" y="4833"/>
                  </a:lnTo>
                  <a:lnTo>
                    <a:pt x="21529" y="4841"/>
                  </a:lnTo>
                  <a:lnTo>
                    <a:pt x="21522" y="4858"/>
                  </a:lnTo>
                  <a:lnTo>
                    <a:pt x="21525" y="4867"/>
                  </a:lnTo>
                  <a:close/>
                  <a:moveTo>
                    <a:pt x="2764" y="4971"/>
                  </a:moveTo>
                  <a:lnTo>
                    <a:pt x="2764" y="4971"/>
                  </a:lnTo>
                  <a:lnTo>
                    <a:pt x="2765" y="4968"/>
                  </a:lnTo>
                  <a:lnTo>
                    <a:pt x="2764" y="4962"/>
                  </a:lnTo>
                  <a:lnTo>
                    <a:pt x="2763" y="4960"/>
                  </a:lnTo>
                  <a:lnTo>
                    <a:pt x="2754" y="4953"/>
                  </a:lnTo>
                  <a:lnTo>
                    <a:pt x="2743" y="4950"/>
                  </a:lnTo>
                  <a:lnTo>
                    <a:pt x="2742" y="4951"/>
                  </a:lnTo>
                  <a:lnTo>
                    <a:pt x="2746" y="4958"/>
                  </a:lnTo>
                  <a:lnTo>
                    <a:pt x="2746" y="4967"/>
                  </a:lnTo>
                  <a:lnTo>
                    <a:pt x="2733" y="4985"/>
                  </a:lnTo>
                  <a:lnTo>
                    <a:pt x="2733" y="4987"/>
                  </a:lnTo>
                  <a:lnTo>
                    <a:pt x="2739" y="4987"/>
                  </a:lnTo>
                  <a:lnTo>
                    <a:pt x="2749" y="4981"/>
                  </a:lnTo>
                  <a:lnTo>
                    <a:pt x="2763" y="4980"/>
                  </a:lnTo>
                  <a:lnTo>
                    <a:pt x="2765" y="4977"/>
                  </a:lnTo>
                  <a:lnTo>
                    <a:pt x="2767" y="4973"/>
                  </a:lnTo>
                  <a:lnTo>
                    <a:pt x="2767" y="4972"/>
                  </a:lnTo>
                  <a:lnTo>
                    <a:pt x="2764" y="4971"/>
                  </a:lnTo>
                  <a:close/>
                  <a:moveTo>
                    <a:pt x="18746" y="4965"/>
                  </a:moveTo>
                  <a:lnTo>
                    <a:pt x="18746" y="4965"/>
                  </a:lnTo>
                  <a:lnTo>
                    <a:pt x="18740" y="4971"/>
                  </a:lnTo>
                  <a:lnTo>
                    <a:pt x="18740" y="4982"/>
                  </a:lnTo>
                  <a:lnTo>
                    <a:pt x="18750" y="5005"/>
                  </a:lnTo>
                  <a:lnTo>
                    <a:pt x="18758" y="5014"/>
                  </a:lnTo>
                  <a:lnTo>
                    <a:pt x="18765" y="5016"/>
                  </a:lnTo>
                  <a:lnTo>
                    <a:pt x="18765" y="5009"/>
                  </a:lnTo>
                  <a:lnTo>
                    <a:pt x="18764" y="4999"/>
                  </a:lnTo>
                  <a:lnTo>
                    <a:pt x="18753" y="4976"/>
                  </a:lnTo>
                  <a:lnTo>
                    <a:pt x="18749" y="4973"/>
                  </a:lnTo>
                  <a:lnTo>
                    <a:pt x="18750" y="4968"/>
                  </a:lnTo>
                  <a:lnTo>
                    <a:pt x="18746" y="4965"/>
                  </a:lnTo>
                  <a:close/>
                  <a:moveTo>
                    <a:pt x="21069" y="4973"/>
                  </a:moveTo>
                  <a:lnTo>
                    <a:pt x="21069" y="4973"/>
                  </a:lnTo>
                  <a:lnTo>
                    <a:pt x="21054" y="4978"/>
                  </a:lnTo>
                  <a:lnTo>
                    <a:pt x="21049" y="4984"/>
                  </a:lnTo>
                  <a:lnTo>
                    <a:pt x="21048" y="4990"/>
                  </a:lnTo>
                  <a:lnTo>
                    <a:pt x="21049" y="4998"/>
                  </a:lnTo>
                  <a:lnTo>
                    <a:pt x="21051" y="5001"/>
                  </a:lnTo>
                  <a:lnTo>
                    <a:pt x="21052" y="5002"/>
                  </a:lnTo>
                  <a:lnTo>
                    <a:pt x="21060" y="4998"/>
                  </a:lnTo>
                  <a:lnTo>
                    <a:pt x="21062" y="4995"/>
                  </a:lnTo>
                  <a:lnTo>
                    <a:pt x="21062" y="4991"/>
                  </a:lnTo>
                  <a:lnTo>
                    <a:pt x="21066" y="4990"/>
                  </a:lnTo>
                  <a:lnTo>
                    <a:pt x="21075" y="4991"/>
                  </a:lnTo>
                  <a:lnTo>
                    <a:pt x="21079" y="4992"/>
                  </a:lnTo>
                  <a:lnTo>
                    <a:pt x="21084" y="4991"/>
                  </a:lnTo>
                  <a:lnTo>
                    <a:pt x="21092" y="4984"/>
                  </a:lnTo>
                  <a:lnTo>
                    <a:pt x="21094" y="4976"/>
                  </a:lnTo>
                  <a:lnTo>
                    <a:pt x="21089" y="4972"/>
                  </a:lnTo>
                  <a:lnTo>
                    <a:pt x="21084" y="4972"/>
                  </a:lnTo>
                  <a:lnTo>
                    <a:pt x="21069" y="4973"/>
                  </a:lnTo>
                  <a:close/>
                  <a:moveTo>
                    <a:pt x="27134" y="4987"/>
                  </a:moveTo>
                  <a:lnTo>
                    <a:pt x="27134" y="4987"/>
                  </a:lnTo>
                  <a:lnTo>
                    <a:pt x="27149" y="4989"/>
                  </a:lnTo>
                  <a:lnTo>
                    <a:pt x="27157" y="4994"/>
                  </a:lnTo>
                  <a:lnTo>
                    <a:pt x="27188" y="5003"/>
                  </a:lnTo>
                  <a:lnTo>
                    <a:pt x="27189" y="5000"/>
                  </a:lnTo>
                  <a:lnTo>
                    <a:pt x="27187" y="4995"/>
                  </a:lnTo>
                  <a:lnTo>
                    <a:pt x="27184" y="4991"/>
                  </a:lnTo>
                  <a:lnTo>
                    <a:pt x="27180" y="4987"/>
                  </a:lnTo>
                  <a:lnTo>
                    <a:pt x="27173" y="4979"/>
                  </a:lnTo>
                  <a:lnTo>
                    <a:pt x="27161" y="4979"/>
                  </a:lnTo>
                  <a:lnTo>
                    <a:pt x="27154" y="4981"/>
                  </a:lnTo>
                  <a:lnTo>
                    <a:pt x="27133" y="4979"/>
                  </a:lnTo>
                  <a:lnTo>
                    <a:pt x="27125" y="4981"/>
                  </a:lnTo>
                  <a:lnTo>
                    <a:pt x="27125" y="4984"/>
                  </a:lnTo>
                  <a:lnTo>
                    <a:pt x="27134" y="4987"/>
                  </a:lnTo>
                  <a:close/>
                  <a:moveTo>
                    <a:pt x="26738" y="5050"/>
                  </a:moveTo>
                  <a:lnTo>
                    <a:pt x="26738" y="5050"/>
                  </a:lnTo>
                  <a:lnTo>
                    <a:pt x="26737" y="5046"/>
                  </a:lnTo>
                  <a:lnTo>
                    <a:pt x="26735" y="5044"/>
                  </a:lnTo>
                  <a:lnTo>
                    <a:pt x="26733" y="5043"/>
                  </a:lnTo>
                  <a:lnTo>
                    <a:pt x="26734" y="5040"/>
                  </a:lnTo>
                  <a:lnTo>
                    <a:pt x="26732" y="5030"/>
                  </a:lnTo>
                  <a:lnTo>
                    <a:pt x="26730" y="5028"/>
                  </a:lnTo>
                  <a:lnTo>
                    <a:pt x="26721" y="5030"/>
                  </a:lnTo>
                  <a:lnTo>
                    <a:pt x="26717" y="5027"/>
                  </a:lnTo>
                  <a:lnTo>
                    <a:pt x="26714" y="5026"/>
                  </a:lnTo>
                  <a:lnTo>
                    <a:pt x="26712" y="5028"/>
                  </a:lnTo>
                  <a:lnTo>
                    <a:pt x="26713" y="5032"/>
                  </a:lnTo>
                  <a:lnTo>
                    <a:pt x="26714" y="5035"/>
                  </a:lnTo>
                  <a:lnTo>
                    <a:pt x="26720" y="5041"/>
                  </a:lnTo>
                  <a:lnTo>
                    <a:pt x="26720" y="5042"/>
                  </a:lnTo>
                  <a:lnTo>
                    <a:pt x="26716" y="5042"/>
                  </a:lnTo>
                  <a:lnTo>
                    <a:pt x="26718" y="5048"/>
                  </a:lnTo>
                  <a:lnTo>
                    <a:pt x="26727" y="5058"/>
                  </a:lnTo>
                  <a:lnTo>
                    <a:pt x="26732" y="5062"/>
                  </a:lnTo>
                  <a:lnTo>
                    <a:pt x="26735" y="5062"/>
                  </a:lnTo>
                  <a:lnTo>
                    <a:pt x="26733" y="5055"/>
                  </a:lnTo>
                  <a:lnTo>
                    <a:pt x="26738" y="5052"/>
                  </a:lnTo>
                  <a:lnTo>
                    <a:pt x="26738" y="5050"/>
                  </a:lnTo>
                  <a:close/>
                  <a:moveTo>
                    <a:pt x="25092" y="5219"/>
                  </a:moveTo>
                  <a:lnTo>
                    <a:pt x="25092" y="5219"/>
                  </a:lnTo>
                  <a:lnTo>
                    <a:pt x="25102" y="5213"/>
                  </a:lnTo>
                  <a:lnTo>
                    <a:pt x="25110" y="5192"/>
                  </a:lnTo>
                  <a:lnTo>
                    <a:pt x="25113" y="5188"/>
                  </a:lnTo>
                  <a:lnTo>
                    <a:pt x="25105" y="5185"/>
                  </a:lnTo>
                  <a:lnTo>
                    <a:pt x="25092" y="5189"/>
                  </a:lnTo>
                  <a:lnTo>
                    <a:pt x="25075" y="5203"/>
                  </a:lnTo>
                  <a:lnTo>
                    <a:pt x="25066" y="5215"/>
                  </a:lnTo>
                  <a:lnTo>
                    <a:pt x="25068" y="5219"/>
                  </a:lnTo>
                  <a:lnTo>
                    <a:pt x="25076" y="5221"/>
                  </a:lnTo>
                  <a:lnTo>
                    <a:pt x="25092" y="5219"/>
                  </a:lnTo>
                  <a:close/>
                  <a:moveTo>
                    <a:pt x="25015" y="5241"/>
                  </a:moveTo>
                  <a:lnTo>
                    <a:pt x="25015" y="5241"/>
                  </a:lnTo>
                  <a:lnTo>
                    <a:pt x="25044" y="5224"/>
                  </a:lnTo>
                  <a:lnTo>
                    <a:pt x="25049" y="5223"/>
                  </a:lnTo>
                  <a:lnTo>
                    <a:pt x="25060" y="5208"/>
                  </a:lnTo>
                  <a:lnTo>
                    <a:pt x="25060" y="5204"/>
                  </a:lnTo>
                  <a:lnTo>
                    <a:pt x="25045" y="5205"/>
                  </a:lnTo>
                  <a:lnTo>
                    <a:pt x="25038" y="5203"/>
                  </a:lnTo>
                  <a:lnTo>
                    <a:pt x="25031" y="5203"/>
                  </a:lnTo>
                  <a:lnTo>
                    <a:pt x="25028" y="5208"/>
                  </a:lnTo>
                  <a:lnTo>
                    <a:pt x="25023" y="5221"/>
                  </a:lnTo>
                  <a:lnTo>
                    <a:pt x="25018" y="5225"/>
                  </a:lnTo>
                  <a:lnTo>
                    <a:pt x="25002" y="5232"/>
                  </a:lnTo>
                  <a:lnTo>
                    <a:pt x="25000" y="5237"/>
                  </a:lnTo>
                  <a:lnTo>
                    <a:pt x="25004" y="5241"/>
                  </a:lnTo>
                  <a:lnTo>
                    <a:pt x="25008" y="5243"/>
                  </a:lnTo>
                  <a:lnTo>
                    <a:pt x="25015" y="5241"/>
                  </a:lnTo>
                  <a:close/>
                  <a:moveTo>
                    <a:pt x="25007" y="5261"/>
                  </a:moveTo>
                  <a:lnTo>
                    <a:pt x="25007" y="5261"/>
                  </a:lnTo>
                  <a:lnTo>
                    <a:pt x="25030" y="5250"/>
                  </a:lnTo>
                  <a:lnTo>
                    <a:pt x="25048" y="5247"/>
                  </a:lnTo>
                  <a:lnTo>
                    <a:pt x="25053" y="5239"/>
                  </a:lnTo>
                  <a:lnTo>
                    <a:pt x="25049" y="5230"/>
                  </a:lnTo>
                  <a:lnTo>
                    <a:pt x="25040" y="5230"/>
                  </a:lnTo>
                  <a:lnTo>
                    <a:pt x="25034" y="5234"/>
                  </a:lnTo>
                  <a:lnTo>
                    <a:pt x="25004" y="5253"/>
                  </a:lnTo>
                  <a:lnTo>
                    <a:pt x="25000" y="5259"/>
                  </a:lnTo>
                  <a:lnTo>
                    <a:pt x="25007" y="5261"/>
                  </a:lnTo>
                  <a:close/>
                  <a:moveTo>
                    <a:pt x="25140" y="5281"/>
                  </a:moveTo>
                  <a:lnTo>
                    <a:pt x="25140" y="5281"/>
                  </a:lnTo>
                  <a:lnTo>
                    <a:pt x="25155" y="5283"/>
                  </a:lnTo>
                  <a:lnTo>
                    <a:pt x="25161" y="5280"/>
                  </a:lnTo>
                  <a:lnTo>
                    <a:pt x="25163" y="5272"/>
                  </a:lnTo>
                  <a:lnTo>
                    <a:pt x="25160" y="5266"/>
                  </a:lnTo>
                  <a:lnTo>
                    <a:pt x="25151" y="5264"/>
                  </a:lnTo>
                  <a:lnTo>
                    <a:pt x="25133" y="5267"/>
                  </a:lnTo>
                  <a:lnTo>
                    <a:pt x="25129" y="5270"/>
                  </a:lnTo>
                  <a:lnTo>
                    <a:pt x="25125" y="5274"/>
                  </a:lnTo>
                  <a:lnTo>
                    <a:pt x="25126" y="5279"/>
                  </a:lnTo>
                  <a:lnTo>
                    <a:pt x="25133" y="5281"/>
                  </a:lnTo>
                  <a:lnTo>
                    <a:pt x="25140" y="5281"/>
                  </a:lnTo>
                  <a:close/>
                  <a:moveTo>
                    <a:pt x="24797" y="5405"/>
                  </a:moveTo>
                  <a:lnTo>
                    <a:pt x="24797" y="5405"/>
                  </a:lnTo>
                  <a:lnTo>
                    <a:pt x="24803" y="5406"/>
                  </a:lnTo>
                  <a:lnTo>
                    <a:pt x="24803" y="5398"/>
                  </a:lnTo>
                  <a:lnTo>
                    <a:pt x="24801" y="5389"/>
                  </a:lnTo>
                  <a:lnTo>
                    <a:pt x="24796" y="5379"/>
                  </a:lnTo>
                  <a:lnTo>
                    <a:pt x="24787" y="5368"/>
                  </a:lnTo>
                  <a:lnTo>
                    <a:pt x="24778" y="5365"/>
                  </a:lnTo>
                  <a:lnTo>
                    <a:pt x="24771" y="5369"/>
                  </a:lnTo>
                  <a:lnTo>
                    <a:pt x="24771" y="5376"/>
                  </a:lnTo>
                  <a:lnTo>
                    <a:pt x="24786" y="5397"/>
                  </a:lnTo>
                  <a:lnTo>
                    <a:pt x="24797" y="5405"/>
                  </a:lnTo>
                  <a:close/>
                  <a:moveTo>
                    <a:pt x="9767" y="5536"/>
                  </a:moveTo>
                  <a:lnTo>
                    <a:pt x="9767" y="5536"/>
                  </a:lnTo>
                  <a:lnTo>
                    <a:pt x="9765" y="5527"/>
                  </a:lnTo>
                  <a:lnTo>
                    <a:pt x="9764" y="5524"/>
                  </a:lnTo>
                  <a:lnTo>
                    <a:pt x="9757" y="5520"/>
                  </a:lnTo>
                  <a:lnTo>
                    <a:pt x="9754" y="5521"/>
                  </a:lnTo>
                  <a:lnTo>
                    <a:pt x="9751" y="5522"/>
                  </a:lnTo>
                  <a:lnTo>
                    <a:pt x="9740" y="5535"/>
                  </a:lnTo>
                  <a:lnTo>
                    <a:pt x="9736" y="5538"/>
                  </a:lnTo>
                  <a:lnTo>
                    <a:pt x="9731" y="5555"/>
                  </a:lnTo>
                  <a:lnTo>
                    <a:pt x="9727" y="5560"/>
                  </a:lnTo>
                  <a:lnTo>
                    <a:pt x="9721" y="5564"/>
                  </a:lnTo>
                  <a:lnTo>
                    <a:pt x="9720" y="5567"/>
                  </a:lnTo>
                  <a:lnTo>
                    <a:pt x="9736" y="5575"/>
                  </a:lnTo>
                  <a:lnTo>
                    <a:pt x="9740" y="5576"/>
                  </a:lnTo>
                  <a:lnTo>
                    <a:pt x="9748" y="5575"/>
                  </a:lnTo>
                  <a:lnTo>
                    <a:pt x="9765" y="5569"/>
                  </a:lnTo>
                  <a:lnTo>
                    <a:pt x="9768" y="5567"/>
                  </a:lnTo>
                  <a:lnTo>
                    <a:pt x="9768" y="5564"/>
                  </a:lnTo>
                  <a:lnTo>
                    <a:pt x="9767" y="5560"/>
                  </a:lnTo>
                  <a:lnTo>
                    <a:pt x="9767" y="5555"/>
                  </a:lnTo>
                  <a:lnTo>
                    <a:pt x="9764" y="5553"/>
                  </a:lnTo>
                  <a:lnTo>
                    <a:pt x="9765" y="5540"/>
                  </a:lnTo>
                  <a:lnTo>
                    <a:pt x="9767" y="5536"/>
                  </a:lnTo>
                  <a:close/>
                  <a:moveTo>
                    <a:pt x="25744" y="5555"/>
                  </a:moveTo>
                  <a:lnTo>
                    <a:pt x="25744" y="5555"/>
                  </a:lnTo>
                  <a:lnTo>
                    <a:pt x="25749" y="5556"/>
                  </a:lnTo>
                  <a:lnTo>
                    <a:pt x="25759" y="5551"/>
                  </a:lnTo>
                  <a:lnTo>
                    <a:pt x="25765" y="5543"/>
                  </a:lnTo>
                  <a:lnTo>
                    <a:pt x="25760" y="5536"/>
                  </a:lnTo>
                  <a:lnTo>
                    <a:pt x="25758" y="5534"/>
                  </a:lnTo>
                  <a:lnTo>
                    <a:pt x="25742" y="5529"/>
                  </a:lnTo>
                  <a:lnTo>
                    <a:pt x="25733" y="5534"/>
                  </a:lnTo>
                  <a:lnTo>
                    <a:pt x="25727" y="5543"/>
                  </a:lnTo>
                  <a:lnTo>
                    <a:pt x="25728" y="5547"/>
                  </a:lnTo>
                  <a:lnTo>
                    <a:pt x="25744" y="5555"/>
                  </a:lnTo>
                  <a:close/>
                  <a:moveTo>
                    <a:pt x="9818" y="5664"/>
                  </a:moveTo>
                  <a:lnTo>
                    <a:pt x="9818" y="5664"/>
                  </a:lnTo>
                  <a:lnTo>
                    <a:pt x="9819" y="5657"/>
                  </a:lnTo>
                  <a:lnTo>
                    <a:pt x="9813" y="5648"/>
                  </a:lnTo>
                  <a:lnTo>
                    <a:pt x="9808" y="5644"/>
                  </a:lnTo>
                  <a:lnTo>
                    <a:pt x="9806" y="5641"/>
                  </a:lnTo>
                  <a:lnTo>
                    <a:pt x="9802" y="5638"/>
                  </a:lnTo>
                  <a:lnTo>
                    <a:pt x="9796" y="5641"/>
                  </a:lnTo>
                  <a:lnTo>
                    <a:pt x="9793" y="5649"/>
                  </a:lnTo>
                  <a:lnTo>
                    <a:pt x="9778" y="5661"/>
                  </a:lnTo>
                  <a:lnTo>
                    <a:pt x="9778" y="5665"/>
                  </a:lnTo>
                  <a:lnTo>
                    <a:pt x="9781" y="5667"/>
                  </a:lnTo>
                  <a:lnTo>
                    <a:pt x="9786" y="5667"/>
                  </a:lnTo>
                  <a:lnTo>
                    <a:pt x="9790" y="5669"/>
                  </a:lnTo>
                  <a:lnTo>
                    <a:pt x="9796" y="5674"/>
                  </a:lnTo>
                  <a:lnTo>
                    <a:pt x="9801" y="5676"/>
                  </a:lnTo>
                  <a:lnTo>
                    <a:pt x="9806" y="5674"/>
                  </a:lnTo>
                  <a:lnTo>
                    <a:pt x="9812" y="5674"/>
                  </a:lnTo>
                  <a:lnTo>
                    <a:pt x="9816" y="5672"/>
                  </a:lnTo>
                  <a:lnTo>
                    <a:pt x="9818" y="5664"/>
                  </a:lnTo>
                  <a:close/>
                  <a:moveTo>
                    <a:pt x="13688" y="5681"/>
                  </a:moveTo>
                  <a:lnTo>
                    <a:pt x="13688" y="5681"/>
                  </a:lnTo>
                  <a:lnTo>
                    <a:pt x="13686" y="5680"/>
                  </a:lnTo>
                  <a:lnTo>
                    <a:pt x="13684" y="5678"/>
                  </a:lnTo>
                  <a:lnTo>
                    <a:pt x="13681" y="5673"/>
                  </a:lnTo>
                  <a:lnTo>
                    <a:pt x="13674" y="5668"/>
                  </a:lnTo>
                  <a:lnTo>
                    <a:pt x="13668" y="5668"/>
                  </a:lnTo>
                  <a:lnTo>
                    <a:pt x="13665" y="5672"/>
                  </a:lnTo>
                  <a:lnTo>
                    <a:pt x="13665" y="5680"/>
                  </a:lnTo>
                  <a:lnTo>
                    <a:pt x="13672" y="5690"/>
                  </a:lnTo>
                  <a:lnTo>
                    <a:pt x="13689" y="5698"/>
                  </a:lnTo>
                  <a:lnTo>
                    <a:pt x="13694" y="5698"/>
                  </a:lnTo>
                  <a:lnTo>
                    <a:pt x="13699" y="5693"/>
                  </a:lnTo>
                  <a:lnTo>
                    <a:pt x="13699" y="5688"/>
                  </a:lnTo>
                  <a:lnTo>
                    <a:pt x="13694" y="5685"/>
                  </a:lnTo>
                  <a:lnTo>
                    <a:pt x="13690" y="5685"/>
                  </a:lnTo>
                  <a:lnTo>
                    <a:pt x="13687" y="5686"/>
                  </a:lnTo>
                  <a:lnTo>
                    <a:pt x="13688" y="5684"/>
                  </a:lnTo>
                  <a:lnTo>
                    <a:pt x="13688" y="5681"/>
                  </a:lnTo>
                  <a:close/>
                  <a:moveTo>
                    <a:pt x="26355" y="5702"/>
                  </a:moveTo>
                  <a:lnTo>
                    <a:pt x="26355" y="5702"/>
                  </a:lnTo>
                  <a:lnTo>
                    <a:pt x="26359" y="5695"/>
                  </a:lnTo>
                  <a:lnTo>
                    <a:pt x="26363" y="5695"/>
                  </a:lnTo>
                  <a:lnTo>
                    <a:pt x="26366" y="5696"/>
                  </a:lnTo>
                  <a:lnTo>
                    <a:pt x="26368" y="5697"/>
                  </a:lnTo>
                  <a:lnTo>
                    <a:pt x="26371" y="5696"/>
                  </a:lnTo>
                  <a:lnTo>
                    <a:pt x="26374" y="5693"/>
                  </a:lnTo>
                  <a:lnTo>
                    <a:pt x="26371" y="5691"/>
                  </a:lnTo>
                  <a:lnTo>
                    <a:pt x="26365" y="5690"/>
                  </a:lnTo>
                  <a:lnTo>
                    <a:pt x="26353" y="5688"/>
                  </a:lnTo>
                  <a:lnTo>
                    <a:pt x="26350" y="5688"/>
                  </a:lnTo>
                  <a:lnTo>
                    <a:pt x="26338" y="5691"/>
                  </a:lnTo>
                  <a:lnTo>
                    <a:pt x="26331" y="5690"/>
                  </a:lnTo>
                  <a:lnTo>
                    <a:pt x="26327" y="5693"/>
                  </a:lnTo>
                  <a:lnTo>
                    <a:pt x="26323" y="5696"/>
                  </a:lnTo>
                  <a:lnTo>
                    <a:pt x="26319" y="5699"/>
                  </a:lnTo>
                  <a:lnTo>
                    <a:pt x="26314" y="5706"/>
                  </a:lnTo>
                  <a:lnTo>
                    <a:pt x="26315" y="5713"/>
                  </a:lnTo>
                  <a:lnTo>
                    <a:pt x="26320" y="5717"/>
                  </a:lnTo>
                  <a:lnTo>
                    <a:pt x="26327" y="5717"/>
                  </a:lnTo>
                  <a:lnTo>
                    <a:pt x="26337" y="5710"/>
                  </a:lnTo>
                  <a:lnTo>
                    <a:pt x="26340" y="5708"/>
                  </a:lnTo>
                  <a:lnTo>
                    <a:pt x="26342" y="5706"/>
                  </a:lnTo>
                  <a:lnTo>
                    <a:pt x="26342" y="5705"/>
                  </a:lnTo>
                  <a:lnTo>
                    <a:pt x="26341" y="5704"/>
                  </a:lnTo>
                  <a:lnTo>
                    <a:pt x="26344" y="5703"/>
                  </a:lnTo>
                  <a:lnTo>
                    <a:pt x="26355" y="5702"/>
                  </a:lnTo>
                  <a:close/>
                  <a:moveTo>
                    <a:pt x="8098" y="5859"/>
                  </a:moveTo>
                  <a:lnTo>
                    <a:pt x="8098" y="5859"/>
                  </a:lnTo>
                  <a:lnTo>
                    <a:pt x="8090" y="5856"/>
                  </a:lnTo>
                  <a:lnTo>
                    <a:pt x="8084" y="5858"/>
                  </a:lnTo>
                  <a:lnTo>
                    <a:pt x="8083" y="5871"/>
                  </a:lnTo>
                  <a:lnTo>
                    <a:pt x="8085" y="5887"/>
                  </a:lnTo>
                  <a:lnTo>
                    <a:pt x="8088" y="5892"/>
                  </a:lnTo>
                  <a:lnTo>
                    <a:pt x="8091" y="5890"/>
                  </a:lnTo>
                  <a:lnTo>
                    <a:pt x="8093" y="5887"/>
                  </a:lnTo>
                  <a:lnTo>
                    <a:pt x="8094" y="5885"/>
                  </a:lnTo>
                  <a:lnTo>
                    <a:pt x="8098" y="5880"/>
                  </a:lnTo>
                  <a:lnTo>
                    <a:pt x="8102" y="5874"/>
                  </a:lnTo>
                  <a:lnTo>
                    <a:pt x="8102" y="5871"/>
                  </a:lnTo>
                  <a:lnTo>
                    <a:pt x="8104" y="5869"/>
                  </a:lnTo>
                  <a:lnTo>
                    <a:pt x="8105" y="5867"/>
                  </a:lnTo>
                  <a:lnTo>
                    <a:pt x="8106" y="5864"/>
                  </a:lnTo>
                  <a:lnTo>
                    <a:pt x="8104" y="5861"/>
                  </a:lnTo>
                  <a:lnTo>
                    <a:pt x="8098" y="5859"/>
                  </a:lnTo>
                  <a:close/>
                  <a:moveTo>
                    <a:pt x="23133" y="5923"/>
                  </a:moveTo>
                  <a:lnTo>
                    <a:pt x="23133" y="5923"/>
                  </a:lnTo>
                  <a:lnTo>
                    <a:pt x="23122" y="5919"/>
                  </a:lnTo>
                  <a:lnTo>
                    <a:pt x="23119" y="5922"/>
                  </a:lnTo>
                  <a:lnTo>
                    <a:pt x="23116" y="5926"/>
                  </a:lnTo>
                  <a:lnTo>
                    <a:pt x="23115" y="5930"/>
                  </a:lnTo>
                  <a:lnTo>
                    <a:pt x="23115" y="5933"/>
                  </a:lnTo>
                  <a:lnTo>
                    <a:pt x="23120" y="5936"/>
                  </a:lnTo>
                  <a:lnTo>
                    <a:pt x="23130" y="5940"/>
                  </a:lnTo>
                  <a:lnTo>
                    <a:pt x="23138" y="5937"/>
                  </a:lnTo>
                  <a:lnTo>
                    <a:pt x="23139" y="5931"/>
                  </a:lnTo>
                  <a:lnTo>
                    <a:pt x="23137" y="5927"/>
                  </a:lnTo>
                  <a:lnTo>
                    <a:pt x="23133" y="5923"/>
                  </a:lnTo>
                  <a:close/>
                  <a:moveTo>
                    <a:pt x="25162" y="6263"/>
                  </a:moveTo>
                  <a:lnTo>
                    <a:pt x="25162" y="6263"/>
                  </a:lnTo>
                  <a:lnTo>
                    <a:pt x="25149" y="6243"/>
                  </a:lnTo>
                  <a:lnTo>
                    <a:pt x="25141" y="6210"/>
                  </a:lnTo>
                  <a:lnTo>
                    <a:pt x="25135" y="6199"/>
                  </a:lnTo>
                  <a:lnTo>
                    <a:pt x="25130" y="6196"/>
                  </a:lnTo>
                  <a:lnTo>
                    <a:pt x="25125" y="6194"/>
                  </a:lnTo>
                  <a:lnTo>
                    <a:pt x="25122" y="6195"/>
                  </a:lnTo>
                  <a:lnTo>
                    <a:pt x="25121" y="6203"/>
                  </a:lnTo>
                  <a:lnTo>
                    <a:pt x="25130" y="6230"/>
                  </a:lnTo>
                  <a:lnTo>
                    <a:pt x="25135" y="6235"/>
                  </a:lnTo>
                  <a:lnTo>
                    <a:pt x="25137" y="6250"/>
                  </a:lnTo>
                  <a:lnTo>
                    <a:pt x="25146" y="6270"/>
                  </a:lnTo>
                  <a:lnTo>
                    <a:pt x="25151" y="6277"/>
                  </a:lnTo>
                  <a:lnTo>
                    <a:pt x="25157" y="6282"/>
                  </a:lnTo>
                  <a:lnTo>
                    <a:pt x="25162" y="6290"/>
                  </a:lnTo>
                  <a:lnTo>
                    <a:pt x="25163" y="6293"/>
                  </a:lnTo>
                  <a:lnTo>
                    <a:pt x="25165" y="6295"/>
                  </a:lnTo>
                  <a:lnTo>
                    <a:pt x="25167" y="6290"/>
                  </a:lnTo>
                  <a:lnTo>
                    <a:pt x="25169" y="6281"/>
                  </a:lnTo>
                  <a:lnTo>
                    <a:pt x="25163" y="6270"/>
                  </a:lnTo>
                  <a:lnTo>
                    <a:pt x="25162" y="6263"/>
                  </a:lnTo>
                  <a:close/>
                  <a:moveTo>
                    <a:pt x="23233" y="6296"/>
                  </a:moveTo>
                  <a:lnTo>
                    <a:pt x="23233" y="6296"/>
                  </a:lnTo>
                  <a:lnTo>
                    <a:pt x="23230" y="6294"/>
                  </a:lnTo>
                  <a:lnTo>
                    <a:pt x="23226" y="6294"/>
                  </a:lnTo>
                  <a:lnTo>
                    <a:pt x="23224" y="6293"/>
                  </a:lnTo>
                  <a:lnTo>
                    <a:pt x="23222" y="6290"/>
                  </a:lnTo>
                  <a:lnTo>
                    <a:pt x="23220" y="6290"/>
                  </a:lnTo>
                  <a:lnTo>
                    <a:pt x="23214" y="6295"/>
                  </a:lnTo>
                  <a:lnTo>
                    <a:pt x="23213" y="6298"/>
                  </a:lnTo>
                  <a:lnTo>
                    <a:pt x="23209" y="6303"/>
                  </a:lnTo>
                  <a:lnTo>
                    <a:pt x="23212" y="6309"/>
                  </a:lnTo>
                  <a:lnTo>
                    <a:pt x="23216" y="6310"/>
                  </a:lnTo>
                  <a:lnTo>
                    <a:pt x="23216" y="6307"/>
                  </a:lnTo>
                  <a:lnTo>
                    <a:pt x="23228" y="6305"/>
                  </a:lnTo>
                  <a:lnTo>
                    <a:pt x="23233" y="6301"/>
                  </a:lnTo>
                  <a:lnTo>
                    <a:pt x="23236" y="6298"/>
                  </a:lnTo>
                  <a:lnTo>
                    <a:pt x="23235" y="6296"/>
                  </a:lnTo>
                  <a:lnTo>
                    <a:pt x="23233" y="6296"/>
                  </a:lnTo>
                  <a:close/>
                  <a:moveTo>
                    <a:pt x="25293" y="6327"/>
                  </a:moveTo>
                  <a:lnTo>
                    <a:pt x="25293" y="6327"/>
                  </a:lnTo>
                  <a:lnTo>
                    <a:pt x="25281" y="6319"/>
                  </a:lnTo>
                  <a:lnTo>
                    <a:pt x="25278" y="6316"/>
                  </a:lnTo>
                  <a:lnTo>
                    <a:pt x="25252" y="6318"/>
                  </a:lnTo>
                  <a:lnTo>
                    <a:pt x="25250" y="6319"/>
                  </a:lnTo>
                  <a:lnTo>
                    <a:pt x="25249" y="6322"/>
                  </a:lnTo>
                  <a:lnTo>
                    <a:pt x="25255" y="6327"/>
                  </a:lnTo>
                  <a:lnTo>
                    <a:pt x="25272" y="6358"/>
                  </a:lnTo>
                  <a:lnTo>
                    <a:pt x="25275" y="6360"/>
                  </a:lnTo>
                  <a:lnTo>
                    <a:pt x="25291" y="6364"/>
                  </a:lnTo>
                  <a:lnTo>
                    <a:pt x="25293" y="6365"/>
                  </a:lnTo>
                  <a:lnTo>
                    <a:pt x="25296" y="6366"/>
                  </a:lnTo>
                  <a:lnTo>
                    <a:pt x="25307" y="6366"/>
                  </a:lnTo>
                  <a:lnTo>
                    <a:pt x="25321" y="6372"/>
                  </a:lnTo>
                  <a:lnTo>
                    <a:pt x="25324" y="6374"/>
                  </a:lnTo>
                  <a:lnTo>
                    <a:pt x="25325" y="6377"/>
                  </a:lnTo>
                  <a:lnTo>
                    <a:pt x="25327" y="6378"/>
                  </a:lnTo>
                  <a:lnTo>
                    <a:pt x="25329" y="6378"/>
                  </a:lnTo>
                  <a:lnTo>
                    <a:pt x="25338" y="6382"/>
                  </a:lnTo>
                  <a:lnTo>
                    <a:pt x="25341" y="6384"/>
                  </a:lnTo>
                  <a:lnTo>
                    <a:pt x="25344" y="6385"/>
                  </a:lnTo>
                  <a:lnTo>
                    <a:pt x="25348" y="6382"/>
                  </a:lnTo>
                  <a:lnTo>
                    <a:pt x="25348" y="6378"/>
                  </a:lnTo>
                  <a:lnTo>
                    <a:pt x="25332" y="6372"/>
                  </a:lnTo>
                  <a:lnTo>
                    <a:pt x="25330" y="6369"/>
                  </a:lnTo>
                  <a:lnTo>
                    <a:pt x="25329" y="6366"/>
                  </a:lnTo>
                  <a:lnTo>
                    <a:pt x="25324" y="6362"/>
                  </a:lnTo>
                  <a:lnTo>
                    <a:pt x="25323" y="6360"/>
                  </a:lnTo>
                  <a:lnTo>
                    <a:pt x="25321" y="6355"/>
                  </a:lnTo>
                  <a:lnTo>
                    <a:pt x="25322" y="6352"/>
                  </a:lnTo>
                  <a:lnTo>
                    <a:pt x="25319" y="6349"/>
                  </a:lnTo>
                  <a:lnTo>
                    <a:pt x="25315" y="6346"/>
                  </a:lnTo>
                  <a:lnTo>
                    <a:pt x="25316" y="6350"/>
                  </a:lnTo>
                  <a:lnTo>
                    <a:pt x="25316" y="6352"/>
                  </a:lnTo>
                  <a:lnTo>
                    <a:pt x="25293" y="6327"/>
                  </a:lnTo>
                  <a:close/>
                  <a:moveTo>
                    <a:pt x="17102" y="6448"/>
                  </a:moveTo>
                  <a:lnTo>
                    <a:pt x="17102" y="6448"/>
                  </a:lnTo>
                  <a:lnTo>
                    <a:pt x="17105" y="6446"/>
                  </a:lnTo>
                  <a:lnTo>
                    <a:pt x="17102" y="6442"/>
                  </a:lnTo>
                  <a:lnTo>
                    <a:pt x="17096" y="6440"/>
                  </a:lnTo>
                  <a:lnTo>
                    <a:pt x="17089" y="6444"/>
                  </a:lnTo>
                  <a:lnTo>
                    <a:pt x="17079" y="6447"/>
                  </a:lnTo>
                  <a:lnTo>
                    <a:pt x="17072" y="6444"/>
                  </a:lnTo>
                  <a:lnTo>
                    <a:pt x="17074" y="6429"/>
                  </a:lnTo>
                  <a:lnTo>
                    <a:pt x="17072" y="6427"/>
                  </a:lnTo>
                  <a:lnTo>
                    <a:pt x="17069" y="6429"/>
                  </a:lnTo>
                  <a:lnTo>
                    <a:pt x="17069" y="6433"/>
                  </a:lnTo>
                  <a:lnTo>
                    <a:pt x="17068" y="6435"/>
                  </a:lnTo>
                  <a:lnTo>
                    <a:pt x="17067" y="6440"/>
                  </a:lnTo>
                  <a:lnTo>
                    <a:pt x="17064" y="6443"/>
                  </a:lnTo>
                  <a:lnTo>
                    <a:pt x="17058" y="6444"/>
                  </a:lnTo>
                  <a:lnTo>
                    <a:pt x="17051" y="6440"/>
                  </a:lnTo>
                  <a:lnTo>
                    <a:pt x="17050" y="6442"/>
                  </a:lnTo>
                  <a:lnTo>
                    <a:pt x="17051" y="6451"/>
                  </a:lnTo>
                  <a:lnTo>
                    <a:pt x="17059" y="6456"/>
                  </a:lnTo>
                  <a:lnTo>
                    <a:pt x="17061" y="6462"/>
                  </a:lnTo>
                  <a:lnTo>
                    <a:pt x="17056" y="6474"/>
                  </a:lnTo>
                  <a:lnTo>
                    <a:pt x="17055" y="6480"/>
                  </a:lnTo>
                  <a:lnTo>
                    <a:pt x="17057" y="6480"/>
                  </a:lnTo>
                  <a:lnTo>
                    <a:pt x="17062" y="6476"/>
                  </a:lnTo>
                  <a:lnTo>
                    <a:pt x="17068" y="6474"/>
                  </a:lnTo>
                  <a:lnTo>
                    <a:pt x="17081" y="6480"/>
                  </a:lnTo>
                  <a:lnTo>
                    <a:pt x="17086" y="6481"/>
                  </a:lnTo>
                  <a:lnTo>
                    <a:pt x="17087" y="6477"/>
                  </a:lnTo>
                  <a:lnTo>
                    <a:pt x="17082" y="6464"/>
                  </a:lnTo>
                  <a:lnTo>
                    <a:pt x="17085" y="6458"/>
                  </a:lnTo>
                  <a:lnTo>
                    <a:pt x="17095" y="6458"/>
                  </a:lnTo>
                  <a:lnTo>
                    <a:pt x="17099" y="6457"/>
                  </a:lnTo>
                  <a:lnTo>
                    <a:pt x="17098" y="6454"/>
                  </a:lnTo>
                  <a:lnTo>
                    <a:pt x="17098" y="6450"/>
                  </a:lnTo>
                  <a:lnTo>
                    <a:pt x="17102" y="6448"/>
                  </a:lnTo>
                  <a:close/>
                  <a:moveTo>
                    <a:pt x="17929" y="6717"/>
                  </a:moveTo>
                  <a:lnTo>
                    <a:pt x="17929" y="6717"/>
                  </a:lnTo>
                  <a:lnTo>
                    <a:pt x="17925" y="6713"/>
                  </a:lnTo>
                  <a:lnTo>
                    <a:pt x="17920" y="6710"/>
                  </a:lnTo>
                  <a:lnTo>
                    <a:pt x="17915" y="6709"/>
                  </a:lnTo>
                  <a:lnTo>
                    <a:pt x="17905" y="6710"/>
                  </a:lnTo>
                  <a:lnTo>
                    <a:pt x="17900" y="6718"/>
                  </a:lnTo>
                  <a:lnTo>
                    <a:pt x="17898" y="6727"/>
                  </a:lnTo>
                  <a:lnTo>
                    <a:pt x="17900" y="6732"/>
                  </a:lnTo>
                  <a:lnTo>
                    <a:pt x="17904" y="6736"/>
                  </a:lnTo>
                  <a:lnTo>
                    <a:pt x="17908" y="6736"/>
                  </a:lnTo>
                  <a:lnTo>
                    <a:pt x="17911" y="6733"/>
                  </a:lnTo>
                  <a:lnTo>
                    <a:pt x="17912" y="6734"/>
                  </a:lnTo>
                  <a:lnTo>
                    <a:pt x="17914" y="6736"/>
                  </a:lnTo>
                  <a:lnTo>
                    <a:pt x="17918" y="6736"/>
                  </a:lnTo>
                  <a:lnTo>
                    <a:pt x="17927" y="6743"/>
                  </a:lnTo>
                  <a:lnTo>
                    <a:pt x="17928" y="6741"/>
                  </a:lnTo>
                  <a:lnTo>
                    <a:pt x="17929" y="6736"/>
                  </a:lnTo>
                  <a:lnTo>
                    <a:pt x="17928" y="6732"/>
                  </a:lnTo>
                  <a:lnTo>
                    <a:pt x="17929" y="6729"/>
                  </a:lnTo>
                  <a:lnTo>
                    <a:pt x="17927" y="6727"/>
                  </a:lnTo>
                  <a:lnTo>
                    <a:pt x="17926" y="6723"/>
                  </a:lnTo>
                  <a:lnTo>
                    <a:pt x="17929" y="6720"/>
                  </a:lnTo>
                  <a:lnTo>
                    <a:pt x="17929" y="6717"/>
                  </a:lnTo>
                  <a:close/>
                  <a:moveTo>
                    <a:pt x="17686" y="6821"/>
                  </a:moveTo>
                  <a:lnTo>
                    <a:pt x="17686" y="6821"/>
                  </a:lnTo>
                  <a:lnTo>
                    <a:pt x="17690" y="6816"/>
                  </a:lnTo>
                  <a:lnTo>
                    <a:pt x="17691" y="6807"/>
                  </a:lnTo>
                  <a:lnTo>
                    <a:pt x="17684" y="6806"/>
                  </a:lnTo>
                  <a:lnTo>
                    <a:pt x="17675" y="6813"/>
                  </a:lnTo>
                  <a:lnTo>
                    <a:pt x="17664" y="6828"/>
                  </a:lnTo>
                  <a:lnTo>
                    <a:pt x="17661" y="6836"/>
                  </a:lnTo>
                  <a:lnTo>
                    <a:pt x="17666" y="6836"/>
                  </a:lnTo>
                  <a:lnTo>
                    <a:pt x="17686" y="6821"/>
                  </a:lnTo>
                  <a:close/>
                  <a:moveTo>
                    <a:pt x="18162" y="6910"/>
                  </a:moveTo>
                  <a:lnTo>
                    <a:pt x="18162" y="6910"/>
                  </a:lnTo>
                  <a:lnTo>
                    <a:pt x="18162" y="6914"/>
                  </a:lnTo>
                  <a:lnTo>
                    <a:pt x="18165" y="6916"/>
                  </a:lnTo>
                  <a:lnTo>
                    <a:pt x="18169" y="6914"/>
                  </a:lnTo>
                  <a:lnTo>
                    <a:pt x="18172" y="6908"/>
                  </a:lnTo>
                  <a:lnTo>
                    <a:pt x="18173" y="6890"/>
                  </a:lnTo>
                  <a:lnTo>
                    <a:pt x="18172" y="6885"/>
                  </a:lnTo>
                  <a:lnTo>
                    <a:pt x="18155" y="6882"/>
                  </a:lnTo>
                  <a:lnTo>
                    <a:pt x="18131" y="6892"/>
                  </a:lnTo>
                  <a:lnTo>
                    <a:pt x="18128" y="6896"/>
                  </a:lnTo>
                  <a:lnTo>
                    <a:pt x="18128" y="6899"/>
                  </a:lnTo>
                  <a:lnTo>
                    <a:pt x="18134" y="6899"/>
                  </a:lnTo>
                  <a:lnTo>
                    <a:pt x="18134" y="6901"/>
                  </a:lnTo>
                  <a:lnTo>
                    <a:pt x="18129" y="6901"/>
                  </a:lnTo>
                  <a:lnTo>
                    <a:pt x="18122" y="6901"/>
                  </a:lnTo>
                  <a:lnTo>
                    <a:pt x="18121" y="6905"/>
                  </a:lnTo>
                  <a:lnTo>
                    <a:pt x="18125" y="6909"/>
                  </a:lnTo>
                  <a:lnTo>
                    <a:pt x="18128" y="6911"/>
                  </a:lnTo>
                  <a:lnTo>
                    <a:pt x="18131" y="6914"/>
                  </a:lnTo>
                  <a:lnTo>
                    <a:pt x="18141" y="6912"/>
                  </a:lnTo>
                  <a:lnTo>
                    <a:pt x="18149" y="6916"/>
                  </a:lnTo>
                  <a:lnTo>
                    <a:pt x="18151" y="6917"/>
                  </a:lnTo>
                  <a:lnTo>
                    <a:pt x="18156" y="6919"/>
                  </a:lnTo>
                  <a:lnTo>
                    <a:pt x="18159" y="6916"/>
                  </a:lnTo>
                  <a:lnTo>
                    <a:pt x="18158" y="6912"/>
                  </a:lnTo>
                  <a:lnTo>
                    <a:pt x="18159" y="6909"/>
                  </a:lnTo>
                  <a:lnTo>
                    <a:pt x="18162" y="6910"/>
                  </a:lnTo>
                  <a:close/>
                  <a:moveTo>
                    <a:pt x="18972" y="7242"/>
                  </a:moveTo>
                  <a:lnTo>
                    <a:pt x="18972" y="7242"/>
                  </a:lnTo>
                  <a:lnTo>
                    <a:pt x="18972" y="7237"/>
                  </a:lnTo>
                  <a:lnTo>
                    <a:pt x="18968" y="7231"/>
                  </a:lnTo>
                  <a:lnTo>
                    <a:pt x="18965" y="7229"/>
                  </a:lnTo>
                  <a:lnTo>
                    <a:pt x="18960" y="7230"/>
                  </a:lnTo>
                  <a:lnTo>
                    <a:pt x="18961" y="7238"/>
                  </a:lnTo>
                  <a:lnTo>
                    <a:pt x="18968" y="7244"/>
                  </a:lnTo>
                  <a:lnTo>
                    <a:pt x="18972" y="7242"/>
                  </a:lnTo>
                  <a:close/>
                  <a:moveTo>
                    <a:pt x="25545" y="7245"/>
                  </a:moveTo>
                  <a:lnTo>
                    <a:pt x="25545" y="7245"/>
                  </a:lnTo>
                  <a:lnTo>
                    <a:pt x="25538" y="7249"/>
                  </a:lnTo>
                  <a:lnTo>
                    <a:pt x="25534" y="7252"/>
                  </a:lnTo>
                  <a:lnTo>
                    <a:pt x="25530" y="7254"/>
                  </a:lnTo>
                  <a:lnTo>
                    <a:pt x="25526" y="7259"/>
                  </a:lnTo>
                  <a:lnTo>
                    <a:pt x="25524" y="7265"/>
                  </a:lnTo>
                  <a:lnTo>
                    <a:pt x="25527" y="7271"/>
                  </a:lnTo>
                  <a:lnTo>
                    <a:pt x="25539" y="7280"/>
                  </a:lnTo>
                  <a:lnTo>
                    <a:pt x="25550" y="7280"/>
                  </a:lnTo>
                  <a:lnTo>
                    <a:pt x="25556" y="7275"/>
                  </a:lnTo>
                  <a:lnTo>
                    <a:pt x="25568" y="7251"/>
                  </a:lnTo>
                  <a:lnTo>
                    <a:pt x="25572" y="7248"/>
                  </a:lnTo>
                  <a:lnTo>
                    <a:pt x="25582" y="7248"/>
                  </a:lnTo>
                  <a:lnTo>
                    <a:pt x="25582" y="7243"/>
                  </a:lnTo>
                  <a:lnTo>
                    <a:pt x="25579" y="7235"/>
                  </a:lnTo>
                  <a:lnTo>
                    <a:pt x="25565" y="7233"/>
                  </a:lnTo>
                  <a:lnTo>
                    <a:pt x="25552" y="7237"/>
                  </a:lnTo>
                  <a:lnTo>
                    <a:pt x="25550" y="7242"/>
                  </a:lnTo>
                  <a:lnTo>
                    <a:pt x="25551" y="7245"/>
                  </a:lnTo>
                  <a:lnTo>
                    <a:pt x="25550" y="7246"/>
                  </a:lnTo>
                  <a:lnTo>
                    <a:pt x="25545" y="7245"/>
                  </a:lnTo>
                  <a:close/>
                  <a:moveTo>
                    <a:pt x="15677" y="7360"/>
                  </a:moveTo>
                  <a:lnTo>
                    <a:pt x="15677" y="7360"/>
                  </a:lnTo>
                  <a:lnTo>
                    <a:pt x="15680" y="7361"/>
                  </a:lnTo>
                  <a:lnTo>
                    <a:pt x="15683" y="7359"/>
                  </a:lnTo>
                  <a:lnTo>
                    <a:pt x="15684" y="7360"/>
                  </a:lnTo>
                  <a:lnTo>
                    <a:pt x="15684" y="7364"/>
                  </a:lnTo>
                  <a:lnTo>
                    <a:pt x="15687" y="7366"/>
                  </a:lnTo>
                  <a:lnTo>
                    <a:pt x="15695" y="7365"/>
                  </a:lnTo>
                  <a:lnTo>
                    <a:pt x="15707" y="7356"/>
                  </a:lnTo>
                  <a:lnTo>
                    <a:pt x="15710" y="7344"/>
                  </a:lnTo>
                  <a:lnTo>
                    <a:pt x="15704" y="7340"/>
                  </a:lnTo>
                  <a:lnTo>
                    <a:pt x="15705" y="7336"/>
                  </a:lnTo>
                  <a:lnTo>
                    <a:pt x="15703" y="7328"/>
                  </a:lnTo>
                  <a:lnTo>
                    <a:pt x="15696" y="7325"/>
                  </a:lnTo>
                  <a:lnTo>
                    <a:pt x="15694" y="7326"/>
                  </a:lnTo>
                  <a:lnTo>
                    <a:pt x="15691" y="7327"/>
                  </a:lnTo>
                  <a:lnTo>
                    <a:pt x="15687" y="7329"/>
                  </a:lnTo>
                  <a:lnTo>
                    <a:pt x="15687" y="7336"/>
                  </a:lnTo>
                  <a:lnTo>
                    <a:pt x="15683" y="7345"/>
                  </a:lnTo>
                  <a:lnTo>
                    <a:pt x="15677" y="7343"/>
                  </a:lnTo>
                  <a:lnTo>
                    <a:pt x="15674" y="7338"/>
                  </a:lnTo>
                  <a:lnTo>
                    <a:pt x="15671" y="7342"/>
                  </a:lnTo>
                  <a:lnTo>
                    <a:pt x="15670" y="7348"/>
                  </a:lnTo>
                  <a:lnTo>
                    <a:pt x="15676" y="7355"/>
                  </a:lnTo>
                  <a:lnTo>
                    <a:pt x="15676" y="7358"/>
                  </a:lnTo>
                  <a:lnTo>
                    <a:pt x="15677" y="7360"/>
                  </a:lnTo>
                  <a:close/>
                  <a:moveTo>
                    <a:pt x="25361" y="7375"/>
                  </a:moveTo>
                  <a:lnTo>
                    <a:pt x="25361" y="7375"/>
                  </a:lnTo>
                  <a:lnTo>
                    <a:pt x="25363" y="7374"/>
                  </a:lnTo>
                  <a:lnTo>
                    <a:pt x="25377" y="7356"/>
                  </a:lnTo>
                  <a:lnTo>
                    <a:pt x="25379" y="7346"/>
                  </a:lnTo>
                  <a:lnTo>
                    <a:pt x="25377" y="7338"/>
                  </a:lnTo>
                  <a:lnTo>
                    <a:pt x="25370" y="7333"/>
                  </a:lnTo>
                  <a:lnTo>
                    <a:pt x="25361" y="7334"/>
                  </a:lnTo>
                  <a:lnTo>
                    <a:pt x="25357" y="7338"/>
                  </a:lnTo>
                  <a:lnTo>
                    <a:pt x="25356" y="7343"/>
                  </a:lnTo>
                  <a:lnTo>
                    <a:pt x="25359" y="7347"/>
                  </a:lnTo>
                  <a:lnTo>
                    <a:pt x="25361" y="7351"/>
                  </a:lnTo>
                  <a:lnTo>
                    <a:pt x="25359" y="7372"/>
                  </a:lnTo>
                  <a:lnTo>
                    <a:pt x="25361" y="7375"/>
                  </a:lnTo>
                  <a:close/>
                  <a:moveTo>
                    <a:pt x="17780" y="7380"/>
                  </a:moveTo>
                  <a:lnTo>
                    <a:pt x="17780" y="7380"/>
                  </a:lnTo>
                  <a:lnTo>
                    <a:pt x="17782" y="7375"/>
                  </a:lnTo>
                  <a:lnTo>
                    <a:pt x="17783" y="7364"/>
                  </a:lnTo>
                  <a:lnTo>
                    <a:pt x="17790" y="7346"/>
                  </a:lnTo>
                  <a:lnTo>
                    <a:pt x="17787" y="7344"/>
                  </a:lnTo>
                  <a:lnTo>
                    <a:pt x="17769" y="7350"/>
                  </a:lnTo>
                  <a:lnTo>
                    <a:pt x="17761" y="7358"/>
                  </a:lnTo>
                  <a:lnTo>
                    <a:pt x="17760" y="7371"/>
                  </a:lnTo>
                  <a:lnTo>
                    <a:pt x="17766" y="7379"/>
                  </a:lnTo>
                  <a:lnTo>
                    <a:pt x="17773" y="7382"/>
                  </a:lnTo>
                  <a:lnTo>
                    <a:pt x="17780" y="7380"/>
                  </a:lnTo>
                  <a:close/>
                  <a:moveTo>
                    <a:pt x="25359" y="7423"/>
                  </a:moveTo>
                  <a:lnTo>
                    <a:pt x="25359" y="7423"/>
                  </a:lnTo>
                  <a:lnTo>
                    <a:pt x="25367" y="7431"/>
                  </a:lnTo>
                  <a:lnTo>
                    <a:pt x="25368" y="7432"/>
                  </a:lnTo>
                  <a:lnTo>
                    <a:pt x="25371" y="7432"/>
                  </a:lnTo>
                  <a:lnTo>
                    <a:pt x="25373" y="7434"/>
                  </a:lnTo>
                  <a:lnTo>
                    <a:pt x="25378" y="7432"/>
                  </a:lnTo>
                  <a:lnTo>
                    <a:pt x="25388" y="7418"/>
                  </a:lnTo>
                  <a:lnTo>
                    <a:pt x="25417" y="7400"/>
                  </a:lnTo>
                  <a:lnTo>
                    <a:pt x="25420" y="7393"/>
                  </a:lnTo>
                  <a:lnTo>
                    <a:pt x="25415" y="7385"/>
                  </a:lnTo>
                  <a:lnTo>
                    <a:pt x="25404" y="7381"/>
                  </a:lnTo>
                  <a:lnTo>
                    <a:pt x="25398" y="7381"/>
                  </a:lnTo>
                  <a:lnTo>
                    <a:pt x="25394" y="7382"/>
                  </a:lnTo>
                  <a:lnTo>
                    <a:pt x="25389" y="7388"/>
                  </a:lnTo>
                  <a:lnTo>
                    <a:pt x="25383" y="7402"/>
                  </a:lnTo>
                  <a:lnTo>
                    <a:pt x="25375" y="7410"/>
                  </a:lnTo>
                  <a:lnTo>
                    <a:pt x="25363" y="7414"/>
                  </a:lnTo>
                  <a:lnTo>
                    <a:pt x="25360" y="7413"/>
                  </a:lnTo>
                  <a:lnTo>
                    <a:pt x="25358" y="7413"/>
                  </a:lnTo>
                  <a:lnTo>
                    <a:pt x="25355" y="7418"/>
                  </a:lnTo>
                  <a:lnTo>
                    <a:pt x="25359" y="7423"/>
                  </a:lnTo>
                  <a:close/>
                  <a:moveTo>
                    <a:pt x="17750" y="7462"/>
                  </a:moveTo>
                  <a:lnTo>
                    <a:pt x="17750" y="7462"/>
                  </a:lnTo>
                  <a:lnTo>
                    <a:pt x="17745" y="7466"/>
                  </a:lnTo>
                  <a:lnTo>
                    <a:pt x="17750" y="7469"/>
                  </a:lnTo>
                  <a:lnTo>
                    <a:pt x="17760" y="7471"/>
                  </a:lnTo>
                  <a:lnTo>
                    <a:pt x="17768" y="7474"/>
                  </a:lnTo>
                  <a:lnTo>
                    <a:pt x="17789" y="7472"/>
                  </a:lnTo>
                  <a:lnTo>
                    <a:pt x="17802" y="7463"/>
                  </a:lnTo>
                  <a:lnTo>
                    <a:pt x="17812" y="7451"/>
                  </a:lnTo>
                  <a:lnTo>
                    <a:pt x="17811" y="7441"/>
                  </a:lnTo>
                  <a:lnTo>
                    <a:pt x="17807" y="7431"/>
                  </a:lnTo>
                  <a:lnTo>
                    <a:pt x="17800" y="7427"/>
                  </a:lnTo>
                  <a:lnTo>
                    <a:pt x="17781" y="7423"/>
                  </a:lnTo>
                  <a:lnTo>
                    <a:pt x="17766" y="7450"/>
                  </a:lnTo>
                  <a:lnTo>
                    <a:pt x="17759" y="7457"/>
                  </a:lnTo>
                  <a:lnTo>
                    <a:pt x="17750" y="7462"/>
                  </a:lnTo>
                  <a:close/>
                  <a:moveTo>
                    <a:pt x="18727" y="7496"/>
                  </a:moveTo>
                  <a:lnTo>
                    <a:pt x="18727" y="7496"/>
                  </a:lnTo>
                  <a:lnTo>
                    <a:pt x="18687" y="7482"/>
                  </a:lnTo>
                  <a:lnTo>
                    <a:pt x="18677" y="7483"/>
                  </a:lnTo>
                  <a:lnTo>
                    <a:pt x="18675" y="7488"/>
                  </a:lnTo>
                  <a:lnTo>
                    <a:pt x="18676" y="7497"/>
                  </a:lnTo>
                  <a:lnTo>
                    <a:pt x="18683" y="7508"/>
                  </a:lnTo>
                  <a:lnTo>
                    <a:pt x="18691" y="7516"/>
                  </a:lnTo>
                  <a:lnTo>
                    <a:pt x="18700" y="7520"/>
                  </a:lnTo>
                  <a:lnTo>
                    <a:pt x="18738" y="7515"/>
                  </a:lnTo>
                  <a:lnTo>
                    <a:pt x="18745" y="7511"/>
                  </a:lnTo>
                  <a:lnTo>
                    <a:pt x="18746" y="7507"/>
                  </a:lnTo>
                  <a:lnTo>
                    <a:pt x="18742" y="7504"/>
                  </a:lnTo>
                  <a:lnTo>
                    <a:pt x="18738" y="7504"/>
                  </a:lnTo>
                  <a:lnTo>
                    <a:pt x="18727" y="7496"/>
                  </a:lnTo>
                  <a:close/>
                  <a:moveTo>
                    <a:pt x="9995" y="7556"/>
                  </a:moveTo>
                  <a:lnTo>
                    <a:pt x="9995" y="7556"/>
                  </a:lnTo>
                  <a:lnTo>
                    <a:pt x="10000" y="7558"/>
                  </a:lnTo>
                  <a:lnTo>
                    <a:pt x="10002" y="7557"/>
                  </a:lnTo>
                  <a:lnTo>
                    <a:pt x="10002" y="7553"/>
                  </a:lnTo>
                  <a:lnTo>
                    <a:pt x="10008" y="7549"/>
                  </a:lnTo>
                  <a:lnTo>
                    <a:pt x="10008" y="7547"/>
                  </a:lnTo>
                  <a:lnTo>
                    <a:pt x="10006" y="7542"/>
                  </a:lnTo>
                  <a:lnTo>
                    <a:pt x="10006" y="7540"/>
                  </a:lnTo>
                  <a:lnTo>
                    <a:pt x="10000" y="7536"/>
                  </a:lnTo>
                  <a:lnTo>
                    <a:pt x="10000" y="7528"/>
                  </a:lnTo>
                  <a:lnTo>
                    <a:pt x="10002" y="7520"/>
                  </a:lnTo>
                  <a:lnTo>
                    <a:pt x="9994" y="7526"/>
                  </a:lnTo>
                  <a:lnTo>
                    <a:pt x="9984" y="7539"/>
                  </a:lnTo>
                  <a:lnTo>
                    <a:pt x="9983" y="7545"/>
                  </a:lnTo>
                  <a:lnTo>
                    <a:pt x="9988" y="7542"/>
                  </a:lnTo>
                  <a:lnTo>
                    <a:pt x="9993" y="7543"/>
                  </a:lnTo>
                  <a:lnTo>
                    <a:pt x="9995" y="7546"/>
                  </a:lnTo>
                  <a:lnTo>
                    <a:pt x="9997" y="7543"/>
                  </a:lnTo>
                  <a:lnTo>
                    <a:pt x="9997" y="7539"/>
                  </a:lnTo>
                  <a:lnTo>
                    <a:pt x="9998" y="7541"/>
                  </a:lnTo>
                  <a:lnTo>
                    <a:pt x="9999" y="7546"/>
                  </a:lnTo>
                  <a:lnTo>
                    <a:pt x="9993" y="7552"/>
                  </a:lnTo>
                  <a:lnTo>
                    <a:pt x="9995" y="7556"/>
                  </a:lnTo>
                  <a:close/>
                  <a:moveTo>
                    <a:pt x="6606" y="7556"/>
                  </a:moveTo>
                  <a:lnTo>
                    <a:pt x="6606" y="7556"/>
                  </a:lnTo>
                  <a:lnTo>
                    <a:pt x="6612" y="7555"/>
                  </a:lnTo>
                  <a:lnTo>
                    <a:pt x="6634" y="7561"/>
                  </a:lnTo>
                  <a:lnTo>
                    <a:pt x="6639" y="7559"/>
                  </a:lnTo>
                  <a:lnTo>
                    <a:pt x="6645" y="7550"/>
                  </a:lnTo>
                  <a:lnTo>
                    <a:pt x="6652" y="7547"/>
                  </a:lnTo>
                  <a:lnTo>
                    <a:pt x="6654" y="7544"/>
                  </a:lnTo>
                  <a:lnTo>
                    <a:pt x="6653" y="7541"/>
                  </a:lnTo>
                  <a:lnTo>
                    <a:pt x="6649" y="7536"/>
                  </a:lnTo>
                  <a:lnTo>
                    <a:pt x="6646" y="7534"/>
                  </a:lnTo>
                  <a:lnTo>
                    <a:pt x="6641" y="7530"/>
                  </a:lnTo>
                  <a:lnTo>
                    <a:pt x="6638" y="7537"/>
                  </a:lnTo>
                  <a:lnTo>
                    <a:pt x="6634" y="7542"/>
                  </a:lnTo>
                  <a:lnTo>
                    <a:pt x="6629" y="7540"/>
                  </a:lnTo>
                  <a:lnTo>
                    <a:pt x="6622" y="7545"/>
                  </a:lnTo>
                  <a:lnTo>
                    <a:pt x="6618" y="7546"/>
                  </a:lnTo>
                  <a:lnTo>
                    <a:pt x="6616" y="7544"/>
                  </a:lnTo>
                  <a:lnTo>
                    <a:pt x="6607" y="7550"/>
                  </a:lnTo>
                  <a:lnTo>
                    <a:pt x="6604" y="7553"/>
                  </a:lnTo>
                  <a:lnTo>
                    <a:pt x="6605" y="7556"/>
                  </a:lnTo>
                  <a:lnTo>
                    <a:pt x="6606" y="7556"/>
                  </a:lnTo>
                  <a:close/>
                  <a:moveTo>
                    <a:pt x="6764" y="7643"/>
                  </a:moveTo>
                  <a:lnTo>
                    <a:pt x="6764" y="7643"/>
                  </a:lnTo>
                  <a:lnTo>
                    <a:pt x="6773" y="7645"/>
                  </a:lnTo>
                  <a:lnTo>
                    <a:pt x="6781" y="7641"/>
                  </a:lnTo>
                  <a:lnTo>
                    <a:pt x="6787" y="7633"/>
                  </a:lnTo>
                  <a:lnTo>
                    <a:pt x="6788" y="7628"/>
                  </a:lnTo>
                  <a:lnTo>
                    <a:pt x="6787" y="7625"/>
                  </a:lnTo>
                  <a:lnTo>
                    <a:pt x="6786" y="7621"/>
                  </a:lnTo>
                  <a:lnTo>
                    <a:pt x="6783" y="7616"/>
                  </a:lnTo>
                  <a:lnTo>
                    <a:pt x="6775" y="7613"/>
                  </a:lnTo>
                  <a:lnTo>
                    <a:pt x="6768" y="7614"/>
                  </a:lnTo>
                  <a:lnTo>
                    <a:pt x="6762" y="7617"/>
                  </a:lnTo>
                  <a:lnTo>
                    <a:pt x="6757" y="7622"/>
                  </a:lnTo>
                  <a:lnTo>
                    <a:pt x="6755" y="7626"/>
                  </a:lnTo>
                  <a:lnTo>
                    <a:pt x="6754" y="7628"/>
                  </a:lnTo>
                  <a:lnTo>
                    <a:pt x="6755" y="7634"/>
                  </a:lnTo>
                  <a:lnTo>
                    <a:pt x="6757" y="7639"/>
                  </a:lnTo>
                  <a:lnTo>
                    <a:pt x="6764" y="7643"/>
                  </a:lnTo>
                  <a:close/>
                  <a:moveTo>
                    <a:pt x="25684" y="7935"/>
                  </a:moveTo>
                  <a:lnTo>
                    <a:pt x="25684" y="7935"/>
                  </a:lnTo>
                  <a:lnTo>
                    <a:pt x="25683" y="7901"/>
                  </a:lnTo>
                  <a:lnTo>
                    <a:pt x="25680" y="7901"/>
                  </a:lnTo>
                  <a:lnTo>
                    <a:pt x="25673" y="7906"/>
                  </a:lnTo>
                  <a:lnTo>
                    <a:pt x="25670" y="7913"/>
                  </a:lnTo>
                  <a:lnTo>
                    <a:pt x="25667" y="7933"/>
                  </a:lnTo>
                  <a:lnTo>
                    <a:pt x="25671" y="7942"/>
                  </a:lnTo>
                  <a:lnTo>
                    <a:pt x="25680" y="7942"/>
                  </a:lnTo>
                  <a:lnTo>
                    <a:pt x="25684" y="7935"/>
                  </a:lnTo>
                  <a:close/>
                  <a:moveTo>
                    <a:pt x="25730" y="7978"/>
                  </a:moveTo>
                  <a:lnTo>
                    <a:pt x="25730" y="7978"/>
                  </a:lnTo>
                  <a:lnTo>
                    <a:pt x="25722" y="7982"/>
                  </a:lnTo>
                  <a:lnTo>
                    <a:pt x="25705" y="7998"/>
                  </a:lnTo>
                  <a:lnTo>
                    <a:pt x="25700" y="7998"/>
                  </a:lnTo>
                  <a:lnTo>
                    <a:pt x="25697" y="8000"/>
                  </a:lnTo>
                  <a:lnTo>
                    <a:pt x="25696" y="8005"/>
                  </a:lnTo>
                  <a:lnTo>
                    <a:pt x="25699" y="8020"/>
                  </a:lnTo>
                  <a:lnTo>
                    <a:pt x="25703" y="8022"/>
                  </a:lnTo>
                  <a:lnTo>
                    <a:pt x="25710" y="8022"/>
                  </a:lnTo>
                  <a:lnTo>
                    <a:pt x="25714" y="8020"/>
                  </a:lnTo>
                  <a:lnTo>
                    <a:pt x="25716" y="8021"/>
                  </a:lnTo>
                  <a:lnTo>
                    <a:pt x="25718" y="8027"/>
                  </a:lnTo>
                  <a:lnTo>
                    <a:pt x="25722" y="8028"/>
                  </a:lnTo>
                  <a:lnTo>
                    <a:pt x="25733" y="8003"/>
                  </a:lnTo>
                  <a:lnTo>
                    <a:pt x="25742" y="7990"/>
                  </a:lnTo>
                  <a:lnTo>
                    <a:pt x="25744" y="7984"/>
                  </a:lnTo>
                  <a:lnTo>
                    <a:pt x="25736" y="7981"/>
                  </a:lnTo>
                  <a:lnTo>
                    <a:pt x="25730" y="7978"/>
                  </a:lnTo>
                  <a:close/>
                  <a:moveTo>
                    <a:pt x="25542" y="8149"/>
                  </a:moveTo>
                  <a:lnTo>
                    <a:pt x="25542" y="8149"/>
                  </a:lnTo>
                  <a:lnTo>
                    <a:pt x="25540" y="8148"/>
                  </a:lnTo>
                  <a:lnTo>
                    <a:pt x="25539" y="8143"/>
                  </a:lnTo>
                  <a:lnTo>
                    <a:pt x="25532" y="8134"/>
                  </a:lnTo>
                  <a:lnTo>
                    <a:pt x="25531" y="8131"/>
                  </a:lnTo>
                  <a:lnTo>
                    <a:pt x="25531" y="8130"/>
                  </a:lnTo>
                  <a:lnTo>
                    <a:pt x="25532" y="8128"/>
                  </a:lnTo>
                  <a:lnTo>
                    <a:pt x="25532" y="8126"/>
                  </a:lnTo>
                  <a:lnTo>
                    <a:pt x="25531" y="8124"/>
                  </a:lnTo>
                  <a:lnTo>
                    <a:pt x="25537" y="8119"/>
                  </a:lnTo>
                  <a:lnTo>
                    <a:pt x="25539" y="8112"/>
                  </a:lnTo>
                  <a:lnTo>
                    <a:pt x="25537" y="8103"/>
                  </a:lnTo>
                  <a:lnTo>
                    <a:pt x="25531" y="8096"/>
                  </a:lnTo>
                  <a:lnTo>
                    <a:pt x="25527" y="8096"/>
                  </a:lnTo>
                  <a:lnTo>
                    <a:pt x="25524" y="8102"/>
                  </a:lnTo>
                  <a:lnTo>
                    <a:pt x="25523" y="8112"/>
                  </a:lnTo>
                  <a:lnTo>
                    <a:pt x="25519" y="8118"/>
                  </a:lnTo>
                  <a:lnTo>
                    <a:pt x="25518" y="8124"/>
                  </a:lnTo>
                  <a:lnTo>
                    <a:pt x="25520" y="8126"/>
                  </a:lnTo>
                  <a:lnTo>
                    <a:pt x="25522" y="8126"/>
                  </a:lnTo>
                  <a:lnTo>
                    <a:pt x="25524" y="8127"/>
                  </a:lnTo>
                  <a:lnTo>
                    <a:pt x="25523" y="8129"/>
                  </a:lnTo>
                  <a:lnTo>
                    <a:pt x="25520" y="8132"/>
                  </a:lnTo>
                  <a:lnTo>
                    <a:pt x="25517" y="8135"/>
                  </a:lnTo>
                  <a:lnTo>
                    <a:pt x="25511" y="8148"/>
                  </a:lnTo>
                  <a:lnTo>
                    <a:pt x="25511" y="8156"/>
                  </a:lnTo>
                  <a:lnTo>
                    <a:pt x="25513" y="8159"/>
                  </a:lnTo>
                  <a:lnTo>
                    <a:pt x="25516" y="8158"/>
                  </a:lnTo>
                  <a:lnTo>
                    <a:pt x="25517" y="8156"/>
                  </a:lnTo>
                  <a:lnTo>
                    <a:pt x="25521" y="8154"/>
                  </a:lnTo>
                  <a:lnTo>
                    <a:pt x="25531" y="8155"/>
                  </a:lnTo>
                  <a:lnTo>
                    <a:pt x="25535" y="8157"/>
                  </a:lnTo>
                  <a:lnTo>
                    <a:pt x="25535" y="8160"/>
                  </a:lnTo>
                  <a:lnTo>
                    <a:pt x="25531" y="8166"/>
                  </a:lnTo>
                  <a:lnTo>
                    <a:pt x="25531" y="8171"/>
                  </a:lnTo>
                  <a:lnTo>
                    <a:pt x="25534" y="8172"/>
                  </a:lnTo>
                  <a:lnTo>
                    <a:pt x="25539" y="8170"/>
                  </a:lnTo>
                  <a:lnTo>
                    <a:pt x="25545" y="8166"/>
                  </a:lnTo>
                  <a:lnTo>
                    <a:pt x="25551" y="8155"/>
                  </a:lnTo>
                  <a:lnTo>
                    <a:pt x="25551" y="8152"/>
                  </a:lnTo>
                  <a:lnTo>
                    <a:pt x="25548" y="8150"/>
                  </a:lnTo>
                  <a:lnTo>
                    <a:pt x="25542" y="8149"/>
                  </a:lnTo>
                  <a:close/>
                  <a:moveTo>
                    <a:pt x="16670" y="8217"/>
                  </a:moveTo>
                  <a:lnTo>
                    <a:pt x="16670" y="8217"/>
                  </a:lnTo>
                  <a:lnTo>
                    <a:pt x="16675" y="8218"/>
                  </a:lnTo>
                  <a:lnTo>
                    <a:pt x="16681" y="8208"/>
                  </a:lnTo>
                  <a:lnTo>
                    <a:pt x="16682" y="8201"/>
                  </a:lnTo>
                  <a:lnTo>
                    <a:pt x="16680" y="8185"/>
                  </a:lnTo>
                  <a:lnTo>
                    <a:pt x="16678" y="8179"/>
                  </a:lnTo>
                  <a:lnTo>
                    <a:pt x="16673" y="8172"/>
                  </a:lnTo>
                  <a:lnTo>
                    <a:pt x="16665" y="8174"/>
                  </a:lnTo>
                  <a:lnTo>
                    <a:pt x="16663" y="8187"/>
                  </a:lnTo>
                  <a:lnTo>
                    <a:pt x="16669" y="8204"/>
                  </a:lnTo>
                  <a:lnTo>
                    <a:pt x="16670" y="8217"/>
                  </a:lnTo>
                  <a:close/>
                  <a:moveTo>
                    <a:pt x="25628" y="8211"/>
                  </a:moveTo>
                  <a:lnTo>
                    <a:pt x="25628" y="8211"/>
                  </a:lnTo>
                  <a:lnTo>
                    <a:pt x="25621" y="8216"/>
                  </a:lnTo>
                  <a:lnTo>
                    <a:pt x="25613" y="8219"/>
                  </a:lnTo>
                  <a:lnTo>
                    <a:pt x="25609" y="8217"/>
                  </a:lnTo>
                  <a:lnTo>
                    <a:pt x="25607" y="8220"/>
                  </a:lnTo>
                  <a:lnTo>
                    <a:pt x="25605" y="8224"/>
                  </a:lnTo>
                  <a:lnTo>
                    <a:pt x="25600" y="8229"/>
                  </a:lnTo>
                  <a:lnTo>
                    <a:pt x="25594" y="8232"/>
                  </a:lnTo>
                  <a:lnTo>
                    <a:pt x="25592" y="8235"/>
                  </a:lnTo>
                  <a:lnTo>
                    <a:pt x="25591" y="8236"/>
                  </a:lnTo>
                  <a:lnTo>
                    <a:pt x="25588" y="8237"/>
                  </a:lnTo>
                  <a:lnTo>
                    <a:pt x="25586" y="8233"/>
                  </a:lnTo>
                  <a:lnTo>
                    <a:pt x="25580" y="8231"/>
                  </a:lnTo>
                  <a:lnTo>
                    <a:pt x="25579" y="8236"/>
                  </a:lnTo>
                  <a:lnTo>
                    <a:pt x="25584" y="8244"/>
                  </a:lnTo>
                  <a:lnTo>
                    <a:pt x="25591" y="8245"/>
                  </a:lnTo>
                  <a:lnTo>
                    <a:pt x="25612" y="8225"/>
                  </a:lnTo>
                  <a:lnTo>
                    <a:pt x="25634" y="8216"/>
                  </a:lnTo>
                  <a:lnTo>
                    <a:pt x="25637" y="8212"/>
                  </a:lnTo>
                  <a:lnTo>
                    <a:pt x="25633" y="8209"/>
                  </a:lnTo>
                  <a:lnTo>
                    <a:pt x="25628" y="8211"/>
                  </a:lnTo>
                  <a:close/>
                  <a:moveTo>
                    <a:pt x="23576" y="8257"/>
                  </a:moveTo>
                  <a:lnTo>
                    <a:pt x="23576" y="8257"/>
                  </a:lnTo>
                  <a:lnTo>
                    <a:pt x="23589" y="8249"/>
                  </a:lnTo>
                  <a:lnTo>
                    <a:pt x="23600" y="8231"/>
                  </a:lnTo>
                  <a:lnTo>
                    <a:pt x="23600" y="8222"/>
                  </a:lnTo>
                  <a:lnTo>
                    <a:pt x="23592" y="8221"/>
                  </a:lnTo>
                  <a:lnTo>
                    <a:pt x="23588" y="8220"/>
                  </a:lnTo>
                  <a:lnTo>
                    <a:pt x="23575" y="8226"/>
                  </a:lnTo>
                  <a:lnTo>
                    <a:pt x="23572" y="8240"/>
                  </a:lnTo>
                  <a:lnTo>
                    <a:pt x="23569" y="8247"/>
                  </a:lnTo>
                  <a:lnTo>
                    <a:pt x="23567" y="8253"/>
                  </a:lnTo>
                  <a:lnTo>
                    <a:pt x="23571" y="8255"/>
                  </a:lnTo>
                  <a:lnTo>
                    <a:pt x="23576" y="8257"/>
                  </a:lnTo>
                  <a:close/>
                  <a:moveTo>
                    <a:pt x="13334" y="8309"/>
                  </a:moveTo>
                  <a:lnTo>
                    <a:pt x="13334" y="8309"/>
                  </a:lnTo>
                  <a:lnTo>
                    <a:pt x="13338" y="8308"/>
                  </a:lnTo>
                  <a:lnTo>
                    <a:pt x="13355" y="8316"/>
                  </a:lnTo>
                  <a:lnTo>
                    <a:pt x="13360" y="8314"/>
                  </a:lnTo>
                  <a:lnTo>
                    <a:pt x="13359" y="8309"/>
                  </a:lnTo>
                  <a:lnTo>
                    <a:pt x="13356" y="8305"/>
                  </a:lnTo>
                  <a:lnTo>
                    <a:pt x="13350" y="8300"/>
                  </a:lnTo>
                  <a:lnTo>
                    <a:pt x="13303" y="8273"/>
                  </a:lnTo>
                  <a:lnTo>
                    <a:pt x="13296" y="8272"/>
                  </a:lnTo>
                  <a:lnTo>
                    <a:pt x="13292" y="8274"/>
                  </a:lnTo>
                  <a:lnTo>
                    <a:pt x="13290" y="8276"/>
                  </a:lnTo>
                  <a:lnTo>
                    <a:pt x="13290" y="8283"/>
                  </a:lnTo>
                  <a:lnTo>
                    <a:pt x="13287" y="8284"/>
                  </a:lnTo>
                  <a:lnTo>
                    <a:pt x="13285" y="8286"/>
                  </a:lnTo>
                  <a:lnTo>
                    <a:pt x="13287" y="8291"/>
                  </a:lnTo>
                  <a:lnTo>
                    <a:pt x="13299" y="8298"/>
                  </a:lnTo>
                  <a:lnTo>
                    <a:pt x="13302" y="8303"/>
                  </a:lnTo>
                  <a:lnTo>
                    <a:pt x="13321" y="8311"/>
                  </a:lnTo>
                  <a:lnTo>
                    <a:pt x="13332" y="8311"/>
                  </a:lnTo>
                  <a:lnTo>
                    <a:pt x="13334" y="8309"/>
                  </a:lnTo>
                  <a:close/>
                  <a:moveTo>
                    <a:pt x="23907" y="8304"/>
                  </a:moveTo>
                  <a:lnTo>
                    <a:pt x="23907" y="8304"/>
                  </a:lnTo>
                  <a:lnTo>
                    <a:pt x="23874" y="8332"/>
                  </a:lnTo>
                  <a:lnTo>
                    <a:pt x="23870" y="8334"/>
                  </a:lnTo>
                  <a:lnTo>
                    <a:pt x="23862" y="8341"/>
                  </a:lnTo>
                  <a:lnTo>
                    <a:pt x="23858" y="8354"/>
                  </a:lnTo>
                  <a:lnTo>
                    <a:pt x="23867" y="8360"/>
                  </a:lnTo>
                  <a:lnTo>
                    <a:pt x="23879" y="8355"/>
                  </a:lnTo>
                  <a:lnTo>
                    <a:pt x="23888" y="8348"/>
                  </a:lnTo>
                  <a:lnTo>
                    <a:pt x="23908" y="8314"/>
                  </a:lnTo>
                  <a:lnTo>
                    <a:pt x="23921" y="8305"/>
                  </a:lnTo>
                  <a:lnTo>
                    <a:pt x="23921" y="8301"/>
                  </a:lnTo>
                  <a:lnTo>
                    <a:pt x="23915" y="8301"/>
                  </a:lnTo>
                  <a:lnTo>
                    <a:pt x="23907" y="8304"/>
                  </a:lnTo>
                  <a:close/>
                  <a:moveTo>
                    <a:pt x="12313" y="8383"/>
                  </a:moveTo>
                  <a:lnTo>
                    <a:pt x="12313" y="8383"/>
                  </a:lnTo>
                  <a:lnTo>
                    <a:pt x="12316" y="8376"/>
                  </a:lnTo>
                  <a:lnTo>
                    <a:pt x="12310" y="8364"/>
                  </a:lnTo>
                  <a:lnTo>
                    <a:pt x="12301" y="8358"/>
                  </a:lnTo>
                  <a:lnTo>
                    <a:pt x="12253" y="8353"/>
                  </a:lnTo>
                  <a:lnTo>
                    <a:pt x="12247" y="8350"/>
                  </a:lnTo>
                  <a:lnTo>
                    <a:pt x="12245" y="8348"/>
                  </a:lnTo>
                  <a:lnTo>
                    <a:pt x="12239" y="8350"/>
                  </a:lnTo>
                  <a:lnTo>
                    <a:pt x="12235" y="8358"/>
                  </a:lnTo>
                  <a:lnTo>
                    <a:pt x="12239" y="8365"/>
                  </a:lnTo>
                  <a:lnTo>
                    <a:pt x="12244" y="8370"/>
                  </a:lnTo>
                  <a:lnTo>
                    <a:pt x="12272" y="8380"/>
                  </a:lnTo>
                  <a:lnTo>
                    <a:pt x="12313" y="8383"/>
                  </a:lnTo>
                  <a:close/>
                  <a:moveTo>
                    <a:pt x="25534" y="8349"/>
                  </a:moveTo>
                  <a:lnTo>
                    <a:pt x="25534" y="8349"/>
                  </a:lnTo>
                  <a:lnTo>
                    <a:pt x="25529" y="8350"/>
                  </a:lnTo>
                  <a:lnTo>
                    <a:pt x="25525" y="8352"/>
                  </a:lnTo>
                  <a:lnTo>
                    <a:pt x="25522" y="8353"/>
                  </a:lnTo>
                  <a:lnTo>
                    <a:pt x="25517" y="8350"/>
                  </a:lnTo>
                  <a:lnTo>
                    <a:pt x="25514" y="8350"/>
                  </a:lnTo>
                  <a:lnTo>
                    <a:pt x="25511" y="8354"/>
                  </a:lnTo>
                  <a:lnTo>
                    <a:pt x="25509" y="8360"/>
                  </a:lnTo>
                  <a:lnTo>
                    <a:pt x="25505" y="8365"/>
                  </a:lnTo>
                  <a:lnTo>
                    <a:pt x="25505" y="8367"/>
                  </a:lnTo>
                  <a:lnTo>
                    <a:pt x="25515" y="8367"/>
                  </a:lnTo>
                  <a:lnTo>
                    <a:pt x="25518" y="8368"/>
                  </a:lnTo>
                  <a:lnTo>
                    <a:pt x="25523" y="8367"/>
                  </a:lnTo>
                  <a:lnTo>
                    <a:pt x="25532" y="8371"/>
                  </a:lnTo>
                  <a:lnTo>
                    <a:pt x="25535" y="8373"/>
                  </a:lnTo>
                  <a:lnTo>
                    <a:pt x="25537" y="8371"/>
                  </a:lnTo>
                  <a:lnTo>
                    <a:pt x="25543" y="8361"/>
                  </a:lnTo>
                  <a:lnTo>
                    <a:pt x="25541" y="8354"/>
                  </a:lnTo>
                  <a:lnTo>
                    <a:pt x="25534" y="8349"/>
                  </a:lnTo>
                  <a:close/>
                  <a:moveTo>
                    <a:pt x="12229" y="8428"/>
                  </a:moveTo>
                  <a:lnTo>
                    <a:pt x="12229" y="8428"/>
                  </a:lnTo>
                  <a:lnTo>
                    <a:pt x="12223" y="8425"/>
                  </a:lnTo>
                  <a:lnTo>
                    <a:pt x="12210" y="8429"/>
                  </a:lnTo>
                  <a:lnTo>
                    <a:pt x="12202" y="8437"/>
                  </a:lnTo>
                  <a:lnTo>
                    <a:pt x="12203" y="8446"/>
                  </a:lnTo>
                  <a:lnTo>
                    <a:pt x="12211" y="8448"/>
                  </a:lnTo>
                  <a:lnTo>
                    <a:pt x="12228" y="8443"/>
                  </a:lnTo>
                  <a:lnTo>
                    <a:pt x="12233" y="8446"/>
                  </a:lnTo>
                  <a:lnTo>
                    <a:pt x="12235" y="8450"/>
                  </a:lnTo>
                  <a:lnTo>
                    <a:pt x="12241" y="8457"/>
                  </a:lnTo>
                  <a:lnTo>
                    <a:pt x="12246" y="8459"/>
                  </a:lnTo>
                  <a:lnTo>
                    <a:pt x="12240" y="8450"/>
                  </a:lnTo>
                  <a:lnTo>
                    <a:pt x="12229" y="8428"/>
                  </a:lnTo>
                  <a:close/>
                  <a:moveTo>
                    <a:pt x="12117" y="8445"/>
                  </a:moveTo>
                  <a:lnTo>
                    <a:pt x="12117" y="8445"/>
                  </a:lnTo>
                  <a:lnTo>
                    <a:pt x="12114" y="8449"/>
                  </a:lnTo>
                  <a:lnTo>
                    <a:pt x="12115" y="8452"/>
                  </a:lnTo>
                  <a:lnTo>
                    <a:pt x="12134" y="8460"/>
                  </a:lnTo>
                  <a:lnTo>
                    <a:pt x="12145" y="8460"/>
                  </a:lnTo>
                  <a:lnTo>
                    <a:pt x="12152" y="8454"/>
                  </a:lnTo>
                  <a:lnTo>
                    <a:pt x="12152" y="8451"/>
                  </a:lnTo>
                  <a:lnTo>
                    <a:pt x="12137" y="8448"/>
                  </a:lnTo>
                  <a:lnTo>
                    <a:pt x="12117" y="8445"/>
                  </a:lnTo>
                  <a:close/>
                  <a:moveTo>
                    <a:pt x="22329" y="8885"/>
                  </a:moveTo>
                  <a:lnTo>
                    <a:pt x="22329" y="8885"/>
                  </a:lnTo>
                  <a:lnTo>
                    <a:pt x="22326" y="8876"/>
                  </a:lnTo>
                  <a:lnTo>
                    <a:pt x="22310" y="8862"/>
                  </a:lnTo>
                  <a:lnTo>
                    <a:pt x="22306" y="8862"/>
                  </a:lnTo>
                  <a:lnTo>
                    <a:pt x="22304" y="8864"/>
                  </a:lnTo>
                  <a:lnTo>
                    <a:pt x="22304" y="8867"/>
                  </a:lnTo>
                  <a:lnTo>
                    <a:pt x="22309" y="8874"/>
                  </a:lnTo>
                  <a:lnTo>
                    <a:pt x="22310" y="8878"/>
                  </a:lnTo>
                  <a:lnTo>
                    <a:pt x="22308" y="8883"/>
                  </a:lnTo>
                  <a:lnTo>
                    <a:pt x="22309" y="8920"/>
                  </a:lnTo>
                  <a:lnTo>
                    <a:pt x="22317" y="8927"/>
                  </a:lnTo>
                  <a:lnTo>
                    <a:pt x="22325" y="8930"/>
                  </a:lnTo>
                  <a:lnTo>
                    <a:pt x="22337" y="8911"/>
                  </a:lnTo>
                  <a:lnTo>
                    <a:pt x="22339" y="8905"/>
                  </a:lnTo>
                  <a:lnTo>
                    <a:pt x="22338" y="8897"/>
                  </a:lnTo>
                  <a:lnTo>
                    <a:pt x="22329" y="8885"/>
                  </a:lnTo>
                  <a:close/>
                  <a:moveTo>
                    <a:pt x="19876" y="8952"/>
                  </a:moveTo>
                  <a:lnTo>
                    <a:pt x="19876" y="8952"/>
                  </a:lnTo>
                  <a:lnTo>
                    <a:pt x="19869" y="8944"/>
                  </a:lnTo>
                  <a:lnTo>
                    <a:pt x="19864" y="8938"/>
                  </a:lnTo>
                  <a:lnTo>
                    <a:pt x="19861" y="8938"/>
                  </a:lnTo>
                  <a:lnTo>
                    <a:pt x="19857" y="8945"/>
                  </a:lnTo>
                  <a:lnTo>
                    <a:pt x="19855" y="8950"/>
                  </a:lnTo>
                  <a:lnTo>
                    <a:pt x="19857" y="8957"/>
                  </a:lnTo>
                  <a:lnTo>
                    <a:pt x="19857" y="8969"/>
                  </a:lnTo>
                  <a:lnTo>
                    <a:pt x="19861" y="8976"/>
                  </a:lnTo>
                  <a:lnTo>
                    <a:pt x="19863" y="8989"/>
                  </a:lnTo>
                  <a:lnTo>
                    <a:pt x="19867" y="8994"/>
                  </a:lnTo>
                  <a:lnTo>
                    <a:pt x="19881" y="8971"/>
                  </a:lnTo>
                  <a:lnTo>
                    <a:pt x="19880" y="8961"/>
                  </a:lnTo>
                  <a:lnTo>
                    <a:pt x="19876" y="8952"/>
                  </a:lnTo>
                  <a:close/>
                  <a:moveTo>
                    <a:pt x="22568" y="9021"/>
                  </a:moveTo>
                  <a:lnTo>
                    <a:pt x="22568" y="9021"/>
                  </a:lnTo>
                  <a:lnTo>
                    <a:pt x="22559" y="9027"/>
                  </a:lnTo>
                  <a:lnTo>
                    <a:pt x="22518" y="9054"/>
                  </a:lnTo>
                  <a:lnTo>
                    <a:pt x="22502" y="9087"/>
                  </a:lnTo>
                  <a:lnTo>
                    <a:pt x="22499" y="9091"/>
                  </a:lnTo>
                  <a:lnTo>
                    <a:pt x="22498" y="9096"/>
                  </a:lnTo>
                  <a:lnTo>
                    <a:pt x="22501" y="9098"/>
                  </a:lnTo>
                  <a:lnTo>
                    <a:pt x="22503" y="9098"/>
                  </a:lnTo>
                  <a:lnTo>
                    <a:pt x="22506" y="9099"/>
                  </a:lnTo>
                  <a:lnTo>
                    <a:pt x="22510" y="9098"/>
                  </a:lnTo>
                  <a:lnTo>
                    <a:pt x="22519" y="9090"/>
                  </a:lnTo>
                  <a:lnTo>
                    <a:pt x="22542" y="9057"/>
                  </a:lnTo>
                  <a:lnTo>
                    <a:pt x="22554" y="9048"/>
                  </a:lnTo>
                  <a:lnTo>
                    <a:pt x="22561" y="9046"/>
                  </a:lnTo>
                  <a:lnTo>
                    <a:pt x="22566" y="9041"/>
                  </a:lnTo>
                  <a:lnTo>
                    <a:pt x="22569" y="9037"/>
                  </a:lnTo>
                  <a:lnTo>
                    <a:pt x="22569" y="9034"/>
                  </a:lnTo>
                  <a:lnTo>
                    <a:pt x="22571" y="9028"/>
                  </a:lnTo>
                  <a:lnTo>
                    <a:pt x="22571" y="9024"/>
                  </a:lnTo>
                  <a:lnTo>
                    <a:pt x="22568" y="9021"/>
                  </a:lnTo>
                  <a:close/>
                  <a:moveTo>
                    <a:pt x="21794" y="9091"/>
                  </a:moveTo>
                  <a:lnTo>
                    <a:pt x="21794" y="9091"/>
                  </a:lnTo>
                  <a:lnTo>
                    <a:pt x="21795" y="9091"/>
                  </a:lnTo>
                  <a:lnTo>
                    <a:pt x="21794" y="9090"/>
                  </a:lnTo>
                  <a:lnTo>
                    <a:pt x="21794" y="9091"/>
                  </a:lnTo>
                  <a:close/>
                  <a:moveTo>
                    <a:pt x="13589" y="9189"/>
                  </a:moveTo>
                  <a:lnTo>
                    <a:pt x="13589" y="9189"/>
                  </a:lnTo>
                  <a:lnTo>
                    <a:pt x="13592" y="9192"/>
                  </a:lnTo>
                  <a:lnTo>
                    <a:pt x="13595" y="9191"/>
                  </a:lnTo>
                  <a:lnTo>
                    <a:pt x="13597" y="9188"/>
                  </a:lnTo>
                  <a:lnTo>
                    <a:pt x="13597" y="9183"/>
                  </a:lnTo>
                  <a:lnTo>
                    <a:pt x="13592" y="9182"/>
                  </a:lnTo>
                  <a:lnTo>
                    <a:pt x="13589" y="9189"/>
                  </a:lnTo>
                  <a:close/>
                  <a:moveTo>
                    <a:pt x="15692" y="9255"/>
                  </a:moveTo>
                  <a:lnTo>
                    <a:pt x="15692" y="9255"/>
                  </a:lnTo>
                  <a:lnTo>
                    <a:pt x="15694" y="9260"/>
                  </a:lnTo>
                  <a:lnTo>
                    <a:pt x="15695" y="9261"/>
                  </a:lnTo>
                  <a:lnTo>
                    <a:pt x="15702" y="9258"/>
                  </a:lnTo>
                  <a:lnTo>
                    <a:pt x="15703" y="9255"/>
                  </a:lnTo>
                  <a:lnTo>
                    <a:pt x="15704" y="9250"/>
                  </a:lnTo>
                  <a:lnTo>
                    <a:pt x="15708" y="9241"/>
                  </a:lnTo>
                  <a:lnTo>
                    <a:pt x="15709" y="9240"/>
                  </a:lnTo>
                  <a:lnTo>
                    <a:pt x="15718" y="9253"/>
                  </a:lnTo>
                  <a:lnTo>
                    <a:pt x="15719" y="9252"/>
                  </a:lnTo>
                  <a:lnTo>
                    <a:pt x="15722" y="9242"/>
                  </a:lnTo>
                  <a:lnTo>
                    <a:pt x="15727" y="9236"/>
                  </a:lnTo>
                  <a:lnTo>
                    <a:pt x="15725" y="9231"/>
                  </a:lnTo>
                  <a:lnTo>
                    <a:pt x="15721" y="9228"/>
                  </a:lnTo>
                  <a:lnTo>
                    <a:pt x="15720" y="9225"/>
                  </a:lnTo>
                  <a:lnTo>
                    <a:pt x="15718" y="9222"/>
                  </a:lnTo>
                  <a:lnTo>
                    <a:pt x="15703" y="9229"/>
                  </a:lnTo>
                  <a:lnTo>
                    <a:pt x="15695" y="9226"/>
                  </a:lnTo>
                  <a:lnTo>
                    <a:pt x="15689" y="9215"/>
                  </a:lnTo>
                  <a:lnTo>
                    <a:pt x="15685" y="9217"/>
                  </a:lnTo>
                  <a:lnTo>
                    <a:pt x="15684" y="9219"/>
                  </a:lnTo>
                  <a:lnTo>
                    <a:pt x="15686" y="9222"/>
                  </a:lnTo>
                  <a:lnTo>
                    <a:pt x="15687" y="9230"/>
                  </a:lnTo>
                  <a:lnTo>
                    <a:pt x="15686" y="9234"/>
                  </a:lnTo>
                  <a:lnTo>
                    <a:pt x="15686" y="9241"/>
                  </a:lnTo>
                  <a:lnTo>
                    <a:pt x="15688" y="9244"/>
                  </a:lnTo>
                  <a:lnTo>
                    <a:pt x="15687" y="9250"/>
                  </a:lnTo>
                  <a:lnTo>
                    <a:pt x="15692" y="9255"/>
                  </a:lnTo>
                  <a:close/>
                  <a:moveTo>
                    <a:pt x="15879" y="9384"/>
                  </a:moveTo>
                  <a:lnTo>
                    <a:pt x="15879" y="9384"/>
                  </a:lnTo>
                  <a:lnTo>
                    <a:pt x="15883" y="9383"/>
                  </a:lnTo>
                  <a:lnTo>
                    <a:pt x="15887" y="9382"/>
                  </a:lnTo>
                  <a:lnTo>
                    <a:pt x="15895" y="9386"/>
                  </a:lnTo>
                  <a:lnTo>
                    <a:pt x="15900" y="9383"/>
                  </a:lnTo>
                  <a:lnTo>
                    <a:pt x="15902" y="9378"/>
                  </a:lnTo>
                  <a:lnTo>
                    <a:pt x="15903" y="9371"/>
                  </a:lnTo>
                  <a:lnTo>
                    <a:pt x="15898" y="9369"/>
                  </a:lnTo>
                  <a:lnTo>
                    <a:pt x="15888" y="9370"/>
                  </a:lnTo>
                  <a:lnTo>
                    <a:pt x="15884" y="9374"/>
                  </a:lnTo>
                  <a:lnTo>
                    <a:pt x="15881" y="9377"/>
                  </a:lnTo>
                  <a:lnTo>
                    <a:pt x="15868" y="9385"/>
                  </a:lnTo>
                  <a:lnTo>
                    <a:pt x="15863" y="9387"/>
                  </a:lnTo>
                  <a:lnTo>
                    <a:pt x="15862" y="9389"/>
                  </a:lnTo>
                  <a:lnTo>
                    <a:pt x="15863" y="9393"/>
                  </a:lnTo>
                  <a:lnTo>
                    <a:pt x="15864" y="9394"/>
                  </a:lnTo>
                  <a:lnTo>
                    <a:pt x="15866" y="9393"/>
                  </a:lnTo>
                  <a:lnTo>
                    <a:pt x="15868" y="9394"/>
                  </a:lnTo>
                  <a:lnTo>
                    <a:pt x="15869" y="9397"/>
                  </a:lnTo>
                  <a:lnTo>
                    <a:pt x="15873" y="9404"/>
                  </a:lnTo>
                  <a:lnTo>
                    <a:pt x="15876" y="9403"/>
                  </a:lnTo>
                  <a:lnTo>
                    <a:pt x="15873" y="9395"/>
                  </a:lnTo>
                  <a:lnTo>
                    <a:pt x="15874" y="9389"/>
                  </a:lnTo>
                  <a:lnTo>
                    <a:pt x="15879" y="9384"/>
                  </a:lnTo>
                  <a:close/>
                  <a:moveTo>
                    <a:pt x="11893" y="9252"/>
                  </a:moveTo>
                  <a:lnTo>
                    <a:pt x="11893" y="9252"/>
                  </a:lnTo>
                  <a:lnTo>
                    <a:pt x="11886" y="9248"/>
                  </a:lnTo>
                  <a:lnTo>
                    <a:pt x="11850" y="9246"/>
                  </a:lnTo>
                  <a:lnTo>
                    <a:pt x="11818" y="9239"/>
                  </a:lnTo>
                  <a:lnTo>
                    <a:pt x="11820" y="9243"/>
                  </a:lnTo>
                  <a:lnTo>
                    <a:pt x="11822" y="9248"/>
                  </a:lnTo>
                  <a:lnTo>
                    <a:pt x="11813" y="9255"/>
                  </a:lnTo>
                  <a:lnTo>
                    <a:pt x="11810" y="9265"/>
                  </a:lnTo>
                  <a:lnTo>
                    <a:pt x="11813" y="9275"/>
                  </a:lnTo>
                  <a:lnTo>
                    <a:pt x="11820" y="9279"/>
                  </a:lnTo>
                  <a:lnTo>
                    <a:pt x="11871" y="9279"/>
                  </a:lnTo>
                  <a:lnTo>
                    <a:pt x="11887" y="9275"/>
                  </a:lnTo>
                  <a:lnTo>
                    <a:pt x="11895" y="9274"/>
                  </a:lnTo>
                  <a:lnTo>
                    <a:pt x="11898" y="9270"/>
                  </a:lnTo>
                  <a:lnTo>
                    <a:pt x="11897" y="9261"/>
                  </a:lnTo>
                  <a:lnTo>
                    <a:pt x="11893" y="9252"/>
                  </a:lnTo>
                  <a:close/>
                  <a:moveTo>
                    <a:pt x="6070" y="3993"/>
                  </a:moveTo>
                  <a:lnTo>
                    <a:pt x="6070" y="3993"/>
                  </a:lnTo>
                  <a:lnTo>
                    <a:pt x="6074" y="4003"/>
                  </a:lnTo>
                  <a:lnTo>
                    <a:pt x="6081" y="4007"/>
                  </a:lnTo>
                  <a:lnTo>
                    <a:pt x="6100" y="4008"/>
                  </a:lnTo>
                  <a:lnTo>
                    <a:pt x="6106" y="4007"/>
                  </a:lnTo>
                  <a:lnTo>
                    <a:pt x="6115" y="4003"/>
                  </a:lnTo>
                  <a:lnTo>
                    <a:pt x="6121" y="4002"/>
                  </a:lnTo>
                  <a:lnTo>
                    <a:pt x="6126" y="4002"/>
                  </a:lnTo>
                  <a:lnTo>
                    <a:pt x="6130" y="4001"/>
                  </a:lnTo>
                  <a:lnTo>
                    <a:pt x="6132" y="3994"/>
                  </a:lnTo>
                  <a:lnTo>
                    <a:pt x="6132" y="3989"/>
                  </a:lnTo>
                  <a:lnTo>
                    <a:pt x="6130" y="3983"/>
                  </a:lnTo>
                  <a:lnTo>
                    <a:pt x="6127" y="3979"/>
                  </a:lnTo>
                  <a:lnTo>
                    <a:pt x="6121" y="3977"/>
                  </a:lnTo>
                  <a:lnTo>
                    <a:pt x="6084" y="3981"/>
                  </a:lnTo>
                  <a:lnTo>
                    <a:pt x="6073" y="3984"/>
                  </a:lnTo>
                  <a:lnTo>
                    <a:pt x="6070" y="3993"/>
                  </a:lnTo>
                  <a:close/>
                  <a:moveTo>
                    <a:pt x="6176" y="3290"/>
                  </a:moveTo>
                  <a:lnTo>
                    <a:pt x="6176" y="3290"/>
                  </a:lnTo>
                  <a:lnTo>
                    <a:pt x="6162" y="3291"/>
                  </a:lnTo>
                  <a:lnTo>
                    <a:pt x="6150" y="3296"/>
                  </a:lnTo>
                  <a:lnTo>
                    <a:pt x="6142" y="3306"/>
                  </a:lnTo>
                  <a:lnTo>
                    <a:pt x="6142" y="3320"/>
                  </a:lnTo>
                  <a:lnTo>
                    <a:pt x="6161" y="3310"/>
                  </a:lnTo>
                  <a:lnTo>
                    <a:pt x="6169" y="3307"/>
                  </a:lnTo>
                  <a:lnTo>
                    <a:pt x="6181" y="3307"/>
                  </a:lnTo>
                  <a:lnTo>
                    <a:pt x="6200" y="3311"/>
                  </a:lnTo>
                  <a:lnTo>
                    <a:pt x="6208" y="3311"/>
                  </a:lnTo>
                  <a:lnTo>
                    <a:pt x="6212" y="3303"/>
                  </a:lnTo>
                  <a:lnTo>
                    <a:pt x="6213" y="3297"/>
                  </a:lnTo>
                  <a:lnTo>
                    <a:pt x="6203" y="3292"/>
                  </a:lnTo>
                  <a:lnTo>
                    <a:pt x="6176" y="3290"/>
                  </a:lnTo>
                  <a:close/>
                  <a:moveTo>
                    <a:pt x="5614" y="3305"/>
                  </a:moveTo>
                  <a:lnTo>
                    <a:pt x="5614" y="3305"/>
                  </a:lnTo>
                  <a:lnTo>
                    <a:pt x="5618" y="3311"/>
                  </a:lnTo>
                  <a:lnTo>
                    <a:pt x="5626" y="3313"/>
                  </a:lnTo>
                  <a:lnTo>
                    <a:pt x="5633" y="3310"/>
                  </a:lnTo>
                  <a:lnTo>
                    <a:pt x="5635" y="3302"/>
                  </a:lnTo>
                  <a:lnTo>
                    <a:pt x="5629" y="3290"/>
                  </a:lnTo>
                  <a:lnTo>
                    <a:pt x="5619" y="3280"/>
                  </a:lnTo>
                  <a:lnTo>
                    <a:pt x="5596" y="3263"/>
                  </a:lnTo>
                  <a:lnTo>
                    <a:pt x="5595" y="3274"/>
                  </a:lnTo>
                  <a:lnTo>
                    <a:pt x="5610" y="3294"/>
                  </a:lnTo>
                  <a:lnTo>
                    <a:pt x="5614" y="3305"/>
                  </a:lnTo>
                  <a:close/>
                  <a:moveTo>
                    <a:pt x="5481" y="3404"/>
                  </a:moveTo>
                  <a:lnTo>
                    <a:pt x="5481" y="3404"/>
                  </a:lnTo>
                  <a:lnTo>
                    <a:pt x="5486" y="3400"/>
                  </a:lnTo>
                  <a:lnTo>
                    <a:pt x="5492" y="3391"/>
                  </a:lnTo>
                  <a:lnTo>
                    <a:pt x="5499" y="3374"/>
                  </a:lnTo>
                  <a:lnTo>
                    <a:pt x="5502" y="3367"/>
                  </a:lnTo>
                  <a:lnTo>
                    <a:pt x="5502" y="3359"/>
                  </a:lnTo>
                  <a:lnTo>
                    <a:pt x="5499" y="3354"/>
                  </a:lnTo>
                  <a:lnTo>
                    <a:pt x="5492" y="3352"/>
                  </a:lnTo>
                  <a:lnTo>
                    <a:pt x="5488" y="3356"/>
                  </a:lnTo>
                  <a:lnTo>
                    <a:pt x="5479" y="3374"/>
                  </a:lnTo>
                  <a:lnTo>
                    <a:pt x="5474" y="3378"/>
                  </a:lnTo>
                  <a:lnTo>
                    <a:pt x="5471" y="3383"/>
                  </a:lnTo>
                  <a:lnTo>
                    <a:pt x="5468" y="3393"/>
                  </a:lnTo>
                  <a:lnTo>
                    <a:pt x="5470" y="3402"/>
                  </a:lnTo>
                  <a:lnTo>
                    <a:pt x="5481" y="3404"/>
                  </a:lnTo>
                  <a:close/>
                  <a:moveTo>
                    <a:pt x="5430" y="3221"/>
                  </a:moveTo>
                  <a:lnTo>
                    <a:pt x="5430" y="3221"/>
                  </a:lnTo>
                  <a:lnTo>
                    <a:pt x="5437" y="3227"/>
                  </a:lnTo>
                  <a:lnTo>
                    <a:pt x="5441" y="3231"/>
                  </a:lnTo>
                  <a:lnTo>
                    <a:pt x="5444" y="3237"/>
                  </a:lnTo>
                  <a:lnTo>
                    <a:pt x="5452" y="3241"/>
                  </a:lnTo>
                  <a:lnTo>
                    <a:pt x="5461" y="3244"/>
                  </a:lnTo>
                  <a:lnTo>
                    <a:pt x="5468" y="3244"/>
                  </a:lnTo>
                  <a:lnTo>
                    <a:pt x="5474" y="3238"/>
                  </a:lnTo>
                  <a:lnTo>
                    <a:pt x="5475" y="3228"/>
                  </a:lnTo>
                  <a:lnTo>
                    <a:pt x="5470" y="3219"/>
                  </a:lnTo>
                  <a:lnTo>
                    <a:pt x="5463" y="3212"/>
                  </a:lnTo>
                  <a:lnTo>
                    <a:pt x="5458" y="3211"/>
                  </a:lnTo>
                  <a:lnTo>
                    <a:pt x="5428" y="3217"/>
                  </a:lnTo>
                  <a:lnTo>
                    <a:pt x="5430" y="3221"/>
                  </a:lnTo>
                  <a:close/>
                  <a:moveTo>
                    <a:pt x="5212" y="3394"/>
                  </a:moveTo>
                  <a:lnTo>
                    <a:pt x="5212" y="3394"/>
                  </a:lnTo>
                  <a:lnTo>
                    <a:pt x="5207" y="3385"/>
                  </a:lnTo>
                  <a:lnTo>
                    <a:pt x="5200" y="3379"/>
                  </a:lnTo>
                  <a:lnTo>
                    <a:pt x="5192" y="3378"/>
                  </a:lnTo>
                  <a:lnTo>
                    <a:pt x="5188" y="3380"/>
                  </a:lnTo>
                  <a:lnTo>
                    <a:pt x="5189" y="3383"/>
                  </a:lnTo>
                  <a:lnTo>
                    <a:pt x="5191" y="3387"/>
                  </a:lnTo>
                  <a:lnTo>
                    <a:pt x="5192" y="3391"/>
                  </a:lnTo>
                  <a:lnTo>
                    <a:pt x="5194" y="3399"/>
                  </a:lnTo>
                  <a:lnTo>
                    <a:pt x="5202" y="3419"/>
                  </a:lnTo>
                  <a:lnTo>
                    <a:pt x="5206" y="3426"/>
                  </a:lnTo>
                  <a:lnTo>
                    <a:pt x="5211" y="3432"/>
                  </a:lnTo>
                  <a:lnTo>
                    <a:pt x="5214" y="3433"/>
                  </a:lnTo>
                  <a:lnTo>
                    <a:pt x="5217" y="3430"/>
                  </a:lnTo>
                  <a:lnTo>
                    <a:pt x="5219" y="3422"/>
                  </a:lnTo>
                  <a:lnTo>
                    <a:pt x="5220" y="3417"/>
                  </a:lnTo>
                  <a:lnTo>
                    <a:pt x="5219" y="3412"/>
                  </a:lnTo>
                  <a:lnTo>
                    <a:pt x="5216" y="3402"/>
                  </a:lnTo>
                  <a:lnTo>
                    <a:pt x="5212" y="3394"/>
                  </a:lnTo>
                  <a:close/>
                  <a:moveTo>
                    <a:pt x="5224" y="3338"/>
                  </a:moveTo>
                  <a:lnTo>
                    <a:pt x="5224" y="3338"/>
                  </a:lnTo>
                  <a:lnTo>
                    <a:pt x="5232" y="3330"/>
                  </a:lnTo>
                  <a:lnTo>
                    <a:pt x="5239" y="3316"/>
                  </a:lnTo>
                  <a:lnTo>
                    <a:pt x="5243" y="3301"/>
                  </a:lnTo>
                  <a:lnTo>
                    <a:pt x="5237" y="3293"/>
                  </a:lnTo>
                  <a:lnTo>
                    <a:pt x="5233" y="3293"/>
                  </a:lnTo>
                  <a:lnTo>
                    <a:pt x="5229" y="3295"/>
                  </a:lnTo>
                  <a:lnTo>
                    <a:pt x="5226" y="3298"/>
                  </a:lnTo>
                  <a:lnTo>
                    <a:pt x="5219" y="3304"/>
                  </a:lnTo>
                  <a:lnTo>
                    <a:pt x="5216" y="3309"/>
                  </a:lnTo>
                  <a:lnTo>
                    <a:pt x="5214" y="3314"/>
                  </a:lnTo>
                  <a:lnTo>
                    <a:pt x="5213" y="3319"/>
                  </a:lnTo>
                  <a:lnTo>
                    <a:pt x="5214" y="3324"/>
                  </a:lnTo>
                  <a:lnTo>
                    <a:pt x="5217" y="3331"/>
                  </a:lnTo>
                  <a:lnTo>
                    <a:pt x="5220" y="3337"/>
                  </a:lnTo>
                  <a:lnTo>
                    <a:pt x="5224" y="3338"/>
                  </a:lnTo>
                  <a:close/>
                  <a:moveTo>
                    <a:pt x="5090" y="3600"/>
                  </a:moveTo>
                  <a:lnTo>
                    <a:pt x="5090" y="3600"/>
                  </a:lnTo>
                  <a:lnTo>
                    <a:pt x="5070" y="3608"/>
                  </a:lnTo>
                  <a:lnTo>
                    <a:pt x="5060" y="3616"/>
                  </a:lnTo>
                  <a:lnTo>
                    <a:pt x="5066" y="3624"/>
                  </a:lnTo>
                  <a:lnTo>
                    <a:pt x="5084" y="3620"/>
                  </a:lnTo>
                  <a:lnTo>
                    <a:pt x="5105" y="3611"/>
                  </a:lnTo>
                  <a:lnTo>
                    <a:pt x="5117" y="3603"/>
                  </a:lnTo>
                  <a:lnTo>
                    <a:pt x="5109" y="3597"/>
                  </a:lnTo>
                  <a:lnTo>
                    <a:pt x="5090" y="3600"/>
                  </a:lnTo>
                  <a:close/>
                  <a:moveTo>
                    <a:pt x="9205" y="4555"/>
                  </a:moveTo>
                  <a:lnTo>
                    <a:pt x="9205" y="4555"/>
                  </a:lnTo>
                  <a:lnTo>
                    <a:pt x="9201" y="4557"/>
                  </a:lnTo>
                  <a:lnTo>
                    <a:pt x="9189" y="4568"/>
                  </a:lnTo>
                  <a:lnTo>
                    <a:pt x="9186" y="4572"/>
                  </a:lnTo>
                  <a:lnTo>
                    <a:pt x="9185" y="4578"/>
                  </a:lnTo>
                  <a:lnTo>
                    <a:pt x="9185" y="4586"/>
                  </a:lnTo>
                  <a:lnTo>
                    <a:pt x="9189" y="4591"/>
                  </a:lnTo>
                  <a:lnTo>
                    <a:pt x="9196" y="4589"/>
                  </a:lnTo>
                  <a:lnTo>
                    <a:pt x="9203" y="4585"/>
                  </a:lnTo>
                  <a:lnTo>
                    <a:pt x="9208" y="4581"/>
                  </a:lnTo>
                  <a:lnTo>
                    <a:pt x="9212" y="4575"/>
                  </a:lnTo>
                  <a:lnTo>
                    <a:pt x="9216" y="4566"/>
                  </a:lnTo>
                  <a:lnTo>
                    <a:pt x="9215" y="4557"/>
                  </a:lnTo>
                  <a:lnTo>
                    <a:pt x="9209" y="4554"/>
                  </a:lnTo>
                  <a:lnTo>
                    <a:pt x="9205" y="4555"/>
                  </a:lnTo>
                  <a:close/>
                  <a:moveTo>
                    <a:pt x="9127" y="4635"/>
                  </a:moveTo>
                  <a:lnTo>
                    <a:pt x="9127" y="4635"/>
                  </a:lnTo>
                  <a:lnTo>
                    <a:pt x="9131" y="4636"/>
                  </a:lnTo>
                  <a:lnTo>
                    <a:pt x="9132" y="4644"/>
                  </a:lnTo>
                  <a:lnTo>
                    <a:pt x="9134" y="4647"/>
                  </a:lnTo>
                  <a:lnTo>
                    <a:pt x="9138" y="4645"/>
                  </a:lnTo>
                  <a:lnTo>
                    <a:pt x="9159" y="4624"/>
                  </a:lnTo>
                  <a:lnTo>
                    <a:pt x="9162" y="4616"/>
                  </a:lnTo>
                  <a:lnTo>
                    <a:pt x="9154" y="4610"/>
                  </a:lnTo>
                  <a:lnTo>
                    <a:pt x="9148" y="4610"/>
                  </a:lnTo>
                  <a:lnTo>
                    <a:pt x="9137" y="4621"/>
                  </a:lnTo>
                  <a:lnTo>
                    <a:pt x="9130" y="4623"/>
                  </a:lnTo>
                  <a:lnTo>
                    <a:pt x="9124" y="4624"/>
                  </a:lnTo>
                  <a:lnTo>
                    <a:pt x="9118" y="4625"/>
                  </a:lnTo>
                  <a:lnTo>
                    <a:pt x="9114" y="4628"/>
                  </a:lnTo>
                  <a:lnTo>
                    <a:pt x="9110" y="4633"/>
                  </a:lnTo>
                  <a:lnTo>
                    <a:pt x="9110" y="4638"/>
                  </a:lnTo>
                  <a:lnTo>
                    <a:pt x="9114" y="4640"/>
                  </a:lnTo>
                  <a:lnTo>
                    <a:pt x="9119" y="4640"/>
                  </a:lnTo>
                  <a:lnTo>
                    <a:pt x="9119" y="4637"/>
                  </a:lnTo>
                  <a:lnTo>
                    <a:pt x="9123" y="4637"/>
                  </a:lnTo>
                  <a:lnTo>
                    <a:pt x="9127" y="4635"/>
                  </a:lnTo>
                  <a:close/>
                  <a:moveTo>
                    <a:pt x="8888" y="4906"/>
                  </a:moveTo>
                  <a:lnTo>
                    <a:pt x="8888" y="4906"/>
                  </a:lnTo>
                  <a:lnTo>
                    <a:pt x="8901" y="4896"/>
                  </a:lnTo>
                  <a:lnTo>
                    <a:pt x="8887" y="4892"/>
                  </a:lnTo>
                  <a:lnTo>
                    <a:pt x="8865" y="4890"/>
                  </a:lnTo>
                  <a:lnTo>
                    <a:pt x="8845" y="4894"/>
                  </a:lnTo>
                  <a:lnTo>
                    <a:pt x="8836" y="4903"/>
                  </a:lnTo>
                  <a:lnTo>
                    <a:pt x="8866" y="4907"/>
                  </a:lnTo>
                  <a:lnTo>
                    <a:pt x="8888" y="4906"/>
                  </a:lnTo>
                  <a:close/>
                  <a:moveTo>
                    <a:pt x="14531" y="9181"/>
                  </a:moveTo>
                  <a:lnTo>
                    <a:pt x="14531" y="9181"/>
                  </a:lnTo>
                  <a:lnTo>
                    <a:pt x="14531" y="9185"/>
                  </a:lnTo>
                  <a:lnTo>
                    <a:pt x="14536" y="9192"/>
                  </a:lnTo>
                  <a:lnTo>
                    <a:pt x="14557" y="9206"/>
                  </a:lnTo>
                  <a:lnTo>
                    <a:pt x="14563" y="9208"/>
                  </a:lnTo>
                  <a:lnTo>
                    <a:pt x="14575" y="9204"/>
                  </a:lnTo>
                  <a:lnTo>
                    <a:pt x="14584" y="9194"/>
                  </a:lnTo>
                  <a:lnTo>
                    <a:pt x="14619" y="9122"/>
                  </a:lnTo>
                  <a:lnTo>
                    <a:pt x="14631" y="9103"/>
                  </a:lnTo>
                  <a:lnTo>
                    <a:pt x="14649" y="9087"/>
                  </a:lnTo>
                  <a:lnTo>
                    <a:pt x="14660" y="9081"/>
                  </a:lnTo>
                  <a:lnTo>
                    <a:pt x="14665" y="9077"/>
                  </a:lnTo>
                  <a:lnTo>
                    <a:pt x="14667" y="9072"/>
                  </a:lnTo>
                  <a:lnTo>
                    <a:pt x="14665" y="9065"/>
                  </a:lnTo>
                  <a:lnTo>
                    <a:pt x="14659" y="9061"/>
                  </a:lnTo>
                  <a:lnTo>
                    <a:pt x="14652" y="9058"/>
                  </a:lnTo>
                  <a:lnTo>
                    <a:pt x="14647" y="9054"/>
                  </a:lnTo>
                  <a:lnTo>
                    <a:pt x="14582" y="9052"/>
                  </a:lnTo>
                  <a:lnTo>
                    <a:pt x="14572" y="9055"/>
                  </a:lnTo>
                  <a:lnTo>
                    <a:pt x="14537" y="9072"/>
                  </a:lnTo>
                  <a:lnTo>
                    <a:pt x="14532" y="9077"/>
                  </a:lnTo>
                  <a:lnTo>
                    <a:pt x="14529" y="9084"/>
                  </a:lnTo>
                  <a:lnTo>
                    <a:pt x="14528" y="9094"/>
                  </a:lnTo>
                  <a:lnTo>
                    <a:pt x="14529" y="9121"/>
                  </a:lnTo>
                  <a:lnTo>
                    <a:pt x="14531" y="9123"/>
                  </a:lnTo>
                  <a:lnTo>
                    <a:pt x="14534" y="9125"/>
                  </a:lnTo>
                  <a:lnTo>
                    <a:pt x="14540" y="9130"/>
                  </a:lnTo>
                  <a:lnTo>
                    <a:pt x="14548" y="9140"/>
                  </a:lnTo>
                  <a:lnTo>
                    <a:pt x="14548" y="9150"/>
                  </a:lnTo>
                  <a:lnTo>
                    <a:pt x="14538" y="9172"/>
                  </a:lnTo>
                  <a:lnTo>
                    <a:pt x="14531" y="9181"/>
                  </a:lnTo>
                  <a:close/>
                  <a:moveTo>
                    <a:pt x="18188" y="9235"/>
                  </a:moveTo>
                  <a:lnTo>
                    <a:pt x="18188" y="9235"/>
                  </a:lnTo>
                  <a:lnTo>
                    <a:pt x="18177" y="9241"/>
                  </a:lnTo>
                  <a:lnTo>
                    <a:pt x="18172" y="9243"/>
                  </a:lnTo>
                  <a:lnTo>
                    <a:pt x="18165" y="9244"/>
                  </a:lnTo>
                  <a:lnTo>
                    <a:pt x="18153" y="9243"/>
                  </a:lnTo>
                  <a:lnTo>
                    <a:pt x="18145" y="9243"/>
                  </a:lnTo>
                  <a:lnTo>
                    <a:pt x="18124" y="9251"/>
                  </a:lnTo>
                  <a:lnTo>
                    <a:pt x="18116" y="9252"/>
                  </a:lnTo>
                  <a:lnTo>
                    <a:pt x="18109" y="9251"/>
                  </a:lnTo>
                  <a:lnTo>
                    <a:pt x="18103" y="9249"/>
                  </a:lnTo>
                  <a:lnTo>
                    <a:pt x="18097" y="9249"/>
                  </a:lnTo>
                  <a:lnTo>
                    <a:pt x="18039" y="9292"/>
                  </a:lnTo>
                  <a:lnTo>
                    <a:pt x="18021" y="9336"/>
                  </a:lnTo>
                  <a:lnTo>
                    <a:pt x="18034" y="9350"/>
                  </a:lnTo>
                  <a:lnTo>
                    <a:pt x="18041" y="9353"/>
                  </a:lnTo>
                  <a:lnTo>
                    <a:pt x="18052" y="9350"/>
                  </a:lnTo>
                  <a:lnTo>
                    <a:pt x="18068" y="9338"/>
                  </a:lnTo>
                  <a:lnTo>
                    <a:pt x="18101" y="9288"/>
                  </a:lnTo>
                  <a:lnTo>
                    <a:pt x="18121" y="9277"/>
                  </a:lnTo>
                  <a:lnTo>
                    <a:pt x="18176" y="9273"/>
                  </a:lnTo>
                  <a:lnTo>
                    <a:pt x="18203" y="9265"/>
                  </a:lnTo>
                  <a:lnTo>
                    <a:pt x="18212" y="9257"/>
                  </a:lnTo>
                  <a:lnTo>
                    <a:pt x="18213" y="9246"/>
                  </a:lnTo>
                  <a:lnTo>
                    <a:pt x="18207" y="9238"/>
                  </a:lnTo>
                  <a:lnTo>
                    <a:pt x="18192" y="9234"/>
                  </a:lnTo>
                  <a:lnTo>
                    <a:pt x="18188" y="9235"/>
                  </a:lnTo>
                  <a:close/>
                  <a:moveTo>
                    <a:pt x="20834" y="8993"/>
                  </a:moveTo>
                  <a:lnTo>
                    <a:pt x="20834" y="8993"/>
                  </a:lnTo>
                  <a:lnTo>
                    <a:pt x="20830" y="8983"/>
                  </a:lnTo>
                  <a:lnTo>
                    <a:pt x="20823" y="8975"/>
                  </a:lnTo>
                  <a:lnTo>
                    <a:pt x="20814" y="8971"/>
                  </a:lnTo>
                  <a:lnTo>
                    <a:pt x="20804" y="8970"/>
                  </a:lnTo>
                  <a:lnTo>
                    <a:pt x="20794" y="8973"/>
                  </a:lnTo>
                  <a:lnTo>
                    <a:pt x="20786" y="8981"/>
                  </a:lnTo>
                  <a:lnTo>
                    <a:pt x="20784" y="8989"/>
                  </a:lnTo>
                  <a:lnTo>
                    <a:pt x="20785" y="9009"/>
                  </a:lnTo>
                  <a:lnTo>
                    <a:pt x="20782" y="9016"/>
                  </a:lnTo>
                  <a:lnTo>
                    <a:pt x="20782" y="9021"/>
                  </a:lnTo>
                  <a:lnTo>
                    <a:pt x="20814" y="9030"/>
                  </a:lnTo>
                  <a:lnTo>
                    <a:pt x="20829" y="9028"/>
                  </a:lnTo>
                  <a:lnTo>
                    <a:pt x="20835" y="9014"/>
                  </a:lnTo>
                  <a:lnTo>
                    <a:pt x="20835" y="9003"/>
                  </a:lnTo>
                  <a:lnTo>
                    <a:pt x="20834" y="8993"/>
                  </a:lnTo>
                  <a:close/>
                  <a:moveTo>
                    <a:pt x="21163" y="9061"/>
                  </a:moveTo>
                  <a:lnTo>
                    <a:pt x="21163" y="9061"/>
                  </a:lnTo>
                  <a:lnTo>
                    <a:pt x="21151" y="9057"/>
                  </a:lnTo>
                  <a:lnTo>
                    <a:pt x="21138" y="9056"/>
                  </a:lnTo>
                  <a:lnTo>
                    <a:pt x="21125" y="9059"/>
                  </a:lnTo>
                  <a:lnTo>
                    <a:pt x="21074" y="9092"/>
                  </a:lnTo>
                  <a:lnTo>
                    <a:pt x="21085" y="9096"/>
                  </a:lnTo>
                  <a:lnTo>
                    <a:pt x="21103" y="9111"/>
                  </a:lnTo>
                  <a:lnTo>
                    <a:pt x="21116" y="9114"/>
                  </a:lnTo>
                  <a:lnTo>
                    <a:pt x="21129" y="9112"/>
                  </a:lnTo>
                  <a:lnTo>
                    <a:pt x="21152" y="9103"/>
                  </a:lnTo>
                  <a:lnTo>
                    <a:pt x="21165" y="9101"/>
                  </a:lnTo>
                  <a:lnTo>
                    <a:pt x="21181" y="9096"/>
                  </a:lnTo>
                  <a:lnTo>
                    <a:pt x="21183" y="9084"/>
                  </a:lnTo>
                  <a:lnTo>
                    <a:pt x="21175" y="9071"/>
                  </a:lnTo>
                  <a:lnTo>
                    <a:pt x="21163" y="9061"/>
                  </a:lnTo>
                  <a:close/>
                  <a:moveTo>
                    <a:pt x="21476" y="9113"/>
                  </a:moveTo>
                  <a:lnTo>
                    <a:pt x="21476" y="9113"/>
                  </a:lnTo>
                  <a:lnTo>
                    <a:pt x="21474" y="9093"/>
                  </a:lnTo>
                  <a:lnTo>
                    <a:pt x="21468" y="9087"/>
                  </a:lnTo>
                  <a:lnTo>
                    <a:pt x="21455" y="9088"/>
                  </a:lnTo>
                  <a:lnTo>
                    <a:pt x="21437" y="9095"/>
                  </a:lnTo>
                  <a:lnTo>
                    <a:pt x="21420" y="9098"/>
                  </a:lnTo>
                  <a:lnTo>
                    <a:pt x="21406" y="9092"/>
                  </a:lnTo>
                  <a:lnTo>
                    <a:pt x="21397" y="9095"/>
                  </a:lnTo>
                  <a:lnTo>
                    <a:pt x="21394" y="9101"/>
                  </a:lnTo>
                  <a:lnTo>
                    <a:pt x="21391" y="9109"/>
                  </a:lnTo>
                  <a:lnTo>
                    <a:pt x="21387" y="9116"/>
                  </a:lnTo>
                  <a:lnTo>
                    <a:pt x="21384" y="9123"/>
                  </a:lnTo>
                  <a:lnTo>
                    <a:pt x="21387" y="9129"/>
                  </a:lnTo>
                  <a:lnTo>
                    <a:pt x="21393" y="9134"/>
                  </a:lnTo>
                  <a:lnTo>
                    <a:pt x="21397" y="9136"/>
                  </a:lnTo>
                  <a:lnTo>
                    <a:pt x="21410" y="9140"/>
                  </a:lnTo>
                  <a:lnTo>
                    <a:pt x="21428" y="9143"/>
                  </a:lnTo>
                  <a:lnTo>
                    <a:pt x="21448" y="9143"/>
                  </a:lnTo>
                  <a:lnTo>
                    <a:pt x="21464" y="9141"/>
                  </a:lnTo>
                  <a:lnTo>
                    <a:pt x="21472" y="9139"/>
                  </a:lnTo>
                  <a:lnTo>
                    <a:pt x="21480" y="9135"/>
                  </a:lnTo>
                  <a:lnTo>
                    <a:pt x="21484" y="9129"/>
                  </a:lnTo>
                  <a:lnTo>
                    <a:pt x="21480" y="9121"/>
                  </a:lnTo>
                  <a:lnTo>
                    <a:pt x="21476" y="9113"/>
                  </a:lnTo>
                  <a:close/>
                  <a:moveTo>
                    <a:pt x="21970" y="9080"/>
                  </a:moveTo>
                  <a:lnTo>
                    <a:pt x="21970" y="9080"/>
                  </a:lnTo>
                  <a:lnTo>
                    <a:pt x="21967" y="9078"/>
                  </a:lnTo>
                  <a:lnTo>
                    <a:pt x="21905" y="9073"/>
                  </a:lnTo>
                  <a:lnTo>
                    <a:pt x="21885" y="9078"/>
                  </a:lnTo>
                  <a:lnTo>
                    <a:pt x="21870" y="9088"/>
                  </a:lnTo>
                  <a:lnTo>
                    <a:pt x="21881" y="9103"/>
                  </a:lnTo>
                  <a:lnTo>
                    <a:pt x="21904" y="9117"/>
                  </a:lnTo>
                  <a:lnTo>
                    <a:pt x="21923" y="9123"/>
                  </a:lnTo>
                  <a:lnTo>
                    <a:pt x="21931" y="9120"/>
                  </a:lnTo>
                  <a:lnTo>
                    <a:pt x="21938" y="9114"/>
                  </a:lnTo>
                  <a:lnTo>
                    <a:pt x="21944" y="9111"/>
                  </a:lnTo>
                  <a:lnTo>
                    <a:pt x="21954" y="9116"/>
                  </a:lnTo>
                  <a:lnTo>
                    <a:pt x="21963" y="9123"/>
                  </a:lnTo>
                  <a:lnTo>
                    <a:pt x="21973" y="9128"/>
                  </a:lnTo>
                  <a:lnTo>
                    <a:pt x="21981" y="9129"/>
                  </a:lnTo>
                  <a:lnTo>
                    <a:pt x="21987" y="9128"/>
                  </a:lnTo>
                  <a:lnTo>
                    <a:pt x="21995" y="9121"/>
                  </a:lnTo>
                  <a:lnTo>
                    <a:pt x="21999" y="9111"/>
                  </a:lnTo>
                  <a:lnTo>
                    <a:pt x="22000" y="9101"/>
                  </a:lnTo>
                  <a:lnTo>
                    <a:pt x="21996" y="9092"/>
                  </a:lnTo>
                  <a:lnTo>
                    <a:pt x="21970" y="9080"/>
                  </a:lnTo>
                  <a:close/>
                  <a:moveTo>
                    <a:pt x="23330" y="8758"/>
                  </a:moveTo>
                  <a:lnTo>
                    <a:pt x="23330" y="8758"/>
                  </a:lnTo>
                  <a:lnTo>
                    <a:pt x="23341" y="8752"/>
                  </a:lnTo>
                  <a:lnTo>
                    <a:pt x="23347" y="8740"/>
                  </a:lnTo>
                  <a:lnTo>
                    <a:pt x="23356" y="8714"/>
                  </a:lnTo>
                  <a:lnTo>
                    <a:pt x="23352" y="8710"/>
                  </a:lnTo>
                  <a:lnTo>
                    <a:pt x="23347" y="8711"/>
                  </a:lnTo>
                  <a:lnTo>
                    <a:pt x="23338" y="8717"/>
                  </a:lnTo>
                  <a:lnTo>
                    <a:pt x="23331" y="8721"/>
                  </a:lnTo>
                  <a:lnTo>
                    <a:pt x="23329" y="8722"/>
                  </a:lnTo>
                  <a:lnTo>
                    <a:pt x="23323" y="8721"/>
                  </a:lnTo>
                  <a:lnTo>
                    <a:pt x="23321" y="8720"/>
                  </a:lnTo>
                  <a:lnTo>
                    <a:pt x="23321" y="8718"/>
                  </a:lnTo>
                  <a:lnTo>
                    <a:pt x="23314" y="8724"/>
                  </a:lnTo>
                  <a:lnTo>
                    <a:pt x="23306" y="8728"/>
                  </a:lnTo>
                  <a:lnTo>
                    <a:pt x="23296" y="8731"/>
                  </a:lnTo>
                  <a:lnTo>
                    <a:pt x="23278" y="8733"/>
                  </a:lnTo>
                  <a:lnTo>
                    <a:pt x="23270" y="8736"/>
                  </a:lnTo>
                  <a:lnTo>
                    <a:pt x="23263" y="8740"/>
                  </a:lnTo>
                  <a:lnTo>
                    <a:pt x="23259" y="8745"/>
                  </a:lnTo>
                  <a:lnTo>
                    <a:pt x="23252" y="8764"/>
                  </a:lnTo>
                  <a:lnTo>
                    <a:pt x="23262" y="8771"/>
                  </a:lnTo>
                  <a:lnTo>
                    <a:pt x="23298" y="8772"/>
                  </a:lnTo>
                  <a:lnTo>
                    <a:pt x="23293" y="8755"/>
                  </a:lnTo>
                  <a:lnTo>
                    <a:pt x="23302" y="8753"/>
                  </a:lnTo>
                  <a:lnTo>
                    <a:pt x="23330" y="8758"/>
                  </a:lnTo>
                  <a:close/>
                  <a:moveTo>
                    <a:pt x="23255" y="8644"/>
                  </a:moveTo>
                  <a:lnTo>
                    <a:pt x="23255" y="8644"/>
                  </a:lnTo>
                  <a:lnTo>
                    <a:pt x="23234" y="8648"/>
                  </a:lnTo>
                  <a:lnTo>
                    <a:pt x="23227" y="8645"/>
                  </a:lnTo>
                  <a:lnTo>
                    <a:pt x="23219" y="8641"/>
                  </a:lnTo>
                  <a:lnTo>
                    <a:pt x="23210" y="8639"/>
                  </a:lnTo>
                  <a:lnTo>
                    <a:pt x="23201" y="8643"/>
                  </a:lnTo>
                  <a:lnTo>
                    <a:pt x="23182" y="8627"/>
                  </a:lnTo>
                  <a:lnTo>
                    <a:pt x="23179" y="8625"/>
                  </a:lnTo>
                  <a:lnTo>
                    <a:pt x="23170" y="8643"/>
                  </a:lnTo>
                  <a:lnTo>
                    <a:pt x="23167" y="8652"/>
                  </a:lnTo>
                  <a:lnTo>
                    <a:pt x="23170" y="8661"/>
                  </a:lnTo>
                  <a:lnTo>
                    <a:pt x="23177" y="8664"/>
                  </a:lnTo>
                  <a:lnTo>
                    <a:pt x="23204" y="8669"/>
                  </a:lnTo>
                  <a:lnTo>
                    <a:pt x="23230" y="8670"/>
                  </a:lnTo>
                  <a:lnTo>
                    <a:pt x="23232" y="8668"/>
                  </a:lnTo>
                  <a:lnTo>
                    <a:pt x="23240" y="8662"/>
                  </a:lnTo>
                  <a:lnTo>
                    <a:pt x="23243" y="8661"/>
                  </a:lnTo>
                  <a:lnTo>
                    <a:pt x="23249" y="8663"/>
                  </a:lnTo>
                  <a:lnTo>
                    <a:pt x="23253" y="8667"/>
                  </a:lnTo>
                  <a:lnTo>
                    <a:pt x="23257" y="8670"/>
                  </a:lnTo>
                  <a:lnTo>
                    <a:pt x="23261" y="8667"/>
                  </a:lnTo>
                  <a:lnTo>
                    <a:pt x="23263" y="8663"/>
                  </a:lnTo>
                  <a:lnTo>
                    <a:pt x="23260" y="8660"/>
                  </a:lnTo>
                  <a:lnTo>
                    <a:pt x="23255" y="8657"/>
                  </a:lnTo>
                  <a:lnTo>
                    <a:pt x="23250" y="8656"/>
                  </a:lnTo>
                  <a:lnTo>
                    <a:pt x="23260" y="8645"/>
                  </a:lnTo>
                  <a:lnTo>
                    <a:pt x="23255" y="8644"/>
                  </a:lnTo>
                  <a:close/>
                  <a:moveTo>
                    <a:pt x="23388" y="8579"/>
                  </a:moveTo>
                  <a:lnTo>
                    <a:pt x="23388" y="8579"/>
                  </a:lnTo>
                  <a:lnTo>
                    <a:pt x="23387" y="8576"/>
                  </a:lnTo>
                  <a:lnTo>
                    <a:pt x="23385" y="8573"/>
                  </a:lnTo>
                  <a:lnTo>
                    <a:pt x="23383" y="8572"/>
                  </a:lnTo>
                  <a:lnTo>
                    <a:pt x="23378" y="8569"/>
                  </a:lnTo>
                  <a:lnTo>
                    <a:pt x="23376" y="8569"/>
                  </a:lnTo>
                  <a:lnTo>
                    <a:pt x="23374" y="8571"/>
                  </a:lnTo>
                  <a:lnTo>
                    <a:pt x="23369" y="8572"/>
                  </a:lnTo>
                  <a:lnTo>
                    <a:pt x="23362" y="8572"/>
                  </a:lnTo>
                  <a:lnTo>
                    <a:pt x="23351" y="8576"/>
                  </a:lnTo>
                  <a:lnTo>
                    <a:pt x="23314" y="8581"/>
                  </a:lnTo>
                  <a:lnTo>
                    <a:pt x="23303" y="8580"/>
                  </a:lnTo>
                  <a:lnTo>
                    <a:pt x="23293" y="8578"/>
                  </a:lnTo>
                  <a:lnTo>
                    <a:pt x="23288" y="8577"/>
                  </a:lnTo>
                  <a:lnTo>
                    <a:pt x="23282" y="8579"/>
                  </a:lnTo>
                  <a:lnTo>
                    <a:pt x="23272" y="8585"/>
                  </a:lnTo>
                  <a:lnTo>
                    <a:pt x="23264" y="8594"/>
                  </a:lnTo>
                  <a:lnTo>
                    <a:pt x="23260" y="8605"/>
                  </a:lnTo>
                  <a:lnTo>
                    <a:pt x="23263" y="8616"/>
                  </a:lnTo>
                  <a:lnTo>
                    <a:pt x="23273" y="8624"/>
                  </a:lnTo>
                  <a:lnTo>
                    <a:pt x="23286" y="8624"/>
                  </a:lnTo>
                  <a:lnTo>
                    <a:pt x="23301" y="8621"/>
                  </a:lnTo>
                  <a:lnTo>
                    <a:pt x="23317" y="8620"/>
                  </a:lnTo>
                  <a:lnTo>
                    <a:pt x="23313" y="8629"/>
                  </a:lnTo>
                  <a:lnTo>
                    <a:pt x="23311" y="8632"/>
                  </a:lnTo>
                  <a:lnTo>
                    <a:pt x="23307" y="8634"/>
                  </a:lnTo>
                  <a:lnTo>
                    <a:pt x="23307" y="8639"/>
                  </a:lnTo>
                  <a:lnTo>
                    <a:pt x="23315" y="8639"/>
                  </a:lnTo>
                  <a:lnTo>
                    <a:pt x="23322" y="8636"/>
                  </a:lnTo>
                  <a:lnTo>
                    <a:pt x="23327" y="8632"/>
                  </a:lnTo>
                  <a:lnTo>
                    <a:pt x="23332" y="8622"/>
                  </a:lnTo>
                  <a:lnTo>
                    <a:pt x="23338" y="8618"/>
                  </a:lnTo>
                  <a:lnTo>
                    <a:pt x="23345" y="8615"/>
                  </a:lnTo>
                  <a:lnTo>
                    <a:pt x="23352" y="8612"/>
                  </a:lnTo>
                  <a:lnTo>
                    <a:pt x="23377" y="8585"/>
                  </a:lnTo>
                  <a:lnTo>
                    <a:pt x="23388" y="8579"/>
                  </a:lnTo>
                  <a:close/>
                  <a:moveTo>
                    <a:pt x="23441" y="8502"/>
                  </a:moveTo>
                  <a:lnTo>
                    <a:pt x="23441" y="8502"/>
                  </a:lnTo>
                  <a:lnTo>
                    <a:pt x="23437" y="8507"/>
                  </a:lnTo>
                  <a:lnTo>
                    <a:pt x="23427" y="8523"/>
                  </a:lnTo>
                  <a:lnTo>
                    <a:pt x="23419" y="8533"/>
                  </a:lnTo>
                  <a:lnTo>
                    <a:pt x="23415" y="8537"/>
                  </a:lnTo>
                  <a:lnTo>
                    <a:pt x="23410" y="8541"/>
                  </a:lnTo>
                  <a:lnTo>
                    <a:pt x="23417" y="8545"/>
                  </a:lnTo>
                  <a:lnTo>
                    <a:pt x="23449" y="8550"/>
                  </a:lnTo>
                  <a:lnTo>
                    <a:pt x="23445" y="8541"/>
                  </a:lnTo>
                  <a:lnTo>
                    <a:pt x="23460" y="8530"/>
                  </a:lnTo>
                  <a:lnTo>
                    <a:pt x="23463" y="8528"/>
                  </a:lnTo>
                  <a:lnTo>
                    <a:pt x="23464" y="8522"/>
                  </a:lnTo>
                  <a:lnTo>
                    <a:pt x="23463" y="8517"/>
                  </a:lnTo>
                  <a:lnTo>
                    <a:pt x="23459" y="8516"/>
                  </a:lnTo>
                  <a:lnTo>
                    <a:pt x="23454" y="8523"/>
                  </a:lnTo>
                  <a:lnTo>
                    <a:pt x="23453" y="8519"/>
                  </a:lnTo>
                  <a:lnTo>
                    <a:pt x="23444" y="8506"/>
                  </a:lnTo>
                  <a:lnTo>
                    <a:pt x="23441" y="8502"/>
                  </a:lnTo>
                  <a:close/>
                  <a:moveTo>
                    <a:pt x="23618" y="8141"/>
                  </a:moveTo>
                  <a:lnTo>
                    <a:pt x="23618" y="8141"/>
                  </a:lnTo>
                  <a:lnTo>
                    <a:pt x="23611" y="8168"/>
                  </a:lnTo>
                  <a:lnTo>
                    <a:pt x="23626" y="8182"/>
                  </a:lnTo>
                  <a:lnTo>
                    <a:pt x="23635" y="8178"/>
                  </a:lnTo>
                  <a:lnTo>
                    <a:pt x="23646" y="8169"/>
                  </a:lnTo>
                  <a:lnTo>
                    <a:pt x="23652" y="8159"/>
                  </a:lnTo>
                  <a:lnTo>
                    <a:pt x="23636" y="8149"/>
                  </a:lnTo>
                  <a:lnTo>
                    <a:pt x="23638" y="8137"/>
                  </a:lnTo>
                  <a:lnTo>
                    <a:pt x="23648" y="8128"/>
                  </a:lnTo>
                  <a:lnTo>
                    <a:pt x="23662" y="8133"/>
                  </a:lnTo>
                  <a:lnTo>
                    <a:pt x="23674" y="8122"/>
                  </a:lnTo>
                  <a:lnTo>
                    <a:pt x="23677" y="8112"/>
                  </a:lnTo>
                  <a:lnTo>
                    <a:pt x="23671" y="8105"/>
                  </a:lnTo>
                  <a:lnTo>
                    <a:pt x="23656" y="8102"/>
                  </a:lnTo>
                  <a:lnTo>
                    <a:pt x="23636" y="8114"/>
                  </a:lnTo>
                  <a:lnTo>
                    <a:pt x="23618" y="8141"/>
                  </a:lnTo>
                  <a:close/>
                  <a:moveTo>
                    <a:pt x="16674" y="8501"/>
                  </a:moveTo>
                  <a:lnTo>
                    <a:pt x="16674" y="8501"/>
                  </a:lnTo>
                  <a:lnTo>
                    <a:pt x="16685" y="8506"/>
                  </a:lnTo>
                  <a:lnTo>
                    <a:pt x="16700" y="8507"/>
                  </a:lnTo>
                  <a:lnTo>
                    <a:pt x="16716" y="8505"/>
                  </a:lnTo>
                  <a:lnTo>
                    <a:pt x="16727" y="8501"/>
                  </a:lnTo>
                  <a:lnTo>
                    <a:pt x="16739" y="8507"/>
                  </a:lnTo>
                  <a:lnTo>
                    <a:pt x="16780" y="8513"/>
                  </a:lnTo>
                  <a:lnTo>
                    <a:pt x="16789" y="8521"/>
                  </a:lnTo>
                  <a:lnTo>
                    <a:pt x="16799" y="8526"/>
                  </a:lnTo>
                  <a:lnTo>
                    <a:pt x="16820" y="8525"/>
                  </a:lnTo>
                  <a:lnTo>
                    <a:pt x="16840" y="8518"/>
                  </a:lnTo>
                  <a:lnTo>
                    <a:pt x="16847" y="8506"/>
                  </a:lnTo>
                  <a:lnTo>
                    <a:pt x="16836" y="8495"/>
                  </a:lnTo>
                  <a:lnTo>
                    <a:pt x="16817" y="8492"/>
                  </a:lnTo>
                  <a:lnTo>
                    <a:pt x="16778" y="8493"/>
                  </a:lnTo>
                  <a:lnTo>
                    <a:pt x="16720" y="8487"/>
                  </a:lnTo>
                  <a:lnTo>
                    <a:pt x="16697" y="8479"/>
                  </a:lnTo>
                  <a:lnTo>
                    <a:pt x="16685" y="8477"/>
                  </a:lnTo>
                  <a:lnTo>
                    <a:pt x="16674" y="8481"/>
                  </a:lnTo>
                  <a:lnTo>
                    <a:pt x="16671" y="8486"/>
                  </a:lnTo>
                  <a:lnTo>
                    <a:pt x="16670" y="8491"/>
                  </a:lnTo>
                  <a:lnTo>
                    <a:pt x="16671" y="8496"/>
                  </a:lnTo>
                  <a:lnTo>
                    <a:pt x="16674" y="8501"/>
                  </a:lnTo>
                  <a:close/>
                  <a:moveTo>
                    <a:pt x="16584" y="8398"/>
                  </a:moveTo>
                  <a:lnTo>
                    <a:pt x="16584" y="8398"/>
                  </a:lnTo>
                  <a:lnTo>
                    <a:pt x="16598" y="8400"/>
                  </a:lnTo>
                  <a:lnTo>
                    <a:pt x="16599" y="8391"/>
                  </a:lnTo>
                  <a:lnTo>
                    <a:pt x="16631" y="8388"/>
                  </a:lnTo>
                  <a:lnTo>
                    <a:pt x="16645" y="8389"/>
                  </a:lnTo>
                  <a:lnTo>
                    <a:pt x="16656" y="8394"/>
                  </a:lnTo>
                  <a:lnTo>
                    <a:pt x="16657" y="8385"/>
                  </a:lnTo>
                  <a:lnTo>
                    <a:pt x="16663" y="8367"/>
                  </a:lnTo>
                  <a:lnTo>
                    <a:pt x="16665" y="8357"/>
                  </a:lnTo>
                  <a:lnTo>
                    <a:pt x="16662" y="8346"/>
                  </a:lnTo>
                  <a:lnTo>
                    <a:pt x="16657" y="8348"/>
                  </a:lnTo>
                  <a:lnTo>
                    <a:pt x="16647" y="8359"/>
                  </a:lnTo>
                  <a:lnTo>
                    <a:pt x="16639" y="8358"/>
                  </a:lnTo>
                  <a:lnTo>
                    <a:pt x="16629" y="8354"/>
                  </a:lnTo>
                  <a:lnTo>
                    <a:pt x="16573" y="8315"/>
                  </a:lnTo>
                  <a:lnTo>
                    <a:pt x="16568" y="8315"/>
                  </a:lnTo>
                  <a:lnTo>
                    <a:pt x="16564" y="8328"/>
                  </a:lnTo>
                  <a:lnTo>
                    <a:pt x="16563" y="8346"/>
                  </a:lnTo>
                  <a:lnTo>
                    <a:pt x="16565" y="8365"/>
                  </a:lnTo>
                  <a:lnTo>
                    <a:pt x="16572" y="8377"/>
                  </a:lnTo>
                  <a:lnTo>
                    <a:pt x="16571" y="8389"/>
                  </a:lnTo>
                  <a:lnTo>
                    <a:pt x="16584" y="8398"/>
                  </a:lnTo>
                  <a:close/>
                  <a:moveTo>
                    <a:pt x="16401" y="3145"/>
                  </a:moveTo>
                  <a:lnTo>
                    <a:pt x="16401" y="3145"/>
                  </a:lnTo>
                  <a:lnTo>
                    <a:pt x="16407" y="3144"/>
                  </a:lnTo>
                  <a:lnTo>
                    <a:pt x="16412" y="3140"/>
                  </a:lnTo>
                  <a:lnTo>
                    <a:pt x="16416" y="3136"/>
                  </a:lnTo>
                  <a:lnTo>
                    <a:pt x="16418" y="3131"/>
                  </a:lnTo>
                  <a:lnTo>
                    <a:pt x="16420" y="3121"/>
                  </a:lnTo>
                  <a:lnTo>
                    <a:pt x="16417" y="3110"/>
                  </a:lnTo>
                  <a:lnTo>
                    <a:pt x="16411" y="3105"/>
                  </a:lnTo>
                  <a:lnTo>
                    <a:pt x="16401" y="3109"/>
                  </a:lnTo>
                  <a:lnTo>
                    <a:pt x="16397" y="3117"/>
                  </a:lnTo>
                  <a:lnTo>
                    <a:pt x="16395" y="3129"/>
                  </a:lnTo>
                  <a:lnTo>
                    <a:pt x="16395" y="3140"/>
                  </a:lnTo>
                  <a:lnTo>
                    <a:pt x="16401" y="3145"/>
                  </a:lnTo>
                  <a:close/>
                  <a:moveTo>
                    <a:pt x="16588" y="3132"/>
                  </a:moveTo>
                  <a:lnTo>
                    <a:pt x="16588" y="3132"/>
                  </a:lnTo>
                  <a:lnTo>
                    <a:pt x="16599" y="3132"/>
                  </a:lnTo>
                  <a:lnTo>
                    <a:pt x="16590" y="3121"/>
                  </a:lnTo>
                  <a:lnTo>
                    <a:pt x="16584" y="3117"/>
                  </a:lnTo>
                  <a:lnTo>
                    <a:pt x="16577" y="3114"/>
                  </a:lnTo>
                  <a:lnTo>
                    <a:pt x="16570" y="3110"/>
                  </a:lnTo>
                  <a:lnTo>
                    <a:pt x="16564" y="3110"/>
                  </a:lnTo>
                  <a:lnTo>
                    <a:pt x="16556" y="3111"/>
                  </a:lnTo>
                  <a:lnTo>
                    <a:pt x="16550" y="3114"/>
                  </a:lnTo>
                  <a:lnTo>
                    <a:pt x="16566" y="3116"/>
                  </a:lnTo>
                  <a:lnTo>
                    <a:pt x="16588" y="3132"/>
                  </a:lnTo>
                  <a:close/>
                  <a:moveTo>
                    <a:pt x="18579" y="5046"/>
                  </a:moveTo>
                  <a:lnTo>
                    <a:pt x="18579" y="5046"/>
                  </a:lnTo>
                  <a:lnTo>
                    <a:pt x="18580" y="5042"/>
                  </a:lnTo>
                  <a:lnTo>
                    <a:pt x="18575" y="5033"/>
                  </a:lnTo>
                  <a:lnTo>
                    <a:pt x="18574" y="5028"/>
                  </a:lnTo>
                  <a:lnTo>
                    <a:pt x="18566" y="5023"/>
                  </a:lnTo>
                  <a:lnTo>
                    <a:pt x="18558" y="5031"/>
                  </a:lnTo>
                  <a:lnTo>
                    <a:pt x="18553" y="5045"/>
                  </a:lnTo>
                  <a:lnTo>
                    <a:pt x="18557" y="5060"/>
                  </a:lnTo>
                  <a:lnTo>
                    <a:pt x="18576" y="5049"/>
                  </a:lnTo>
                  <a:lnTo>
                    <a:pt x="18579" y="5046"/>
                  </a:lnTo>
                  <a:close/>
                  <a:moveTo>
                    <a:pt x="18517" y="5024"/>
                  </a:moveTo>
                  <a:lnTo>
                    <a:pt x="18517" y="5024"/>
                  </a:lnTo>
                  <a:lnTo>
                    <a:pt x="18517" y="5045"/>
                  </a:lnTo>
                  <a:lnTo>
                    <a:pt x="18519" y="5055"/>
                  </a:lnTo>
                  <a:lnTo>
                    <a:pt x="18522" y="5064"/>
                  </a:lnTo>
                  <a:lnTo>
                    <a:pt x="18526" y="5064"/>
                  </a:lnTo>
                  <a:lnTo>
                    <a:pt x="18527" y="5054"/>
                  </a:lnTo>
                  <a:lnTo>
                    <a:pt x="18522" y="5029"/>
                  </a:lnTo>
                  <a:lnTo>
                    <a:pt x="18522" y="5024"/>
                  </a:lnTo>
                  <a:lnTo>
                    <a:pt x="18517" y="5024"/>
                  </a:lnTo>
                  <a:close/>
                  <a:moveTo>
                    <a:pt x="18644" y="5110"/>
                  </a:moveTo>
                  <a:lnTo>
                    <a:pt x="18644" y="5110"/>
                  </a:lnTo>
                  <a:lnTo>
                    <a:pt x="18640" y="5119"/>
                  </a:lnTo>
                  <a:lnTo>
                    <a:pt x="18647" y="5123"/>
                  </a:lnTo>
                  <a:lnTo>
                    <a:pt x="18656" y="5123"/>
                  </a:lnTo>
                  <a:lnTo>
                    <a:pt x="18659" y="5122"/>
                  </a:lnTo>
                  <a:lnTo>
                    <a:pt x="18667" y="5132"/>
                  </a:lnTo>
                  <a:lnTo>
                    <a:pt x="18671" y="5135"/>
                  </a:lnTo>
                  <a:lnTo>
                    <a:pt x="18672" y="5128"/>
                  </a:lnTo>
                  <a:lnTo>
                    <a:pt x="18671" y="5120"/>
                  </a:lnTo>
                  <a:lnTo>
                    <a:pt x="18665" y="5108"/>
                  </a:lnTo>
                  <a:lnTo>
                    <a:pt x="18664" y="5099"/>
                  </a:lnTo>
                  <a:lnTo>
                    <a:pt x="18658" y="5091"/>
                  </a:lnTo>
                  <a:lnTo>
                    <a:pt x="18653" y="5094"/>
                  </a:lnTo>
                  <a:lnTo>
                    <a:pt x="18644" y="5110"/>
                  </a:lnTo>
                  <a:close/>
                  <a:moveTo>
                    <a:pt x="18969" y="5061"/>
                  </a:moveTo>
                  <a:lnTo>
                    <a:pt x="18969" y="5061"/>
                  </a:lnTo>
                  <a:lnTo>
                    <a:pt x="18960" y="5061"/>
                  </a:lnTo>
                  <a:lnTo>
                    <a:pt x="18949" y="5064"/>
                  </a:lnTo>
                  <a:lnTo>
                    <a:pt x="18941" y="5070"/>
                  </a:lnTo>
                  <a:lnTo>
                    <a:pt x="18938" y="5079"/>
                  </a:lnTo>
                  <a:lnTo>
                    <a:pt x="18941" y="5085"/>
                  </a:lnTo>
                  <a:lnTo>
                    <a:pt x="18947" y="5087"/>
                  </a:lnTo>
                  <a:lnTo>
                    <a:pt x="18954" y="5088"/>
                  </a:lnTo>
                  <a:lnTo>
                    <a:pt x="18960" y="5091"/>
                  </a:lnTo>
                  <a:lnTo>
                    <a:pt x="18975" y="5109"/>
                  </a:lnTo>
                  <a:lnTo>
                    <a:pt x="18983" y="5112"/>
                  </a:lnTo>
                  <a:lnTo>
                    <a:pt x="18984" y="5082"/>
                  </a:lnTo>
                  <a:lnTo>
                    <a:pt x="18980" y="5069"/>
                  </a:lnTo>
                  <a:lnTo>
                    <a:pt x="18969" y="5061"/>
                  </a:lnTo>
                  <a:close/>
                  <a:moveTo>
                    <a:pt x="17732" y="5995"/>
                  </a:moveTo>
                  <a:lnTo>
                    <a:pt x="17732" y="5995"/>
                  </a:lnTo>
                  <a:lnTo>
                    <a:pt x="17728" y="5984"/>
                  </a:lnTo>
                  <a:lnTo>
                    <a:pt x="17724" y="5980"/>
                  </a:lnTo>
                  <a:lnTo>
                    <a:pt x="17722" y="5978"/>
                  </a:lnTo>
                  <a:lnTo>
                    <a:pt x="17721" y="5978"/>
                  </a:lnTo>
                  <a:lnTo>
                    <a:pt x="17719" y="5978"/>
                  </a:lnTo>
                  <a:lnTo>
                    <a:pt x="17717" y="5980"/>
                  </a:lnTo>
                  <a:lnTo>
                    <a:pt x="17713" y="5985"/>
                  </a:lnTo>
                  <a:lnTo>
                    <a:pt x="17711" y="5993"/>
                  </a:lnTo>
                  <a:lnTo>
                    <a:pt x="17710" y="6001"/>
                  </a:lnTo>
                  <a:lnTo>
                    <a:pt x="17711" y="6007"/>
                  </a:lnTo>
                  <a:lnTo>
                    <a:pt x="17719" y="6026"/>
                  </a:lnTo>
                  <a:lnTo>
                    <a:pt x="17726" y="6037"/>
                  </a:lnTo>
                  <a:lnTo>
                    <a:pt x="17731" y="6043"/>
                  </a:lnTo>
                  <a:lnTo>
                    <a:pt x="17741" y="6039"/>
                  </a:lnTo>
                  <a:lnTo>
                    <a:pt x="17747" y="6031"/>
                  </a:lnTo>
                  <a:lnTo>
                    <a:pt x="17750" y="6021"/>
                  </a:lnTo>
                  <a:lnTo>
                    <a:pt x="17751" y="6014"/>
                  </a:lnTo>
                  <a:lnTo>
                    <a:pt x="17749" y="6011"/>
                  </a:lnTo>
                  <a:lnTo>
                    <a:pt x="17735" y="6000"/>
                  </a:lnTo>
                  <a:lnTo>
                    <a:pt x="17732" y="5995"/>
                  </a:lnTo>
                  <a:close/>
                  <a:moveTo>
                    <a:pt x="17666" y="6063"/>
                  </a:moveTo>
                  <a:lnTo>
                    <a:pt x="17666" y="6063"/>
                  </a:lnTo>
                  <a:lnTo>
                    <a:pt x="17658" y="6060"/>
                  </a:lnTo>
                  <a:lnTo>
                    <a:pt x="17647" y="6066"/>
                  </a:lnTo>
                  <a:lnTo>
                    <a:pt x="17638" y="6079"/>
                  </a:lnTo>
                  <a:lnTo>
                    <a:pt x="17635" y="6092"/>
                  </a:lnTo>
                  <a:lnTo>
                    <a:pt x="17640" y="6104"/>
                  </a:lnTo>
                  <a:lnTo>
                    <a:pt x="17648" y="6097"/>
                  </a:lnTo>
                  <a:lnTo>
                    <a:pt x="17662" y="6092"/>
                  </a:lnTo>
                  <a:lnTo>
                    <a:pt x="17674" y="6089"/>
                  </a:lnTo>
                  <a:lnTo>
                    <a:pt x="17680" y="6089"/>
                  </a:lnTo>
                  <a:lnTo>
                    <a:pt x="17678" y="6080"/>
                  </a:lnTo>
                  <a:lnTo>
                    <a:pt x="17673" y="6071"/>
                  </a:lnTo>
                  <a:lnTo>
                    <a:pt x="17666" y="6063"/>
                  </a:lnTo>
                  <a:close/>
                  <a:moveTo>
                    <a:pt x="18544" y="7323"/>
                  </a:moveTo>
                  <a:lnTo>
                    <a:pt x="18544" y="7323"/>
                  </a:lnTo>
                  <a:lnTo>
                    <a:pt x="18551" y="7336"/>
                  </a:lnTo>
                  <a:lnTo>
                    <a:pt x="18561" y="7345"/>
                  </a:lnTo>
                  <a:lnTo>
                    <a:pt x="18572" y="7353"/>
                  </a:lnTo>
                  <a:lnTo>
                    <a:pt x="18584" y="7363"/>
                  </a:lnTo>
                  <a:lnTo>
                    <a:pt x="18600" y="7388"/>
                  </a:lnTo>
                  <a:lnTo>
                    <a:pt x="18610" y="7398"/>
                  </a:lnTo>
                  <a:lnTo>
                    <a:pt x="18624" y="7402"/>
                  </a:lnTo>
                  <a:lnTo>
                    <a:pt x="18620" y="7387"/>
                  </a:lnTo>
                  <a:lnTo>
                    <a:pt x="18620" y="7370"/>
                  </a:lnTo>
                  <a:lnTo>
                    <a:pt x="18615" y="7355"/>
                  </a:lnTo>
                  <a:lnTo>
                    <a:pt x="18600" y="7349"/>
                  </a:lnTo>
                  <a:lnTo>
                    <a:pt x="18590" y="7345"/>
                  </a:lnTo>
                  <a:lnTo>
                    <a:pt x="18582" y="7334"/>
                  </a:lnTo>
                  <a:lnTo>
                    <a:pt x="18571" y="7325"/>
                  </a:lnTo>
                  <a:lnTo>
                    <a:pt x="18553" y="7323"/>
                  </a:lnTo>
                  <a:lnTo>
                    <a:pt x="18544" y="7323"/>
                  </a:lnTo>
                  <a:close/>
                  <a:moveTo>
                    <a:pt x="18461" y="7181"/>
                  </a:moveTo>
                  <a:lnTo>
                    <a:pt x="18461" y="7181"/>
                  </a:lnTo>
                  <a:lnTo>
                    <a:pt x="18446" y="7176"/>
                  </a:lnTo>
                  <a:lnTo>
                    <a:pt x="18433" y="7180"/>
                  </a:lnTo>
                  <a:lnTo>
                    <a:pt x="18435" y="7197"/>
                  </a:lnTo>
                  <a:lnTo>
                    <a:pt x="18459" y="7245"/>
                  </a:lnTo>
                  <a:lnTo>
                    <a:pt x="18467" y="7254"/>
                  </a:lnTo>
                  <a:lnTo>
                    <a:pt x="18479" y="7259"/>
                  </a:lnTo>
                  <a:lnTo>
                    <a:pt x="18497" y="7261"/>
                  </a:lnTo>
                  <a:lnTo>
                    <a:pt x="18507" y="7255"/>
                  </a:lnTo>
                  <a:lnTo>
                    <a:pt x="18510" y="7240"/>
                  </a:lnTo>
                  <a:lnTo>
                    <a:pt x="18508" y="7206"/>
                  </a:lnTo>
                  <a:lnTo>
                    <a:pt x="18501" y="7190"/>
                  </a:lnTo>
                  <a:lnTo>
                    <a:pt x="18482" y="7184"/>
                  </a:lnTo>
                  <a:lnTo>
                    <a:pt x="18461" y="7181"/>
                  </a:lnTo>
                  <a:close/>
                  <a:moveTo>
                    <a:pt x="18730" y="7579"/>
                  </a:moveTo>
                  <a:lnTo>
                    <a:pt x="18730" y="7579"/>
                  </a:lnTo>
                  <a:lnTo>
                    <a:pt x="18725" y="7595"/>
                  </a:lnTo>
                  <a:lnTo>
                    <a:pt x="18722" y="7609"/>
                  </a:lnTo>
                  <a:lnTo>
                    <a:pt x="18724" y="7622"/>
                  </a:lnTo>
                  <a:lnTo>
                    <a:pt x="18732" y="7634"/>
                  </a:lnTo>
                  <a:lnTo>
                    <a:pt x="18739" y="7638"/>
                  </a:lnTo>
                  <a:lnTo>
                    <a:pt x="18756" y="7643"/>
                  </a:lnTo>
                  <a:lnTo>
                    <a:pt x="18763" y="7648"/>
                  </a:lnTo>
                  <a:lnTo>
                    <a:pt x="18767" y="7655"/>
                  </a:lnTo>
                  <a:lnTo>
                    <a:pt x="18768" y="7671"/>
                  </a:lnTo>
                  <a:lnTo>
                    <a:pt x="18770" y="7677"/>
                  </a:lnTo>
                  <a:lnTo>
                    <a:pt x="18782" y="7681"/>
                  </a:lnTo>
                  <a:lnTo>
                    <a:pt x="18790" y="7671"/>
                  </a:lnTo>
                  <a:lnTo>
                    <a:pt x="18792" y="7654"/>
                  </a:lnTo>
                  <a:lnTo>
                    <a:pt x="18786" y="7639"/>
                  </a:lnTo>
                  <a:lnTo>
                    <a:pt x="18781" y="7632"/>
                  </a:lnTo>
                  <a:lnTo>
                    <a:pt x="18774" y="7616"/>
                  </a:lnTo>
                  <a:lnTo>
                    <a:pt x="18768" y="7608"/>
                  </a:lnTo>
                  <a:lnTo>
                    <a:pt x="18735" y="7586"/>
                  </a:lnTo>
                  <a:lnTo>
                    <a:pt x="18730" y="7579"/>
                  </a:lnTo>
                  <a:close/>
                  <a:moveTo>
                    <a:pt x="20835" y="6259"/>
                  </a:moveTo>
                  <a:lnTo>
                    <a:pt x="20835" y="6259"/>
                  </a:lnTo>
                  <a:lnTo>
                    <a:pt x="20812" y="6252"/>
                  </a:lnTo>
                  <a:lnTo>
                    <a:pt x="20801" y="6251"/>
                  </a:lnTo>
                  <a:lnTo>
                    <a:pt x="20790" y="6254"/>
                  </a:lnTo>
                  <a:lnTo>
                    <a:pt x="20781" y="6263"/>
                  </a:lnTo>
                  <a:lnTo>
                    <a:pt x="20778" y="6275"/>
                  </a:lnTo>
                  <a:lnTo>
                    <a:pt x="20780" y="6288"/>
                  </a:lnTo>
                  <a:lnTo>
                    <a:pt x="20790" y="6299"/>
                  </a:lnTo>
                  <a:lnTo>
                    <a:pt x="20796" y="6301"/>
                  </a:lnTo>
                  <a:lnTo>
                    <a:pt x="20802" y="6302"/>
                  </a:lnTo>
                  <a:lnTo>
                    <a:pt x="20815" y="6302"/>
                  </a:lnTo>
                  <a:lnTo>
                    <a:pt x="20823" y="6304"/>
                  </a:lnTo>
                  <a:lnTo>
                    <a:pt x="20826" y="6308"/>
                  </a:lnTo>
                  <a:lnTo>
                    <a:pt x="20828" y="6308"/>
                  </a:lnTo>
                  <a:lnTo>
                    <a:pt x="20835" y="6302"/>
                  </a:lnTo>
                  <a:lnTo>
                    <a:pt x="20842" y="6292"/>
                  </a:lnTo>
                  <a:lnTo>
                    <a:pt x="20843" y="6279"/>
                  </a:lnTo>
                  <a:lnTo>
                    <a:pt x="20840" y="6268"/>
                  </a:lnTo>
                  <a:lnTo>
                    <a:pt x="20835" y="6259"/>
                  </a:lnTo>
                  <a:close/>
                  <a:moveTo>
                    <a:pt x="21100" y="5959"/>
                  </a:moveTo>
                  <a:lnTo>
                    <a:pt x="21100" y="5959"/>
                  </a:lnTo>
                  <a:lnTo>
                    <a:pt x="21098" y="5949"/>
                  </a:lnTo>
                  <a:lnTo>
                    <a:pt x="21090" y="5937"/>
                  </a:lnTo>
                  <a:lnTo>
                    <a:pt x="21082" y="5928"/>
                  </a:lnTo>
                  <a:lnTo>
                    <a:pt x="21061" y="5903"/>
                  </a:lnTo>
                  <a:lnTo>
                    <a:pt x="21048" y="5895"/>
                  </a:lnTo>
                  <a:lnTo>
                    <a:pt x="21029" y="5895"/>
                  </a:lnTo>
                  <a:lnTo>
                    <a:pt x="21028" y="5894"/>
                  </a:lnTo>
                  <a:lnTo>
                    <a:pt x="21026" y="5893"/>
                  </a:lnTo>
                  <a:lnTo>
                    <a:pt x="21024" y="5894"/>
                  </a:lnTo>
                  <a:lnTo>
                    <a:pt x="21023" y="5895"/>
                  </a:lnTo>
                  <a:lnTo>
                    <a:pt x="21021" y="5899"/>
                  </a:lnTo>
                  <a:lnTo>
                    <a:pt x="21015" y="5906"/>
                  </a:lnTo>
                  <a:lnTo>
                    <a:pt x="21013" y="5908"/>
                  </a:lnTo>
                  <a:lnTo>
                    <a:pt x="20997" y="5918"/>
                  </a:lnTo>
                  <a:lnTo>
                    <a:pt x="20994" y="5919"/>
                  </a:lnTo>
                  <a:lnTo>
                    <a:pt x="21001" y="5928"/>
                  </a:lnTo>
                  <a:lnTo>
                    <a:pt x="21009" y="5936"/>
                  </a:lnTo>
                  <a:lnTo>
                    <a:pt x="21020" y="5943"/>
                  </a:lnTo>
                  <a:lnTo>
                    <a:pt x="21049" y="5948"/>
                  </a:lnTo>
                  <a:lnTo>
                    <a:pt x="21074" y="5960"/>
                  </a:lnTo>
                  <a:lnTo>
                    <a:pt x="21087" y="5963"/>
                  </a:lnTo>
                  <a:lnTo>
                    <a:pt x="21100" y="5959"/>
                  </a:lnTo>
                  <a:close/>
                  <a:moveTo>
                    <a:pt x="21199" y="5866"/>
                  </a:moveTo>
                  <a:lnTo>
                    <a:pt x="21199" y="5866"/>
                  </a:lnTo>
                  <a:lnTo>
                    <a:pt x="21194" y="5859"/>
                  </a:lnTo>
                  <a:lnTo>
                    <a:pt x="21193" y="5848"/>
                  </a:lnTo>
                  <a:lnTo>
                    <a:pt x="21191" y="5839"/>
                  </a:lnTo>
                  <a:lnTo>
                    <a:pt x="21183" y="5835"/>
                  </a:lnTo>
                  <a:lnTo>
                    <a:pt x="21179" y="5834"/>
                  </a:lnTo>
                  <a:lnTo>
                    <a:pt x="21177" y="5831"/>
                  </a:lnTo>
                  <a:lnTo>
                    <a:pt x="21176" y="5828"/>
                  </a:lnTo>
                  <a:lnTo>
                    <a:pt x="21174" y="5827"/>
                  </a:lnTo>
                  <a:lnTo>
                    <a:pt x="21171" y="5827"/>
                  </a:lnTo>
                  <a:lnTo>
                    <a:pt x="21163" y="5831"/>
                  </a:lnTo>
                  <a:lnTo>
                    <a:pt x="21140" y="5831"/>
                  </a:lnTo>
                  <a:lnTo>
                    <a:pt x="21128" y="5845"/>
                  </a:lnTo>
                  <a:lnTo>
                    <a:pt x="21110" y="5860"/>
                  </a:lnTo>
                  <a:lnTo>
                    <a:pt x="21100" y="5875"/>
                  </a:lnTo>
                  <a:lnTo>
                    <a:pt x="21110" y="5888"/>
                  </a:lnTo>
                  <a:lnTo>
                    <a:pt x="21123" y="5892"/>
                  </a:lnTo>
                  <a:lnTo>
                    <a:pt x="21163" y="5888"/>
                  </a:lnTo>
                  <a:lnTo>
                    <a:pt x="21179" y="5889"/>
                  </a:lnTo>
                  <a:lnTo>
                    <a:pt x="21187" y="5887"/>
                  </a:lnTo>
                  <a:lnTo>
                    <a:pt x="21192" y="5881"/>
                  </a:lnTo>
                  <a:lnTo>
                    <a:pt x="21199" y="5866"/>
                  </a:lnTo>
                  <a:close/>
                  <a:moveTo>
                    <a:pt x="21282" y="5701"/>
                  </a:moveTo>
                  <a:lnTo>
                    <a:pt x="21282" y="5701"/>
                  </a:lnTo>
                  <a:lnTo>
                    <a:pt x="21274" y="5707"/>
                  </a:lnTo>
                  <a:lnTo>
                    <a:pt x="21270" y="5707"/>
                  </a:lnTo>
                  <a:lnTo>
                    <a:pt x="21267" y="5706"/>
                  </a:lnTo>
                  <a:lnTo>
                    <a:pt x="21263" y="5706"/>
                  </a:lnTo>
                  <a:lnTo>
                    <a:pt x="21258" y="5709"/>
                  </a:lnTo>
                  <a:lnTo>
                    <a:pt x="21253" y="5717"/>
                  </a:lnTo>
                  <a:lnTo>
                    <a:pt x="21250" y="5719"/>
                  </a:lnTo>
                  <a:lnTo>
                    <a:pt x="21245" y="5720"/>
                  </a:lnTo>
                  <a:lnTo>
                    <a:pt x="21236" y="5724"/>
                  </a:lnTo>
                  <a:lnTo>
                    <a:pt x="21225" y="5731"/>
                  </a:lnTo>
                  <a:lnTo>
                    <a:pt x="21217" y="5741"/>
                  </a:lnTo>
                  <a:lnTo>
                    <a:pt x="21219" y="5749"/>
                  </a:lnTo>
                  <a:lnTo>
                    <a:pt x="21226" y="5752"/>
                  </a:lnTo>
                  <a:lnTo>
                    <a:pt x="21277" y="5749"/>
                  </a:lnTo>
                  <a:lnTo>
                    <a:pt x="21288" y="5747"/>
                  </a:lnTo>
                  <a:lnTo>
                    <a:pt x="21296" y="5742"/>
                  </a:lnTo>
                  <a:lnTo>
                    <a:pt x="21299" y="5737"/>
                  </a:lnTo>
                  <a:lnTo>
                    <a:pt x="21305" y="5720"/>
                  </a:lnTo>
                  <a:lnTo>
                    <a:pt x="21307" y="5716"/>
                  </a:lnTo>
                  <a:lnTo>
                    <a:pt x="21310" y="5712"/>
                  </a:lnTo>
                  <a:lnTo>
                    <a:pt x="21319" y="5697"/>
                  </a:lnTo>
                  <a:lnTo>
                    <a:pt x="21325" y="5694"/>
                  </a:lnTo>
                  <a:lnTo>
                    <a:pt x="21327" y="5691"/>
                  </a:lnTo>
                  <a:lnTo>
                    <a:pt x="21321" y="5685"/>
                  </a:lnTo>
                  <a:lnTo>
                    <a:pt x="21311" y="5679"/>
                  </a:lnTo>
                  <a:lnTo>
                    <a:pt x="21301" y="5677"/>
                  </a:lnTo>
                  <a:lnTo>
                    <a:pt x="21283" y="5677"/>
                  </a:lnTo>
                  <a:lnTo>
                    <a:pt x="21287" y="5688"/>
                  </a:lnTo>
                  <a:lnTo>
                    <a:pt x="21287" y="5696"/>
                  </a:lnTo>
                  <a:lnTo>
                    <a:pt x="21282" y="5701"/>
                  </a:lnTo>
                  <a:close/>
                  <a:moveTo>
                    <a:pt x="22579" y="6706"/>
                  </a:moveTo>
                  <a:lnTo>
                    <a:pt x="22579" y="6706"/>
                  </a:lnTo>
                  <a:lnTo>
                    <a:pt x="22576" y="6716"/>
                  </a:lnTo>
                  <a:lnTo>
                    <a:pt x="22571" y="6720"/>
                  </a:lnTo>
                  <a:lnTo>
                    <a:pt x="22542" y="6726"/>
                  </a:lnTo>
                  <a:lnTo>
                    <a:pt x="22532" y="6731"/>
                  </a:lnTo>
                  <a:lnTo>
                    <a:pt x="22541" y="6731"/>
                  </a:lnTo>
                  <a:lnTo>
                    <a:pt x="22548" y="6732"/>
                  </a:lnTo>
                  <a:lnTo>
                    <a:pt x="22555" y="6735"/>
                  </a:lnTo>
                  <a:lnTo>
                    <a:pt x="22558" y="6740"/>
                  </a:lnTo>
                  <a:lnTo>
                    <a:pt x="22569" y="6737"/>
                  </a:lnTo>
                  <a:lnTo>
                    <a:pt x="22580" y="6736"/>
                  </a:lnTo>
                  <a:lnTo>
                    <a:pt x="22588" y="6732"/>
                  </a:lnTo>
                  <a:lnTo>
                    <a:pt x="22590" y="6705"/>
                  </a:lnTo>
                  <a:lnTo>
                    <a:pt x="22585" y="6702"/>
                  </a:lnTo>
                  <a:lnTo>
                    <a:pt x="22579" y="6706"/>
                  </a:lnTo>
                  <a:close/>
                  <a:moveTo>
                    <a:pt x="24141" y="7364"/>
                  </a:moveTo>
                  <a:lnTo>
                    <a:pt x="24141" y="7364"/>
                  </a:lnTo>
                  <a:lnTo>
                    <a:pt x="24123" y="7349"/>
                  </a:lnTo>
                  <a:lnTo>
                    <a:pt x="24115" y="7354"/>
                  </a:lnTo>
                  <a:lnTo>
                    <a:pt x="24116" y="7364"/>
                  </a:lnTo>
                  <a:lnTo>
                    <a:pt x="24122" y="7374"/>
                  </a:lnTo>
                  <a:lnTo>
                    <a:pt x="24131" y="7385"/>
                  </a:lnTo>
                  <a:lnTo>
                    <a:pt x="24133" y="7388"/>
                  </a:lnTo>
                  <a:lnTo>
                    <a:pt x="24137" y="7388"/>
                  </a:lnTo>
                  <a:lnTo>
                    <a:pt x="24145" y="7385"/>
                  </a:lnTo>
                  <a:lnTo>
                    <a:pt x="24152" y="7381"/>
                  </a:lnTo>
                  <a:lnTo>
                    <a:pt x="24157" y="7376"/>
                  </a:lnTo>
                  <a:lnTo>
                    <a:pt x="24161" y="7369"/>
                  </a:lnTo>
                  <a:lnTo>
                    <a:pt x="24163" y="7363"/>
                  </a:lnTo>
                  <a:lnTo>
                    <a:pt x="24150" y="7367"/>
                  </a:lnTo>
                  <a:lnTo>
                    <a:pt x="24141" y="7364"/>
                  </a:lnTo>
                  <a:close/>
                  <a:moveTo>
                    <a:pt x="24433" y="7432"/>
                  </a:moveTo>
                  <a:lnTo>
                    <a:pt x="24433" y="7432"/>
                  </a:lnTo>
                  <a:lnTo>
                    <a:pt x="24432" y="7422"/>
                  </a:lnTo>
                  <a:lnTo>
                    <a:pt x="24432" y="7411"/>
                  </a:lnTo>
                  <a:lnTo>
                    <a:pt x="24442" y="7383"/>
                  </a:lnTo>
                  <a:lnTo>
                    <a:pt x="24441" y="7376"/>
                  </a:lnTo>
                  <a:lnTo>
                    <a:pt x="24437" y="7375"/>
                  </a:lnTo>
                  <a:lnTo>
                    <a:pt x="24432" y="7375"/>
                  </a:lnTo>
                  <a:lnTo>
                    <a:pt x="24428" y="7378"/>
                  </a:lnTo>
                  <a:lnTo>
                    <a:pt x="24424" y="7380"/>
                  </a:lnTo>
                  <a:lnTo>
                    <a:pt x="24427" y="7375"/>
                  </a:lnTo>
                  <a:lnTo>
                    <a:pt x="24428" y="7369"/>
                  </a:lnTo>
                  <a:lnTo>
                    <a:pt x="24428" y="7364"/>
                  </a:lnTo>
                  <a:lnTo>
                    <a:pt x="24424" y="7358"/>
                  </a:lnTo>
                  <a:lnTo>
                    <a:pt x="24411" y="7370"/>
                  </a:lnTo>
                  <a:lnTo>
                    <a:pt x="24402" y="7388"/>
                  </a:lnTo>
                  <a:lnTo>
                    <a:pt x="24397" y="7408"/>
                  </a:lnTo>
                  <a:lnTo>
                    <a:pt x="24397" y="7425"/>
                  </a:lnTo>
                  <a:lnTo>
                    <a:pt x="24407" y="7451"/>
                  </a:lnTo>
                  <a:lnTo>
                    <a:pt x="24411" y="7456"/>
                  </a:lnTo>
                  <a:lnTo>
                    <a:pt x="24416" y="7458"/>
                  </a:lnTo>
                  <a:lnTo>
                    <a:pt x="24421" y="7457"/>
                  </a:lnTo>
                  <a:lnTo>
                    <a:pt x="24424" y="7452"/>
                  </a:lnTo>
                  <a:lnTo>
                    <a:pt x="24424" y="7442"/>
                  </a:lnTo>
                  <a:lnTo>
                    <a:pt x="24426" y="7448"/>
                  </a:lnTo>
                  <a:lnTo>
                    <a:pt x="24429" y="7453"/>
                  </a:lnTo>
                  <a:lnTo>
                    <a:pt x="24433" y="7457"/>
                  </a:lnTo>
                  <a:lnTo>
                    <a:pt x="24437" y="7460"/>
                  </a:lnTo>
                  <a:lnTo>
                    <a:pt x="24439" y="7457"/>
                  </a:lnTo>
                  <a:lnTo>
                    <a:pt x="24442" y="7451"/>
                  </a:lnTo>
                  <a:lnTo>
                    <a:pt x="24437" y="7442"/>
                  </a:lnTo>
                  <a:lnTo>
                    <a:pt x="24433" y="7432"/>
                  </a:lnTo>
                  <a:close/>
                  <a:moveTo>
                    <a:pt x="25682" y="8054"/>
                  </a:moveTo>
                  <a:lnTo>
                    <a:pt x="25682" y="8054"/>
                  </a:lnTo>
                  <a:lnTo>
                    <a:pt x="25675" y="8048"/>
                  </a:lnTo>
                  <a:lnTo>
                    <a:pt x="25667" y="8044"/>
                  </a:lnTo>
                  <a:lnTo>
                    <a:pt x="25660" y="8043"/>
                  </a:lnTo>
                  <a:lnTo>
                    <a:pt x="25655" y="8046"/>
                  </a:lnTo>
                  <a:lnTo>
                    <a:pt x="25651" y="8051"/>
                  </a:lnTo>
                  <a:lnTo>
                    <a:pt x="25648" y="8058"/>
                  </a:lnTo>
                  <a:lnTo>
                    <a:pt x="25640" y="8084"/>
                  </a:lnTo>
                  <a:lnTo>
                    <a:pt x="25619" y="8116"/>
                  </a:lnTo>
                  <a:lnTo>
                    <a:pt x="25616" y="8122"/>
                  </a:lnTo>
                  <a:lnTo>
                    <a:pt x="25618" y="8133"/>
                  </a:lnTo>
                  <a:lnTo>
                    <a:pt x="25617" y="8139"/>
                  </a:lnTo>
                  <a:lnTo>
                    <a:pt x="25612" y="8146"/>
                  </a:lnTo>
                  <a:lnTo>
                    <a:pt x="25633" y="8160"/>
                  </a:lnTo>
                  <a:lnTo>
                    <a:pt x="25643" y="8163"/>
                  </a:lnTo>
                  <a:lnTo>
                    <a:pt x="25647" y="8153"/>
                  </a:lnTo>
                  <a:lnTo>
                    <a:pt x="25650" y="8144"/>
                  </a:lnTo>
                  <a:lnTo>
                    <a:pt x="25665" y="8121"/>
                  </a:lnTo>
                  <a:lnTo>
                    <a:pt x="25672" y="8113"/>
                  </a:lnTo>
                  <a:lnTo>
                    <a:pt x="25677" y="8105"/>
                  </a:lnTo>
                  <a:lnTo>
                    <a:pt x="25682" y="8093"/>
                  </a:lnTo>
                  <a:lnTo>
                    <a:pt x="25687" y="8071"/>
                  </a:lnTo>
                  <a:lnTo>
                    <a:pt x="25686" y="8062"/>
                  </a:lnTo>
                  <a:lnTo>
                    <a:pt x="25682" y="8054"/>
                  </a:lnTo>
                  <a:close/>
                  <a:moveTo>
                    <a:pt x="25774" y="7850"/>
                  </a:moveTo>
                  <a:lnTo>
                    <a:pt x="25774" y="7850"/>
                  </a:lnTo>
                  <a:lnTo>
                    <a:pt x="25764" y="7847"/>
                  </a:lnTo>
                  <a:lnTo>
                    <a:pt x="25754" y="7849"/>
                  </a:lnTo>
                  <a:lnTo>
                    <a:pt x="25750" y="7855"/>
                  </a:lnTo>
                  <a:lnTo>
                    <a:pt x="25749" y="7865"/>
                  </a:lnTo>
                  <a:lnTo>
                    <a:pt x="25749" y="7885"/>
                  </a:lnTo>
                  <a:lnTo>
                    <a:pt x="25737" y="7887"/>
                  </a:lnTo>
                  <a:lnTo>
                    <a:pt x="25727" y="7903"/>
                  </a:lnTo>
                  <a:lnTo>
                    <a:pt x="25723" y="7923"/>
                  </a:lnTo>
                  <a:lnTo>
                    <a:pt x="25731" y="7938"/>
                  </a:lnTo>
                  <a:lnTo>
                    <a:pt x="25731" y="7942"/>
                  </a:lnTo>
                  <a:lnTo>
                    <a:pt x="25723" y="7948"/>
                  </a:lnTo>
                  <a:lnTo>
                    <a:pt x="25726" y="7956"/>
                  </a:lnTo>
                  <a:lnTo>
                    <a:pt x="25735" y="7963"/>
                  </a:lnTo>
                  <a:lnTo>
                    <a:pt x="25744" y="7969"/>
                  </a:lnTo>
                  <a:lnTo>
                    <a:pt x="25752" y="7961"/>
                  </a:lnTo>
                  <a:lnTo>
                    <a:pt x="25767" y="7916"/>
                  </a:lnTo>
                  <a:lnTo>
                    <a:pt x="25778" y="7893"/>
                  </a:lnTo>
                  <a:lnTo>
                    <a:pt x="25783" y="7881"/>
                  </a:lnTo>
                  <a:lnTo>
                    <a:pt x="25784" y="7866"/>
                  </a:lnTo>
                  <a:lnTo>
                    <a:pt x="25781" y="7857"/>
                  </a:lnTo>
                  <a:lnTo>
                    <a:pt x="25774" y="7850"/>
                  </a:lnTo>
                  <a:close/>
                  <a:moveTo>
                    <a:pt x="20917" y="4707"/>
                  </a:moveTo>
                  <a:lnTo>
                    <a:pt x="20917" y="4707"/>
                  </a:lnTo>
                  <a:lnTo>
                    <a:pt x="20928" y="4705"/>
                  </a:lnTo>
                  <a:lnTo>
                    <a:pt x="20930" y="4700"/>
                  </a:lnTo>
                  <a:lnTo>
                    <a:pt x="20924" y="4681"/>
                  </a:lnTo>
                  <a:lnTo>
                    <a:pt x="20918" y="4678"/>
                  </a:lnTo>
                  <a:lnTo>
                    <a:pt x="20912" y="4680"/>
                  </a:lnTo>
                  <a:lnTo>
                    <a:pt x="20907" y="4680"/>
                  </a:lnTo>
                  <a:lnTo>
                    <a:pt x="20902" y="4672"/>
                  </a:lnTo>
                  <a:lnTo>
                    <a:pt x="20897" y="4672"/>
                  </a:lnTo>
                  <a:lnTo>
                    <a:pt x="20896" y="4677"/>
                  </a:lnTo>
                  <a:lnTo>
                    <a:pt x="20895" y="4680"/>
                  </a:lnTo>
                  <a:lnTo>
                    <a:pt x="20894" y="4682"/>
                  </a:lnTo>
                  <a:lnTo>
                    <a:pt x="20893" y="4685"/>
                  </a:lnTo>
                  <a:lnTo>
                    <a:pt x="20881" y="4688"/>
                  </a:lnTo>
                  <a:lnTo>
                    <a:pt x="20868" y="4702"/>
                  </a:lnTo>
                  <a:lnTo>
                    <a:pt x="20867" y="4718"/>
                  </a:lnTo>
                  <a:lnTo>
                    <a:pt x="20888" y="4725"/>
                  </a:lnTo>
                  <a:lnTo>
                    <a:pt x="20895" y="4722"/>
                  </a:lnTo>
                  <a:lnTo>
                    <a:pt x="20909" y="4710"/>
                  </a:lnTo>
                  <a:lnTo>
                    <a:pt x="20917" y="4707"/>
                  </a:lnTo>
                  <a:close/>
                  <a:moveTo>
                    <a:pt x="21189" y="2383"/>
                  </a:moveTo>
                  <a:lnTo>
                    <a:pt x="21189" y="2383"/>
                  </a:lnTo>
                  <a:lnTo>
                    <a:pt x="21204" y="2381"/>
                  </a:lnTo>
                  <a:lnTo>
                    <a:pt x="21211" y="2367"/>
                  </a:lnTo>
                  <a:lnTo>
                    <a:pt x="21210" y="2354"/>
                  </a:lnTo>
                  <a:lnTo>
                    <a:pt x="21208" y="2348"/>
                  </a:lnTo>
                  <a:lnTo>
                    <a:pt x="21202" y="2347"/>
                  </a:lnTo>
                  <a:lnTo>
                    <a:pt x="21192" y="2348"/>
                  </a:lnTo>
                  <a:lnTo>
                    <a:pt x="21175" y="2344"/>
                  </a:lnTo>
                  <a:lnTo>
                    <a:pt x="21170" y="2347"/>
                  </a:lnTo>
                  <a:lnTo>
                    <a:pt x="21167" y="2359"/>
                  </a:lnTo>
                  <a:lnTo>
                    <a:pt x="21174" y="2375"/>
                  </a:lnTo>
                  <a:lnTo>
                    <a:pt x="21189" y="2383"/>
                  </a:lnTo>
                  <a:close/>
                  <a:moveTo>
                    <a:pt x="21421" y="2327"/>
                  </a:moveTo>
                  <a:lnTo>
                    <a:pt x="21421" y="2327"/>
                  </a:lnTo>
                  <a:lnTo>
                    <a:pt x="21430" y="2334"/>
                  </a:lnTo>
                  <a:lnTo>
                    <a:pt x="21440" y="2327"/>
                  </a:lnTo>
                  <a:lnTo>
                    <a:pt x="21455" y="2290"/>
                  </a:lnTo>
                  <a:lnTo>
                    <a:pt x="21455" y="2282"/>
                  </a:lnTo>
                  <a:lnTo>
                    <a:pt x="21442" y="2260"/>
                  </a:lnTo>
                  <a:lnTo>
                    <a:pt x="21434" y="2257"/>
                  </a:lnTo>
                  <a:lnTo>
                    <a:pt x="21430" y="2260"/>
                  </a:lnTo>
                  <a:lnTo>
                    <a:pt x="21427" y="2266"/>
                  </a:lnTo>
                  <a:lnTo>
                    <a:pt x="21422" y="2275"/>
                  </a:lnTo>
                  <a:lnTo>
                    <a:pt x="21417" y="2281"/>
                  </a:lnTo>
                  <a:lnTo>
                    <a:pt x="21413" y="2287"/>
                  </a:lnTo>
                  <a:lnTo>
                    <a:pt x="21411" y="2294"/>
                  </a:lnTo>
                  <a:lnTo>
                    <a:pt x="21411" y="2302"/>
                  </a:lnTo>
                  <a:lnTo>
                    <a:pt x="21415" y="2314"/>
                  </a:lnTo>
                  <a:lnTo>
                    <a:pt x="21421" y="2327"/>
                  </a:lnTo>
                  <a:close/>
                  <a:moveTo>
                    <a:pt x="24344" y="6020"/>
                  </a:moveTo>
                  <a:lnTo>
                    <a:pt x="24344" y="6020"/>
                  </a:lnTo>
                  <a:lnTo>
                    <a:pt x="24347" y="6022"/>
                  </a:lnTo>
                  <a:lnTo>
                    <a:pt x="24351" y="6039"/>
                  </a:lnTo>
                  <a:lnTo>
                    <a:pt x="24356" y="6049"/>
                  </a:lnTo>
                  <a:lnTo>
                    <a:pt x="24363" y="6058"/>
                  </a:lnTo>
                  <a:lnTo>
                    <a:pt x="24371" y="6065"/>
                  </a:lnTo>
                  <a:lnTo>
                    <a:pt x="24378" y="6055"/>
                  </a:lnTo>
                  <a:lnTo>
                    <a:pt x="24379" y="6044"/>
                  </a:lnTo>
                  <a:lnTo>
                    <a:pt x="24376" y="6032"/>
                  </a:lnTo>
                  <a:lnTo>
                    <a:pt x="24371" y="6022"/>
                  </a:lnTo>
                  <a:lnTo>
                    <a:pt x="24357" y="6003"/>
                  </a:lnTo>
                  <a:lnTo>
                    <a:pt x="24348" y="5994"/>
                  </a:lnTo>
                  <a:lnTo>
                    <a:pt x="24338" y="5991"/>
                  </a:lnTo>
                  <a:lnTo>
                    <a:pt x="24333" y="5993"/>
                  </a:lnTo>
                  <a:lnTo>
                    <a:pt x="24322" y="6000"/>
                  </a:lnTo>
                  <a:lnTo>
                    <a:pt x="24318" y="6003"/>
                  </a:lnTo>
                  <a:lnTo>
                    <a:pt x="24329" y="6018"/>
                  </a:lnTo>
                  <a:lnTo>
                    <a:pt x="24333" y="6021"/>
                  </a:lnTo>
                  <a:lnTo>
                    <a:pt x="24344" y="6020"/>
                  </a:lnTo>
                  <a:close/>
                  <a:moveTo>
                    <a:pt x="28217" y="8179"/>
                  </a:moveTo>
                  <a:lnTo>
                    <a:pt x="28217" y="8179"/>
                  </a:lnTo>
                  <a:lnTo>
                    <a:pt x="28224" y="8182"/>
                  </a:lnTo>
                  <a:lnTo>
                    <a:pt x="28232" y="8187"/>
                  </a:lnTo>
                  <a:lnTo>
                    <a:pt x="28237" y="8211"/>
                  </a:lnTo>
                  <a:lnTo>
                    <a:pt x="28246" y="8217"/>
                  </a:lnTo>
                  <a:lnTo>
                    <a:pt x="28253" y="8219"/>
                  </a:lnTo>
                  <a:lnTo>
                    <a:pt x="28260" y="8222"/>
                  </a:lnTo>
                  <a:lnTo>
                    <a:pt x="28267" y="8224"/>
                  </a:lnTo>
                  <a:lnTo>
                    <a:pt x="28279" y="8221"/>
                  </a:lnTo>
                  <a:lnTo>
                    <a:pt x="28294" y="8212"/>
                  </a:lnTo>
                  <a:lnTo>
                    <a:pt x="28302" y="8206"/>
                  </a:lnTo>
                  <a:lnTo>
                    <a:pt x="28306" y="8200"/>
                  </a:lnTo>
                  <a:lnTo>
                    <a:pt x="28303" y="8190"/>
                  </a:lnTo>
                  <a:lnTo>
                    <a:pt x="28287" y="8175"/>
                  </a:lnTo>
                  <a:lnTo>
                    <a:pt x="28284" y="8166"/>
                  </a:lnTo>
                  <a:lnTo>
                    <a:pt x="28279" y="8160"/>
                  </a:lnTo>
                  <a:lnTo>
                    <a:pt x="28269" y="8157"/>
                  </a:lnTo>
                  <a:lnTo>
                    <a:pt x="28246" y="8155"/>
                  </a:lnTo>
                  <a:lnTo>
                    <a:pt x="28236" y="8153"/>
                  </a:lnTo>
                  <a:lnTo>
                    <a:pt x="28227" y="8148"/>
                  </a:lnTo>
                  <a:lnTo>
                    <a:pt x="28211" y="8136"/>
                  </a:lnTo>
                  <a:lnTo>
                    <a:pt x="28202" y="8129"/>
                  </a:lnTo>
                  <a:lnTo>
                    <a:pt x="28196" y="8135"/>
                  </a:lnTo>
                  <a:lnTo>
                    <a:pt x="28196" y="8147"/>
                  </a:lnTo>
                  <a:lnTo>
                    <a:pt x="28199" y="8159"/>
                  </a:lnTo>
                  <a:lnTo>
                    <a:pt x="28209" y="8172"/>
                  </a:lnTo>
                  <a:lnTo>
                    <a:pt x="28217" y="8179"/>
                  </a:lnTo>
                  <a:close/>
                  <a:moveTo>
                    <a:pt x="92" y="163"/>
                  </a:moveTo>
                  <a:lnTo>
                    <a:pt x="92" y="163"/>
                  </a:lnTo>
                  <a:lnTo>
                    <a:pt x="83" y="158"/>
                  </a:lnTo>
                  <a:lnTo>
                    <a:pt x="79" y="170"/>
                  </a:lnTo>
                  <a:lnTo>
                    <a:pt x="75" y="174"/>
                  </a:lnTo>
                  <a:lnTo>
                    <a:pt x="68" y="179"/>
                  </a:lnTo>
                  <a:lnTo>
                    <a:pt x="62" y="186"/>
                  </a:lnTo>
                  <a:lnTo>
                    <a:pt x="64" y="192"/>
                  </a:lnTo>
                  <a:lnTo>
                    <a:pt x="71" y="195"/>
                  </a:lnTo>
                  <a:lnTo>
                    <a:pt x="78" y="196"/>
                  </a:lnTo>
                  <a:lnTo>
                    <a:pt x="85" y="197"/>
                  </a:lnTo>
                  <a:lnTo>
                    <a:pt x="92" y="203"/>
                  </a:lnTo>
                  <a:lnTo>
                    <a:pt x="97" y="198"/>
                  </a:lnTo>
                  <a:lnTo>
                    <a:pt x="102" y="195"/>
                  </a:lnTo>
                  <a:lnTo>
                    <a:pt x="108" y="194"/>
                  </a:lnTo>
                  <a:lnTo>
                    <a:pt x="115" y="194"/>
                  </a:lnTo>
                  <a:lnTo>
                    <a:pt x="106" y="181"/>
                  </a:lnTo>
                  <a:lnTo>
                    <a:pt x="92" y="163"/>
                  </a:lnTo>
                  <a:close/>
                  <a:moveTo>
                    <a:pt x="77" y="148"/>
                  </a:moveTo>
                  <a:lnTo>
                    <a:pt x="77" y="148"/>
                  </a:lnTo>
                  <a:lnTo>
                    <a:pt x="78" y="141"/>
                  </a:lnTo>
                  <a:lnTo>
                    <a:pt x="74" y="134"/>
                  </a:lnTo>
                  <a:lnTo>
                    <a:pt x="66" y="128"/>
                  </a:lnTo>
                  <a:lnTo>
                    <a:pt x="70" y="132"/>
                  </a:lnTo>
                  <a:lnTo>
                    <a:pt x="58" y="122"/>
                  </a:lnTo>
                  <a:lnTo>
                    <a:pt x="44" y="109"/>
                  </a:lnTo>
                  <a:lnTo>
                    <a:pt x="29" y="98"/>
                  </a:lnTo>
                  <a:lnTo>
                    <a:pt x="13" y="97"/>
                  </a:lnTo>
                  <a:lnTo>
                    <a:pt x="7" y="100"/>
                  </a:lnTo>
                  <a:lnTo>
                    <a:pt x="1" y="107"/>
                  </a:lnTo>
                  <a:lnTo>
                    <a:pt x="0" y="112"/>
                  </a:lnTo>
                  <a:lnTo>
                    <a:pt x="6" y="115"/>
                  </a:lnTo>
                  <a:lnTo>
                    <a:pt x="12" y="114"/>
                  </a:lnTo>
                  <a:lnTo>
                    <a:pt x="17" y="112"/>
                  </a:lnTo>
                  <a:lnTo>
                    <a:pt x="23" y="112"/>
                  </a:lnTo>
                  <a:lnTo>
                    <a:pt x="31" y="115"/>
                  </a:lnTo>
                  <a:lnTo>
                    <a:pt x="31" y="119"/>
                  </a:lnTo>
                  <a:lnTo>
                    <a:pt x="23" y="123"/>
                  </a:lnTo>
                  <a:lnTo>
                    <a:pt x="24" y="127"/>
                  </a:lnTo>
                  <a:lnTo>
                    <a:pt x="28" y="130"/>
                  </a:lnTo>
                  <a:lnTo>
                    <a:pt x="28" y="135"/>
                  </a:lnTo>
                  <a:lnTo>
                    <a:pt x="24" y="139"/>
                  </a:lnTo>
                  <a:lnTo>
                    <a:pt x="22" y="142"/>
                  </a:lnTo>
                  <a:lnTo>
                    <a:pt x="24" y="144"/>
                  </a:lnTo>
                  <a:lnTo>
                    <a:pt x="31" y="146"/>
                  </a:lnTo>
                  <a:lnTo>
                    <a:pt x="28" y="152"/>
                  </a:lnTo>
                  <a:lnTo>
                    <a:pt x="28" y="155"/>
                  </a:lnTo>
                  <a:lnTo>
                    <a:pt x="31" y="164"/>
                  </a:lnTo>
                  <a:lnTo>
                    <a:pt x="53" y="146"/>
                  </a:lnTo>
                  <a:lnTo>
                    <a:pt x="70" y="155"/>
                  </a:lnTo>
                  <a:lnTo>
                    <a:pt x="77" y="148"/>
                  </a:lnTo>
                  <a:close/>
                  <a:moveTo>
                    <a:pt x="141" y="26"/>
                  </a:moveTo>
                  <a:lnTo>
                    <a:pt x="141" y="26"/>
                  </a:lnTo>
                  <a:lnTo>
                    <a:pt x="155" y="35"/>
                  </a:lnTo>
                  <a:lnTo>
                    <a:pt x="159" y="45"/>
                  </a:lnTo>
                  <a:lnTo>
                    <a:pt x="163" y="57"/>
                  </a:lnTo>
                  <a:lnTo>
                    <a:pt x="168" y="66"/>
                  </a:lnTo>
                  <a:lnTo>
                    <a:pt x="177" y="74"/>
                  </a:lnTo>
                  <a:lnTo>
                    <a:pt x="187" y="80"/>
                  </a:lnTo>
                  <a:lnTo>
                    <a:pt x="198" y="83"/>
                  </a:lnTo>
                  <a:lnTo>
                    <a:pt x="210" y="84"/>
                  </a:lnTo>
                  <a:lnTo>
                    <a:pt x="218" y="81"/>
                  </a:lnTo>
                  <a:lnTo>
                    <a:pt x="221" y="74"/>
                  </a:lnTo>
                  <a:lnTo>
                    <a:pt x="221" y="53"/>
                  </a:lnTo>
                  <a:lnTo>
                    <a:pt x="230" y="59"/>
                  </a:lnTo>
                  <a:lnTo>
                    <a:pt x="232" y="62"/>
                  </a:lnTo>
                  <a:lnTo>
                    <a:pt x="234" y="66"/>
                  </a:lnTo>
                  <a:lnTo>
                    <a:pt x="239" y="66"/>
                  </a:lnTo>
                  <a:lnTo>
                    <a:pt x="239" y="44"/>
                  </a:lnTo>
                  <a:lnTo>
                    <a:pt x="219" y="15"/>
                  </a:lnTo>
                  <a:lnTo>
                    <a:pt x="212" y="8"/>
                  </a:lnTo>
                  <a:lnTo>
                    <a:pt x="202" y="7"/>
                  </a:lnTo>
                  <a:lnTo>
                    <a:pt x="195" y="14"/>
                  </a:lnTo>
                  <a:lnTo>
                    <a:pt x="190" y="24"/>
                  </a:lnTo>
                  <a:lnTo>
                    <a:pt x="184" y="33"/>
                  </a:lnTo>
                  <a:lnTo>
                    <a:pt x="175" y="34"/>
                  </a:lnTo>
                  <a:lnTo>
                    <a:pt x="168" y="25"/>
                  </a:lnTo>
                  <a:lnTo>
                    <a:pt x="159" y="8"/>
                  </a:lnTo>
                  <a:lnTo>
                    <a:pt x="152" y="3"/>
                  </a:lnTo>
                  <a:lnTo>
                    <a:pt x="144" y="0"/>
                  </a:lnTo>
                  <a:lnTo>
                    <a:pt x="130" y="0"/>
                  </a:lnTo>
                  <a:lnTo>
                    <a:pt x="129" y="4"/>
                  </a:lnTo>
                  <a:lnTo>
                    <a:pt x="134" y="15"/>
                  </a:lnTo>
                  <a:lnTo>
                    <a:pt x="141" y="26"/>
                  </a:lnTo>
                  <a:close/>
                  <a:moveTo>
                    <a:pt x="1063" y="2439"/>
                  </a:moveTo>
                  <a:lnTo>
                    <a:pt x="1063" y="2439"/>
                  </a:lnTo>
                  <a:lnTo>
                    <a:pt x="1055" y="2436"/>
                  </a:lnTo>
                  <a:lnTo>
                    <a:pt x="1044" y="2434"/>
                  </a:lnTo>
                  <a:lnTo>
                    <a:pt x="1038" y="2436"/>
                  </a:lnTo>
                  <a:lnTo>
                    <a:pt x="1035" y="2441"/>
                  </a:lnTo>
                  <a:lnTo>
                    <a:pt x="1032" y="2449"/>
                  </a:lnTo>
                  <a:lnTo>
                    <a:pt x="1032" y="2466"/>
                  </a:lnTo>
                  <a:lnTo>
                    <a:pt x="1041" y="2472"/>
                  </a:lnTo>
                  <a:lnTo>
                    <a:pt x="1054" y="2470"/>
                  </a:lnTo>
                  <a:lnTo>
                    <a:pt x="1068" y="2461"/>
                  </a:lnTo>
                  <a:lnTo>
                    <a:pt x="1072" y="2452"/>
                  </a:lnTo>
                  <a:lnTo>
                    <a:pt x="1070" y="2445"/>
                  </a:lnTo>
                  <a:lnTo>
                    <a:pt x="1063" y="2439"/>
                  </a:lnTo>
                  <a:close/>
                  <a:moveTo>
                    <a:pt x="1344" y="2450"/>
                  </a:moveTo>
                  <a:lnTo>
                    <a:pt x="1344" y="2450"/>
                  </a:lnTo>
                  <a:lnTo>
                    <a:pt x="1341" y="2455"/>
                  </a:lnTo>
                  <a:lnTo>
                    <a:pt x="1333" y="2462"/>
                  </a:lnTo>
                  <a:lnTo>
                    <a:pt x="1329" y="2462"/>
                  </a:lnTo>
                  <a:lnTo>
                    <a:pt x="1351" y="2507"/>
                  </a:lnTo>
                  <a:lnTo>
                    <a:pt x="1359" y="2508"/>
                  </a:lnTo>
                  <a:lnTo>
                    <a:pt x="1365" y="2504"/>
                  </a:lnTo>
                  <a:lnTo>
                    <a:pt x="1362" y="2495"/>
                  </a:lnTo>
                  <a:lnTo>
                    <a:pt x="1364" y="2492"/>
                  </a:lnTo>
                  <a:lnTo>
                    <a:pt x="1378" y="2484"/>
                  </a:lnTo>
                  <a:lnTo>
                    <a:pt x="1382" y="2480"/>
                  </a:lnTo>
                  <a:lnTo>
                    <a:pt x="1381" y="2470"/>
                  </a:lnTo>
                  <a:lnTo>
                    <a:pt x="1377" y="2458"/>
                  </a:lnTo>
                  <a:lnTo>
                    <a:pt x="1371" y="2449"/>
                  </a:lnTo>
                  <a:lnTo>
                    <a:pt x="1362" y="2445"/>
                  </a:lnTo>
                  <a:lnTo>
                    <a:pt x="1350" y="2446"/>
                  </a:lnTo>
                  <a:lnTo>
                    <a:pt x="1344" y="2450"/>
                  </a:lnTo>
                  <a:close/>
                  <a:moveTo>
                    <a:pt x="1466" y="2370"/>
                  </a:moveTo>
                  <a:lnTo>
                    <a:pt x="1466" y="2370"/>
                  </a:lnTo>
                  <a:lnTo>
                    <a:pt x="1456" y="2368"/>
                  </a:lnTo>
                  <a:lnTo>
                    <a:pt x="1444" y="2369"/>
                  </a:lnTo>
                  <a:lnTo>
                    <a:pt x="1435" y="2374"/>
                  </a:lnTo>
                  <a:lnTo>
                    <a:pt x="1428" y="2380"/>
                  </a:lnTo>
                  <a:lnTo>
                    <a:pt x="1419" y="2384"/>
                  </a:lnTo>
                  <a:lnTo>
                    <a:pt x="1408" y="2383"/>
                  </a:lnTo>
                  <a:lnTo>
                    <a:pt x="1403" y="2372"/>
                  </a:lnTo>
                  <a:lnTo>
                    <a:pt x="1400" y="2369"/>
                  </a:lnTo>
                  <a:lnTo>
                    <a:pt x="1396" y="2368"/>
                  </a:lnTo>
                  <a:lnTo>
                    <a:pt x="1393" y="2368"/>
                  </a:lnTo>
                  <a:lnTo>
                    <a:pt x="1365" y="2373"/>
                  </a:lnTo>
                  <a:lnTo>
                    <a:pt x="1355" y="2376"/>
                  </a:lnTo>
                  <a:lnTo>
                    <a:pt x="1351" y="2381"/>
                  </a:lnTo>
                  <a:lnTo>
                    <a:pt x="1419" y="2405"/>
                  </a:lnTo>
                  <a:lnTo>
                    <a:pt x="1431" y="2416"/>
                  </a:lnTo>
                  <a:lnTo>
                    <a:pt x="1436" y="2423"/>
                  </a:lnTo>
                  <a:lnTo>
                    <a:pt x="1465" y="2451"/>
                  </a:lnTo>
                  <a:lnTo>
                    <a:pt x="1471" y="2461"/>
                  </a:lnTo>
                  <a:lnTo>
                    <a:pt x="1476" y="2473"/>
                  </a:lnTo>
                  <a:lnTo>
                    <a:pt x="1483" y="2481"/>
                  </a:lnTo>
                  <a:lnTo>
                    <a:pt x="1493" y="2480"/>
                  </a:lnTo>
                  <a:lnTo>
                    <a:pt x="1492" y="2485"/>
                  </a:lnTo>
                  <a:lnTo>
                    <a:pt x="1493" y="2497"/>
                  </a:lnTo>
                  <a:lnTo>
                    <a:pt x="1498" y="2494"/>
                  </a:lnTo>
                  <a:lnTo>
                    <a:pt x="1501" y="2490"/>
                  </a:lnTo>
                  <a:lnTo>
                    <a:pt x="1504" y="2486"/>
                  </a:lnTo>
                  <a:lnTo>
                    <a:pt x="1506" y="2480"/>
                  </a:lnTo>
                  <a:lnTo>
                    <a:pt x="1506" y="2464"/>
                  </a:lnTo>
                  <a:lnTo>
                    <a:pt x="1505" y="2450"/>
                  </a:lnTo>
                  <a:lnTo>
                    <a:pt x="1502" y="2436"/>
                  </a:lnTo>
                  <a:lnTo>
                    <a:pt x="1497" y="2423"/>
                  </a:lnTo>
                  <a:lnTo>
                    <a:pt x="1494" y="2409"/>
                  </a:lnTo>
                  <a:lnTo>
                    <a:pt x="1491" y="2403"/>
                  </a:lnTo>
                  <a:lnTo>
                    <a:pt x="1482" y="2399"/>
                  </a:lnTo>
                  <a:lnTo>
                    <a:pt x="1467" y="2383"/>
                  </a:lnTo>
                  <a:lnTo>
                    <a:pt x="1472" y="2375"/>
                  </a:lnTo>
                  <a:lnTo>
                    <a:pt x="1466" y="2370"/>
                  </a:lnTo>
                  <a:close/>
                  <a:moveTo>
                    <a:pt x="2313" y="2741"/>
                  </a:moveTo>
                  <a:lnTo>
                    <a:pt x="2313" y="2741"/>
                  </a:lnTo>
                  <a:lnTo>
                    <a:pt x="2301" y="2728"/>
                  </a:lnTo>
                  <a:lnTo>
                    <a:pt x="2290" y="2722"/>
                  </a:lnTo>
                  <a:lnTo>
                    <a:pt x="2281" y="2728"/>
                  </a:lnTo>
                  <a:lnTo>
                    <a:pt x="2275" y="2735"/>
                  </a:lnTo>
                  <a:lnTo>
                    <a:pt x="2268" y="2739"/>
                  </a:lnTo>
                  <a:lnTo>
                    <a:pt x="2257" y="2733"/>
                  </a:lnTo>
                  <a:lnTo>
                    <a:pt x="2247" y="2717"/>
                  </a:lnTo>
                  <a:lnTo>
                    <a:pt x="2240" y="2708"/>
                  </a:lnTo>
                  <a:lnTo>
                    <a:pt x="2231" y="2704"/>
                  </a:lnTo>
                  <a:lnTo>
                    <a:pt x="2220" y="2708"/>
                  </a:lnTo>
                  <a:lnTo>
                    <a:pt x="2213" y="2716"/>
                  </a:lnTo>
                  <a:lnTo>
                    <a:pt x="2210" y="2726"/>
                  </a:lnTo>
                  <a:lnTo>
                    <a:pt x="2210" y="2735"/>
                  </a:lnTo>
                  <a:lnTo>
                    <a:pt x="2216" y="2743"/>
                  </a:lnTo>
                  <a:lnTo>
                    <a:pt x="2223" y="2745"/>
                  </a:lnTo>
                  <a:lnTo>
                    <a:pt x="2232" y="2746"/>
                  </a:lnTo>
                  <a:lnTo>
                    <a:pt x="2253" y="2757"/>
                  </a:lnTo>
                  <a:lnTo>
                    <a:pt x="2273" y="2760"/>
                  </a:lnTo>
                  <a:lnTo>
                    <a:pt x="2293" y="2760"/>
                  </a:lnTo>
                  <a:lnTo>
                    <a:pt x="2307" y="2757"/>
                  </a:lnTo>
                  <a:lnTo>
                    <a:pt x="2319" y="2754"/>
                  </a:lnTo>
                  <a:lnTo>
                    <a:pt x="2313" y="2741"/>
                  </a:lnTo>
                  <a:close/>
                  <a:moveTo>
                    <a:pt x="3553" y="5821"/>
                  </a:moveTo>
                  <a:lnTo>
                    <a:pt x="3553" y="5821"/>
                  </a:lnTo>
                  <a:lnTo>
                    <a:pt x="3553" y="5809"/>
                  </a:lnTo>
                  <a:lnTo>
                    <a:pt x="3543" y="5819"/>
                  </a:lnTo>
                  <a:lnTo>
                    <a:pt x="3544" y="5833"/>
                  </a:lnTo>
                  <a:lnTo>
                    <a:pt x="3552" y="5845"/>
                  </a:lnTo>
                  <a:lnTo>
                    <a:pt x="3567" y="5848"/>
                  </a:lnTo>
                  <a:lnTo>
                    <a:pt x="3571" y="5844"/>
                  </a:lnTo>
                  <a:lnTo>
                    <a:pt x="3558" y="5829"/>
                  </a:lnTo>
                  <a:lnTo>
                    <a:pt x="3553" y="5821"/>
                  </a:lnTo>
                  <a:close/>
                  <a:moveTo>
                    <a:pt x="6350" y="7508"/>
                  </a:moveTo>
                  <a:lnTo>
                    <a:pt x="6350" y="7508"/>
                  </a:lnTo>
                  <a:lnTo>
                    <a:pt x="6346" y="7507"/>
                  </a:lnTo>
                  <a:lnTo>
                    <a:pt x="6334" y="7505"/>
                  </a:lnTo>
                  <a:lnTo>
                    <a:pt x="6320" y="7497"/>
                  </a:lnTo>
                  <a:lnTo>
                    <a:pt x="6313" y="7496"/>
                  </a:lnTo>
                  <a:lnTo>
                    <a:pt x="6309" y="7503"/>
                  </a:lnTo>
                  <a:lnTo>
                    <a:pt x="6310" y="7509"/>
                  </a:lnTo>
                  <a:lnTo>
                    <a:pt x="6313" y="7516"/>
                  </a:lnTo>
                  <a:lnTo>
                    <a:pt x="6322" y="7526"/>
                  </a:lnTo>
                  <a:lnTo>
                    <a:pt x="6341" y="7542"/>
                  </a:lnTo>
                  <a:lnTo>
                    <a:pt x="6353" y="7547"/>
                  </a:lnTo>
                  <a:lnTo>
                    <a:pt x="6358" y="7542"/>
                  </a:lnTo>
                  <a:lnTo>
                    <a:pt x="6361" y="7523"/>
                  </a:lnTo>
                  <a:lnTo>
                    <a:pt x="6358" y="7517"/>
                  </a:lnTo>
                  <a:lnTo>
                    <a:pt x="6350" y="7508"/>
                  </a:lnTo>
                  <a:close/>
                  <a:moveTo>
                    <a:pt x="6613" y="8079"/>
                  </a:moveTo>
                  <a:lnTo>
                    <a:pt x="6613" y="8079"/>
                  </a:lnTo>
                  <a:lnTo>
                    <a:pt x="6623" y="8069"/>
                  </a:lnTo>
                  <a:lnTo>
                    <a:pt x="6628" y="8046"/>
                  </a:lnTo>
                  <a:lnTo>
                    <a:pt x="6629" y="8021"/>
                  </a:lnTo>
                  <a:lnTo>
                    <a:pt x="6629" y="8005"/>
                  </a:lnTo>
                  <a:lnTo>
                    <a:pt x="6621" y="8004"/>
                  </a:lnTo>
                  <a:lnTo>
                    <a:pt x="6614" y="8005"/>
                  </a:lnTo>
                  <a:lnTo>
                    <a:pt x="6609" y="8007"/>
                  </a:lnTo>
                  <a:lnTo>
                    <a:pt x="6607" y="8011"/>
                  </a:lnTo>
                  <a:lnTo>
                    <a:pt x="6604" y="8010"/>
                  </a:lnTo>
                  <a:lnTo>
                    <a:pt x="6597" y="8012"/>
                  </a:lnTo>
                  <a:lnTo>
                    <a:pt x="6590" y="8016"/>
                  </a:lnTo>
                  <a:lnTo>
                    <a:pt x="6584" y="8022"/>
                  </a:lnTo>
                  <a:lnTo>
                    <a:pt x="6580" y="8018"/>
                  </a:lnTo>
                  <a:lnTo>
                    <a:pt x="6547" y="8043"/>
                  </a:lnTo>
                  <a:lnTo>
                    <a:pt x="6534" y="8059"/>
                  </a:lnTo>
                  <a:lnTo>
                    <a:pt x="6535" y="8071"/>
                  </a:lnTo>
                  <a:lnTo>
                    <a:pt x="6543" y="8069"/>
                  </a:lnTo>
                  <a:lnTo>
                    <a:pt x="6571" y="8040"/>
                  </a:lnTo>
                  <a:lnTo>
                    <a:pt x="6576" y="8056"/>
                  </a:lnTo>
                  <a:lnTo>
                    <a:pt x="6581" y="8063"/>
                  </a:lnTo>
                  <a:lnTo>
                    <a:pt x="6588" y="8066"/>
                  </a:lnTo>
                  <a:lnTo>
                    <a:pt x="6583" y="8075"/>
                  </a:lnTo>
                  <a:lnTo>
                    <a:pt x="6577" y="8087"/>
                  </a:lnTo>
                  <a:lnTo>
                    <a:pt x="6576" y="8097"/>
                  </a:lnTo>
                  <a:lnTo>
                    <a:pt x="6582" y="8102"/>
                  </a:lnTo>
                  <a:lnTo>
                    <a:pt x="6590" y="8098"/>
                  </a:lnTo>
                  <a:lnTo>
                    <a:pt x="6602" y="8083"/>
                  </a:lnTo>
                  <a:lnTo>
                    <a:pt x="6613" y="8079"/>
                  </a:lnTo>
                  <a:close/>
                  <a:moveTo>
                    <a:pt x="7639" y="5668"/>
                  </a:moveTo>
                  <a:lnTo>
                    <a:pt x="7639" y="5668"/>
                  </a:lnTo>
                  <a:lnTo>
                    <a:pt x="7630" y="5661"/>
                  </a:lnTo>
                  <a:lnTo>
                    <a:pt x="7617" y="5664"/>
                  </a:lnTo>
                  <a:lnTo>
                    <a:pt x="7604" y="5671"/>
                  </a:lnTo>
                  <a:lnTo>
                    <a:pt x="7589" y="5681"/>
                  </a:lnTo>
                  <a:lnTo>
                    <a:pt x="7586" y="5683"/>
                  </a:lnTo>
                  <a:lnTo>
                    <a:pt x="7582" y="5694"/>
                  </a:lnTo>
                  <a:lnTo>
                    <a:pt x="7579" y="5696"/>
                  </a:lnTo>
                  <a:lnTo>
                    <a:pt x="7574" y="5702"/>
                  </a:lnTo>
                  <a:lnTo>
                    <a:pt x="7572" y="5708"/>
                  </a:lnTo>
                  <a:lnTo>
                    <a:pt x="7594" y="5716"/>
                  </a:lnTo>
                  <a:lnTo>
                    <a:pt x="7621" y="5737"/>
                  </a:lnTo>
                  <a:lnTo>
                    <a:pt x="7632" y="5742"/>
                  </a:lnTo>
                  <a:lnTo>
                    <a:pt x="7661" y="5749"/>
                  </a:lnTo>
                  <a:lnTo>
                    <a:pt x="7664" y="5747"/>
                  </a:lnTo>
                  <a:lnTo>
                    <a:pt x="7683" y="5742"/>
                  </a:lnTo>
                  <a:lnTo>
                    <a:pt x="7680" y="5727"/>
                  </a:lnTo>
                  <a:lnTo>
                    <a:pt x="7696" y="5699"/>
                  </a:lnTo>
                  <a:lnTo>
                    <a:pt x="7692" y="5685"/>
                  </a:lnTo>
                  <a:lnTo>
                    <a:pt x="7680" y="5679"/>
                  </a:lnTo>
                  <a:lnTo>
                    <a:pt x="7650" y="5674"/>
                  </a:lnTo>
                  <a:lnTo>
                    <a:pt x="7639" y="5668"/>
                  </a:lnTo>
                  <a:close/>
                  <a:moveTo>
                    <a:pt x="7781" y="5655"/>
                  </a:moveTo>
                  <a:lnTo>
                    <a:pt x="7781" y="5655"/>
                  </a:lnTo>
                  <a:lnTo>
                    <a:pt x="7785" y="5661"/>
                  </a:lnTo>
                  <a:lnTo>
                    <a:pt x="7790" y="5667"/>
                  </a:lnTo>
                  <a:lnTo>
                    <a:pt x="7796" y="5671"/>
                  </a:lnTo>
                  <a:lnTo>
                    <a:pt x="7805" y="5672"/>
                  </a:lnTo>
                  <a:lnTo>
                    <a:pt x="7815" y="5668"/>
                  </a:lnTo>
                  <a:lnTo>
                    <a:pt x="7819" y="5659"/>
                  </a:lnTo>
                  <a:lnTo>
                    <a:pt x="7825" y="5637"/>
                  </a:lnTo>
                  <a:lnTo>
                    <a:pt x="7819" y="5630"/>
                  </a:lnTo>
                  <a:lnTo>
                    <a:pt x="7817" y="5628"/>
                  </a:lnTo>
                  <a:lnTo>
                    <a:pt x="7812" y="5625"/>
                  </a:lnTo>
                  <a:lnTo>
                    <a:pt x="7801" y="5617"/>
                  </a:lnTo>
                  <a:lnTo>
                    <a:pt x="7798" y="5615"/>
                  </a:lnTo>
                  <a:lnTo>
                    <a:pt x="7793" y="5616"/>
                  </a:lnTo>
                  <a:lnTo>
                    <a:pt x="7791" y="5619"/>
                  </a:lnTo>
                  <a:lnTo>
                    <a:pt x="7789" y="5622"/>
                  </a:lnTo>
                  <a:lnTo>
                    <a:pt x="7781" y="5628"/>
                  </a:lnTo>
                  <a:lnTo>
                    <a:pt x="7778" y="5637"/>
                  </a:lnTo>
                  <a:lnTo>
                    <a:pt x="7779" y="5648"/>
                  </a:lnTo>
                  <a:lnTo>
                    <a:pt x="7781" y="5655"/>
                  </a:lnTo>
                  <a:close/>
                  <a:moveTo>
                    <a:pt x="7996" y="5663"/>
                  </a:moveTo>
                  <a:lnTo>
                    <a:pt x="7996" y="5663"/>
                  </a:lnTo>
                  <a:lnTo>
                    <a:pt x="8021" y="5685"/>
                  </a:lnTo>
                  <a:lnTo>
                    <a:pt x="8024" y="5685"/>
                  </a:lnTo>
                  <a:lnTo>
                    <a:pt x="8028" y="5682"/>
                  </a:lnTo>
                  <a:lnTo>
                    <a:pt x="8050" y="5676"/>
                  </a:lnTo>
                  <a:lnTo>
                    <a:pt x="8062" y="5665"/>
                  </a:lnTo>
                  <a:lnTo>
                    <a:pt x="8071" y="5651"/>
                  </a:lnTo>
                  <a:lnTo>
                    <a:pt x="8077" y="5637"/>
                  </a:lnTo>
                  <a:lnTo>
                    <a:pt x="8073" y="5631"/>
                  </a:lnTo>
                  <a:lnTo>
                    <a:pt x="8069" y="5626"/>
                  </a:lnTo>
                  <a:lnTo>
                    <a:pt x="8066" y="5622"/>
                  </a:lnTo>
                  <a:lnTo>
                    <a:pt x="8064" y="5615"/>
                  </a:lnTo>
                  <a:lnTo>
                    <a:pt x="8047" y="5617"/>
                  </a:lnTo>
                  <a:lnTo>
                    <a:pt x="8026" y="5624"/>
                  </a:lnTo>
                  <a:lnTo>
                    <a:pt x="8010" y="5634"/>
                  </a:lnTo>
                  <a:lnTo>
                    <a:pt x="8006" y="5646"/>
                  </a:lnTo>
                  <a:lnTo>
                    <a:pt x="8001" y="5646"/>
                  </a:lnTo>
                  <a:lnTo>
                    <a:pt x="7990" y="5646"/>
                  </a:lnTo>
                  <a:lnTo>
                    <a:pt x="7984" y="5646"/>
                  </a:lnTo>
                  <a:lnTo>
                    <a:pt x="7989" y="5655"/>
                  </a:lnTo>
                  <a:lnTo>
                    <a:pt x="7996" y="5663"/>
                  </a:lnTo>
                  <a:close/>
                  <a:moveTo>
                    <a:pt x="6128" y="3647"/>
                  </a:moveTo>
                  <a:lnTo>
                    <a:pt x="6128" y="3647"/>
                  </a:lnTo>
                  <a:lnTo>
                    <a:pt x="6130" y="3654"/>
                  </a:lnTo>
                  <a:lnTo>
                    <a:pt x="6133" y="3659"/>
                  </a:lnTo>
                  <a:lnTo>
                    <a:pt x="6150" y="3677"/>
                  </a:lnTo>
                  <a:lnTo>
                    <a:pt x="6152" y="3681"/>
                  </a:lnTo>
                  <a:lnTo>
                    <a:pt x="6154" y="3689"/>
                  </a:lnTo>
                  <a:lnTo>
                    <a:pt x="6156" y="3693"/>
                  </a:lnTo>
                  <a:lnTo>
                    <a:pt x="6161" y="3696"/>
                  </a:lnTo>
                  <a:lnTo>
                    <a:pt x="6165" y="3698"/>
                  </a:lnTo>
                  <a:lnTo>
                    <a:pt x="6169" y="3699"/>
                  </a:lnTo>
                  <a:lnTo>
                    <a:pt x="6174" y="3699"/>
                  </a:lnTo>
                  <a:lnTo>
                    <a:pt x="6176" y="3701"/>
                  </a:lnTo>
                  <a:lnTo>
                    <a:pt x="6177" y="3711"/>
                  </a:lnTo>
                  <a:lnTo>
                    <a:pt x="6179" y="3715"/>
                  </a:lnTo>
                  <a:lnTo>
                    <a:pt x="6185" y="3722"/>
                  </a:lnTo>
                  <a:lnTo>
                    <a:pt x="6196" y="3737"/>
                  </a:lnTo>
                  <a:lnTo>
                    <a:pt x="6203" y="3744"/>
                  </a:lnTo>
                  <a:lnTo>
                    <a:pt x="6212" y="3735"/>
                  </a:lnTo>
                  <a:lnTo>
                    <a:pt x="6216" y="3737"/>
                  </a:lnTo>
                  <a:lnTo>
                    <a:pt x="6221" y="3752"/>
                  </a:lnTo>
                  <a:lnTo>
                    <a:pt x="6225" y="3757"/>
                  </a:lnTo>
                  <a:lnTo>
                    <a:pt x="6238" y="3769"/>
                  </a:lnTo>
                  <a:lnTo>
                    <a:pt x="6253" y="3779"/>
                  </a:lnTo>
                  <a:lnTo>
                    <a:pt x="6266" y="3781"/>
                  </a:lnTo>
                  <a:lnTo>
                    <a:pt x="6269" y="3774"/>
                  </a:lnTo>
                  <a:lnTo>
                    <a:pt x="6257" y="3757"/>
                  </a:lnTo>
                  <a:lnTo>
                    <a:pt x="6165" y="3658"/>
                  </a:lnTo>
                  <a:lnTo>
                    <a:pt x="6162" y="3656"/>
                  </a:lnTo>
                  <a:lnTo>
                    <a:pt x="6159" y="3656"/>
                  </a:lnTo>
                  <a:lnTo>
                    <a:pt x="6157" y="3657"/>
                  </a:lnTo>
                  <a:lnTo>
                    <a:pt x="6155" y="3659"/>
                  </a:lnTo>
                  <a:lnTo>
                    <a:pt x="6154" y="3662"/>
                  </a:lnTo>
                  <a:lnTo>
                    <a:pt x="6155" y="3664"/>
                  </a:lnTo>
                  <a:lnTo>
                    <a:pt x="6142" y="3653"/>
                  </a:lnTo>
                  <a:lnTo>
                    <a:pt x="6136" y="3649"/>
                  </a:lnTo>
                  <a:lnTo>
                    <a:pt x="6128" y="3647"/>
                  </a:lnTo>
                  <a:close/>
                  <a:moveTo>
                    <a:pt x="6088" y="3697"/>
                  </a:moveTo>
                  <a:lnTo>
                    <a:pt x="6088" y="3697"/>
                  </a:lnTo>
                  <a:lnTo>
                    <a:pt x="6083" y="3691"/>
                  </a:lnTo>
                  <a:lnTo>
                    <a:pt x="6079" y="3690"/>
                  </a:lnTo>
                  <a:lnTo>
                    <a:pt x="6075" y="3693"/>
                  </a:lnTo>
                  <a:lnTo>
                    <a:pt x="6074" y="3699"/>
                  </a:lnTo>
                  <a:lnTo>
                    <a:pt x="6075" y="3706"/>
                  </a:lnTo>
                  <a:lnTo>
                    <a:pt x="6085" y="3730"/>
                  </a:lnTo>
                  <a:lnTo>
                    <a:pt x="6088" y="3734"/>
                  </a:lnTo>
                  <a:lnTo>
                    <a:pt x="6080" y="3731"/>
                  </a:lnTo>
                  <a:lnTo>
                    <a:pt x="6077" y="3729"/>
                  </a:lnTo>
                  <a:lnTo>
                    <a:pt x="6075" y="3726"/>
                  </a:lnTo>
                  <a:lnTo>
                    <a:pt x="6071" y="3726"/>
                  </a:lnTo>
                  <a:lnTo>
                    <a:pt x="6077" y="3744"/>
                  </a:lnTo>
                  <a:lnTo>
                    <a:pt x="6108" y="3772"/>
                  </a:lnTo>
                  <a:lnTo>
                    <a:pt x="6119" y="3787"/>
                  </a:lnTo>
                  <a:lnTo>
                    <a:pt x="6124" y="3787"/>
                  </a:lnTo>
                  <a:lnTo>
                    <a:pt x="6123" y="3780"/>
                  </a:lnTo>
                  <a:lnTo>
                    <a:pt x="6122" y="3773"/>
                  </a:lnTo>
                  <a:lnTo>
                    <a:pt x="6115" y="3762"/>
                  </a:lnTo>
                  <a:lnTo>
                    <a:pt x="6121" y="3761"/>
                  </a:lnTo>
                  <a:lnTo>
                    <a:pt x="6125" y="3760"/>
                  </a:lnTo>
                  <a:lnTo>
                    <a:pt x="6132" y="3757"/>
                  </a:lnTo>
                  <a:lnTo>
                    <a:pt x="6128" y="3749"/>
                  </a:lnTo>
                  <a:lnTo>
                    <a:pt x="6095" y="3709"/>
                  </a:lnTo>
                  <a:lnTo>
                    <a:pt x="6088" y="3697"/>
                  </a:lnTo>
                  <a:close/>
                  <a:moveTo>
                    <a:pt x="6043" y="3566"/>
                  </a:moveTo>
                  <a:lnTo>
                    <a:pt x="6043" y="3566"/>
                  </a:lnTo>
                  <a:lnTo>
                    <a:pt x="6038" y="3564"/>
                  </a:lnTo>
                  <a:lnTo>
                    <a:pt x="6036" y="3564"/>
                  </a:lnTo>
                  <a:lnTo>
                    <a:pt x="6032" y="3567"/>
                  </a:lnTo>
                  <a:lnTo>
                    <a:pt x="6031" y="3568"/>
                  </a:lnTo>
                  <a:lnTo>
                    <a:pt x="6035" y="3571"/>
                  </a:lnTo>
                  <a:lnTo>
                    <a:pt x="6053" y="3594"/>
                  </a:lnTo>
                  <a:lnTo>
                    <a:pt x="6057" y="3597"/>
                  </a:lnTo>
                  <a:lnTo>
                    <a:pt x="6061" y="3597"/>
                  </a:lnTo>
                  <a:lnTo>
                    <a:pt x="6065" y="3599"/>
                  </a:lnTo>
                  <a:lnTo>
                    <a:pt x="6067" y="3609"/>
                  </a:lnTo>
                  <a:lnTo>
                    <a:pt x="6069" y="3613"/>
                  </a:lnTo>
                  <a:lnTo>
                    <a:pt x="6073" y="3615"/>
                  </a:lnTo>
                  <a:lnTo>
                    <a:pt x="6077" y="3613"/>
                  </a:lnTo>
                  <a:lnTo>
                    <a:pt x="6083" y="3606"/>
                  </a:lnTo>
                  <a:lnTo>
                    <a:pt x="6084" y="3598"/>
                  </a:lnTo>
                  <a:lnTo>
                    <a:pt x="6080" y="3591"/>
                  </a:lnTo>
                  <a:lnTo>
                    <a:pt x="6073" y="3585"/>
                  </a:lnTo>
                  <a:lnTo>
                    <a:pt x="6054" y="3575"/>
                  </a:lnTo>
                  <a:lnTo>
                    <a:pt x="6043" y="3566"/>
                  </a:lnTo>
                  <a:close/>
                  <a:moveTo>
                    <a:pt x="5992" y="3323"/>
                  </a:moveTo>
                  <a:lnTo>
                    <a:pt x="5992" y="3323"/>
                  </a:lnTo>
                  <a:lnTo>
                    <a:pt x="5991" y="3312"/>
                  </a:lnTo>
                  <a:lnTo>
                    <a:pt x="5990" y="3296"/>
                  </a:lnTo>
                  <a:lnTo>
                    <a:pt x="5987" y="3291"/>
                  </a:lnTo>
                  <a:lnTo>
                    <a:pt x="5982" y="3289"/>
                  </a:lnTo>
                  <a:lnTo>
                    <a:pt x="5975" y="3290"/>
                  </a:lnTo>
                  <a:lnTo>
                    <a:pt x="5973" y="3292"/>
                  </a:lnTo>
                  <a:lnTo>
                    <a:pt x="5969" y="3297"/>
                  </a:lnTo>
                  <a:lnTo>
                    <a:pt x="5962" y="3297"/>
                  </a:lnTo>
                  <a:lnTo>
                    <a:pt x="5951" y="3294"/>
                  </a:lnTo>
                  <a:lnTo>
                    <a:pt x="5938" y="3301"/>
                  </a:lnTo>
                  <a:lnTo>
                    <a:pt x="5933" y="3311"/>
                  </a:lnTo>
                  <a:lnTo>
                    <a:pt x="5935" y="3323"/>
                  </a:lnTo>
                  <a:lnTo>
                    <a:pt x="5944" y="3336"/>
                  </a:lnTo>
                  <a:lnTo>
                    <a:pt x="5950" y="3339"/>
                  </a:lnTo>
                  <a:lnTo>
                    <a:pt x="5964" y="3341"/>
                  </a:lnTo>
                  <a:lnTo>
                    <a:pt x="5976" y="3350"/>
                  </a:lnTo>
                  <a:lnTo>
                    <a:pt x="5982" y="3351"/>
                  </a:lnTo>
                  <a:lnTo>
                    <a:pt x="5989" y="3351"/>
                  </a:lnTo>
                  <a:lnTo>
                    <a:pt x="5995" y="3348"/>
                  </a:lnTo>
                  <a:lnTo>
                    <a:pt x="6004" y="3348"/>
                  </a:lnTo>
                  <a:lnTo>
                    <a:pt x="5996" y="3333"/>
                  </a:lnTo>
                  <a:lnTo>
                    <a:pt x="5992" y="3323"/>
                  </a:lnTo>
                  <a:close/>
                  <a:moveTo>
                    <a:pt x="5979" y="3389"/>
                  </a:moveTo>
                  <a:lnTo>
                    <a:pt x="5979" y="3389"/>
                  </a:lnTo>
                  <a:lnTo>
                    <a:pt x="5983" y="3396"/>
                  </a:lnTo>
                  <a:lnTo>
                    <a:pt x="5990" y="3400"/>
                  </a:lnTo>
                  <a:lnTo>
                    <a:pt x="5997" y="3384"/>
                  </a:lnTo>
                  <a:lnTo>
                    <a:pt x="5986" y="3369"/>
                  </a:lnTo>
                  <a:lnTo>
                    <a:pt x="5967" y="3356"/>
                  </a:lnTo>
                  <a:lnTo>
                    <a:pt x="5951" y="3348"/>
                  </a:lnTo>
                  <a:lnTo>
                    <a:pt x="5955" y="3356"/>
                  </a:lnTo>
                  <a:lnTo>
                    <a:pt x="5973" y="3374"/>
                  </a:lnTo>
                  <a:lnTo>
                    <a:pt x="5979" y="3389"/>
                  </a:lnTo>
                  <a:close/>
                  <a:moveTo>
                    <a:pt x="5922" y="3235"/>
                  </a:moveTo>
                  <a:lnTo>
                    <a:pt x="5922" y="3235"/>
                  </a:lnTo>
                  <a:lnTo>
                    <a:pt x="5919" y="3230"/>
                  </a:lnTo>
                  <a:lnTo>
                    <a:pt x="5916" y="3223"/>
                  </a:lnTo>
                  <a:lnTo>
                    <a:pt x="5913" y="3218"/>
                  </a:lnTo>
                  <a:lnTo>
                    <a:pt x="5894" y="3197"/>
                  </a:lnTo>
                  <a:lnTo>
                    <a:pt x="5884" y="3191"/>
                  </a:lnTo>
                  <a:lnTo>
                    <a:pt x="5875" y="3193"/>
                  </a:lnTo>
                  <a:lnTo>
                    <a:pt x="5872" y="3203"/>
                  </a:lnTo>
                  <a:lnTo>
                    <a:pt x="5875" y="3228"/>
                  </a:lnTo>
                  <a:lnTo>
                    <a:pt x="5871" y="3237"/>
                  </a:lnTo>
                  <a:lnTo>
                    <a:pt x="5880" y="3242"/>
                  </a:lnTo>
                  <a:lnTo>
                    <a:pt x="5898" y="3245"/>
                  </a:lnTo>
                  <a:lnTo>
                    <a:pt x="5906" y="3251"/>
                  </a:lnTo>
                  <a:lnTo>
                    <a:pt x="5912" y="3259"/>
                  </a:lnTo>
                  <a:lnTo>
                    <a:pt x="5915" y="3277"/>
                  </a:lnTo>
                  <a:lnTo>
                    <a:pt x="5919" y="3285"/>
                  </a:lnTo>
                  <a:lnTo>
                    <a:pt x="5925" y="3290"/>
                  </a:lnTo>
                  <a:lnTo>
                    <a:pt x="5932" y="3289"/>
                  </a:lnTo>
                  <a:lnTo>
                    <a:pt x="5966" y="3274"/>
                  </a:lnTo>
                  <a:lnTo>
                    <a:pt x="5973" y="3269"/>
                  </a:lnTo>
                  <a:lnTo>
                    <a:pt x="5978" y="3263"/>
                  </a:lnTo>
                  <a:lnTo>
                    <a:pt x="5983" y="3253"/>
                  </a:lnTo>
                  <a:lnTo>
                    <a:pt x="5978" y="3245"/>
                  </a:lnTo>
                  <a:lnTo>
                    <a:pt x="5967" y="3239"/>
                  </a:lnTo>
                  <a:lnTo>
                    <a:pt x="5957" y="3237"/>
                  </a:lnTo>
                  <a:lnTo>
                    <a:pt x="5931" y="3237"/>
                  </a:lnTo>
                  <a:lnTo>
                    <a:pt x="5922" y="3235"/>
                  </a:lnTo>
                  <a:close/>
                  <a:moveTo>
                    <a:pt x="6345" y="3165"/>
                  </a:moveTo>
                  <a:lnTo>
                    <a:pt x="6345" y="3165"/>
                  </a:lnTo>
                  <a:lnTo>
                    <a:pt x="6345" y="3175"/>
                  </a:lnTo>
                  <a:lnTo>
                    <a:pt x="6347" y="3183"/>
                  </a:lnTo>
                  <a:lnTo>
                    <a:pt x="6350" y="3189"/>
                  </a:lnTo>
                  <a:lnTo>
                    <a:pt x="6354" y="3187"/>
                  </a:lnTo>
                  <a:lnTo>
                    <a:pt x="6358" y="3184"/>
                  </a:lnTo>
                  <a:lnTo>
                    <a:pt x="6361" y="3180"/>
                  </a:lnTo>
                  <a:lnTo>
                    <a:pt x="6363" y="3176"/>
                  </a:lnTo>
                  <a:lnTo>
                    <a:pt x="6362" y="3171"/>
                  </a:lnTo>
                  <a:lnTo>
                    <a:pt x="6361" y="3166"/>
                  </a:lnTo>
                  <a:lnTo>
                    <a:pt x="6358" y="3162"/>
                  </a:lnTo>
                  <a:lnTo>
                    <a:pt x="6354" y="3158"/>
                  </a:lnTo>
                  <a:lnTo>
                    <a:pt x="6356" y="3148"/>
                  </a:lnTo>
                  <a:lnTo>
                    <a:pt x="6348" y="3145"/>
                  </a:lnTo>
                  <a:lnTo>
                    <a:pt x="6336" y="3144"/>
                  </a:lnTo>
                  <a:lnTo>
                    <a:pt x="6327" y="3140"/>
                  </a:lnTo>
                  <a:lnTo>
                    <a:pt x="6323" y="3145"/>
                  </a:lnTo>
                  <a:lnTo>
                    <a:pt x="6342" y="3161"/>
                  </a:lnTo>
                  <a:lnTo>
                    <a:pt x="6345" y="3165"/>
                  </a:lnTo>
                  <a:close/>
                  <a:moveTo>
                    <a:pt x="5712" y="3175"/>
                  </a:moveTo>
                  <a:lnTo>
                    <a:pt x="5712" y="3175"/>
                  </a:lnTo>
                  <a:lnTo>
                    <a:pt x="5718" y="3181"/>
                  </a:lnTo>
                  <a:lnTo>
                    <a:pt x="5754" y="3200"/>
                  </a:lnTo>
                  <a:lnTo>
                    <a:pt x="5760" y="3202"/>
                  </a:lnTo>
                  <a:lnTo>
                    <a:pt x="5768" y="3203"/>
                  </a:lnTo>
                  <a:lnTo>
                    <a:pt x="5776" y="3202"/>
                  </a:lnTo>
                  <a:lnTo>
                    <a:pt x="5785" y="3199"/>
                  </a:lnTo>
                  <a:lnTo>
                    <a:pt x="5790" y="3194"/>
                  </a:lnTo>
                  <a:lnTo>
                    <a:pt x="5790" y="3186"/>
                  </a:lnTo>
                  <a:lnTo>
                    <a:pt x="5786" y="3176"/>
                  </a:lnTo>
                  <a:lnTo>
                    <a:pt x="5780" y="3168"/>
                  </a:lnTo>
                  <a:lnTo>
                    <a:pt x="5774" y="3163"/>
                  </a:lnTo>
                  <a:lnTo>
                    <a:pt x="5752" y="3156"/>
                  </a:lnTo>
                  <a:lnTo>
                    <a:pt x="5742" y="3151"/>
                  </a:lnTo>
                  <a:lnTo>
                    <a:pt x="5734" y="3140"/>
                  </a:lnTo>
                  <a:lnTo>
                    <a:pt x="5729" y="3153"/>
                  </a:lnTo>
                  <a:lnTo>
                    <a:pt x="5730" y="3158"/>
                  </a:lnTo>
                  <a:lnTo>
                    <a:pt x="5718" y="3151"/>
                  </a:lnTo>
                  <a:lnTo>
                    <a:pt x="5711" y="3152"/>
                  </a:lnTo>
                  <a:lnTo>
                    <a:pt x="5707" y="3158"/>
                  </a:lnTo>
                  <a:lnTo>
                    <a:pt x="5707" y="3167"/>
                  </a:lnTo>
                  <a:lnTo>
                    <a:pt x="5712" y="3175"/>
                  </a:lnTo>
                  <a:close/>
                  <a:moveTo>
                    <a:pt x="5711" y="3261"/>
                  </a:moveTo>
                  <a:lnTo>
                    <a:pt x="5711" y="3261"/>
                  </a:lnTo>
                  <a:lnTo>
                    <a:pt x="5715" y="3266"/>
                  </a:lnTo>
                  <a:lnTo>
                    <a:pt x="5738" y="3277"/>
                  </a:lnTo>
                  <a:lnTo>
                    <a:pt x="5743" y="3282"/>
                  </a:lnTo>
                  <a:lnTo>
                    <a:pt x="5754" y="3301"/>
                  </a:lnTo>
                  <a:lnTo>
                    <a:pt x="5760" y="3306"/>
                  </a:lnTo>
                  <a:lnTo>
                    <a:pt x="5768" y="3308"/>
                  </a:lnTo>
                  <a:lnTo>
                    <a:pt x="5773" y="3304"/>
                  </a:lnTo>
                  <a:lnTo>
                    <a:pt x="5774" y="3294"/>
                  </a:lnTo>
                  <a:lnTo>
                    <a:pt x="5762" y="3274"/>
                  </a:lnTo>
                  <a:lnTo>
                    <a:pt x="5745" y="3254"/>
                  </a:lnTo>
                  <a:lnTo>
                    <a:pt x="5723" y="3239"/>
                  </a:lnTo>
                  <a:lnTo>
                    <a:pt x="5694" y="3233"/>
                  </a:lnTo>
                  <a:lnTo>
                    <a:pt x="5694" y="3237"/>
                  </a:lnTo>
                  <a:lnTo>
                    <a:pt x="5709" y="3256"/>
                  </a:lnTo>
                  <a:lnTo>
                    <a:pt x="5711" y="3261"/>
                  </a:lnTo>
                  <a:close/>
                  <a:moveTo>
                    <a:pt x="5647" y="3274"/>
                  </a:moveTo>
                  <a:lnTo>
                    <a:pt x="5647" y="3274"/>
                  </a:lnTo>
                  <a:lnTo>
                    <a:pt x="5658" y="3285"/>
                  </a:lnTo>
                  <a:lnTo>
                    <a:pt x="5683" y="3299"/>
                  </a:lnTo>
                  <a:lnTo>
                    <a:pt x="5695" y="3309"/>
                  </a:lnTo>
                  <a:lnTo>
                    <a:pt x="5699" y="3311"/>
                  </a:lnTo>
                  <a:lnTo>
                    <a:pt x="5703" y="3311"/>
                  </a:lnTo>
                  <a:lnTo>
                    <a:pt x="5706" y="3308"/>
                  </a:lnTo>
                  <a:lnTo>
                    <a:pt x="5707" y="3296"/>
                  </a:lnTo>
                  <a:lnTo>
                    <a:pt x="5702" y="3278"/>
                  </a:lnTo>
                  <a:lnTo>
                    <a:pt x="5693" y="3262"/>
                  </a:lnTo>
                  <a:lnTo>
                    <a:pt x="5683" y="3255"/>
                  </a:lnTo>
                  <a:lnTo>
                    <a:pt x="5667" y="3237"/>
                  </a:lnTo>
                  <a:lnTo>
                    <a:pt x="5661" y="3234"/>
                  </a:lnTo>
                  <a:lnTo>
                    <a:pt x="5650" y="3232"/>
                  </a:lnTo>
                  <a:lnTo>
                    <a:pt x="5645" y="3228"/>
                  </a:lnTo>
                  <a:lnTo>
                    <a:pt x="5634" y="3242"/>
                  </a:lnTo>
                  <a:lnTo>
                    <a:pt x="5637" y="3258"/>
                  </a:lnTo>
                  <a:lnTo>
                    <a:pt x="5647" y="3274"/>
                  </a:lnTo>
                  <a:close/>
                  <a:moveTo>
                    <a:pt x="5437" y="3242"/>
                  </a:moveTo>
                  <a:lnTo>
                    <a:pt x="5437" y="3242"/>
                  </a:lnTo>
                  <a:lnTo>
                    <a:pt x="5440" y="3254"/>
                  </a:lnTo>
                  <a:lnTo>
                    <a:pt x="5449" y="3260"/>
                  </a:lnTo>
                  <a:lnTo>
                    <a:pt x="5472" y="3268"/>
                  </a:lnTo>
                  <a:lnTo>
                    <a:pt x="5482" y="3275"/>
                  </a:lnTo>
                  <a:lnTo>
                    <a:pt x="5503" y="3303"/>
                  </a:lnTo>
                  <a:lnTo>
                    <a:pt x="5504" y="3290"/>
                  </a:lnTo>
                  <a:lnTo>
                    <a:pt x="5503" y="3283"/>
                  </a:lnTo>
                  <a:lnTo>
                    <a:pt x="5500" y="3277"/>
                  </a:lnTo>
                  <a:lnTo>
                    <a:pt x="5496" y="3272"/>
                  </a:lnTo>
                  <a:lnTo>
                    <a:pt x="5491" y="3267"/>
                  </a:lnTo>
                  <a:lnTo>
                    <a:pt x="5486" y="3263"/>
                  </a:lnTo>
                  <a:lnTo>
                    <a:pt x="5480" y="3259"/>
                  </a:lnTo>
                  <a:lnTo>
                    <a:pt x="5443" y="3245"/>
                  </a:lnTo>
                  <a:lnTo>
                    <a:pt x="5437" y="3242"/>
                  </a:lnTo>
                  <a:close/>
                  <a:moveTo>
                    <a:pt x="5396" y="3157"/>
                  </a:moveTo>
                  <a:lnTo>
                    <a:pt x="5396" y="3157"/>
                  </a:lnTo>
                  <a:lnTo>
                    <a:pt x="5410" y="3154"/>
                  </a:lnTo>
                  <a:lnTo>
                    <a:pt x="5428" y="3163"/>
                  </a:lnTo>
                  <a:lnTo>
                    <a:pt x="5438" y="3166"/>
                  </a:lnTo>
                  <a:lnTo>
                    <a:pt x="5447" y="3166"/>
                  </a:lnTo>
                  <a:lnTo>
                    <a:pt x="5450" y="3163"/>
                  </a:lnTo>
                  <a:lnTo>
                    <a:pt x="5452" y="3160"/>
                  </a:lnTo>
                  <a:lnTo>
                    <a:pt x="5452" y="3156"/>
                  </a:lnTo>
                  <a:lnTo>
                    <a:pt x="5451" y="3152"/>
                  </a:lnTo>
                  <a:lnTo>
                    <a:pt x="5449" y="3149"/>
                  </a:lnTo>
                  <a:lnTo>
                    <a:pt x="5445" y="3145"/>
                  </a:lnTo>
                  <a:lnTo>
                    <a:pt x="5444" y="3142"/>
                  </a:lnTo>
                  <a:lnTo>
                    <a:pt x="5443" y="3139"/>
                  </a:lnTo>
                  <a:lnTo>
                    <a:pt x="5443" y="3136"/>
                  </a:lnTo>
                  <a:lnTo>
                    <a:pt x="5443" y="3133"/>
                  </a:lnTo>
                  <a:lnTo>
                    <a:pt x="5441" y="3130"/>
                  </a:lnTo>
                  <a:lnTo>
                    <a:pt x="5438" y="3128"/>
                  </a:lnTo>
                  <a:lnTo>
                    <a:pt x="5429" y="3127"/>
                  </a:lnTo>
                  <a:lnTo>
                    <a:pt x="5426" y="3125"/>
                  </a:lnTo>
                  <a:lnTo>
                    <a:pt x="5422" y="3119"/>
                  </a:lnTo>
                  <a:lnTo>
                    <a:pt x="5419" y="3111"/>
                  </a:lnTo>
                  <a:lnTo>
                    <a:pt x="5415" y="3096"/>
                  </a:lnTo>
                  <a:lnTo>
                    <a:pt x="5416" y="3088"/>
                  </a:lnTo>
                  <a:lnTo>
                    <a:pt x="5418" y="3081"/>
                  </a:lnTo>
                  <a:lnTo>
                    <a:pt x="5417" y="3076"/>
                  </a:lnTo>
                  <a:lnTo>
                    <a:pt x="5408" y="3074"/>
                  </a:lnTo>
                  <a:lnTo>
                    <a:pt x="5401" y="3076"/>
                  </a:lnTo>
                  <a:lnTo>
                    <a:pt x="5389" y="3082"/>
                  </a:lnTo>
                  <a:lnTo>
                    <a:pt x="5386" y="3083"/>
                  </a:lnTo>
                  <a:lnTo>
                    <a:pt x="5380" y="3089"/>
                  </a:lnTo>
                  <a:lnTo>
                    <a:pt x="5374" y="3100"/>
                  </a:lnTo>
                  <a:lnTo>
                    <a:pt x="5368" y="3113"/>
                  </a:lnTo>
                  <a:lnTo>
                    <a:pt x="5368" y="3121"/>
                  </a:lnTo>
                  <a:lnTo>
                    <a:pt x="5385" y="3148"/>
                  </a:lnTo>
                  <a:lnTo>
                    <a:pt x="5396" y="3157"/>
                  </a:lnTo>
                  <a:close/>
                  <a:moveTo>
                    <a:pt x="6899" y="1867"/>
                  </a:moveTo>
                  <a:lnTo>
                    <a:pt x="6899" y="1867"/>
                  </a:lnTo>
                  <a:lnTo>
                    <a:pt x="6905" y="1873"/>
                  </a:lnTo>
                  <a:lnTo>
                    <a:pt x="6920" y="1882"/>
                  </a:lnTo>
                  <a:lnTo>
                    <a:pt x="6926" y="1889"/>
                  </a:lnTo>
                  <a:lnTo>
                    <a:pt x="6925" y="1894"/>
                  </a:lnTo>
                  <a:lnTo>
                    <a:pt x="6918" y="1911"/>
                  </a:lnTo>
                  <a:lnTo>
                    <a:pt x="6915" y="1926"/>
                  </a:lnTo>
                  <a:lnTo>
                    <a:pt x="6909" y="1941"/>
                  </a:lnTo>
                  <a:lnTo>
                    <a:pt x="6908" y="1949"/>
                  </a:lnTo>
                  <a:lnTo>
                    <a:pt x="6908" y="1956"/>
                  </a:lnTo>
                  <a:lnTo>
                    <a:pt x="6910" y="1964"/>
                  </a:lnTo>
                  <a:lnTo>
                    <a:pt x="6913" y="1971"/>
                  </a:lnTo>
                  <a:lnTo>
                    <a:pt x="6919" y="1976"/>
                  </a:lnTo>
                  <a:lnTo>
                    <a:pt x="6926" y="1978"/>
                  </a:lnTo>
                  <a:lnTo>
                    <a:pt x="6934" y="1977"/>
                  </a:lnTo>
                  <a:lnTo>
                    <a:pt x="6942" y="1975"/>
                  </a:lnTo>
                  <a:lnTo>
                    <a:pt x="6950" y="1973"/>
                  </a:lnTo>
                  <a:lnTo>
                    <a:pt x="6952" y="1971"/>
                  </a:lnTo>
                  <a:lnTo>
                    <a:pt x="6952" y="1967"/>
                  </a:lnTo>
                  <a:lnTo>
                    <a:pt x="6950" y="1962"/>
                  </a:lnTo>
                  <a:lnTo>
                    <a:pt x="6945" y="1960"/>
                  </a:lnTo>
                  <a:lnTo>
                    <a:pt x="6940" y="1960"/>
                  </a:lnTo>
                  <a:lnTo>
                    <a:pt x="6936" y="1959"/>
                  </a:lnTo>
                  <a:lnTo>
                    <a:pt x="6932" y="1956"/>
                  </a:lnTo>
                  <a:lnTo>
                    <a:pt x="6930" y="1951"/>
                  </a:lnTo>
                  <a:lnTo>
                    <a:pt x="6959" y="1940"/>
                  </a:lnTo>
                  <a:lnTo>
                    <a:pt x="6963" y="1936"/>
                  </a:lnTo>
                  <a:lnTo>
                    <a:pt x="6968" y="1934"/>
                  </a:lnTo>
                  <a:lnTo>
                    <a:pt x="6976" y="1940"/>
                  </a:lnTo>
                  <a:lnTo>
                    <a:pt x="6983" y="1936"/>
                  </a:lnTo>
                  <a:lnTo>
                    <a:pt x="6997" y="1889"/>
                  </a:lnTo>
                  <a:lnTo>
                    <a:pt x="7001" y="1889"/>
                  </a:lnTo>
                  <a:lnTo>
                    <a:pt x="7001" y="1894"/>
                  </a:lnTo>
                  <a:lnTo>
                    <a:pt x="7005" y="1894"/>
                  </a:lnTo>
                  <a:lnTo>
                    <a:pt x="7009" y="1885"/>
                  </a:lnTo>
                  <a:lnTo>
                    <a:pt x="7003" y="1882"/>
                  </a:lnTo>
                  <a:lnTo>
                    <a:pt x="6984" y="1877"/>
                  </a:lnTo>
                  <a:lnTo>
                    <a:pt x="6976" y="1876"/>
                  </a:lnTo>
                  <a:lnTo>
                    <a:pt x="6972" y="1878"/>
                  </a:lnTo>
                  <a:lnTo>
                    <a:pt x="6970" y="1882"/>
                  </a:lnTo>
                  <a:lnTo>
                    <a:pt x="6969" y="1887"/>
                  </a:lnTo>
                  <a:lnTo>
                    <a:pt x="6965" y="1889"/>
                  </a:lnTo>
                  <a:lnTo>
                    <a:pt x="6961" y="1889"/>
                  </a:lnTo>
                  <a:lnTo>
                    <a:pt x="6951" y="1886"/>
                  </a:lnTo>
                  <a:lnTo>
                    <a:pt x="6945" y="1885"/>
                  </a:lnTo>
                  <a:lnTo>
                    <a:pt x="6935" y="1882"/>
                  </a:lnTo>
                  <a:lnTo>
                    <a:pt x="6934" y="1875"/>
                  </a:lnTo>
                  <a:lnTo>
                    <a:pt x="6936" y="1865"/>
                  </a:lnTo>
                  <a:lnTo>
                    <a:pt x="6934" y="1854"/>
                  </a:lnTo>
                  <a:lnTo>
                    <a:pt x="6931" y="1852"/>
                  </a:lnTo>
                  <a:lnTo>
                    <a:pt x="6920" y="1846"/>
                  </a:lnTo>
                  <a:lnTo>
                    <a:pt x="6919" y="1845"/>
                  </a:lnTo>
                  <a:lnTo>
                    <a:pt x="6917" y="1844"/>
                  </a:lnTo>
                  <a:lnTo>
                    <a:pt x="6912" y="1832"/>
                  </a:lnTo>
                  <a:lnTo>
                    <a:pt x="6903" y="1836"/>
                  </a:lnTo>
                  <a:lnTo>
                    <a:pt x="6907" y="1843"/>
                  </a:lnTo>
                  <a:lnTo>
                    <a:pt x="6908" y="1853"/>
                  </a:lnTo>
                  <a:lnTo>
                    <a:pt x="6905" y="1862"/>
                  </a:lnTo>
                  <a:lnTo>
                    <a:pt x="6899" y="1867"/>
                  </a:lnTo>
                  <a:close/>
                  <a:moveTo>
                    <a:pt x="7255" y="1999"/>
                  </a:moveTo>
                  <a:lnTo>
                    <a:pt x="7255" y="1999"/>
                  </a:lnTo>
                  <a:lnTo>
                    <a:pt x="7251" y="1992"/>
                  </a:lnTo>
                  <a:lnTo>
                    <a:pt x="7244" y="1989"/>
                  </a:lnTo>
                  <a:lnTo>
                    <a:pt x="7236" y="1991"/>
                  </a:lnTo>
                  <a:lnTo>
                    <a:pt x="7233" y="1997"/>
                  </a:lnTo>
                  <a:lnTo>
                    <a:pt x="7237" y="2006"/>
                  </a:lnTo>
                  <a:lnTo>
                    <a:pt x="7242" y="2015"/>
                  </a:lnTo>
                  <a:lnTo>
                    <a:pt x="7246" y="2030"/>
                  </a:lnTo>
                  <a:lnTo>
                    <a:pt x="7255" y="2041"/>
                  </a:lnTo>
                  <a:lnTo>
                    <a:pt x="7258" y="2046"/>
                  </a:lnTo>
                  <a:lnTo>
                    <a:pt x="7261" y="2043"/>
                  </a:lnTo>
                  <a:lnTo>
                    <a:pt x="7262" y="2038"/>
                  </a:lnTo>
                  <a:lnTo>
                    <a:pt x="7262" y="2029"/>
                  </a:lnTo>
                  <a:lnTo>
                    <a:pt x="7258" y="2007"/>
                  </a:lnTo>
                  <a:lnTo>
                    <a:pt x="7255" y="1999"/>
                  </a:lnTo>
                  <a:close/>
                  <a:moveTo>
                    <a:pt x="7285" y="1819"/>
                  </a:moveTo>
                  <a:lnTo>
                    <a:pt x="7285" y="1819"/>
                  </a:lnTo>
                  <a:lnTo>
                    <a:pt x="7289" y="1819"/>
                  </a:lnTo>
                  <a:lnTo>
                    <a:pt x="7289" y="1760"/>
                  </a:lnTo>
                  <a:lnTo>
                    <a:pt x="7284" y="1748"/>
                  </a:lnTo>
                  <a:lnTo>
                    <a:pt x="7272" y="1737"/>
                  </a:lnTo>
                  <a:lnTo>
                    <a:pt x="7259" y="1729"/>
                  </a:lnTo>
                  <a:lnTo>
                    <a:pt x="7249" y="1731"/>
                  </a:lnTo>
                  <a:lnTo>
                    <a:pt x="7239" y="1730"/>
                  </a:lnTo>
                  <a:lnTo>
                    <a:pt x="7237" y="1742"/>
                  </a:lnTo>
                  <a:lnTo>
                    <a:pt x="7245" y="1775"/>
                  </a:lnTo>
                  <a:lnTo>
                    <a:pt x="7244" y="1780"/>
                  </a:lnTo>
                  <a:lnTo>
                    <a:pt x="7244" y="1784"/>
                  </a:lnTo>
                  <a:lnTo>
                    <a:pt x="7243" y="1788"/>
                  </a:lnTo>
                  <a:lnTo>
                    <a:pt x="7241" y="1792"/>
                  </a:lnTo>
                  <a:lnTo>
                    <a:pt x="7251" y="1794"/>
                  </a:lnTo>
                  <a:lnTo>
                    <a:pt x="7256" y="1800"/>
                  </a:lnTo>
                  <a:lnTo>
                    <a:pt x="7261" y="1805"/>
                  </a:lnTo>
                  <a:lnTo>
                    <a:pt x="7271" y="1801"/>
                  </a:lnTo>
                  <a:lnTo>
                    <a:pt x="7285" y="1819"/>
                  </a:lnTo>
                  <a:close/>
                  <a:moveTo>
                    <a:pt x="7285" y="1726"/>
                  </a:moveTo>
                  <a:lnTo>
                    <a:pt x="7285" y="1726"/>
                  </a:lnTo>
                  <a:lnTo>
                    <a:pt x="7287" y="1720"/>
                  </a:lnTo>
                  <a:lnTo>
                    <a:pt x="7285" y="1716"/>
                  </a:lnTo>
                  <a:lnTo>
                    <a:pt x="7282" y="1711"/>
                  </a:lnTo>
                  <a:lnTo>
                    <a:pt x="7276" y="1693"/>
                  </a:lnTo>
                  <a:lnTo>
                    <a:pt x="7276" y="1689"/>
                  </a:lnTo>
                  <a:lnTo>
                    <a:pt x="7277" y="1687"/>
                  </a:lnTo>
                  <a:lnTo>
                    <a:pt x="7280" y="1686"/>
                  </a:lnTo>
                  <a:lnTo>
                    <a:pt x="7283" y="1687"/>
                  </a:lnTo>
                  <a:lnTo>
                    <a:pt x="7285" y="1689"/>
                  </a:lnTo>
                  <a:lnTo>
                    <a:pt x="7285" y="1696"/>
                  </a:lnTo>
                  <a:lnTo>
                    <a:pt x="7286" y="1703"/>
                  </a:lnTo>
                  <a:lnTo>
                    <a:pt x="7289" y="1705"/>
                  </a:lnTo>
                  <a:lnTo>
                    <a:pt x="7293" y="1700"/>
                  </a:lnTo>
                  <a:lnTo>
                    <a:pt x="7294" y="1694"/>
                  </a:lnTo>
                  <a:lnTo>
                    <a:pt x="7293" y="1671"/>
                  </a:lnTo>
                  <a:lnTo>
                    <a:pt x="7297" y="1644"/>
                  </a:lnTo>
                  <a:lnTo>
                    <a:pt x="7293" y="1638"/>
                  </a:lnTo>
                  <a:lnTo>
                    <a:pt x="7280" y="1643"/>
                  </a:lnTo>
                  <a:lnTo>
                    <a:pt x="7269" y="1652"/>
                  </a:lnTo>
                  <a:lnTo>
                    <a:pt x="7266" y="1665"/>
                  </a:lnTo>
                  <a:lnTo>
                    <a:pt x="7264" y="1678"/>
                  </a:lnTo>
                  <a:lnTo>
                    <a:pt x="7257" y="1691"/>
                  </a:lnTo>
                  <a:lnTo>
                    <a:pt x="7257" y="1702"/>
                  </a:lnTo>
                  <a:lnTo>
                    <a:pt x="7257" y="1706"/>
                  </a:lnTo>
                  <a:lnTo>
                    <a:pt x="7253" y="1709"/>
                  </a:lnTo>
                  <a:lnTo>
                    <a:pt x="7285" y="1726"/>
                  </a:lnTo>
                  <a:close/>
                  <a:moveTo>
                    <a:pt x="8357" y="786"/>
                  </a:moveTo>
                  <a:lnTo>
                    <a:pt x="8357" y="786"/>
                  </a:lnTo>
                  <a:lnTo>
                    <a:pt x="8363" y="789"/>
                  </a:lnTo>
                  <a:lnTo>
                    <a:pt x="8371" y="790"/>
                  </a:lnTo>
                  <a:lnTo>
                    <a:pt x="8385" y="791"/>
                  </a:lnTo>
                  <a:lnTo>
                    <a:pt x="8393" y="786"/>
                  </a:lnTo>
                  <a:lnTo>
                    <a:pt x="8398" y="774"/>
                  </a:lnTo>
                  <a:lnTo>
                    <a:pt x="8401" y="751"/>
                  </a:lnTo>
                  <a:lnTo>
                    <a:pt x="8403" y="746"/>
                  </a:lnTo>
                  <a:lnTo>
                    <a:pt x="8405" y="741"/>
                  </a:lnTo>
                  <a:lnTo>
                    <a:pt x="8406" y="736"/>
                  </a:lnTo>
                  <a:lnTo>
                    <a:pt x="8401" y="734"/>
                  </a:lnTo>
                  <a:lnTo>
                    <a:pt x="8396" y="735"/>
                  </a:lnTo>
                  <a:lnTo>
                    <a:pt x="8392" y="739"/>
                  </a:lnTo>
                  <a:lnTo>
                    <a:pt x="8389" y="744"/>
                  </a:lnTo>
                  <a:lnTo>
                    <a:pt x="8388" y="749"/>
                  </a:lnTo>
                  <a:lnTo>
                    <a:pt x="8384" y="757"/>
                  </a:lnTo>
                  <a:lnTo>
                    <a:pt x="8376" y="763"/>
                  </a:lnTo>
                  <a:lnTo>
                    <a:pt x="8366" y="769"/>
                  </a:lnTo>
                  <a:lnTo>
                    <a:pt x="8359" y="775"/>
                  </a:lnTo>
                  <a:lnTo>
                    <a:pt x="8357" y="778"/>
                  </a:lnTo>
                  <a:lnTo>
                    <a:pt x="8356" y="781"/>
                  </a:lnTo>
                  <a:lnTo>
                    <a:pt x="8356" y="784"/>
                  </a:lnTo>
                  <a:lnTo>
                    <a:pt x="8357" y="786"/>
                  </a:lnTo>
                  <a:close/>
                  <a:moveTo>
                    <a:pt x="8248" y="1888"/>
                  </a:moveTo>
                  <a:lnTo>
                    <a:pt x="8248" y="1888"/>
                  </a:lnTo>
                  <a:lnTo>
                    <a:pt x="8276" y="1883"/>
                  </a:lnTo>
                  <a:lnTo>
                    <a:pt x="8277" y="1878"/>
                  </a:lnTo>
                  <a:lnTo>
                    <a:pt x="8273" y="1865"/>
                  </a:lnTo>
                  <a:lnTo>
                    <a:pt x="8266" y="1858"/>
                  </a:lnTo>
                  <a:lnTo>
                    <a:pt x="8251" y="1858"/>
                  </a:lnTo>
                  <a:lnTo>
                    <a:pt x="8237" y="1867"/>
                  </a:lnTo>
                  <a:lnTo>
                    <a:pt x="8233" y="1885"/>
                  </a:lnTo>
                  <a:lnTo>
                    <a:pt x="8240" y="1889"/>
                  </a:lnTo>
                  <a:lnTo>
                    <a:pt x="8248" y="1888"/>
                  </a:lnTo>
                  <a:close/>
                  <a:moveTo>
                    <a:pt x="8904" y="1950"/>
                  </a:moveTo>
                  <a:lnTo>
                    <a:pt x="8904" y="1950"/>
                  </a:lnTo>
                  <a:lnTo>
                    <a:pt x="8915" y="1956"/>
                  </a:lnTo>
                  <a:lnTo>
                    <a:pt x="8927" y="1967"/>
                  </a:lnTo>
                  <a:lnTo>
                    <a:pt x="8934" y="1973"/>
                  </a:lnTo>
                  <a:lnTo>
                    <a:pt x="8942" y="1973"/>
                  </a:lnTo>
                  <a:lnTo>
                    <a:pt x="8945" y="1971"/>
                  </a:lnTo>
                  <a:lnTo>
                    <a:pt x="8948" y="1960"/>
                  </a:lnTo>
                  <a:lnTo>
                    <a:pt x="8951" y="1956"/>
                  </a:lnTo>
                  <a:lnTo>
                    <a:pt x="8956" y="1954"/>
                  </a:lnTo>
                  <a:lnTo>
                    <a:pt x="8969" y="1949"/>
                  </a:lnTo>
                  <a:lnTo>
                    <a:pt x="8973" y="1947"/>
                  </a:lnTo>
                  <a:lnTo>
                    <a:pt x="8974" y="1936"/>
                  </a:lnTo>
                  <a:lnTo>
                    <a:pt x="8969" y="1912"/>
                  </a:lnTo>
                  <a:lnTo>
                    <a:pt x="8971" y="1905"/>
                  </a:lnTo>
                  <a:lnTo>
                    <a:pt x="8979" y="1886"/>
                  </a:lnTo>
                  <a:lnTo>
                    <a:pt x="8968" y="1873"/>
                  </a:lnTo>
                  <a:lnTo>
                    <a:pt x="8951" y="1872"/>
                  </a:lnTo>
                  <a:lnTo>
                    <a:pt x="8942" y="1892"/>
                  </a:lnTo>
                  <a:lnTo>
                    <a:pt x="8941" y="1901"/>
                  </a:lnTo>
                  <a:lnTo>
                    <a:pt x="8938" y="1909"/>
                  </a:lnTo>
                  <a:lnTo>
                    <a:pt x="8934" y="1916"/>
                  </a:lnTo>
                  <a:lnTo>
                    <a:pt x="8924" y="1925"/>
                  </a:lnTo>
                  <a:lnTo>
                    <a:pt x="8913" y="1934"/>
                  </a:lnTo>
                  <a:lnTo>
                    <a:pt x="8899" y="1942"/>
                  </a:lnTo>
                  <a:lnTo>
                    <a:pt x="8899" y="1942"/>
                  </a:lnTo>
                  <a:lnTo>
                    <a:pt x="8899" y="1947"/>
                  </a:lnTo>
                  <a:lnTo>
                    <a:pt x="8904" y="1950"/>
                  </a:lnTo>
                  <a:close/>
                  <a:moveTo>
                    <a:pt x="9028" y="2175"/>
                  </a:moveTo>
                  <a:lnTo>
                    <a:pt x="9028" y="2175"/>
                  </a:lnTo>
                  <a:lnTo>
                    <a:pt x="9031" y="2178"/>
                  </a:lnTo>
                  <a:lnTo>
                    <a:pt x="9035" y="2178"/>
                  </a:lnTo>
                  <a:lnTo>
                    <a:pt x="9038" y="2177"/>
                  </a:lnTo>
                  <a:lnTo>
                    <a:pt x="9045" y="2172"/>
                  </a:lnTo>
                  <a:lnTo>
                    <a:pt x="9048" y="2172"/>
                  </a:lnTo>
                  <a:lnTo>
                    <a:pt x="9059" y="2178"/>
                  </a:lnTo>
                  <a:lnTo>
                    <a:pt x="9059" y="2183"/>
                  </a:lnTo>
                  <a:lnTo>
                    <a:pt x="9054" y="2189"/>
                  </a:lnTo>
                  <a:lnTo>
                    <a:pt x="9052" y="2198"/>
                  </a:lnTo>
                  <a:lnTo>
                    <a:pt x="9062" y="2205"/>
                  </a:lnTo>
                  <a:lnTo>
                    <a:pt x="9078" y="2204"/>
                  </a:lnTo>
                  <a:lnTo>
                    <a:pt x="9095" y="2199"/>
                  </a:lnTo>
                  <a:lnTo>
                    <a:pt x="9106" y="2193"/>
                  </a:lnTo>
                  <a:lnTo>
                    <a:pt x="9116" y="2186"/>
                  </a:lnTo>
                  <a:lnTo>
                    <a:pt x="9118" y="2181"/>
                  </a:lnTo>
                  <a:lnTo>
                    <a:pt x="9115" y="2176"/>
                  </a:lnTo>
                  <a:lnTo>
                    <a:pt x="9107" y="2172"/>
                  </a:lnTo>
                  <a:lnTo>
                    <a:pt x="9079" y="2172"/>
                  </a:lnTo>
                  <a:lnTo>
                    <a:pt x="9071" y="2169"/>
                  </a:lnTo>
                  <a:lnTo>
                    <a:pt x="9057" y="2161"/>
                  </a:lnTo>
                  <a:lnTo>
                    <a:pt x="9049" y="2158"/>
                  </a:lnTo>
                  <a:lnTo>
                    <a:pt x="9042" y="2156"/>
                  </a:lnTo>
                  <a:lnTo>
                    <a:pt x="9033" y="2157"/>
                  </a:lnTo>
                  <a:lnTo>
                    <a:pt x="9026" y="2161"/>
                  </a:lnTo>
                  <a:lnTo>
                    <a:pt x="9024" y="2168"/>
                  </a:lnTo>
                  <a:lnTo>
                    <a:pt x="9025" y="2172"/>
                  </a:lnTo>
                  <a:lnTo>
                    <a:pt x="9028" y="2175"/>
                  </a:lnTo>
                  <a:close/>
                  <a:moveTo>
                    <a:pt x="8103" y="3156"/>
                  </a:moveTo>
                  <a:lnTo>
                    <a:pt x="8103" y="3156"/>
                  </a:lnTo>
                  <a:lnTo>
                    <a:pt x="8109" y="3156"/>
                  </a:lnTo>
                  <a:lnTo>
                    <a:pt x="8113" y="3158"/>
                  </a:lnTo>
                  <a:lnTo>
                    <a:pt x="8112" y="3164"/>
                  </a:lnTo>
                  <a:lnTo>
                    <a:pt x="8109" y="3168"/>
                  </a:lnTo>
                  <a:lnTo>
                    <a:pt x="8105" y="3172"/>
                  </a:lnTo>
                  <a:lnTo>
                    <a:pt x="8105" y="3175"/>
                  </a:lnTo>
                  <a:lnTo>
                    <a:pt x="8113" y="3179"/>
                  </a:lnTo>
                  <a:lnTo>
                    <a:pt x="8123" y="3173"/>
                  </a:lnTo>
                  <a:lnTo>
                    <a:pt x="8140" y="3154"/>
                  </a:lnTo>
                  <a:lnTo>
                    <a:pt x="8138" y="3149"/>
                  </a:lnTo>
                  <a:lnTo>
                    <a:pt x="8130" y="3143"/>
                  </a:lnTo>
                  <a:lnTo>
                    <a:pt x="8114" y="3136"/>
                  </a:lnTo>
                  <a:lnTo>
                    <a:pt x="8107" y="3136"/>
                  </a:lnTo>
                  <a:lnTo>
                    <a:pt x="8100" y="3138"/>
                  </a:lnTo>
                  <a:lnTo>
                    <a:pt x="8094" y="3142"/>
                  </a:lnTo>
                  <a:lnTo>
                    <a:pt x="8094" y="3149"/>
                  </a:lnTo>
                  <a:lnTo>
                    <a:pt x="8098" y="3155"/>
                  </a:lnTo>
                  <a:lnTo>
                    <a:pt x="8103" y="3156"/>
                  </a:lnTo>
                  <a:close/>
                  <a:moveTo>
                    <a:pt x="8931" y="4846"/>
                  </a:moveTo>
                  <a:lnTo>
                    <a:pt x="8931" y="4846"/>
                  </a:lnTo>
                  <a:lnTo>
                    <a:pt x="8930" y="4851"/>
                  </a:lnTo>
                  <a:lnTo>
                    <a:pt x="8931" y="4859"/>
                  </a:lnTo>
                  <a:lnTo>
                    <a:pt x="8933" y="4867"/>
                  </a:lnTo>
                  <a:lnTo>
                    <a:pt x="8935" y="4870"/>
                  </a:lnTo>
                  <a:lnTo>
                    <a:pt x="8953" y="4872"/>
                  </a:lnTo>
                  <a:lnTo>
                    <a:pt x="8960" y="4870"/>
                  </a:lnTo>
                  <a:lnTo>
                    <a:pt x="9001" y="4857"/>
                  </a:lnTo>
                  <a:lnTo>
                    <a:pt x="9011" y="4851"/>
                  </a:lnTo>
                  <a:lnTo>
                    <a:pt x="9017" y="4843"/>
                  </a:lnTo>
                  <a:lnTo>
                    <a:pt x="9021" y="4833"/>
                  </a:lnTo>
                  <a:lnTo>
                    <a:pt x="9023" y="4823"/>
                  </a:lnTo>
                  <a:lnTo>
                    <a:pt x="9021" y="4813"/>
                  </a:lnTo>
                  <a:lnTo>
                    <a:pt x="9016" y="4807"/>
                  </a:lnTo>
                  <a:lnTo>
                    <a:pt x="8998" y="4795"/>
                  </a:lnTo>
                  <a:lnTo>
                    <a:pt x="8991" y="4791"/>
                  </a:lnTo>
                  <a:lnTo>
                    <a:pt x="8980" y="4787"/>
                  </a:lnTo>
                  <a:lnTo>
                    <a:pt x="8975" y="4788"/>
                  </a:lnTo>
                  <a:lnTo>
                    <a:pt x="8971" y="4792"/>
                  </a:lnTo>
                  <a:lnTo>
                    <a:pt x="8964" y="4796"/>
                  </a:lnTo>
                  <a:lnTo>
                    <a:pt x="8935" y="4802"/>
                  </a:lnTo>
                  <a:lnTo>
                    <a:pt x="8920" y="4808"/>
                  </a:lnTo>
                  <a:lnTo>
                    <a:pt x="8911" y="4818"/>
                  </a:lnTo>
                  <a:lnTo>
                    <a:pt x="8918" y="4821"/>
                  </a:lnTo>
                  <a:lnTo>
                    <a:pt x="8929" y="4820"/>
                  </a:lnTo>
                  <a:lnTo>
                    <a:pt x="8933" y="4822"/>
                  </a:lnTo>
                  <a:lnTo>
                    <a:pt x="8935" y="4827"/>
                  </a:lnTo>
                  <a:lnTo>
                    <a:pt x="8936" y="4834"/>
                  </a:lnTo>
                  <a:lnTo>
                    <a:pt x="8934" y="4841"/>
                  </a:lnTo>
                  <a:lnTo>
                    <a:pt x="8931" y="4846"/>
                  </a:lnTo>
                  <a:close/>
                  <a:moveTo>
                    <a:pt x="13475" y="6854"/>
                  </a:moveTo>
                  <a:lnTo>
                    <a:pt x="13475" y="6854"/>
                  </a:lnTo>
                  <a:lnTo>
                    <a:pt x="13475" y="6850"/>
                  </a:lnTo>
                  <a:lnTo>
                    <a:pt x="13438" y="6880"/>
                  </a:lnTo>
                  <a:lnTo>
                    <a:pt x="13424" y="6899"/>
                  </a:lnTo>
                  <a:lnTo>
                    <a:pt x="13433" y="6907"/>
                  </a:lnTo>
                  <a:lnTo>
                    <a:pt x="13446" y="6903"/>
                  </a:lnTo>
                  <a:lnTo>
                    <a:pt x="13479" y="6876"/>
                  </a:lnTo>
                  <a:lnTo>
                    <a:pt x="13476" y="6876"/>
                  </a:lnTo>
                  <a:lnTo>
                    <a:pt x="13473" y="6873"/>
                  </a:lnTo>
                  <a:lnTo>
                    <a:pt x="13472" y="6869"/>
                  </a:lnTo>
                  <a:lnTo>
                    <a:pt x="13471" y="6866"/>
                  </a:lnTo>
                  <a:lnTo>
                    <a:pt x="13472" y="6862"/>
                  </a:lnTo>
                  <a:lnTo>
                    <a:pt x="13475" y="6854"/>
                  </a:lnTo>
                  <a:close/>
                  <a:moveTo>
                    <a:pt x="13820" y="6142"/>
                  </a:moveTo>
                  <a:lnTo>
                    <a:pt x="13820" y="6142"/>
                  </a:lnTo>
                  <a:lnTo>
                    <a:pt x="13825" y="6137"/>
                  </a:lnTo>
                  <a:lnTo>
                    <a:pt x="13826" y="6125"/>
                  </a:lnTo>
                  <a:lnTo>
                    <a:pt x="13832" y="6101"/>
                  </a:lnTo>
                  <a:lnTo>
                    <a:pt x="13837" y="6066"/>
                  </a:lnTo>
                  <a:lnTo>
                    <a:pt x="13850" y="6018"/>
                  </a:lnTo>
                  <a:lnTo>
                    <a:pt x="13852" y="5994"/>
                  </a:lnTo>
                  <a:lnTo>
                    <a:pt x="13840" y="5976"/>
                  </a:lnTo>
                  <a:lnTo>
                    <a:pt x="13832" y="5971"/>
                  </a:lnTo>
                  <a:lnTo>
                    <a:pt x="13829" y="5983"/>
                  </a:lnTo>
                  <a:lnTo>
                    <a:pt x="13825" y="5991"/>
                  </a:lnTo>
                  <a:lnTo>
                    <a:pt x="13807" y="6006"/>
                  </a:lnTo>
                  <a:lnTo>
                    <a:pt x="13803" y="6014"/>
                  </a:lnTo>
                  <a:lnTo>
                    <a:pt x="13800" y="6026"/>
                  </a:lnTo>
                  <a:lnTo>
                    <a:pt x="13785" y="6060"/>
                  </a:lnTo>
                  <a:lnTo>
                    <a:pt x="13781" y="6073"/>
                  </a:lnTo>
                  <a:lnTo>
                    <a:pt x="13781" y="6083"/>
                  </a:lnTo>
                  <a:lnTo>
                    <a:pt x="13785" y="6092"/>
                  </a:lnTo>
                  <a:lnTo>
                    <a:pt x="13810" y="6130"/>
                  </a:lnTo>
                  <a:lnTo>
                    <a:pt x="13820" y="6142"/>
                  </a:lnTo>
                  <a:close/>
                  <a:moveTo>
                    <a:pt x="15231" y="2353"/>
                  </a:moveTo>
                  <a:lnTo>
                    <a:pt x="15231" y="2353"/>
                  </a:lnTo>
                  <a:lnTo>
                    <a:pt x="15238" y="2365"/>
                  </a:lnTo>
                  <a:lnTo>
                    <a:pt x="15246" y="2376"/>
                  </a:lnTo>
                  <a:lnTo>
                    <a:pt x="15258" y="2388"/>
                  </a:lnTo>
                  <a:lnTo>
                    <a:pt x="15273" y="2397"/>
                  </a:lnTo>
                  <a:lnTo>
                    <a:pt x="15287" y="2400"/>
                  </a:lnTo>
                  <a:lnTo>
                    <a:pt x="15287" y="2396"/>
                  </a:lnTo>
                  <a:lnTo>
                    <a:pt x="15277" y="2390"/>
                  </a:lnTo>
                  <a:lnTo>
                    <a:pt x="15267" y="2381"/>
                  </a:lnTo>
                  <a:lnTo>
                    <a:pt x="15252" y="2361"/>
                  </a:lnTo>
                  <a:lnTo>
                    <a:pt x="15243" y="2339"/>
                  </a:lnTo>
                  <a:lnTo>
                    <a:pt x="15239" y="2333"/>
                  </a:lnTo>
                  <a:lnTo>
                    <a:pt x="15236" y="2330"/>
                  </a:lnTo>
                  <a:lnTo>
                    <a:pt x="15236" y="2329"/>
                  </a:lnTo>
                  <a:lnTo>
                    <a:pt x="15243" y="2330"/>
                  </a:lnTo>
                  <a:lnTo>
                    <a:pt x="15263" y="2345"/>
                  </a:lnTo>
                  <a:lnTo>
                    <a:pt x="15273" y="2350"/>
                  </a:lnTo>
                  <a:lnTo>
                    <a:pt x="15274" y="2343"/>
                  </a:lnTo>
                  <a:lnTo>
                    <a:pt x="15266" y="2334"/>
                  </a:lnTo>
                  <a:lnTo>
                    <a:pt x="15245" y="2321"/>
                  </a:lnTo>
                  <a:lnTo>
                    <a:pt x="15238" y="2313"/>
                  </a:lnTo>
                  <a:lnTo>
                    <a:pt x="15224" y="2317"/>
                  </a:lnTo>
                  <a:lnTo>
                    <a:pt x="15224" y="2334"/>
                  </a:lnTo>
                  <a:lnTo>
                    <a:pt x="15231" y="2353"/>
                  </a:lnTo>
                  <a:close/>
                  <a:moveTo>
                    <a:pt x="14489" y="1667"/>
                  </a:moveTo>
                  <a:lnTo>
                    <a:pt x="14489" y="1667"/>
                  </a:lnTo>
                  <a:lnTo>
                    <a:pt x="14485" y="1679"/>
                  </a:lnTo>
                  <a:lnTo>
                    <a:pt x="14487" y="1689"/>
                  </a:lnTo>
                  <a:lnTo>
                    <a:pt x="14498" y="1695"/>
                  </a:lnTo>
                  <a:lnTo>
                    <a:pt x="14502" y="1695"/>
                  </a:lnTo>
                  <a:lnTo>
                    <a:pt x="14511" y="1689"/>
                  </a:lnTo>
                  <a:lnTo>
                    <a:pt x="14516" y="1686"/>
                  </a:lnTo>
                  <a:lnTo>
                    <a:pt x="14523" y="1686"/>
                  </a:lnTo>
                  <a:lnTo>
                    <a:pt x="14543" y="1686"/>
                  </a:lnTo>
                  <a:lnTo>
                    <a:pt x="14549" y="1688"/>
                  </a:lnTo>
                  <a:lnTo>
                    <a:pt x="14555" y="1689"/>
                  </a:lnTo>
                  <a:lnTo>
                    <a:pt x="14558" y="1688"/>
                  </a:lnTo>
                  <a:lnTo>
                    <a:pt x="14560" y="1678"/>
                  </a:lnTo>
                  <a:lnTo>
                    <a:pt x="14559" y="1671"/>
                  </a:lnTo>
                  <a:lnTo>
                    <a:pt x="14554" y="1666"/>
                  </a:lnTo>
                  <a:lnTo>
                    <a:pt x="14543" y="1660"/>
                  </a:lnTo>
                  <a:lnTo>
                    <a:pt x="14532" y="1655"/>
                  </a:lnTo>
                  <a:lnTo>
                    <a:pt x="14520" y="1652"/>
                  </a:lnTo>
                  <a:lnTo>
                    <a:pt x="14508" y="1654"/>
                  </a:lnTo>
                  <a:lnTo>
                    <a:pt x="14498" y="1658"/>
                  </a:lnTo>
                  <a:lnTo>
                    <a:pt x="14489" y="1667"/>
                  </a:lnTo>
                  <a:close/>
                  <a:moveTo>
                    <a:pt x="14763" y="1342"/>
                  </a:moveTo>
                  <a:lnTo>
                    <a:pt x="14763" y="1342"/>
                  </a:lnTo>
                  <a:lnTo>
                    <a:pt x="14753" y="1333"/>
                  </a:lnTo>
                  <a:lnTo>
                    <a:pt x="14739" y="1324"/>
                  </a:lnTo>
                  <a:lnTo>
                    <a:pt x="14727" y="1317"/>
                  </a:lnTo>
                  <a:lnTo>
                    <a:pt x="14713" y="1312"/>
                  </a:lnTo>
                  <a:lnTo>
                    <a:pt x="14711" y="1312"/>
                  </a:lnTo>
                  <a:lnTo>
                    <a:pt x="14706" y="1313"/>
                  </a:lnTo>
                  <a:lnTo>
                    <a:pt x="14693" y="1316"/>
                  </a:lnTo>
                  <a:lnTo>
                    <a:pt x="14689" y="1316"/>
                  </a:lnTo>
                  <a:lnTo>
                    <a:pt x="14699" y="1323"/>
                  </a:lnTo>
                  <a:lnTo>
                    <a:pt x="14715" y="1340"/>
                  </a:lnTo>
                  <a:lnTo>
                    <a:pt x="14724" y="1347"/>
                  </a:lnTo>
                  <a:lnTo>
                    <a:pt x="14742" y="1357"/>
                  </a:lnTo>
                  <a:lnTo>
                    <a:pt x="14755" y="1361"/>
                  </a:lnTo>
                  <a:lnTo>
                    <a:pt x="14765" y="1361"/>
                  </a:lnTo>
                  <a:lnTo>
                    <a:pt x="14769" y="1352"/>
                  </a:lnTo>
                  <a:lnTo>
                    <a:pt x="14763" y="1342"/>
                  </a:lnTo>
                  <a:close/>
                  <a:moveTo>
                    <a:pt x="14658" y="1632"/>
                  </a:moveTo>
                  <a:lnTo>
                    <a:pt x="14658" y="1632"/>
                  </a:lnTo>
                  <a:lnTo>
                    <a:pt x="14660" y="1618"/>
                  </a:lnTo>
                  <a:lnTo>
                    <a:pt x="14658" y="1607"/>
                  </a:lnTo>
                  <a:lnTo>
                    <a:pt x="14651" y="1600"/>
                  </a:lnTo>
                  <a:lnTo>
                    <a:pt x="14642" y="1596"/>
                  </a:lnTo>
                  <a:lnTo>
                    <a:pt x="14631" y="1594"/>
                  </a:lnTo>
                  <a:lnTo>
                    <a:pt x="14621" y="1593"/>
                  </a:lnTo>
                  <a:lnTo>
                    <a:pt x="14584" y="1593"/>
                  </a:lnTo>
                  <a:lnTo>
                    <a:pt x="14567" y="1599"/>
                  </a:lnTo>
                  <a:lnTo>
                    <a:pt x="14561" y="1615"/>
                  </a:lnTo>
                  <a:lnTo>
                    <a:pt x="14563" y="1631"/>
                  </a:lnTo>
                  <a:lnTo>
                    <a:pt x="14569" y="1646"/>
                  </a:lnTo>
                  <a:lnTo>
                    <a:pt x="14577" y="1661"/>
                  </a:lnTo>
                  <a:lnTo>
                    <a:pt x="14587" y="1673"/>
                  </a:lnTo>
                  <a:lnTo>
                    <a:pt x="14621" y="1692"/>
                  </a:lnTo>
                  <a:lnTo>
                    <a:pt x="14627" y="1702"/>
                  </a:lnTo>
                  <a:lnTo>
                    <a:pt x="14630" y="1715"/>
                  </a:lnTo>
                  <a:lnTo>
                    <a:pt x="14637" y="1717"/>
                  </a:lnTo>
                  <a:lnTo>
                    <a:pt x="14644" y="1711"/>
                  </a:lnTo>
                  <a:lnTo>
                    <a:pt x="14649" y="1700"/>
                  </a:lnTo>
                  <a:lnTo>
                    <a:pt x="14647" y="1663"/>
                  </a:lnTo>
                  <a:lnTo>
                    <a:pt x="14655" y="1645"/>
                  </a:lnTo>
                  <a:lnTo>
                    <a:pt x="14658" y="1632"/>
                  </a:lnTo>
                  <a:close/>
                  <a:moveTo>
                    <a:pt x="14552" y="1568"/>
                  </a:moveTo>
                  <a:lnTo>
                    <a:pt x="14552" y="1568"/>
                  </a:lnTo>
                  <a:lnTo>
                    <a:pt x="14552" y="1562"/>
                  </a:lnTo>
                  <a:lnTo>
                    <a:pt x="14550" y="1556"/>
                  </a:lnTo>
                  <a:lnTo>
                    <a:pt x="14545" y="1552"/>
                  </a:lnTo>
                  <a:lnTo>
                    <a:pt x="14529" y="1549"/>
                  </a:lnTo>
                  <a:lnTo>
                    <a:pt x="14516" y="1543"/>
                  </a:lnTo>
                  <a:lnTo>
                    <a:pt x="14509" y="1541"/>
                  </a:lnTo>
                  <a:lnTo>
                    <a:pt x="14499" y="1537"/>
                  </a:lnTo>
                  <a:lnTo>
                    <a:pt x="14481" y="1517"/>
                  </a:lnTo>
                  <a:lnTo>
                    <a:pt x="14472" y="1510"/>
                  </a:lnTo>
                  <a:lnTo>
                    <a:pt x="14416" y="1506"/>
                  </a:lnTo>
                  <a:lnTo>
                    <a:pt x="14409" y="1504"/>
                  </a:lnTo>
                  <a:lnTo>
                    <a:pt x="14397" y="1496"/>
                  </a:lnTo>
                  <a:lnTo>
                    <a:pt x="14391" y="1493"/>
                  </a:lnTo>
                  <a:lnTo>
                    <a:pt x="14383" y="1494"/>
                  </a:lnTo>
                  <a:lnTo>
                    <a:pt x="14375" y="1497"/>
                  </a:lnTo>
                  <a:lnTo>
                    <a:pt x="14368" y="1502"/>
                  </a:lnTo>
                  <a:lnTo>
                    <a:pt x="14362" y="1507"/>
                  </a:lnTo>
                  <a:lnTo>
                    <a:pt x="14358" y="1514"/>
                  </a:lnTo>
                  <a:lnTo>
                    <a:pt x="14358" y="1522"/>
                  </a:lnTo>
                  <a:lnTo>
                    <a:pt x="14361" y="1530"/>
                  </a:lnTo>
                  <a:lnTo>
                    <a:pt x="14366" y="1537"/>
                  </a:lnTo>
                  <a:lnTo>
                    <a:pt x="14373" y="1543"/>
                  </a:lnTo>
                  <a:lnTo>
                    <a:pt x="14382" y="1548"/>
                  </a:lnTo>
                  <a:lnTo>
                    <a:pt x="14392" y="1553"/>
                  </a:lnTo>
                  <a:lnTo>
                    <a:pt x="14403" y="1555"/>
                  </a:lnTo>
                  <a:lnTo>
                    <a:pt x="14459" y="1555"/>
                  </a:lnTo>
                  <a:lnTo>
                    <a:pt x="14512" y="1576"/>
                  </a:lnTo>
                  <a:lnTo>
                    <a:pt x="14539" y="1582"/>
                  </a:lnTo>
                  <a:lnTo>
                    <a:pt x="14552" y="1568"/>
                  </a:lnTo>
                  <a:close/>
                  <a:moveTo>
                    <a:pt x="14737" y="1494"/>
                  </a:moveTo>
                  <a:lnTo>
                    <a:pt x="14737" y="1494"/>
                  </a:lnTo>
                  <a:lnTo>
                    <a:pt x="14725" y="1500"/>
                  </a:lnTo>
                  <a:lnTo>
                    <a:pt x="14720" y="1515"/>
                  </a:lnTo>
                  <a:lnTo>
                    <a:pt x="14725" y="1528"/>
                  </a:lnTo>
                  <a:lnTo>
                    <a:pt x="14747" y="1545"/>
                  </a:lnTo>
                  <a:lnTo>
                    <a:pt x="14752" y="1557"/>
                  </a:lnTo>
                  <a:lnTo>
                    <a:pt x="14785" y="1579"/>
                  </a:lnTo>
                  <a:lnTo>
                    <a:pt x="14794" y="1582"/>
                  </a:lnTo>
                  <a:lnTo>
                    <a:pt x="14797" y="1573"/>
                  </a:lnTo>
                  <a:lnTo>
                    <a:pt x="14796" y="1562"/>
                  </a:lnTo>
                  <a:lnTo>
                    <a:pt x="14795" y="1555"/>
                  </a:lnTo>
                  <a:lnTo>
                    <a:pt x="14791" y="1541"/>
                  </a:lnTo>
                  <a:lnTo>
                    <a:pt x="14784" y="1527"/>
                  </a:lnTo>
                  <a:lnTo>
                    <a:pt x="14775" y="1515"/>
                  </a:lnTo>
                  <a:lnTo>
                    <a:pt x="14766" y="1504"/>
                  </a:lnTo>
                  <a:lnTo>
                    <a:pt x="14752" y="1496"/>
                  </a:lnTo>
                  <a:lnTo>
                    <a:pt x="14737" y="1494"/>
                  </a:lnTo>
                  <a:close/>
                  <a:moveTo>
                    <a:pt x="14647" y="1242"/>
                  </a:moveTo>
                  <a:lnTo>
                    <a:pt x="14647" y="1242"/>
                  </a:lnTo>
                  <a:lnTo>
                    <a:pt x="14674" y="1239"/>
                  </a:lnTo>
                  <a:lnTo>
                    <a:pt x="14697" y="1215"/>
                  </a:lnTo>
                  <a:lnTo>
                    <a:pt x="14704" y="1198"/>
                  </a:lnTo>
                  <a:lnTo>
                    <a:pt x="14702" y="1179"/>
                  </a:lnTo>
                  <a:lnTo>
                    <a:pt x="14697" y="1174"/>
                  </a:lnTo>
                  <a:lnTo>
                    <a:pt x="14669" y="1159"/>
                  </a:lnTo>
                  <a:lnTo>
                    <a:pt x="14653" y="1141"/>
                  </a:lnTo>
                  <a:lnTo>
                    <a:pt x="14645" y="1135"/>
                  </a:lnTo>
                  <a:lnTo>
                    <a:pt x="14635" y="1141"/>
                  </a:lnTo>
                  <a:lnTo>
                    <a:pt x="14613" y="1162"/>
                  </a:lnTo>
                  <a:lnTo>
                    <a:pt x="14602" y="1190"/>
                  </a:lnTo>
                  <a:lnTo>
                    <a:pt x="14618" y="1221"/>
                  </a:lnTo>
                  <a:lnTo>
                    <a:pt x="14647" y="1242"/>
                  </a:lnTo>
                  <a:close/>
                  <a:moveTo>
                    <a:pt x="14711" y="1166"/>
                  </a:moveTo>
                  <a:lnTo>
                    <a:pt x="14711" y="1166"/>
                  </a:lnTo>
                  <a:lnTo>
                    <a:pt x="14747" y="1187"/>
                  </a:lnTo>
                  <a:lnTo>
                    <a:pt x="14760" y="1205"/>
                  </a:lnTo>
                  <a:lnTo>
                    <a:pt x="14782" y="1211"/>
                  </a:lnTo>
                  <a:lnTo>
                    <a:pt x="14791" y="1211"/>
                  </a:lnTo>
                  <a:lnTo>
                    <a:pt x="14800" y="1208"/>
                  </a:lnTo>
                  <a:lnTo>
                    <a:pt x="14822" y="1193"/>
                  </a:lnTo>
                  <a:lnTo>
                    <a:pt x="14811" y="1167"/>
                  </a:lnTo>
                  <a:lnTo>
                    <a:pt x="14807" y="1138"/>
                  </a:lnTo>
                  <a:lnTo>
                    <a:pt x="14800" y="1121"/>
                  </a:lnTo>
                  <a:lnTo>
                    <a:pt x="14668" y="1122"/>
                  </a:lnTo>
                  <a:lnTo>
                    <a:pt x="14695" y="1146"/>
                  </a:lnTo>
                  <a:lnTo>
                    <a:pt x="14711" y="1166"/>
                  </a:lnTo>
                  <a:close/>
                  <a:moveTo>
                    <a:pt x="9060" y="8804"/>
                  </a:moveTo>
                  <a:lnTo>
                    <a:pt x="9060" y="8804"/>
                  </a:lnTo>
                  <a:lnTo>
                    <a:pt x="9057" y="8801"/>
                  </a:lnTo>
                  <a:lnTo>
                    <a:pt x="9051" y="8796"/>
                  </a:lnTo>
                  <a:lnTo>
                    <a:pt x="9017" y="8776"/>
                  </a:lnTo>
                  <a:lnTo>
                    <a:pt x="8996" y="8770"/>
                  </a:lnTo>
                  <a:lnTo>
                    <a:pt x="8963" y="8765"/>
                  </a:lnTo>
                  <a:lnTo>
                    <a:pt x="8929" y="8750"/>
                  </a:lnTo>
                  <a:lnTo>
                    <a:pt x="8919" y="8754"/>
                  </a:lnTo>
                  <a:lnTo>
                    <a:pt x="8913" y="8764"/>
                  </a:lnTo>
                  <a:lnTo>
                    <a:pt x="8911" y="8776"/>
                  </a:lnTo>
                  <a:lnTo>
                    <a:pt x="8915" y="8785"/>
                  </a:lnTo>
                  <a:lnTo>
                    <a:pt x="8925" y="8788"/>
                  </a:lnTo>
                  <a:lnTo>
                    <a:pt x="8952" y="8784"/>
                  </a:lnTo>
                  <a:lnTo>
                    <a:pt x="8962" y="8788"/>
                  </a:lnTo>
                  <a:lnTo>
                    <a:pt x="8971" y="8792"/>
                  </a:lnTo>
                  <a:lnTo>
                    <a:pt x="9009" y="8799"/>
                  </a:lnTo>
                  <a:lnTo>
                    <a:pt x="9044" y="8811"/>
                  </a:lnTo>
                  <a:lnTo>
                    <a:pt x="9061" y="8814"/>
                  </a:lnTo>
                  <a:lnTo>
                    <a:pt x="9067" y="8815"/>
                  </a:lnTo>
                  <a:lnTo>
                    <a:pt x="9072" y="8814"/>
                  </a:lnTo>
                  <a:lnTo>
                    <a:pt x="9074" y="8807"/>
                  </a:lnTo>
                  <a:lnTo>
                    <a:pt x="9072" y="8803"/>
                  </a:lnTo>
                  <a:lnTo>
                    <a:pt x="9060" y="8804"/>
                  </a:lnTo>
                  <a:close/>
                  <a:moveTo>
                    <a:pt x="11449" y="7561"/>
                  </a:moveTo>
                  <a:lnTo>
                    <a:pt x="11449" y="7561"/>
                  </a:lnTo>
                  <a:lnTo>
                    <a:pt x="11457" y="7553"/>
                  </a:lnTo>
                  <a:lnTo>
                    <a:pt x="11462" y="7541"/>
                  </a:lnTo>
                  <a:lnTo>
                    <a:pt x="11463" y="7526"/>
                  </a:lnTo>
                  <a:lnTo>
                    <a:pt x="11460" y="7511"/>
                  </a:lnTo>
                  <a:lnTo>
                    <a:pt x="11454" y="7500"/>
                  </a:lnTo>
                  <a:lnTo>
                    <a:pt x="11446" y="7493"/>
                  </a:lnTo>
                  <a:lnTo>
                    <a:pt x="11437" y="7486"/>
                  </a:lnTo>
                  <a:lnTo>
                    <a:pt x="11427" y="7488"/>
                  </a:lnTo>
                  <a:lnTo>
                    <a:pt x="11417" y="7491"/>
                  </a:lnTo>
                  <a:lnTo>
                    <a:pt x="11409" y="7493"/>
                  </a:lnTo>
                  <a:lnTo>
                    <a:pt x="11401" y="7491"/>
                  </a:lnTo>
                  <a:lnTo>
                    <a:pt x="11386" y="7507"/>
                  </a:lnTo>
                  <a:lnTo>
                    <a:pt x="11384" y="7511"/>
                  </a:lnTo>
                  <a:lnTo>
                    <a:pt x="11366" y="7525"/>
                  </a:lnTo>
                  <a:lnTo>
                    <a:pt x="11361" y="7531"/>
                  </a:lnTo>
                  <a:lnTo>
                    <a:pt x="11368" y="7546"/>
                  </a:lnTo>
                  <a:lnTo>
                    <a:pt x="11370" y="7558"/>
                  </a:lnTo>
                  <a:lnTo>
                    <a:pt x="11375" y="7565"/>
                  </a:lnTo>
                  <a:lnTo>
                    <a:pt x="11392" y="7566"/>
                  </a:lnTo>
                  <a:lnTo>
                    <a:pt x="11402" y="7560"/>
                  </a:lnTo>
                  <a:lnTo>
                    <a:pt x="11408" y="7558"/>
                  </a:lnTo>
                  <a:lnTo>
                    <a:pt x="11410" y="7564"/>
                  </a:lnTo>
                  <a:lnTo>
                    <a:pt x="11413" y="7565"/>
                  </a:lnTo>
                  <a:lnTo>
                    <a:pt x="11431" y="7566"/>
                  </a:lnTo>
                  <a:lnTo>
                    <a:pt x="11437" y="7566"/>
                  </a:lnTo>
                  <a:lnTo>
                    <a:pt x="11449" y="7561"/>
                  </a:lnTo>
                  <a:close/>
                  <a:moveTo>
                    <a:pt x="13309" y="9403"/>
                  </a:moveTo>
                  <a:lnTo>
                    <a:pt x="13309" y="9403"/>
                  </a:lnTo>
                  <a:lnTo>
                    <a:pt x="13294" y="9394"/>
                  </a:lnTo>
                  <a:lnTo>
                    <a:pt x="13280" y="9390"/>
                  </a:lnTo>
                  <a:lnTo>
                    <a:pt x="13267" y="9390"/>
                  </a:lnTo>
                  <a:lnTo>
                    <a:pt x="13259" y="9393"/>
                  </a:lnTo>
                  <a:lnTo>
                    <a:pt x="13252" y="9399"/>
                  </a:lnTo>
                  <a:lnTo>
                    <a:pt x="13229" y="9428"/>
                  </a:lnTo>
                  <a:lnTo>
                    <a:pt x="13227" y="9433"/>
                  </a:lnTo>
                  <a:lnTo>
                    <a:pt x="13231" y="9436"/>
                  </a:lnTo>
                  <a:lnTo>
                    <a:pt x="13240" y="9439"/>
                  </a:lnTo>
                  <a:lnTo>
                    <a:pt x="13251" y="9452"/>
                  </a:lnTo>
                  <a:lnTo>
                    <a:pt x="13287" y="9477"/>
                  </a:lnTo>
                  <a:lnTo>
                    <a:pt x="13305" y="9482"/>
                  </a:lnTo>
                  <a:lnTo>
                    <a:pt x="13316" y="9469"/>
                  </a:lnTo>
                  <a:lnTo>
                    <a:pt x="13322" y="9447"/>
                  </a:lnTo>
                  <a:lnTo>
                    <a:pt x="13324" y="9428"/>
                  </a:lnTo>
                  <a:lnTo>
                    <a:pt x="13320" y="9415"/>
                  </a:lnTo>
                  <a:lnTo>
                    <a:pt x="13309" y="9403"/>
                  </a:lnTo>
                  <a:close/>
                  <a:moveTo>
                    <a:pt x="15566" y="9043"/>
                  </a:moveTo>
                  <a:lnTo>
                    <a:pt x="15566" y="9043"/>
                  </a:lnTo>
                  <a:lnTo>
                    <a:pt x="15538" y="9054"/>
                  </a:lnTo>
                  <a:lnTo>
                    <a:pt x="15524" y="9081"/>
                  </a:lnTo>
                  <a:lnTo>
                    <a:pt x="15525" y="9110"/>
                  </a:lnTo>
                  <a:lnTo>
                    <a:pt x="15544" y="9128"/>
                  </a:lnTo>
                  <a:lnTo>
                    <a:pt x="15561" y="9128"/>
                  </a:lnTo>
                  <a:lnTo>
                    <a:pt x="15575" y="9121"/>
                  </a:lnTo>
                  <a:lnTo>
                    <a:pt x="15586" y="9111"/>
                  </a:lnTo>
                  <a:lnTo>
                    <a:pt x="15593" y="9101"/>
                  </a:lnTo>
                  <a:lnTo>
                    <a:pt x="15599" y="9082"/>
                  </a:lnTo>
                  <a:lnTo>
                    <a:pt x="15595" y="9066"/>
                  </a:lnTo>
                  <a:lnTo>
                    <a:pt x="15583" y="9053"/>
                  </a:lnTo>
                  <a:lnTo>
                    <a:pt x="15566" y="9043"/>
                  </a:lnTo>
                  <a:close/>
                  <a:moveTo>
                    <a:pt x="15821" y="9342"/>
                  </a:moveTo>
                  <a:lnTo>
                    <a:pt x="15821" y="9342"/>
                  </a:lnTo>
                  <a:lnTo>
                    <a:pt x="15830" y="9330"/>
                  </a:lnTo>
                  <a:lnTo>
                    <a:pt x="15838" y="9325"/>
                  </a:lnTo>
                  <a:lnTo>
                    <a:pt x="15844" y="9330"/>
                  </a:lnTo>
                  <a:lnTo>
                    <a:pt x="15850" y="9341"/>
                  </a:lnTo>
                  <a:lnTo>
                    <a:pt x="15858" y="9343"/>
                  </a:lnTo>
                  <a:lnTo>
                    <a:pt x="15879" y="9341"/>
                  </a:lnTo>
                  <a:lnTo>
                    <a:pt x="15881" y="9338"/>
                  </a:lnTo>
                  <a:lnTo>
                    <a:pt x="15879" y="9331"/>
                  </a:lnTo>
                  <a:lnTo>
                    <a:pt x="15881" y="9325"/>
                  </a:lnTo>
                  <a:lnTo>
                    <a:pt x="15890" y="9323"/>
                  </a:lnTo>
                  <a:lnTo>
                    <a:pt x="15884" y="9314"/>
                  </a:lnTo>
                  <a:lnTo>
                    <a:pt x="15878" y="9308"/>
                  </a:lnTo>
                  <a:lnTo>
                    <a:pt x="15874" y="9303"/>
                  </a:lnTo>
                  <a:lnTo>
                    <a:pt x="15872" y="9294"/>
                  </a:lnTo>
                  <a:lnTo>
                    <a:pt x="15875" y="9292"/>
                  </a:lnTo>
                  <a:lnTo>
                    <a:pt x="15879" y="9290"/>
                  </a:lnTo>
                  <a:lnTo>
                    <a:pt x="15882" y="9287"/>
                  </a:lnTo>
                  <a:lnTo>
                    <a:pt x="15879" y="9281"/>
                  </a:lnTo>
                  <a:lnTo>
                    <a:pt x="15873" y="9275"/>
                  </a:lnTo>
                  <a:lnTo>
                    <a:pt x="15869" y="9272"/>
                  </a:lnTo>
                  <a:lnTo>
                    <a:pt x="15863" y="9270"/>
                  </a:lnTo>
                  <a:lnTo>
                    <a:pt x="15852" y="9269"/>
                  </a:lnTo>
                  <a:lnTo>
                    <a:pt x="15821" y="9274"/>
                  </a:lnTo>
                  <a:lnTo>
                    <a:pt x="15814" y="9269"/>
                  </a:lnTo>
                  <a:lnTo>
                    <a:pt x="15810" y="9257"/>
                  </a:lnTo>
                  <a:lnTo>
                    <a:pt x="15809" y="9244"/>
                  </a:lnTo>
                  <a:lnTo>
                    <a:pt x="15806" y="9234"/>
                  </a:lnTo>
                  <a:lnTo>
                    <a:pt x="15783" y="9245"/>
                  </a:lnTo>
                  <a:lnTo>
                    <a:pt x="15779" y="9246"/>
                  </a:lnTo>
                  <a:lnTo>
                    <a:pt x="15785" y="9265"/>
                  </a:lnTo>
                  <a:lnTo>
                    <a:pt x="15787" y="9275"/>
                  </a:lnTo>
                  <a:lnTo>
                    <a:pt x="15781" y="9279"/>
                  </a:lnTo>
                  <a:lnTo>
                    <a:pt x="15784" y="9300"/>
                  </a:lnTo>
                  <a:lnTo>
                    <a:pt x="15784" y="9305"/>
                  </a:lnTo>
                  <a:lnTo>
                    <a:pt x="15783" y="9306"/>
                  </a:lnTo>
                  <a:lnTo>
                    <a:pt x="15779" y="9317"/>
                  </a:lnTo>
                  <a:lnTo>
                    <a:pt x="15779" y="9319"/>
                  </a:lnTo>
                  <a:lnTo>
                    <a:pt x="15775" y="9320"/>
                  </a:lnTo>
                  <a:lnTo>
                    <a:pt x="15765" y="9318"/>
                  </a:lnTo>
                  <a:lnTo>
                    <a:pt x="15761" y="9319"/>
                  </a:lnTo>
                  <a:lnTo>
                    <a:pt x="15756" y="9325"/>
                  </a:lnTo>
                  <a:lnTo>
                    <a:pt x="15755" y="9331"/>
                  </a:lnTo>
                  <a:lnTo>
                    <a:pt x="15757" y="9348"/>
                  </a:lnTo>
                  <a:lnTo>
                    <a:pt x="15757" y="9366"/>
                  </a:lnTo>
                  <a:lnTo>
                    <a:pt x="15759" y="9368"/>
                  </a:lnTo>
                  <a:lnTo>
                    <a:pt x="15764" y="9368"/>
                  </a:lnTo>
                  <a:lnTo>
                    <a:pt x="15768" y="9370"/>
                  </a:lnTo>
                  <a:lnTo>
                    <a:pt x="15770" y="9374"/>
                  </a:lnTo>
                  <a:lnTo>
                    <a:pt x="15771" y="9391"/>
                  </a:lnTo>
                  <a:lnTo>
                    <a:pt x="15769" y="9396"/>
                  </a:lnTo>
                  <a:lnTo>
                    <a:pt x="15757" y="9418"/>
                  </a:lnTo>
                  <a:lnTo>
                    <a:pt x="15754" y="9427"/>
                  </a:lnTo>
                  <a:lnTo>
                    <a:pt x="15757" y="9435"/>
                  </a:lnTo>
                  <a:lnTo>
                    <a:pt x="15752" y="9435"/>
                  </a:lnTo>
                  <a:lnTo>
                    <a:pt x="15757" y="9439"/>
                  </a:lnTo>
                  <a:lnTo>
                    <a:pt x="15769" y="9430"/>
                  </a:lnTo>
                  <a:lnTo>
                    <a:pt x="15799" y="9443"/>
                  </a:lnTo>
                  <a:lnTo>
                    <a:pt x="15814" y="9439"/>
                  </a:lnTo>
                  <a:lnTo>
                    <a:pt x="15806" y="9431"/>
                  </a:lnTo>
                  <a:lnTo>
                    <a:pt x="15801" y="9418"/>
                  </a:lnTo>
                  <a:lnTo>
                    <a:pt x="15797" y="9406"/>
                  </a:lnTo>
                  <a:lnTo>
                    <a:pt x="15797" y="9399"/>
                  </a:lnTo>
                  <a:lnTo>
                    <a:pt x="15800" y="9382"/>
                  </a:lnTo>
                  <a:lnTo>
                    <a:pt x="15805" y="9376"/>
                  </a:lnTo>
                  <a:lnTo>
                    <a:pt x="15812" y="9379"/>
                  </a:lnTo>
                  <a:lnTo>
                    <a:pt x="15816" y="9378"/>
                  </a:lnTo>
                  <a:lnTo>
                    <a:pt x="15821" y="9370"/>
                  </a:lnTo>
                  <a:lnTo>
                    <a:pt x="15828" y="9354"/>
                  </a:lnTo>
                  <a:lnTo>
                    <a:pt x="15823" y="9350"/>
                  </a:lnTo>
                  <a:lnTo>
                    <a:pt x="15820" y="9357"/>
                  </a:lnTo>
                  <a:lnTo>
                    <a:pt x="15815" y="9357"/>
                  </a:lnTo>
                  <a:lnTo>
                    <a:pt x="15810" y="9353"/>
                  </a:lnTo>
                  <a:lnTo>
                    <a:pt x="15806" y="9345"/>
                  </a:lnTo>
                  <a:lnTo>
                    <a:pt x="15815" y="9345"/>
                  </a:lnTo>
                  <a:lnTo>
                    <a:pt x="15821" y="9342"/>
                  </a:lnTo>
                  <a:close/>
                  <a:moveTo>
                    <a:pt x="16020" y="9374"/>
                  </a:moveTo>
                  <a:lnTo>
                    <a:pt x="16020" y="9374"/>
                  </a:lnTo>
                  <a:lnTo>
                    <a:pt x="16022" y="9363"/>
                  </a:lnTo>
                  <a:lnTo>
                    <a:pt x="16007" y="9359"/>
                  </a:lnTo>
                  <a:lnTo>
                    <a:pt x="15988" y="9359"/>
                  </a:lnTo>
                  <a:lnTo>
                    <a:pt x="15978" y="9361"/>
                  </a:lnTo>
                  <a:lnTo>
                    <a:pt x="15976" y="9375"/>
                  </a:lnTo>
                  <a:lnTo>
                    <a:pt x="15970" y="9386"/>
                  </a:lnTo>
                  <a:lnTo>
                    <a:pt x="15960" y="9391"/>
                  </a:lnTo>
                  <a:lnTo>
                    <a:pt x="15947" y="9386"/>
                  </a:lnTo>
                  <a:lnTo>
                    <a:pt x="15943" y="9380"/>
                  </a:lnTo>
                  <a:lnTo>
                    <a:pt x="15940" y="9365"/>
                  </a:lnTo>
                  <a:lnTo>
                    <a:pt x="15938" y="9359"/>
                  </a:lnTo>
                  <a:lnTo>
                    <a:pt x="15934" y="9355"/>
                  </a:lnTo>
                  <a:lnTo>
                    <a:pt x="15921" y="9345"/>
                  </a:lnTo>
                  <a:lnTo>
                    <a:pt x="15916" y="9359"/>
                  </a:lnTo>
                  <a:lnTo>
                    <a:pt x="15929" y="9385"/>
                  </a:lnTo>
                  <a:lnTo>
                    <a:pt x="15925" y="9399"/>
                  </a:lnTo>
                  <a:lnTo>
                    <a:pt x="15938" y="9403"/>
                  </a:lnTo>
                  <a:lnTo>
                    <a:pt x="15935" y="9409"/>
                  </a:lnTo>
                  <a:lnTo>
                    <a:pt x="15926" y="9416"/>
                  </a:lnTo>
                  <a:lnTo>
                    <a:pt x="15916" y="9421"/>
                  </a:lnTo>
                  <a:lnTo>
                    <a:pt x="15918" y="9424"/>
                  </a:lnTo>
                  <a:lnTo>
                    <a:pt x="15921" y="9430"/>
                  </a:lnTo>
                  <a:lnTo>
                    <a:pt x="15912" y="9432"/>
                  </a:lnTo>
                  <a:lnTo>
                    <a:pt x="15908" y="9438"/>
                  </a:lnTo>
                  <a:lnTo>
                    <a:pt x="15903" y="9457"/>
                  </a:lnTo>
                  <a:lnTo>
                    <a:pt x="15908" y="9463"/>
                  </a:lnTo>
                  <a:lnTo>
                    <a:pt x="15915" y="9465"/>
                  </a:lnTo>
                  <a:lnTo>
                    <a:pt x="15921" y="9463"/>
                  </a:lnTo>
                  <a:lnTo>
                    <a:pt x="15927" y="9459"/>
                  </a:lnTo>
                  <a:lnTo>
                    <a:pt x="15934" y="9456"/>
                  </a:lnTo>
                  <a:lnTo>
                    <a:pt x="15939" y="9460"/>
                  </a:lnTo>
                  <a:lnTo>
                    <a:pt x="15943" y="9466"/>
                  </a:lnTo>
                  <a:lnTo>
                    <a:pt x="15950" y="9473"/>
                  </a:lnTo>
                  <a:lnTo>
                    <a:pt x="15956" y="9477"/>
                  </a:lnTo>
                  <a:lnTo>
                    <a:pt x="15962" y="9478"/>
                  </a:lnTo>
                  <a:lnTo>
                    <a:pt x="15965" y="9473"/>
                  </a:lnTo>
                  <a:lnTo>
                    <a:pt x="15975" y="9458"/>
                  </a:lnTo>
                  <a:lnTo>
                    <a:pt x="15978" y="9453"/>
                  </a:lnTo>
                  <a:lnTo>
                    <a:pt x="15978" y="9440"/>
                  </a:lnTo>
                  <a:lnTo>
                    <a:pt x="15966" y="9428"/>
                  </a:lnTo>
                  <a:lnTo>
                    <a:pt x="15965" y="9417"/>
                  </a:lnTo>
                  <a:lnTo>
                    <a:pt x="15969" y="9408"/>
                  </a:lnTo>
                  <a:lnTo>
                    <a:pt x="15977" y="9406"/>
                  </a:lnTo>
                  <a:lnTo>
                    <a:pt x="15986" y="9405"/>
                  </a:lnTo>
                  <a:lnTo>
                    <a:pt x="15996" y="9403"/>
                  </a:lnTo>
                  <a:lnTo>
                    <a:pt x="15994" y="9394"/>
                  </a:lnTo>
                  <a:lnTo>
                    <a:pt x="16001" y="9387"/>
                  </a:lnTo>
                  <a:lnTo>
                    <a:pt x="16020" y="9374"/>
                  </a:lnTo>
                  <a:close/>
                  <a:moveTo>
                    <a:pt x="17437" y="10545"/>
                  </a:moveTo>
                  <a:lnTo>
                    <a:pt x="17437" y="10545"/>
                  </a:lnTo>
                  <a:lnTo>
                    <a:pt x="17424" y="10546"/>
                  </a:lnTo>
                  <a:lnTo>
                    <a:pt x="17412" y="10540"/>
                  </a:lnTo>
                  <a:lnTo>
                    <a:pt x="17401" y="10533"/>
                  </a:lnTo>
                  <a:lnTo>
                    <a:pt x="17387" y="10534"/>
                  </a:lnTo>
                  <a:lnTo>
                    <a:pt x="17373" y="10539"/>
                  </a:lnTo>
                  <a:lnTo>
                    <a:pt x="17361" y="10546"/>
                  </a:lnTo>
                  <a:lnTo>
                    <a:pt x="17338" y="10581"/>
                  </a:lnTo>
                  <a:lnTo>
                    <a:pt x="17260" y="10619"/>
                  </a:lnTo>
                  <a:lnTo>
                    <a:pt x="17250" y="10627"/>
                  </a:lnTo>
                  <a:lnTo>
                    <a:pt x="17253" y="10632"/>
                  </a:lnTo>
                  <a:lnTo>
                    <a:pt x="17256" y="10635"/>
                  </a:lnTo>
                  <a:lnTo>
                    <a:pt x="17263" y="10641"/>
                  </a:lnTo>
                  <a:lnTo>
                    <a:pt x="17277" y="10649"/>
                  </a:lnTo>
                  <a:lnTo>
                    <a:pt x="17291" y="10651"/>
                  </a:lnTo>
                  <a:lnTo>
                    <a:pt x="17319" y="10650"/>
                  </a:lnTo>
                  <a:lnTo>
                    <a:pt x="17360" y="10653"/>
                  </a:lnTo>
                  <a:lnTo>
                    <a:pt x="17374" y="10650"/>
                  </a:lnTo>
                  <a:lnTo>
                    <a:pt x="17376" y="10647"/>
                  </a:lnTo>
                  <a:lnTo>
                    <a:pt x="17378" y="10642"/>
                  </a:lnTo>
                  <a:lnTo>
                    <a:pt x="17380" y="10638"/>
                  </a:lnTo>
                  <a:lnTo>
                    <a:pt x="17385" y="10636"/>
                  </a:lnTo>
                  <a:lnTo>
                    <a:pt x="17392" y="10636"/>
                  </a:lnTo>
                  <a:lnTo>
                    <a:pt x="17395" y="10636"/>
                  </a:lnTo>
                  <a:lnTo>
                    <a:pt x="17399" y="10634"/>
                  </a:lnTo>
                  <a:lnTo>
                    <a:pt x="17405" y="10629"/>
                  </a:lnTo>
                  <a:lnTo>
                    <a:pt x="17420" y="10620"/>
                  </a:lnTo>
                  <a:lnTo>
                    <a:pt x="17444" y="10599"/>
                  </a:lnTo>
                  <a:lnTo>
                    <a:pt x="17449" y="10591"/>
                  </a:lnTo>
                  <a:lnTo>
                    <a:pt x="17454" y="10564"/>
                  </a:lnTo>
                  <a:lnTo>
                    <a:pt x="17448" y="10547"/>
                  </a:lnTo>
                  <a:lnTo>
                    <a:pt x="17437" y="10545"/>
                  </a:lnTo>
                  <a:close/>
                  <a:moveTo>
                    <a:pt x="18424" y="10381"/>
                  </a:moveTo>
                  <a:lnTo>
                    <a:pt x="18424" y="10381"/>
                  </a:lnTo>
                  <a:lnTo>
                    <a:pt x="18423" y="10371"/>
                  </a:lnTo>
                  <a:lnTo>
                    <a:pt x="18403" y="10365"/>
                  </a:lnTo>
                  <a:lnTo>
                    <a:pt x="18398" y="10357"/>
                  </a:lnTo>
                  <a:lnTo>
                    <a:pt x="18393" y="10350"/>
                  </a:lnTo>
                  <a:lnTo>
                    <a:pt x="18380" y="10351"/>
                  </a:lnTo>
                  <a:lnTo>
                    <a:pt x="18367" y="10356"/>
                  </a:lnTo>
                  <a:lnTo>
                    <a:pt x="18358" y="10362"/>
                  </a:lnTo>
                  <a:lnTo>
                    <a:pt x="18349" y="10373"/>
                  </a:lnTo>
                  <a:lnTo>
                    <a:pt x="18336" y="10400"/>
                  </a:lnTo>
                  <a:lnTo>
                    <a:pt x="18327" y="10412"/>
                  </a:lnTo>
                  <a:lnTo>
                    <a:pt x="18312" y="10425"/>
                  </a:lnTo>
                  <a:lnTo>
                    <a:pt x="18304" y="10434"/>
                  </a:lnTo>
                  <a:lnTo>
                    <a:pt x="18301" y="10444"/>
                  </a:lnTo>
                  <a:lnTo>
                    <a:pt x="18300" y="10463"/>
                  </a:lnTo>
                  <a:lnTo>
                    <a:pt x="18305" y="10480"/>
                  </a:lnTo>
                  <a:lnTo>
                    <a:pt x="18316" y="10479"/>
                  </a:lnTo>
                  <a:lnTo>
                    <a:pt x="18326" y="10469"/>
                  </a:lnTo>
                  <a:lnTo>
                    <a:pt x="18331" y="10459"/>
                  </a:lnTo>
                  <a:lnTo>
                    <a:pt x="18334" y="10455"/>
                  </a:lnTo>
                  <a:lnTo>
                    <a:pt x="18341" y="10462"/>
                  </a:lnTo>
                  <a:lnTo>
                    <a:pt x="18347" y="10471"/>
                  </a:lnTo>
                  <a:lnTo>
                    <a:pt x="18349" y="10475"/>
                  </a:lnTo>
                  <a:lnTo>
                    <a:pt x="18358" y="10477"/>
                  </a:lnTo>
                  <a:lnTo>
                    <a:pt x="18364" y="10476"/>
                  </a:lnTo>
                  <a:lnTo>
                    <a:pt x="18367" y="10471"/>
                  </a:lnTo>
                  <a:lnTo>
                    <a:pt x="18363" y="10461"/>
                  </a:lnTo>
                  <a:lnTo>
                    <a:pt x="18372" y="10454"/>
                  </a:lnTo>
                  <a:lnTo>
                    <a:pt x="18368" y="10437"/>
                  </a:lnTo>
                  <a:lnTo>
                    <a:pt x="18353" y="10408"/>
                  </a:lnTo>
                  <a:lnTo>
                    <a:pt x="18363" y="10403"/>
                  </a:lnTo>
                  <a:lnTo>
                    <a:pt x="18370" y="10413"/>
                  </a:lnTo>
                  <a:lnTo>
                    <a:pt x="18378" y="10417"/>
                  </a:lnTo>
                  <a:lnTo>
                    <a:pt x="18386" y="10415"/>
                  </a:lnTo>
                  <a:lnTo>
                    <a:pt x="18389" y="10405"/>
                  </a:lnTo>
                  <a:lnTo>
                    <a:pt x="18394" y="10399"/>
                  </a:lnTo>
                  <a:lnTo>
                    <a:pt x="18417" y="10388"/>
                  </a:lnTo>
                  <a:lnTo>
                    <a:pt x="18424" y="10381"/>
                  </a:lnTo>
                  <a:close/>
                  <a:moveTo>
                    <a:pt x="20988" y="8652"/>
                  </a:moveTo>
                  <a:lnTo>
                    <a:pt x="20988" y="8652"/>
                  </a:lnTo>
                  <a:lnTo>
                    <a:pt x="20977" y="8650"/>
                  </a:lnTo>
                  <a:lnTo>
                    <a:pt x="20968" y="8647"/>
                  </a:lnTo>
                  <a:lnTo>
                    <a:pt x="20954" y="8639"/>
                  </a:lnTo>
                  <a:lnTo>
                    <a:pt x="20932" y="8636"/>
                  </a:lnTo>
                  <a:lnTo>
                    <a:pt x="20925" y="8638"/>
                  </a:lnTo>
                  <a:lnTo>
                    <a:pt x="20919" y="8648"/>
                  </a:lnTo>
                  <a:lnTo>
                    <a:pt x="20919" y="8658"/>
                  </a:lnTo>
                  <a:lnTo>
                    <a:pt x="20926" y="8679"/>
                  </a:lnTo>
                  <a:lnTo>
                    <a:pt x="20928" y="8689"/>
                  </a:lnTo>
                  <a:lnTo>
                    <a:pt x="20927" y="8696"/>
                  </a:lnTo>
                  <a:lnTo>
                    <a:pt x="20923" y="8699"/>
                  </a:lnTo>
                  <a:lnTo>
                    <a:pt x="20918" y="8700"/>
                  </a:lnTo>
                  <a:lnTo>
                    <a:pt x="20913" y="8703"/>
                  </a:lnTo>
                  <a:lnTo>
                    <a:pt x="20909" y="8709"/>
                  </a:lnTo>
                  <a:lnTo>
                    <a:pt x="20908" y="8713"/>
                  </a:lnTo>
                  <a:lnTo>
                    <a:pt x="20910" y="8725"/>
                  </a:lnTo>
                  <a:lnTo>
                    <a:pt x="20915" y="8735"/>
                  </a:lnTo>
                  <a:lnTo>
                    <a:pt x="20925" y="8735"/>
                  </a:lnTo>
                  <a:lnTo>
                    <a:pt x="20935" y="8731"/>
                  </a:lnTo>
                  <a:lnTo>
                    <a:pt x="20941" y="8727"/>
                  </a:lnTo>
                  <a:lnTo>
                    <a:pt x="20948" y="8714"/>
                  </a:lnTo>
                  <a:lnTo>
                    <a:pt x="20951" y="8710"/>
                  </a:lnTo>
                  <a:lnTo>
                    <a:pt x="20954" y="8708"/>
                  </a:lnTo>
                  <a:lnTo>
                    <a:pt x="20962" y="8707"/>
                  </a:lnTo>
                  <a:lnTo>
                    <a:pt x="20986" y="8698"/>
                  </a:lnTo>
                  <a:lnTo>
                    <a:pt x="20995" y="8692"/>
                  </a:lnTo>
                  <a:lnTo>
                    <a:pt x="20999" y="8685"/>
                  </a:lnTo>
                  <a:lnTo>
                    <a:pt x="21000" y="8663"/>
                  </a:lnTo>
                  <a:lnTo>
                    <a:pt x="20997" y="8655"/>
                  </a:lnTo>
                  <a:lnTo>
                    <a:pt x="20988" y="8652"/>
                  </a:lnTo>
                  <a:close/>
                  <a:moveTo>
                    <a:pt x="21774" y="8372"/>
                  </a:moveTo>
                  <a:lnTo>
                    <a:pt x="21774" y="8372"/>
                  </a:lnTo>
                  <a:lnTo>
                    <a:pt x="21769" y="8371"/>
                  </a:lnTo>
                  <a:lnTo>
                    <a:pt x="21757" y="8370"/>
                  </a:lnTo>
                  <a:lnTo>
                    <a:pt x="21752" y="8368"/>
                  </a:lnTo>
                  <a:lnTo>
                    <a:pt x="21746" y="8364"/>
                  </a:lnTo>
                  <a:lnTo>
                    <a:pt x="21737" y="8354"/>
                  </a:lnTo>
                  <a:lnTo>
                    <a:pt x="21731" y="8351"/>
                  </a:lnTo>
                  <a:lnTo>
                    <a:pt x="21713" y="8357"/>
                  </a:lnTo>
                  <a:lnTo>
                    <a:pt x="21694" y="8369"/>
                  </a:lnTo>
                  <a:lnTo>
                    <a:pt x="21679" y="8383"/>
                  </a:lnTo>
                  <a:lnTo>
                    <a:pt x="21672" y="8394"/>
                  </a:lnTo>
                  <a:lnTo>
                    <a:pt x="21674" y="8408"/>
                  </a:lnTo>
                  <a:lnTo>
                    <a:pt x="21683" y="8415"/>
                  </a:lnTo>
                  <a:lnTo>
                    <a:pt x="21708" y="8426"/>
                  </a:lnTo>
                  <a:lnTo>
                    <a:pt x="21733" y="8446"/>
                  </a:lnTo>
                  <a:lnTo>
                    <a:pt x="21743" y="8452"/>
                  </a:lnTo>
                  <a:lnTo>
                    <a:pt x="21768" y="8426"/>
                  </a:lnTo>
                  <a:lnTo>
                    <a:pt x="21770" y="8422"/>
                  </a:lnTo>
                  <a:lnTo>
                    <a:pt x="21762" y="8412"/>
                  </a:lnTo>
                  <a:lnTo>
                    <a:pt x="21756" y="8403"/>
                  </a:lnTo>
                  <a:lnTo>
                    <a:pt x="21763" y="8399"/>
                  </a:lnTo>
                  <a:lnTo>
                    <a:pt x="21777" y="8396"/>
                  </a:lnTo>
                  <a:lnTo>
                    <a:pt x="21784" y="8390"/>
                  </a:lnTo>
                  <a:lnTo>
                    <a:pt x="21782" y="8381"/>
                  </a:lnTo>
                  <a:lnTo>
                    <a:pt x="21774" y="8372"/>
                  </a:lnTo>
                  <a:close/>
                  <a:moveTo>
                    <a:pt x="23902" y="8423"/>
                  </a:moveTo>
                  <a:lnTo>
                    <a:pt x="23902" y="8423"/>
                  </a:lnTo>
                  <a:lnTo>
                    <a:pt x="23887" y="8410"/>
                  </a:lnTo>
                  <a:lnTo>
                    <a:pt x="23883" y="8401"/>
                  </a:lnTo>
                  <a:lnTo>
                    <a:pt x="23881" y="8392"/>
                  </a:lnTo>
                  <a:lnTo>
                    <a:pt x="23874" y="8382"/>
                  </a:lnTo>
                  <a:lnTo>
                    <a:pt x="23864" y="8377"/>
                  </a:lnTo>
                  <a:lnTo>
                    <a:pt x="23852" y="8381"/>
                  </a:lnTo>
                  <a:lnTo>
                    <a:pt x="23838" y="8379"/>
                  </a:lnTo>
                  <a:lnTo>
                    <a:pt x="23760" y="8381"/>
                  </a:lnTo>
                  <a:lnTo>
                    <a:pt x="23744" y="8401"/>
                  </a:lnTo>
                  <a:lnTo>
                    <a:pt x="23750" y="8412"/>
                  </a:lnTo>
                  <a:lnTo>
                    <a:pt x="23769" y="8417"/>
                  </a:lnTo>
                  <a:lnTo>
                    <a:pt x="23815" y="8415"/>
                  </a:lnTo>
                  <a:lnTo>
                    <a:pt x="23838" y="8417"/>
                  </a:lnTo>
                  <a:lnTo>
                    <a:pt x="23855" y="8427"/>
                  </a:lnTo>
                  <a:lnTo>
                    <a:pt x="23861" y="8450"/>
                  </a:lnTo>
                  <a:lnTo>
                    <a:pt x="23866" y="8455"/>
                  </a:lnTo>
                  <a:lnTo>
                    <a:pt x="23888" y="8471"/>
                  </a:lnTo>
                  <a:lnTo>
                    <a:pt x="23894" y="8475"/>
                  </a:lnTo>
                  <a:lnTo>
                    <a:pt x="23905" y="8469"/>
                  </a:lnTo>
                  <a:lnTo>
                    <a:pt x="23908" y="8456"/>
                  </a:lnTo>
                  <a:lnTo>
                    <a:pt x="23905" y="8432"/>
                  </a:lnTo>
                  <a:lnTo>
                    <a:pt x="23902" y="8423"/>
                  </a:lnTo>
                  <a:close/>
                  <a:moveTo>
                    <a:pt x="19509" y="2890"/>
                  </a:moveTo>
                  <a:lnTo>
                    <a:pt x="19509" y="2890"/>
                  </a:lnTo>
                  <a:lnTo>
                    <a:pt x="19503" y="2893"/>
                  </a:lnTo>
                  <a:lnTo>
                    <a:pt x="19501" y="2900"/>
                  </a:lnTo>
                  <a:lnTo>
                    <a:pt x="19510" y="2909"/>
                  </a:lnTo>
                  <a:lnTo>
                    <a:pt x="19530" y="2908"/>
                  </a:lnTo>
                  <a:lnTo>
                    <a:pt x="19551" y="2901"/>
                  </a:lnTo>
                  <a:lnTo>
                    <a:pt x="19563" y="2894"/>
                  </a:lnTo>
                  <a:lnTo>
                    <a:pt x="19567" y="2874"/>
                  </a:lnTo>
                  <a:lnTo>
                    <a:pt x="19570" y="2869"/>
                  </a:lnTo>
                  <a:lnTo>
                    <a:pt x="19579" y="2861"/>
                  </a:lnTo>
                  <a:lnTo>
                    <a:pt x="19581" y="2856"/>
                  </a:lnTo>
                  <a:lnTo>
                    <a:pt x="19582" y="2837"/>
                  </a:lnTo>
                  <a:lnTo>
                    <a:pt x="19585" y="2819"/>
                  </a:lnTo>
                  <a:lnTo>
                    <a:pt x="19585" y="2806"/>
                  </a:lnTo>
                  <a:lnTo>
                    <a:pt x="19581" y="2806"/>
                  </a:lnTo>
                  <a:lnTo>
                    <a:pt x="19552" y="2872"/>
                  </a:lnTo>
                  <a:lnTo>
                    <a:pt x="19523" y="2885"/>
                  </a:lnTo>
                  <a:lnTo>
                    <a:pt x="19509" y="2890"/>
                  </a:lnTo>
                  <a:close/>
                  <a:moveTo>
                    <a:pt x="19670" y="2268"/>
                  </a:moveTo>
                  <a:lnTo>
                    <a:pt x="19670" y="2268"/>
                  </a:lnTo>
                  <a:lnTo>
                    <a:pt x="19659" y="2266"/>
                  </a:lnTo>
                  <a:lnTo>
                    <a:pt x="19647" y="2266"/>
                  </a:lnTo>
                  <a:lnTo>
                    <a:pt x="19636" y="2270"/>
                  </a:lnTo>
                  <a:lnTo>
                    <a:pt x="19629" y="2277"/>
                  </a:lnTo>
                  <a:lnTo>
                    <a:pt x="19630" y="2294"/>
                  </a:lnTo>
                  <a:lnTo>
                    <a:pt x="19644" y="2308"/>
                  </a:lnTo>
                  <a:lnTo>
                    <a:pt x="19664" y="2314"/>
                  </a:lnTo>
                  <a:lnTo>
                    <a:pt x="19683" y="2304"/>
                  </a:lnTo>
                  <a:lnTo>
                    <a:pt x="19685" y="2281"/>
                  </a:lnTo>
                  <a:lnTo>
                    <a:pt x="19682" y="2275"/>
                  </a:lnTo>
                  <a:lnTo>
                    <a:pt x="19670" y="2268"/>
                  </a:lnTo>
                  <a:close/>
                  <a:moveTo>
                    <a:pt x="19632" y="2072"/>
                  </a:moveTo>
                  <a:lnTo>
                    <a:pt x="19632" y="2072"/>
                  </a:lnTo>
                  <a:lnTo>
                    <a:pt x="19635" y="2081"/>
                  </a:lnTo>
                  <a:lnTo>
                    <a:pt x="19635" y="2093"/>
                  </a:lnTo>
                  <a:lnTo>
                    <a:pt x="19638" y="2105"/>
                  </a:lnTo>
                  <a:lnTo>
                    <a:pt x="19644" y="2113"/>
                  </a:lnTo>
                  <a:lnTo>
                    <a:pt x="19656" y="2114"/>
                  </a:lnTo>
                  <a:lnTo>
                    <a:pt x="19663" y="2110"/>
                  </a:lnTo>
                  <a:lnTo>
                    <a:pt x="19664" y="2103"/>
                  </a:lnTo>
                  <a:lnTo>
                    <a:pt x="19663" y="2095"/>
                  </a:lnTo>
                  <a:lnTo>
                    <a:pt x="19661" y="2088"/>
                  </a:lnTo>
                  <a:lnTo>
                    <a:pt x="19653" y="2076"/>
                  </a:lnTo>
                  <a:lnTo>
                    <a:pt x="19650" y="2068"/>
                  </a:lnTo>
                  <a:lnTo>
                    <a:pt x="19652" y="2057"/>
                  </a:lnTo>
                  <a:lnTo>
                    <a:pt x="19655" y="2052"/>
                  </a:lnTo>
                  <a:lnTo>
                    <a:pt x="19659" y="2048"/>
                  </a:lnTo>
                  <a:lnTo>
                    <a:pt x="19677" y="2034"/>
                  </a:lnTo>
                  <a:lnTo>
                    <a:pt x="19682" y="2026"/>
                  </a:lnTo>
                  <a:lnTo>
                    <a:pt x="19682" y="2017"/>
                  </a:lnTo>
                  <a:lnTo>
                    <a:pt x="19677" y="2008"/>
                  </a:lnTo>
                  <a:lnTo>
                    <a:pt x="19669" y="2001"/>
                  </a:lnTo>
                  <a:lnTo>
                    <a:pt x="19660" y="1997"/>
                  </a:lnTo>
                  <a:lnTo>
                    <a:pt x="19650" y="1997"/>
                  </a:lnTo>
                  <a:lnTo>
                    <a:pt x="19641" y="2002"/>
                  </a:lnTo>
                  <a:lnTo>
                    <a:pt x="19635" y="2009"/>
                  </a:lnTo>
                  <a:lnTo>
                    <a:pt x="19623" y="2033"/>
                  </a:lnTo>
                  <a:lnTo>
                    <a:pt x="19621" y="2042"/>
                  </a:lnTo>
                  <a:lnTo>
                    <a:pt x="19623" y="2053"/>
                  </a:lnTo>
                  <a:lnTo>
                    <a:pt x="19632" y="2072"/>
                  </a:lnTo>
                  <a:close/>
                  <a:moveTo>
                    <a:pt x="20587" y="1345"/>
                  </a:moveTo>
                  <a:lnTo>
                    <a:pt x="20587" y="1345"/>
                  </a:lnTo>
                  <a:lnTo>
                    <a:pt x="20582" y="1339"/>
                  </a:lnTo>
                  <a:lnTo>
                    <a:pt x="20555" y="1320"/>
                  </a:lnTo>
                  <a:lnTo>
                    <a:pt x="20547" y="1316"/>
                  </a:lnTo>
                  <a:lnTo>
                    <a:pt x="20537" y="1334"/>
                  </a:lnTo>
                  <a:lnTo>
                    <a:pt x="20548" y="1365"/>
                  </a:lnTo>
                  <a:lnTo>
                    <a:pt x="20571" y="1389"/>
                  </a:lnTo>
                  <a:lnTo>
                    <a:pt x="20595" y="1387"/>
                  </a:lnTo>
                  <a:lnTo>
                    <a:pt x="20603" y="1376"/>
                  </a:lnTo>
                  <a:lnTo>
                    <a:pt x="20599" y="1367"/>
                  </a:lnTo>
                  <a:lnTo>
                    <a:pt x="20591" y="1357"/>
                  </a:lnTo>
                  <a:lnTo>
                    <a:pt x="20587" y="1345"/>
                  </a:lnTo>
                  <a:close/>
                  <a:moveTo>
                    <a:pt x="20458" y="1239"/>
                  </a:moveTo>
                  <a:lnTo>
                    <a:pt x="20458" y="1239"/>
                  </a:lnTo>
                  <a:lnTo>
                    <a:pt x="20461" y="1250"/>
                  </a:lnTo>
                  <a:lnTo>
                    <a:pt x="20468" y="1259"/>
                  </a:lnTo>
                  <a:lnTo>
                    <a:pt x="20485" y="1277"/>
                  </a:lnTo>
                  <a:lnTo>
                    <a:pt x="20481" y="1291"/>
                  </a:lnTo>
                  <a:lnTo>
                    <a:pt x="20484" y="1311"/>
                  </a:lnTo>
                  <a:lnTo>
                    <a:pt x="20492" y="1331"/>
                  </a:lnTo>
                  <a:lnTo>
                    <a:pt x="20507" y="1343"/>
                  </a:lnTo>
                  <a:lnTo>
                    <a:pt x="20501" y="1315"/>
                  </a:lnTo>
                  <a:lnTo>
                    <a:pt x="20504" y="1305"/>
                  </a:lnTo>
                  <a:lnTo>
                    <a:pt x="20516" y="1294"/>
                  </a:lnTo>
                  <a:lnTo>
                    <a:pt x="20515" y="1282"/>
                  </a:lnTo>
                  <a:lnTo>
                    <a:pt x="20495" y="1262"/>
                  </a:lnTo>
                  <a:lnTo>
                    <a:pt x="20490" y="1248"/>
                  </a:lnTo>
                  <a:lnTo>
                    <a:pt x="20458" y="1206"/>
                  </a:lnTo>
                  <a:lnTo>
                    <a:pt x="20446" y="1205"/>
                  </a:lnTo>
                  <a:lnTo>
                    <a:pt x="20447" y="1215"/>
                  </a:lnTo>
                  <a:lnTo>
                    <a:pt x="20458" y="1239"/>
                  </a:lnTo>
                  <a:close/>
                  <a:moveTo>
                    <a:pt x="17213" y="3882"/>
                  </a:moveTo>
                  <a:lnTo>
                    <a:pt x="17213" y="3882"/>
                  </a:lnTo>
                  <a:lnTo>
                    <a:pt x="17190" y="3882"/>
                  </a:lnTo>
                  <a:lnTo>
                    <a:pt x="17172" y="3896"/>
                  </a:lnTo>
                  <a:lnTo>
                    <a:pt x="17175" y="3920"/>
                  </a:lnTo>
                  <a:lnTo>
                    <a:pt x="17192" y="3933"/>
                  </a:lnTo>
                  <a:lnTo>
                    <a:pt x="17208" y="3930"/>
                  </a:lnTo>
                  <a:lnTo>
                    <a:pt x="17219" y="3916"/>
                  </a:lnTo>
                  <a:lnTo>
                    <a:pt x="17224" y="3897"/>
                  </a:lnTo>
                  <a:lnTo>
                    <a:pt x="17213" y="3882"/>
                  </a:lnTo>
                  <a:close/>
                  <a:moveTo>
                    <a:pt x="17619" y="3957"/>
                  </a:moveTo>
                  <a:lnTo>
                    <a:pt x="17619" y="3957"/>
                  </a:lnTo>
                  <a:lnTo>
                    <a:pt x="17622" y="3959"/>
                  </a:lnTo>
                  <a:lnTo>
                    <a:pt x="17627" y="3959"/>
                  </a:lnTo>
                  <a:lnTo>
                    <a:pt x="17637" y="3955"/>
                  </a:lnTo>
                  <a:lnTo>
                    <a:pt x="17640" y="3955"/>
                  </a:lnTo>
                  <a:lnTo>
                    <a:pt x="17658" y="3968"/>
                  </a:lnTo>
                  <a:lnTo>
                    <a:pt x="17679" y="4009"/>
                  </a:lnTo>
                  <a:lnTo>
                    <a:pt x="17693" y="4025"/>
                  </a:lnTo>
                  <a:lnTo>
                    <a:pt x="17698" y="4021"/>
                  </a:lnTo>
                  <a:lnTo>
                    <a:pt x="17693" y="4012"/>
                  </a:lnTo>
                  <a:lnTo>
                    <a:pt x="17688" y="3998"/>
                  </a:lnTo>
                  <a:lnTo>
                    <a:pt x="17686" y="3984"/>
                  </a:lnTo>
                  <a:lnTo>
                    <a:pt x="17689" y="3972"/>
                  </a:lnTo>
                  <a:lnTo>
                    <a:pt x="17683" y="3963"/>
                  </a:lnTo>
                  <a:lnTo>
                    <a:pt x="17674" y="3956"/>
                  </a:lnTo>
                  <a:lnTo>
                    <a:pt x="17662" y="3951"/>
                  </a:lnTo>
                  <a:lnTo>
                    <a:pt x="17636" y="3943"/>
                  </a:lnTo>
                  <a:lnTo>
                    <a:pt x="17629" y="3940"/>
                  </a:lnTo>
                  <a:lnTo>
                    <a:pt x="17627" y="3935"/>
                  </a:lnTo>
                  <a:lnTo>
                    <a:pt x="17623" y="3934"/>
                  </a:lnTo>
                  <a:lnTo>
                    <a:pt x="17606" y="3928"/>
                  </a:lnTo>
                  <a:lnTo>
                    <a:pt x="17600" y="3924"/>
                  </a:lnTo>
                  <a:lnTo>
                    <a:pt x="17596" y="3931"/>
                  </a:lnTo>
                  <a:lnTo>
                    <a:pt x="17598" y="3936"/>
                  </a:lnTo>
                  <a:lnTo>
                    <a:pt x="17609" y="3946"/>
                  </a:lnTo>
                  <a:lnTo>
                    <a:pt x="17619" y="3957"/>
                  </a:lnTo>
                  <a:close/>
                  <a:moveTo>
                    <a:pt x="17565" y="3928"/>
                  </a:moveTo>
                  <a:lnTo>
                    <a:pt x="17565" y="3928"/>
                  </a:lnTo>
                  <a:lnTo>
                    <a:pt x="17553" y="3938"/>
                  </a:lnTo>
                  <a:lnTo>
                    <a:pt x="17544" y="3952"/>
                  </a:lnTo>
                  <a:lnTo>
                    <a:pt x="17545" y="3959"/>
                  </a:lnTo>
                  <a:lnTo>
                    <a:pt x="17557" y="3963"/>
                  </a:lnTo>
                  <a:lnTo>
                    <a:pt x="17580" y="3974"/>
                  </a:lnTo>
                  <a:lnTo>
                    <a:pt x="17587" y="3972"/>
                  </a:lnTo>
                  <a:lnTo>
                    <a:pt x="17591" y="3972"/>
                  </a:lnTo>
                  <a:lnTo>
                    <a:pt x="17594" y="3976"/>
                  </a:lnTo>
                  <a:lnTo>
                    <a:pt x="17599" y="3979"/>
                  </a:lnTo>
                  <a:lnTo>
                    <a:pt x="17603" y="3978"/>
                  </a:lnTo>
                  <a:lnTo>
                    <a:pt x="17605" y="3972"/>
                  </a:lnTo>
                  <a:lnTo>
                    <a:pt x="17602" y="3968"/>
                  </a:lnTo>
                  <a:lnTo>
                    <a:pt x="17593" y="3963"/>
                  </a:lnTo>
                  <a:lnTo>
                    <a:pt x="17591" y="3961"/>
                  </a:lnTo>
                  <a:lnTo>
                    <a:pt x="17588" y="3955"/>
                  </a:lnTo>
                  <a:lnTo>
                    <a:pt x="17582" y="3952"/>
                  </a:lnTo>
                  <a:lnTo>
                    <a:pt x="17573" y="3950"/>
                  </a:lnTo>
                  <a:lnTo>
                    <a:pt x="17565" y="3950"/>
                  </a:lnTo>
                  <a:lnTo>
                    <a:pt x="17573" y="3934"/>
                  </a:lnTo>
                  <a:lnTo>
                    <a:pt x="17565" y="3928"/>
                  </a:lnTo>
                  <a:close/>
                  <a:moveTo>
                    <a:pt x="18152" y="5024"/>
                  </a:moveTo>
                  <a:lnTo>
                    <a:pt x="18152" y="5024"/>
                  </a:lnTo>
                  <a:lnTo>
                    <a:pt x="18160" y="5020"/>
                  </a:lnTo>
                  <a:lnTo>
                    <a:pt x="18163" y="5013"/>
                  </a:lnTo>
                  <a:lnTo>
                    <a:pt x="18166" y="5005"/>
                  </a:lnTo>
                  <a:lnTo>
                    <a:pt x="18173" y="4996"/>
                  </a:lnTo>
                  <a:lnTo>
                    <a:pt x="18181" y="4989"/>
                  </a:lnTo>
                  <a:lnTo>
                    <a:pt x="18189" y="4984"/>
                  </a:lnTo>
                  <a:lnTo>
                    <a:pt x="18196" y="4974"/>
                  </a:lnTo>
                  <a:lnTo>
                    <a:pt x="18195" y="4958"/>
                  </a:lnTo>
                  <a:lnTo>
                    <a:pt x="18190" y="4943"/>
                  </a:lnTo>
                  <a:lnTo>
                    <a:pt x="18183" y="4936"/>
                  </a:lnTo>
                  <a:lnTo>
                    <a:pt x="18182" y="4934"/>
                  </a:lnTo>
                  <a:lnTo>
                    <a:pt x="18173" y="4928"/>
                  </a:lnTo>
                  <a:lnTo>
                    <a:pt x="18163" y="4926"/>
                  </a:lnTo>
                  <a:lnTo>
                    <a:pt x="18158" y="4930"/>
                  </a:lnTo>
                  <a:lnTo>
                    <a:pt x="18157" y="4938"/>
                  </a:lnTo>
                  <a:lnTo>
                    <a:pt x="18155" y="4946"/>
                  </a:lnTo>
                  <a:lnTo>
                    <a:pt x="18145" y="4971"/>
                  </a:lnTo>
                  <a:lnTo>
                    <a:pt x="18142" y="4985"/>
                  </a:lnTo>
                  <a:lnTo>
                    <a:pt x="18141" y="5018"/>
                  </a:lnTo>
                  <a:lnTo>
                    <a:pt x="18144" y="5024"/>
                  </a:lnTo>
                  <a:lnTo>
                    <a:pt x="18152" y="5024"/>
                  </a:lnTo>
                  <a:close/>
                  <a:moveTo>
                    <a:pt x="18651" y="5055"/>
                  </a:moveTo>
                  <a:lnTo>
                    <a:pt x="18651" y="5055"/>
                  </a:lnTo>
                  <a:lnTo>
                    <a:pt x="18648" y="5048"/>
                  </a:lnTo>
                  <a:lnTo>
                    <a:pt x="18643" y="5042"/>
                  </a:lnTo>
                  <a:lnTo>
                    <a:pt x="18606" y="5006"/>
                  </a:lnTo>
                  <a:lnTo>
                    <a:pt x="18596" y="5020"/>
                  </a:lnTo>
                  <a:lnTo>
                    <a:pt x="18597" y="5038"/>
                  </a:lnTo>
                  <a:lnTo>
                    <a:pt x="18606" y="5075"/>
                  </a:lnTo>
                  <a:lnTo>
                    <a:pt x="18611" y="5082"/>
                  </a:lnTo>
                  <a:lnTo>
                    <a:pt x="18620" y="5087"/>
                  </a:lnTo>
                  <a:lnTo>
                    <a:pt x="18635" y="5091"/>
                  </a:lnTo>
                  <a:lnTo>
                    <a:pt x="18641" y="5088"/>
                  </a:lnTo>
                  <a:lnTo>
                    <a:pt x="18645" y="5084"/>
                  </a:lnTo>
                  <a:lnTo>
                    <a:pt x="18651" y="5082"/>
                  </a:lnTo>
                  <a:lnTo>
                    <a:pt x="18659" y="5086"/>
                  </a:lnTo>
                  <a:lnTo>
                    <a:pt x="18656" y="5081"/>
                  </a:lnTo>
                  <a:lnTo>
                    <a:pt x="18651" y="5055"/>
                  </a:lnTo>
                  <a:close/>
                  <a:moveTo>
                    <a:pt x="18137" y="6104"/>
                  </a:moveTo>
                  <a:lnTo>
                    <a:pt x="18137" y="6104"/>
                  </a:lnTo>
                  <a:lnTo>
                    <a:pt x="18140" y="6110"/>
                  </a:lnTo>
                  <a:lnTo>
                    <a:pt x="18148" y="6118"/>
                  </a:lnTo>
                  <a:lnTo>
                    <a:pt x="18161" y="6129"/>
                  </a:lnTo>
                  <a:lnTo>
                    <a:pt x="18174" y="6135"/>
                  </a:lnTo>
                  <a:lnTo>
                    <a:pt x="18181" y="6128"/>
                  </a:lnTo>
                  <a:lnTo>
                    <a:pt x="18187" y="6118"/>
                  </a:lnTo>
                  <a:lnTo>
                    <a:pt x="18201" y="6119"/>
                  </a:lnTo>
                  <a:lnTo>
                    <a:pt x="18212" y="6117"/>
                  </a:lnTo>
                  <a:lnTo>
                    <a:pt x="18212" y="6100"/>
                  </a:lnTo>
                  <a:lnTo>
                    <a:pt x="18207" y="6089"/>
                  </a:lnTo>
                  <a:lnTo>
                    <a:pt x="18199" y="6081"/>
                  </a:lnTo>
                  <a:lnTo>
                    <a:pt x="18188" y="6077"/>
                  </a:lnTo>
                  <a:lnTo>
                    <a:pt x="18151" y="6093"/>
                  </a:lnTo>
                  <a:lnTo>
                    <a:pt x="18143" y="6095"/>
                  </a:lnTo>
                  <a:lnTo>
                    <a:pt x="18137" y="6097"/>
                  </a:lnTo>
                  <a:lnTo>
                    <a:pt x="18137" y="6104"/>
                  </a:lnTo>
                  <a:close/>
                  <a:moveTo>
                    <a:pt x="21683" y="6117"/>
                  </a:moveTo>
                  <a:lnTo>
                    <a:pt x="21683" y="6117"/>
                  </a:lnTo>
                  <a:lnTo>
                    <a:pt x="21695" y="6111"/>
                  </a:lnTo>
                  <a:lnTo>
                    <a:pt x="21692" y="6097"/>
                  </a:lnTo>
                  <a:lnTo>
                    <a:pt x="21681" y="6082"/>
                  </a:lnTo>
                  <a:lnTo>
                    <a:pt x="21672" y="6073"/>
                  </a:lnTo>
                  <a:lnTo>
                    <a:pt x="21662" y="6069"/>
                  </a:lnTo>
                  <a:lnTo>
                    <a:pt x="21639" y="6065"/>
                  </a:lnTo>
                  <a:lnTo>
                    <a:pt x="21628" y="6060"/>
                  </a:lnTo>
                  <a:lnTo>
                    <a:pt x="21606" y="6067"/>
                  </a:lnTo>
                  <a:lnTo>
                    <a:pt x="21600" y="6072"/>
                  </a:lnTo>
                  <a:lnTo>
                    <a:pt x="21595" y="6080"/>
                  </a:lnTo>
                  <a:lnTo>
                    <a:pt x="21593" y="6089"/>
                  </a:lnTo>
                  <a:lnTo>
                    <a:pt x="21593" y="6097"/>
                  </a:lnTo>
                  <a:lnTo>
                    <a:pt x="21590" y="6108"/>
                  </a:lnTo>
                  <a:lnTo>
                    <a:pt x="21584" y="6121"/>
                  </a:lnTo>
                  <a:lnTo>
                    <a:pt x="21581" y="6134"/>
                  </a:lnTo>
                  <a:lnTo>
                    <a:pt x="21584" y="6144"/>
                  </a:lnTo>
                  <a:lnTo>
                    <a:pt x="21609" y="6134"/>
                  </a:lnTo>
                  <a:lnTo>
                    <a:pt x="21620" y="6131"/>
                  </a:lnTo>
                  <a:lnTo>
                    <a:pt x="21647" y="6128"/>
                  </a:lnTo>
                  <a:lnTo>
                    <a:pt x="21672" y="6119"/>
                  </a:lnTo>
                  <a:lnTo>
                    <a:pt x="21683" y="6117"/>
                  </a:lnTo>
                  <a:close/>
                  <a:moveTo>
                    <a:pt x="21796" y="6068"/>
                  </a:moveTo>
                  <a:lnTo>
                    <a:pt x="21796" y="6068"/>
                  </a:lnTo>
                  <a:lnTo>
                    <a:pt x="21786" y="6054"/>
                  </a:lnTo>
                  <a:lnTo>
                    <a:pt x="21778" y="6053"/>
                  </a:lnTo>
                  <a:lnTo>
                    <a:pt x="21772" y="6063"/>
                  </a:lnTo>
                  <a:lnTo>
                    <a:pt x="21765" y="6078"/>
                  </a:lnTo>
                  <a:lnTo>
                    <a:pt x="21757" y="6073"/>
                  </a:lnTo>
                  <a:lnTo>
                    <a:pt x="21739" y="6066"/>
                  </a:lnTo>
                  <a:lnTo>
                    <a:pt x="21732" y="6062"/>
                  </a:lnTo>
                  <a:lnTo>
                    <a:pt x="21722" y="6050"/>
                  </a:lnTo>
                  <a:lnTo>
                    <a:pt x="21717" y="6047"/>
                  </a:lnTo>
                  <a:lnTo>
                    <a:pt x="21708" y="6046"/>
                  </a:lnTo>
                  <a:lnTo>
                    <a:pt x="21693" y="6048"/>
                  </a:lnTo>
                  <a:lnTo>
                    <a:pt x="21692" y="6058"/>
                  </a:lnTo>
                  <a:lnTo>
                    <a:pt x="21697" y="6070"/>
                  </a:lnTo>
                  <a:lnTo>
                    <a:pt x="21709" y="6086"/>
                  </a:lnTo>
                  <a:lnTo>
                    <a:pt x="21714" y="6096"/>
                  </a:lnTo>
                  <a:lnTo>
                    <a:pt x="21720" y="6106"/>
                  </a:lnTo>
                  <a:lnTo>
                    <a:pt x="21730" y="6112"/>
                  </a:lnTo>
                  <a:lnTo>
                    <a:pt x="21725" y="6112"/>
                  </a:lnTo>
                  <a:lnTo>
                    <a:pt x="21730" y="6121"/>
                  </a:lnTo>
                  <a:lnTo>
                    <a:pt x="21736" y="6128"/>
                  </a:lnTo>
                  <a:lnTo>
                    <a:pt x="21742" y="6131"/>
                  </a:lnTo>
                  <a:lnTo>
                    <a:pt x="21748" y="6130"/>
                  </a:lnTo>
                  <a:lnTo>
                    <a:pt x="21754" y="6124"/>
                  </a:lnTo>
                  <a:lnTo>
                    <a:pt x="21754" y="6118"/>
                  </a:lnTo>
                  <a:lnTo>
                    <a:pt x="21751" y="6111"/>
                  </a:lnTo>
                  <a:lnTo>
                    <a:pt x="21752" y="6104"/>
                  </a:lnTo>
                  <a:lnTo>
                    <a:pt x="21763" y="6097"/>
                  </a:lnTo>
                  <a:lnTo>
                    <a:pt x="21774" y="6105"/>
                  </a:lnTo>
                  <a:lnTo>
                    <a:pt x="21787" y="6118"/>
                  </a:lnTo>
                  <a:lnTo>
                    <a:pt x="21801" y="6126"/>
                  </a:lnTo>
                  <a:lnTo>
                    <a:pt x="21800" y="6082"/>
                  </a:lnTo>
                  <a:lnTo>
                    <a:pt x="21796" y="6068"/>
                  </a:lnTo>
                  <a:close/>
                  <a:moveTo>
                    <a:pt x="21847" y="6156"/>
                  </a:moveTo>
                  <a:lnTo>
                    <a:pt x="21847" y="6156"/>
                  </a:lnTo>
                  <a:lnTo>
                    <a:pt x="21846" y="6150"/>
                  </a:lnTo>
                  <a:lnTo>
                    <a:pt x="21845" y="6144"/>
                  </a:lnTo>
                  <a:lnTo>
                    <a:pt x="21833" y="6140"/>
                  </a:lnTo>
                  <a:lnTo>
                    <a:pt x="21820" y="6144"/>
                  </a:lnTo>
                  <a:lnTo>
                    <a:pt x="21813" y="6155"/>
                  </a:lnTo>
                  <a:lnTo>
                    <a:pt x="21814" y="6170"/>
                  </a:lnTo>
                  <a:lnTo>
                    <a:pt x="21823" y="6181"/>
                  </a:lnTo>
                  <a:lnTo>
                    <a:pt x="21834" y="6182"/>
                  </a:lnTo>
                  <a:lnTo>
                    <a:pt x="21846" y="6177"/>
                  </a:lnTo>
                  <a:lnTo>
                    <a:pt x="21854" y="6165"/>
                  </a:lnTo>
                  <a:lnTo>
                    <a:pt x="21850" y="6161"/>
                  </a:lnTo>
                  <a:lnTo>
                    <a:pt x="21847" y="6156"/>
                  </a:lnTo>
                  <a:close/>
                  <a:moveTo>
                    <a:pt x="23431" y="6376"/>
                  </a:moveTo>
                  <a:lnTo>
                    <a:pt x="23431" y="6376"/>
                  </a:lnTo>
                  <a:lnTo>
                    <a:pt x="23429" y="6372"/>
                  </a:lnTo>
                  <a:lnTo>
                    <a:pt x="23426" y="6369"/>
                  </a:lnTo>
                  <a:lnTo>
                    <a:pt x="23422" y="6366"/>
                  </a:lnTo>
                  <a:lnTo>
                    <a:pt x="23405" y="6360"/>
                  </a:lnTo>
                  <a:lnTo>
                    <a:pt x="23406" y="6371"/>
                  </a:lnTo>
                  <a:lnTo>
                    <a:pt x="23410" y="6386"/>
                  </a:lnTo>
                  <a:lnTo>
                    <a:pt x="23416" y="6399"/>
                  </a:lnTo>
                  <a:lnTo>
                    <a:pt x="23425" y="6404"/>
                  </a:lnTo>
                  <a:lnTo>
                    <a:pt x="23430" y="6401"/>
                  </a:lnTo>
                  <a:lnTo>
                    <a:pt x="23432" y="6395"/>
                  </a:lnTo>
                  <a:lnTo>
                    <a:pt x="23432" y="6380"/>
                  </a:lnTo>
                  <a:lnTo>
                    <a:pt x="23431" y="6376"/>
                  </a:lnTo>
                  <a:close/>
                  <a:moveTo>
                    <a:pt x="23475" y="6431"/>
                  </a:moveTo>
                  <a:lnTo>
                    <a:pt x="23475" y="6431"/>
                  </a:lnTo>
                  <a:lnTo>
                    <a:pt x="23467" y="6422"/>
                  </a:lnTo>
                  <a:lnTo>
                    <a:pt x="23463" y="6416"/>
                  </a:lnTo>
                  <a:lnTo>
                    <a:pt x="23460" y="6414"/>
                  </a:lnTo>
                  <a:lnTo>
                    <a:pt x="23457" y="6415"/>
                  </a:lnTo>
                  <a:lnTo>
                    <a:pt x="23454" y="6416"/>
                  </a:lnTo>
                  <a:lnTo>
                    <a:pt x="23452" y="6419"/>
                  </a:lnTo>
                  <a:lnTo>
                    <a:pt x="23451" y="6422"/>
                  </a:lnTo>
                  <a:lnTo>
                    <a:pt x="23451" y="6425"/>
                  </a:lnTo>
                  <a:lnTo>
                    <a:pt x="23454" y="6432"/>
                  </a:lnTo>
                  <a:lnTo>
                    <a:pt x="23457" y="6438"/>
                  </a:lnTo>
                  <a:lnTo>
                    <a:pt x="23462" y="6444"/>
                  </a:lnTo>
                  <a:lnTo>
                    <a:pt x="23467" y="6448"/>
                  </a:lnTo>
                  <a:lnTo>
                    <a:pt x="23498" y="6460"/>
                  </a:lnTo>
                  <a:lnTo>
                    <a:pt x="23519" y="6475"/>
                  </a:lnTo>
                  <a:lnTo>
                    <a:pt x="23524" y="6473"/>
                  </a:lnTo>
                  <a:lnTo>
                    <a:pt x="23519" y="6464"/>
                  </a:lnTo>
                  <a:lnTo>
                    <a:pt x="23507" y="6452"/>
                  </a:lnTo>
                  <a:lnTo>
                    <a:pt x="23475" y="6431"/>
                  </a:lnTo>
                  <a:close/>
                  <a:moveTo>
                    <a:pt x="23529" y="6404"/>
                  </a:moveTo>
                  <a:lnTo>
                    <a:pt x="23529" y="6404"/>
                  </a:lnTo>
                  <a:lnTo>
                    <a:pt x="23543" y="6414"/>
                  </a:lnTo>
                  <a:lnTo>
                    <a:pt x="23556" y="6416"/>
                  </a:lnTo>
                  <a:lnTo>
                    <a:pt x="23563" y="6410"/>
                  </a:lnTo>
                  <a:lnTo>
                    <a:pt x="23558" y="6398"/>
                  </a:lnTo>
                  <a:lnTo>
                    <a:pt x="23551" y="6383"/>
                  </a:lnTo>
                  <a:lnTo>
                    <a:pt x="23546" y="6363"/>
                  </a:lnTo>
                  <a:lnTo>
                    <a:pt x="23539" y="6347"/>
                  </a:lnTo>
                  <a:lnTo>
                    <a:pt x="23525" y="6343"/>
                  </a:lnTo>
                  <a:lnTo>
                    <a:pt x="23514" y="6346"/>
                  </a:lnTo>
                  <a:lnTo>
                    <a:pt x="23509" y="6350"/>
                  </a:lnTo>
                  <a:lnTo>
                    <a:pt x="23507" y="6353"/>
                  </a:lnTo>
                  <a:lnTo>
                    <a:pt x="23509" y="6364"/>
                  </a:lnTo>
                  <a:lnTo>
                    <a:pt x="23523" y="6394"/>
                  </a:lnTo>
                  <a:lnTo>
                    <a:pt x="23529" y="6404"/>
                  </a:lnTo>
                  <a:close/>
                  <a:moveTo>
                    <a:pt x="23675" y="6649"/>
                  </a:moveTo>
                  <a:lnTo>
                    <a:pt x="23675" y="6649"/>
                  </a:lnTo>
                  <a:lnTo>
                    <a:pt x="23671" y="6647"/>
                  </a:lnTo>
                  <a:lnTo>
                    <a:pt x="23667" y="6648"/>
                  </a:lnTo>
                  <a:lnTo>
                    <a:pt x="23662" y="6651"/>
                  </a:lnTo>
                  <a:lnTo>
                    <a:pt x="23669" y="6658"/>
                  </a:lnTo>
                  <a:lnTo>
                    <a:pt x="23694" y="6712"/>
                  </a:lnTo>
                  <a:lnTo>
                    <a:pt x="23697" y="6718"/>
                  </a:lnTo>
                  <a:lnTo>
                    <a:pt x="23710" y="6711"/>
                  </a:lnTo>
                  <a:lnTo>
                    <a:pt x="23704" y="6689"/>
                  </a:lnTo>
                  <a:lnTo>
                    <a:pt x="23690" y="6665"/>
                  </a:lnTo>
                  <a:lnTo>
                    <a:pt x="23680" y="6651"/>
                  </a:lnTo>
                  <a:lnTo>
                    <a:pt x="23675" y="6649"/>
                  </a:lnTo>
                  <a:close/>
                  <a:moveTo>
                    <a:pt x="23754" y="6863"/>
                  </a:moveTo>
                  <a:lnTo>
                    <a:pt x="23754" y="6863"/>
                  </a:lnTo>
                  <a:lnTo>
                    <a:pt x="23758" y="6848"/>
                  </a:lnTo>
                  <a:lnTo>
                    <a:pt x="23755" y="6832"/>
                  </a:lnTo>
                  <a:lnTo>
                    <a:pt x="23744" y="6820"/>
                  </a:lnTo>
                  <a:lnTo>
                    <a:pt x="23739" y="6830"/>
                  </a:lnTo>
                  <a:lnTo>
                    <a:pt x="23739" y="6845"/>
                  </a:lnTo>
                  <a:lnTo>
                    <a:pt x="23741" y="6860"/>
                  </a:lnTo>
                  <a:lnTo>
                    <a:pt x="23746" y="6868"/>
                  </a:lnTo>
                  <a:lnTo>
                    <a:pt x="23754" y="6863"/>
                  </a:lnTo>
                  <a:close/>
                  <a:moveTo>
                    <a:pt x="21135" y="4593"/>
                  </a:moveTo>
                  <a:lnTo>
                    <a:pt x="21135" y="4593"/>
                  </a:lnTo>
                  <a:lnTo>
                    <a:pt x="21130" y="4582"/>
                  </a:lnTo>
                  <a:lnTo>
                    <a:pt x="21120" y="4580"/>
                  </a:lnTo>
                  <a:lnTo>
                    <a:pt x="21089" y="4578"/>
                  </a:lnTo>
                  <a:lnTo>
                    <a:pt x="21078" y="4569"/>
                  </a:lnTo>
                  <a:lnTo>
                    <a:pt x="21038" y="4555"/>
                  </a:lnTo>
                  <a:lnTo>
                    <a:pt x="21027" y="4556"/>
                  </a:lnTo>
                  <a:lnTo>
                    <a:pt x="21018" y="4560"/>
                  </a:lnTo>
                  <a:lnTo>
                    <a:pt x="21008" y="4566"/>
                  </a:lnTo>
                  <a:lnTo>
                    <a:pt x="20990" y="4585"/>
                  </a:lnTo>
                  <a:lnTo>
                    <a:pt x="20982" y="4596"/>
                  </a:lnTo>
                  <a:lnTo>
                    <a:pt x="20983" y="4601"/>
                  </a:lnTo>
                  <a:lnTo>
                    <a:pt x="20993" y="4605"/>
                  </a:lnTo>
                  <a:lnTo>
                    <a:pt x="21006" y="4611"/>
                  </a:lnTo>
                  <a:lnTo>
                    <a:pt x="21017" y="4613"/>
                  </a:lnTo>
                  <a:lnTo>
                    <a:pt x="21021" y="4604"/>
                  </a:lnTo>
                  <a:lnTo>
                    <a:pt x="21027" y="4598"/>
                  </a:lnTo>
                  <a:lnTo>
                    <a:pt x="21041" y="4597"/>
                  </a:lnTo>
                  <a:lnTo>
                    <a:pt x="21065" y="4601"/>
                  </a:lnTo>
                  <a:lnTo>
                    <a:pt x="21101" y="4619"/>
                  </a:lnTo>
                  <a:lnTo>
                    <a:pt x="21114" y="4619"/>
                  </a:lnTo>
                  <a:lnTo>
                    <a:pt x="21124" y="4615"/>
                  </a:lnTo>
                  <a:lnTo>
                    <a:pt x="21132" y="4605"/>
                  </a:lnTo>
                  <a:lnTo>
                    <a:pt x="21135" y="4593"/>
                  </a:lnTo>
                  <a:close/>
                  <a:moveTo>
                    <a:pt x="20889" y="4304"/>
                  </a:moveTo>
                  <a:lnTo>
                    <a:pt x="20889" y="4304"/>
                  </a:lnTo>
                  <a:lnTo>
                    <a:pt x="20875" y="4280"/>
                  </a:lnTo>
                  <a:lnTo>
                    <a:pt x="20874" y="4274"/>
                  </a:lnTo>
                  <a:lnTo>
                    <a:pt x="20876" y="4260"/>
                  </a:lnTo>
                  <a:lnTo>
                    <a:pt x="20875" y="4254"/>
                  </a:lnTo>
                  <a:lnTo>
                    <a:pt x="20872" y="4249"/>
                  </a:lnTo>
                  <a:lnTo>
                    <a:pt x="20863" y="4236"/>
                  </a:lnTo>
                  <a:lnTo>
                    <a:pt x="20861" y="4235"/>
                  </a:lnTo>
                  <a:lnTo>
                    <a:pt x="20857" y="4227"/>
                  </a:lnTo>
                  <a:lnTo>
                    <a:pt x="20849" y="4220"/>
                  </a:lnTo>
                  <a:lnTo>
                    <a:pt x="20845" y="4212"/>
                  </a:lnTo>
                  <a:lnTo>
                    <a:pt x="20853" y="4201"/>
                  </a:lnTo>
                  <a:lnTo>
                    <a:pt x="20849" y="4199"/>
                  </a:lnTo>
                  <a:lnTo>
                    <a:pt x="20846" y="4198"/>
                  </a:lnTo>
                  <a:lnTo>
                    <a:pt x="20841" y="4197"/>
                  </a:lnTo>
                  <a:lnTo>
                    <a:pt x="20822" y="4198"/>
                  </a:lnTo>
                  <a:lnTo>
                    <a:pt x="20813" y="4202"/>
                  </a:lnTo>
                  <a:lnTo>
                    <a:pt x="20810" y="4210"/>
                  </a:lnTo>
                  <a:lnTo>
                    <a:pt x="20806" y="4236"/>
                  </a:lnTo>
                  <a:lnTo>
                    <a:pt x="20800" y="4248"/>
                  </a:lnTo>
                  <a:lnTo>
                    <a:pt x="20793" y="4259"/>
                  </a:lnTo>
                  <a:lnTo>
                    <a:pt x="20786" y="4272"/>
                  </a:lnTo>
                  <a:lnTo>
                    <a:pt x="20784" y="4299"/>
                  </a:lnTo>
                  <a:lnTo>
                    <a:pt x="20800" y="4306"/>
                  </a:lnTo>
                  <a:lnTo>
                    <a:pt x="20824" y="4305"/>
                  </a:lnTo>
                  <a:lnTo>
                    <a:pt x="20844" y="4307"/>
                  </a:lnTo>
                  <a:lnTo>
                    <a:pt x="20847" y="4309"/>
                  </a:lnTo>
                  <a:lnTo>
                    <a:pt x="20855" y="4318"/>
                  </a:lnTo>
                  <a:lnTo>
                    <a:pt x="20857" y="4320"/>
                  </a:lnTo>
                  <a:lnTo>
                    <a:pt x="20864" y="4320"/>
                  </a:lnTo>
                  <a:lnTo>
                    <a:pt x="20890" y="4312"/>
                  </a:lnTo>
                  <a:lnTo>
                    <a:pt x="20889" y="4304"/>
                  </a:lnTo>
                  <a:close/>
                  <a:moveTo>
                    <a:pt x="20873" y="3300"/>
                  </a:moveTo>
                  <a:lnTo>
                    <a:pt x="20873" y="3300"/>
                  </a:lnTo>
                  <a:lnTo>
                    <a:pt x="20880" y="3311"/>
                  </a:lnTo>
                  <a:lnTo>
                    <a:pt x="20886" y="3316"/>
                  </a:lnTo>
                  <a:lnTo>
                    <a:pt x="20898" y="3317"/>
                  </a:lnTo>
                  <a:lnTo>
                    <a:pt x="20908" y="3316"/>
                  </a:lnTo>
                  <a:lnTo>
                    <a:pt x="20916" y="3311"/>
                  </a:lnTo>
                  <a:lnTo>
                    <a:pt x="20924" y="3299"/>
                  </a:lnTo>
                  <a:lnTo>
                    <a:pt x="20927" y="3284"/>
                  </a:lnTo>
                  <a:lnTo>
                    <a:pt x="20926" y="3272"/>
                  </a:lnTo>
                  <a:lnTo>
                    <a:pt x="20918" y="3262"/>
                  </a:lnTo>
                  <a:lnTo>
                    <a:pt x="20894" y="3248"/>
                  </a:lnTo>
                  <a:lnTo>
                    <a:pt x="20881" y="3253"/>
                  </a:lnTo>
                  <a:lnTo>
                    <a:pt x="20870" y="3265"/>
                  </a:lnTo>
                  <a:lnTo>
                    <a:pt x="20866" y="3279"/>
                  </a:lnTo>
                  <a:lnTo>
                    <a:pt x="20868" y="3287"/>
                  </a:lnTo>
                  <a:lnTo>
                    <a:pt x="20873" y="3300"/>
                  </a:lnTo>
                  <a:close/>
                  <a:moveTo>
                    <a:pt x="20916" y="3375"/>
                  </a:moveTo>
                  <a:lnTo>
                    <a:pt x="20916" y="3375"/>
                  </a:lnTo>
                  <a:lnTo>
                    <a:pt x="20919" y="3386"/>
                  </a:lnTo>
                  <a:lnTo>
                    <a:pt x="20925" y="3396"/>
                  </a:lnTo>
                  <a:lnTo>
                    <a:pt x="20928" y="3402"/>
                  </a:lnTo>
                  <a:lnTo>
                    <a:pt x="20935" y="3405"/>
                  </a:lnTo>
                  <a:lnTo>
                    <a:pt x="20949" y="3396"/>
                  </a:lnTo>
                  <a:lnTo>
                    <a:pt x="20964" y="3384"/>
                  </a:lnTo>
                  <a:lnTo>
                    <a:pt x="20972" y="3374"/>
                  </a:lnTo>
                  <a:lnTo>
                    <a:pt x="20974" y="3363"/>
                  </a:lnTo>
                  <a:lnTo>
                    <a:pt x="20973" y="3349"/>
                  </a:lnTo>
                  <a:lnTo>
                    <a:pt x="20971" y="3335"/>
                  </a:lnTo>
                  <a:lnTo>
                    <a:pt x="20968" y="3325"/>
                  </a:lnTo>
                  <a:lnTo>
                    <a:pt x="20965" y="3323"/>
                  </a:lnTo>
                  <a:lnTo>
                    <a:pt x="20963" y="3320"/>
                  </a:lnTo>
                  <a:lnTo>
                    <a:pt x="20959" y="3318"/>
                  </a:lnTo>
                  <a:lnTo>
                    <a:pt x="20954" y="3316"/>
                  </a:lnTo>
                  <a:lnTo>
                    <a:pt x="20950" y="3320"/>
                  </a:lnTo>
                  <a:lnTo>
                    <a:pt x="20945" y="3320"/>
                  </a:lnTo>
                  <a:lnTo>
                    <a:pt x="20939" y="3319"/>
                  </a:lnTo>
                  <a:lnTo>
                    <a:pt x="20932" y="3316"/>
                  </a:lnTo>
                  <a:lnTo>
                    <a:pt x="20926" y="3354"/>
                  </a:lnTo>
                  <a:lnTo>
                    <a:pt x="20916" y="3375"/>
                  </a:lnTo>
                  <a:close/>
                  <a:moveTo>
                    <a:pt x="20976" y="3712"/>
                  </a:moveTo>
                  <a:lnTo>
                    <a:pt x="20976" y="3712"/>
                  </a:lnTo>
                  <a:lnTo>
                    <a:pt x="20967" y="3713"/>
                  </a:lnTo>
                  <a:lnTo>
                    <a:pt x="20948" y="3708"/>
                  </a:lnTo>
                  <a:lnTo>
                    <a:pt x="20941" y="3734"/>
                  </a:lnTo>
                  <a:lnTo>
                    <a:pt x="20936" y="3768"/>
                  </a:lnTo>
                  <a:lnTo>
                    <a:pt x="20936" y="3786"/>
                  </a:lnTo>
                  <a:lnTo>
                    <a:pt x="20941" y="3800"/>
                  </a:lnTo>
                  <a:lnTo>
                    <a:pt x="20946" y="3798"/>
                  </a:lnTo>
                  <a:lnTo>
                    <a:pt x="20949" y="3796"/>
                  </a:lnTo>
                  <a:lnTo>
                    <a:pt x="20950" y="3792"/>
                  </a:lnTo>
                  <a:lnTo>
                    <a:pt x="20951" y="3787"/>
                  </a:lnTo>
                  <a:lnTo>
                    <a:pt x="20962" y="3797"/>
                  </a:lnTo>
                  <a:lnTo>
                    <a:pt x="20963" y="3798"/>
                  </a:lnTo>
                  <a:lnTo>
                    <a:pt x="20963" y="3810"/>
                  </a:lnTo>
                  <a:lnTo>
                    <a:pt x="20963" y="3816"/>
                  </a:lnTo>
                  <a:lnTo>
                    <a:pt x="20966" y="3820"/>
                  </a:lnTo>
                  <a:lnTo>
                    <a:pt x="20976" y="3829"/>
                  </a:lnTo>
                  <a:lnTo>
                    <a:pt x="20981" y="3828"/>
                  </a:lnTo>
                  <a:lnTo>
                    <a:pt x="20982" y="3819"/>
                  </a:lnTo>
                  <a:lnTo>
                    <a:pt x="20981" y="3805"/>
                  </a:lnTo>
                  <a:lnTo>
                    <a:pt x="20968" y="3725"/>
                  </a:lnTo>
                  <a:lnTo>
                    <a:pt x="20973" y="3716"/>
                  </a:lnTo>
                  <a:lnTo>
                    <a:pt x="20976" y="3712"/>
                  </a:lnTo>
                  <a:close/>
                  <a:moveTo>
                    <a:pt x="20928" y="3560"/>
                  </a:moveTo>
                  <a:lnTo>
                    <a:pt x="20928" y="3560"/>
                  </a:lnTo>
                  <a:lnTo>
                    <a:pt x="20916" y="3564"/>
                  </a:lnTo>
                  <a:lnTo>
                    <a:pt x="20906" y="3570"/>
                  </a:lnTo>
                  <a:lnTo>
                    <a:pt x="20902" y="3579"/>
                  </a:lnTo>
                  <a:lnTo>
                    <a:pt x="20902" y="3588"/>
                  </a:lnTo>
                  <a:lnTo>
                    <a:pt x="20904" y="3600"/>
                  </a:lnTo>
                  <a:lnTo>
                    <a:pt x="20908" y="3612"/>
                  </a:lnTo>
                  <a:lnTo>
                    <a:pt x="20915" y="3620"/>
                  </a:lnTo>
                  <a:lnTo>
                    <a:pt x="20940" y="3622"/>
                  </a:lnTo>
                  <a:lnTo>
                    <a:pt x="20953" y="3601"/>
                  </a:lnTo>
                  <a:lnTo>
                    <a:pt x="20954" y="3575"/>
                  </a:lnTo>
                  <a:lnTo>
                    <a:pt x="20941" y="3559"/>
                  </a:lnTo>
                  <a:lnTo>
                    <a:pt x="20928" y="3560"/>
                  </a:lnTo>
                  <a:close/>
                  <a:moveTo>
                    <a:pt x="21916" y="3673"/>
                  </a:moveTo>
                  <a:lnTo>
                    <a:pt x="21916" y="3673"/>
                  </a:lnTo>
                  <a:lnTo>
                    <a:pt x="21912" y="3669"/>
                  </a:lnTo>
                  <a:lnTo>
                    <a:pt x="21912" y="3673"/>
                  </a:lnTo>
                  <a:lnTo>
                    <a:pt x="21916" y="3673"/>
                  </a:lnTo>
                  <a:close/>
                  <a:moveTo>
                    <a:pt x="22170" y="3781"/>
                  </a:moveTo>
                  <a:lnTo>
                    <a:pt x="22170" y="3781"/>
                  </a:lnTo>
                  <a:lnTo>
                    <a:pt x="22177" y="3787"/>
                  </a:lnTo>
                  <a:lnTo>
                    <a:pt x="22192" y="3795"/>
                  </a:lnTo>
                  <a:lnTo>
                    <a:pt x="22195" y="3798"/>
                  </a:lnTo>
                  <a:lnTo>
                    <a:pt x="22211" y="3822"/>
                  </a:lnTo>
                  <a:lnTo>
                    <a:pt x="22217" y="3826"/>
                  </a:lnTo>
                  <a:lnTo>
                    <a:pt x="22217" y="3835"/>
                  </a:lnTo>
                  <a:lnTo>
                    <a:pt x="22216" y="3845"/>
                  </a:lnTo>
                  <a:lnTo>
                    <a:pt x="22218" y="3854"/>
                  </a:lnTo>
                  <a:lnTo>
                    <a:pt x="22273" y="3875"/>
                  </a:lnTo>
                  <a:lnTo>
                    <a:pt x="22301" y="3924"/>
                  </a:lnTo>
                  <a:lnTo>
                    <a:pt x="22311" y="3937"/>
                  </a:lnTo>
                  <a:lnTo>
                    <a:pt x="22317" y="3940"/>
                  </a:lnTo>
                  <a:lnTo>
                    <a:pt x="22326" y="3942"/>
                  </a:lnTo>
                  <a:lnTo>
                    <a:pt x="22332" y="3940"/>
                  </a:lnTo>
                  <a:lnTo>
                    <a:pt x="22339" y="3936"/>
                  </a:lnTo>
                  <a:lnTo>
                    <a:pt x="22344" y="3931"/>
                  </a:lnTo>
                  <a:lnTo>
                    <a:pt x="22346" y="3926"/>
                  </a:lnTo>
                  <a:lnTo>
                    <a:pt x="22344" y="3915"/>
                  </a:lnTo>
                  <a:lnTo>
                    <a:pt x="22337" y="3905"/>
                  </a:lnTo>
                  <a:lnTo>
                    <a:pt x="22324" y="3889"/>
                  </a:lnTo>
                  <a:lnTo>
                    <a:pt x="22308" y="3876"/>
                  </a:lnTo>
                  <a:lnTo>
                    <a:pt x="22274" y="3854"/>
                  </a:lnTo>
                  <a:lnTo>
                    <a:pt x="22177" y="3772"/>
                  </a:lnTo>
                  <a:lnTo>
                    <a:pt x="22171" y="3770"/>
                  </a:lnTo>
                  <a:lnTo>
                    <a:pt x="22167" y="3772"/>
                  </a:lnTo>
                  <a:lnTo>
                    <a:pt x="22165" y="3776"/>
                  </a:lnTo>
                  <a:lnTo>
                    <a:pt x="22167" y="3779"/>
                  </a:lnTo>
                  <a:lnTo>
                    <a:pt x="22170" y="3781"/>
                  </a:lnTo>
                  <a:close/>
                  <a:moveTo>
                    <a:pt x="22993" y="4144"/>
                  </a:moveTo>
                  <a:lnTo>
                    <a:pt x="22993" y="4144"/>
                  </a:lnTo>
                  <a:lnTo>
                    <a:pt x="22999" y="4149"/>
                  </a:lnTo>
                  <a:lnTo>
                    <a:pt x="23009" y="4148"/>
                  </a:lnTo>
                  <a:lnTo>
                    <a:pt x="23038" y="4141"/>
                  </a:lnTo>
                  <a:lnTo>
                    <a:pt x="23047" y="4134"/>
                  </a:lnTo>
                  <a:lnTo>
                    <a:pt x="23066" y="4109"/>
                  </a:lnTo>
                  <a:lnTo>
                    <a:pt x="23068" y="4100"/>
                  </a:lnTo>
                  <a:lnTo>
                    <a:pt x="23067" y="4091"/>
                  </a:lnTo>
                  <a:lnTo>
                    <a:pt x="23062" y="4082"/>
                  </a:lnTo>
                  <a:lnTo>
                    <a:pt x="23057" y="4079"/>
                  </a:lnTo>
                  <a:lnTo>
                    <a:pt x="23041" y="4072"/>
                  </a:lnTo>
                  <a:lnTo>
                    <a:pt x="23032" y="4067"/>
                  </a:lnTo>
                  <a:lnTo>
                    <a:pt x="23028" y="4066"/>
                  </a:lnTo>
                  <a:lnTo>
                    <a:pt x="23023" y="4067"/>
                  </a:lnTo>
                  <a:lnTo>
                    <a:pt x="23020" y="4071"/>
                  </a:lnTo>
                  <a:lnTo>
                    <a:pt x="23018" y="4074"/>
                  </a:lnTo>
                  <a:lnTo>
                    <a:pt x="23015" y="4077"/>
                  </a:lnTo>
                  <a:lnTo>
                    <a:pt x="23000" y="4081"/>
                  </a:lnTo>
                  <a:lnTo>
                    <a:pt x="22992" y="4088"/>
                  </a:lnTo>
                  <a:lnTo>
                    <a:pt x="22985" y="4095"/>
                  </a:lnTo>
                  <a:lnTo>
                    <a:pt x="22979" y="4100"/>
                  </a:lnTo>
                  <a:lnTo>
                    <a:pt x="22969" y="4104"/>
                  </a:lnTo>
                  <a:lnTo>
                    <a:pt x="22961" y="4104"/>
                  </a:lnTo>
                  <a:lnTo>
                    <a:pt x="22955" y="4099"/>
                  </a:lnTo>
                  <a:lnTo>
                    <a:pt x="22953" y="4089"/>
                  </a:lnTo>
                  <a:lnTo>
                    <a:pt x="22950" y="4086"/>
                  </a:lnTo>
                  <a:lnTo>
                    <a:pt x="22943" y="4092"/>
                  </a:lnTo>
                  <a:lnTo>
                    <a:pt x="22935" y="4101"/>
                  </a:lnTo>
                  <a:lnTo>
                    <a:pt x="22931" y="4109"/>
                  </a:lnTo>
                  <a:lnTo>
                    <a:pt x="22929" y="4105"/>
                  </a:lnTo>
                  <a:lnTo>
                    <a:pt x="22926" y="4103"/>
                  </a:lnTo>
                  <a:lnTo>
                    <a:pt x="22923" y="4101"/>
                  </a:lnTo>
                  <a:lnTo>
                    <a:pt x="22918" y="4100"/>
                  </a:lnTo>
                  <a:lnTo>
                    <a:pt x="22921" y="4110"/>
                  </a:lnTo>
                  <a:lnTo>
                    <a:pt x="22927" y="4118"/>
                  </a:lnTo>
                  <a:lnTo>
                    <a:pt x="22934" y="4121"/>
                  </a:lnTo>
                  <a:lnTo>
                    <a:pt x="22944" y="4118"/>
                  </a:lnTo>
                  <a:lnTo>
                    <a:pt x="22942" y="4126"/>
                  </a:lnTo>
                  <a:lnTo>
                    <a:pt x="22935" y="4130"/>
                  </a:lnTo>
                  <a:lnTo>
                    <a:pt x="22928" y="4133"/>
                  </a:lnTo>
                  <a:lnTo>
                    <a:pt x="22922" y="4140"/>
                  </a:lnTo>
                  <a:lnTo>
                    <a:pt x="22958" y="4135"/>
                  </a:lnTo>
                  <a:lnTo>
                    <a:pt x="22964" y="4133"/>
                  </a:lnTo>
                  <a:lnTo>
                    <a:pt x="22968" y="4130"/>
                  </a:lnTo>
                  <a:lnTo>
                    <a:pt x="22978" y="4127"/>
                  </a:lnTo>
                  <a:lnTo>
                    <a:pt x="22982" y="4124"/>
                  </a:lnTo>
                  <a:lnTo>
                    <a:pt x="22984" y="4120"/>
                  </a:lnTo>
                  <a:lnTo>
                    <a:pt x="22987" y="4111"/>
                  </a:lnTo>
                  <a:lnTo>
                    <a:pt x="22989" y="4109"/>
                  </a:lnTo>
                  <a:lnTo>
                    <a:pt x="23009" y="4101"/>
                  </a:lnTo>
                  <a:lnTo>
                    <a:pt x="23010" y="4118"/>
                  </a:lnTo>
                  <a:lnTo>
                    <a:pt x="23001" y="4139"/>
                  </a:lnTo>
                  <a:lnTo>
                    <a:pt x="22993" y="4144"/>
                  </a:lnTo>
                  <a:close/>
                  <a:moveTo>
                    <a:pt x="23141" y="4364"/>
                  </a:moveTo>
                  <a:lnTo>
                    <a:pt x="23141" y="4364"/>
                  </a:lnTo>
                  <a:lnTo>
                    <a:pt x="23153" y="4362"/>
                  </a:lnTo>
                  <a:lnTo>
                    <a:pt x="23172" y="4349"/>
                  </a:lnTo>
                  <a:lnTo>
                    <a:pt x="23187" y="4345"/>
                  </a:lnTo>
                  <a:lnTo>
                    <a:pt x="23194" y="4342"/>
                  </a:lnTo>
                  <a:lnTo>
                    <a:pt x="23199" y="4338"/>
                  </a:lnTo>
                  <a:lnTo>
                    <a:pt x="23201" y="4333"/>
                  </a:lnTo>
                  <a:lnTo>
                    <a:pt x="23200" y="4329"/>
                  </a:lnTo>
                  <a:lnTo>
                    <a:pt x="23195" y="4329"/>
                  </a:lnTo>
                  <a:lnTo>
                    <a:pt x="23190" y="4328"/>
                  </a:lnTo>
                  <a:lnTo>
                    <a:pt x="23188" y="4322"/>
                  </a:lnTo>
                  <a:lnTo>
                    <a:pt x="23190" y="4316"/>
                  </a:lnTo>
                  <a:lnTo>
                    <a:pt x="23194" y="4314"/>
                  </a:lnTo>
                  <a:lnTo>
                    <a:pt x="23199" y="4313"/>
                  </a:lnTo>
                  <a:lnTo>
                    <a:pt x="23205" y="4311"/>
                  </a:lnTo>
                  <a:lnTo>
                    <a:pt x="23209" y="4310"/>
                  </a:lnTo>
                  <a:lnTo>
                    <a:pt x="23216" y="4307"/>
                  </a:lnTo>
                  <a:lnTo>
                    <a:pt x="23221" y="4304"/>
                  </a:lnTo>
                  <a:lnTo>
                    <a:pt x="23217" y="4302"/>
                  </a:lnTo>
                  <a:lnTo>
                    <a:pt x="23209" y="4302"/>
                  </a:lnTo>
                  <a:lnTo>
                    <a:pt x="23199" y="4296"/>
                  </a:lnTo>
                  <a:lnTo>
                    <a:pt x="23192" y="4294"/>
                  </a:lnTo>
                  <a:lnTo>
                    <a:pt x="23188" y="4294"/>
                  </a:lnTo>
                  <a:lnTo>
                    <a:pt x="23178" y="4296"/>
                  </a:lnTo>
                  <a:lnTo>
                    <a:pt x="23174" y="4297"/>
                  </a:lnTo>
                  <a:lnTo>
                    <a:pt x="23166" y="4295"/>
                  </a:lnTo>
                  <a:lnTo>
                    <a:pt x="23154" y="4295"/>
                  </a:lnTo>
                  <a:lnTo>
                    <a:pt x="23148" y="4294"/>
                  </a:lnTo>
                  <a:lnTo>
                    <a:pt x="23144" y="4289"/>
                  </a:lnTo>
                  <a:lnTo>
                    <a:pt x="23141" y="4297"/>
                  </a:lnTo>
                  <a:lnTo>
                    <a:pt x="23151" y="4309"/>
                  </a:lnTo>
                  <a:lnTo>
                    <a:pt x="23148" y="4316"/>
                  </a:lnTo>
                  <a:lnTo>
                    <a:pt x="23152" y="4320"/>
                  </a:lnTo>
                  <a:lnTo>
                    <a:pt x="23153" y="4323"/>
                  </a:lnTo>
                  <a:lnTo>
                    <a:pt x="23152" y="4329"/>
                  </a:lnTo>
                  <a:lnTo>
                    <a:pt x="23141" y="4317"/>
                  </a:lnTo>
                  <a:lnTo>
                    <a:pt x="23128" y="4320"/>
                  </a:lnTo>
                  <a:lnTo>
                    <a:pt x="23113" y="4328"/>
                  </a:lnTo>
                  <a:lnTo>
                    <a:pt x="23097" y="4333"/>
                  </a:lnTo>
                  <a:lnTo>
                    <a:pt x="23088" y="4332"/>
                  </a:lnTo>
                  <a:lnTo>
                    <a:pt x="23073" y="4326"/>
                  </a:lnTo>
                  <a:lnTo>
                    <a:pt x="23064" y="4324"/>
                  </a:lnTo>
                  <a:lnTo>
                    <a:pt x="23058" y="4326"/>
                  </a:lnTo>
                  <a:lnTo>
                    <a:pt x="23053" y="4330"/>
                  </a:lnTo>
                  <a:lnTo>
                    <a:pt x="23047" y="4332"/>
                  </a:lnTo>
                  <a:lnTo>
                    <a:pt x="23038" y="4329"/>
                  </a:lnTo>
                  <a:lnTo>
                    <a:pt x="23039" y="4327"/>
                  </a:lnTo>
                  <a:lnTo>
                    <a:pt x="23040" y="4326"/>
                  </a:lnTo>
                  <a:lnTo>
                    <a:pt x="23040" y="4326"/>
                  </a:lnTo>
                  <a:lnTo>
                    <a:pt x="23042" y="4324"/>
                  </a:lnTo>
                  <a:lnTo>
                    <a:pt x="23032" y="4320"/>
                  </a:lnTo>
                  <a:lnTo>
                    <a:pt x="23022" y="4324"/>
                  </a:lnTo>
                  <a:lnTo>
                    <a:pt x="23003" y="4338"/>
                  </a:lnTo>
                  <a:lnTo>
                    <a:pt x="23002" y="4331"/>
                  </a:lnTo>
                  <a:lnTo>
                    <a:pt x="22999" y="4327"/>
                  </a:lnTo>
                  <a:lnTo>
                    <a:pt x="22995" y="4323"/>
                  </a:lnTo>
                  <a:lnTo>
                    <a:pt x="22989" y="4320"/>
                  </a:lnTo>
                  <a:lnTo>
                    <a:pt x="22980" y="4338"/>
                  </a:lnTo>
                  <a:lnTo>
                    <a:pt x="22959" y="4342"/>
                  </a:lnTo>
                  <a:lnTo>
                    <a:pt x="22943" y="4334"/>
                  </a:lnTo>
                  <a:lnTo>
                    <a:pt x="22949" y="4320"/>
                  </a:lnTo>
                  <a:lnTo>
                    <a:pt x="22940" y="4316"/>
                  </a:lnTo>
                  <a:lnTo>
                    <a:pt x="22933" y="4316"/>
                  </a:lnTo>
                  <a:lnTo>
                    <a:pt x="22928" y="4321"/>
                  </a:lnTo>
                  <a:lnTo>
                    <a:pt x="22926" y="4329"/>
                  </a:lnTo>
                  <a:lnTo>
                    <a:pt x="22922" y="4329"/>
                  </a:lnTo>
                  <a:lnTo>
                    <a:pt x="22922" y="4327"/>
                  </a:lnTo>
                  <a:lnTo>
                    <a:pt x="22922" y="4320"/>
                  </a:lnTo>
                  <a:lnTo>
                    <a:pt x="22913" y="4328"/>
                  </a:lnTo>
                  <a:lnTo>
                    <a:pt x="22913" y="4355"/>
                  </a:lnTo>
                  <a:lnTo>
                    <a:pt x="22904" y="4364"/>
                  </a:lnTo>
                  <a:lnTo>
                    <a:pt x="22908" y="4376"/>
                  </a:lnTo>
                  <a:lnTo>
                    <a:pt x="22900" y="4382"/>
                  </a:lnTo>
                  <a:lnTo>
                    <a:pt x="22888" y="4388"/>
                  </a:lnTo>
                  <a:lnTo>
                    <a:pt x="22882" y="4399"/>
                  </a:lnTo>
                  <a:lnTo>
                    <a:pt x="22906" y="4389"/>
                  </a:lnTo>
                  <a:lnTo>
                    <a:pt x="22916" y="4387"/>
                  </a:lnTo>
                  <a:lnTo>
                    <a:pt x="22922" y="4395"/>
                  </a:lnTo>
                  <a:lnTo>
                    <a:pt x="22926" y="4395"/>
                  </a:lnTo>
                  <a:lnTo>
                    <a:pt x="22931" y="4384"/>
                  </a:lnTo>
                  <a:lnTo>
                    <a:pt x="22939" y="4383"/>
                  </a:lnTo>
                  <a:lnTo>
                    <a:pt x="22949" y="4385"/>
                  </a:lnTo>
                  <a:lnTo>
                    <a:pt x="22962" y="4386"/>
                  </a:lnTo>
                  <a:lnTo>
                    <a:pt x="22960" y="4388"/>
                  </a:lnTo>
                  <a:lnTo>
                    <a:pt x="22953" y="4390"/>
                  </a:lnTo>
                  <a:lnTo>
                    <a:pt x="22953" y="4395"/>
                  </a:lnTo>
                  <a:lnTo>
                    <a:pt x="22975" y="4389"/>
                  </a:lnTo>
                  <a:lnTo>
                    <a:pt x="23023" y="4386"/>
                  </a:lnTo>
                  <a:lnTo>
                    <a:pt x="23116" y="4366"/>
                  </a:lnTo>
                  <a:lnTo>
                    <a:pt x="23141" y="4364"/>
                  </a:lnTo>
                  <a:close/>
                  <a:moveTo>
                    <a:pt x="22516" y="4581"/>
                  </a:moveTo>
                  <a:lnTo>
                    <a:pt x="22516" y="4581"/>
                  </a:lnTo>
                  <a:lnTo>
                    <a:pt x="22523" y="4580"/>
                  </a:lnTo>
                  <a:lnTo>
                    <a:pt x="22526" y="4578"/>
                  </a:lnTo>
                  <a:lnTo>
                    <a:pt x="22534" y="4574"/>
                  </a:lnTo>
                  <a:lnTo>
                    <a:pt x="22542" y="4571"/>
                  </a:lnTo>
                  <a:lnTo>
                    <a:pt x="22546" y="4575"/>
                  </a:lnTo>
                  <a:lnTo>
                    <a:pt x="22541" y="4580"/>
                  </a:lnTo>
                  <a:lnTo>
                    <a:pt x="22514" y="4597"/>
                  </a:lnTo>
                  <a:lnTo>
                    <a:pt x="22532" y="4595"/>
                  </a:lnTo>
                  <a:lnTo>
                    <a:pt x="22547" y="4586"/>
                  </a:lnTo>
                  <a:lnTo>
                    <a:pt x="22572" y="4566"/>
                  </a:lnTo>
                  <a:lnTo>
                    <a:pt x="22572" y="4571"/>
                  </a:lnTo>
                  <a:lnTo>
                    <a:pt x="22574" y="4574"/>
                  </a:lnTo>
                  <a:lnTo>
                    <a:pt x="22575" y="4577"/>
                  </a:lnTo>
                  <a:lnTo>
                    <a:pt x="22576" y="4580"/>
                  </a:lnTo>
                  <a:lnTo>
                    <a:pt x="22593" y="4567"/>
                  </a:lnTo>
                  <a:lnTo>
                    <a:pt x="22598" y="4558"/>
                  </a:lnTo>
                  <a:lnTo>
                    <a:pt x="22594" y="4549"/>
                  </a:lnTo>
                  <a:lnTo>
                    <a:pt x="22583" y="4545"/>
                  </a:lnTo>
                  <a:lnTo>
                    <a:pt x="22570" y="4545"/>
                  </a:lnTo>
                  <a:lnTo>
                    <a:pt x="22557" y="4544"/>
                  </a:lnTo>
                  <a:lnTo>
                    <a:pt x="22546" y="4536"/>
                  </a:lnTo>
                  <a:lnTo>
                    <a:pt x="22532" y="4536"/>
                  </a:lnTo>
                  <a:lnTo>
                    <a:pt x="22473" y="4555"/>
                  </a:lnTo>
                  <a:lnTo>
                    <a:pt x="22461" y="4564"/>
                  </a:lnTo>
                  <a:lnTo>
                    <a:pt x="22458" y="4573"/>
                  </a:lnTo>
                  <a:lnTo>
                    <a:pt x="22470" y="4580"/>
                  </a:lnTo>
                  <a:lnTo>
                    <a:pt x="22516" y="4581"/>
                  </a:lnTo>
                  <a:close/>
                  <a:moveTo>
                    <a:pt x="23675" y="5486"/>
                  </a:moveTo>
                  <a:lnTo>
                    <a:pt x="23675" y="5486"/>
                  </a:lnTo>
                  <a:lnTo>
                    <a:pt x="23658" y="5496"/>
                  </a:lnTo>
                  <a:lnTo>
                    <a:pt x="23645" y="5502"/>
                  </a:lnTo>
                  <a:lnTo>
                    <a:pt x="23640" y="5506"/>
                  </a:lnTo>
                  <a:lnTo>
                    <a:pt x="23644" y="5509"/>
                  </a:lnTo>
                  <a:lnTo>
                    <a:pt x="23657" y="5508"/>
                  </a:lnTo>
                  <a:lnTo>
                    <a:pt x="23673" y="5501"/>
                  </a:lnTo>
                  <a:lnTo>
                    <a:pt x="23686" y="5491"/>
                  </a:lnTo>
                  <a:lnTo>
                    <a:pt x="23693" y="5481"/>
                  </a:lnTo>
                  <a:lnTo>
                    <a:pt x="23684" y="5482"/>
                  </a:lnTo>
                  <a:lnTo>
                    <a:pt x="23675" y="5486"/>
                  </a:lnTo>
                  <a:close/>
                  <a:moveTo>
                    <a:pt x="24924" y="6523"/>
                  </a:moveTo>
                  <a:lnTo>
                    <a:pt x="24924" y="6523"/>
                  </a:lnTo>
                  <a:lnTo>
                    <a:pt x="24913" y="6516"/>
                  </a:lnTo>
                  <a:lnTo>
                    <a:pt x="24899" y="6511"/>
                  </a:lnTo>
                  <a:lnTo>
                    <a:pt x="24883" y="6507"/>
                  </a:lnTo>
                  <a:lnTo>
                    <a:pt x="24865" y="6506"/>
                  </a:lnTo>
                  <a:lnTo>
                    <a:pt x="24858" y="6504"/>
                  </a:lnTo>
                  <a:lnTo>
                    <a:pt x="24852" y="6501"/>
                  </a:lnTo>
                  <a:lnTo>
                    <a:pt x="24841" y="6492"/>
                  </a:lnTo>
                  <a:lnTo>
                    <a:pt x="24839" y="6490"/>
                  </a:lnTo>
                  <a:lnTo>
                    <a:pt x="24836" y="6481"/>
                  </a:lnTo>
                  <a:lnTo>
                    <a:pt x="24834" y="6479"/>
                  </a:lnTo>
                  <a:lnTo>
                    <a:pt x="24830" y="6478"/>
                  </a:lnTo>
                  <a:lnTo>
                    <a:pt x="24827" y="6477"/>
                  </a:lnTo>
                  <a:lnTo>
                    <a:pt x="24780" y="6444"/>
                  </a:lnTo>
                  <a:lnTo>
                    <a:pt x="24773" y="6444"/>
                  </a:lnTo>
                  <a:lnTo>
                    <a:pt x="24770" y="6454"/>
                  </a:lnTo>
                  <a:lnTo>
                    <a:pt x="24770" y="6463"/>
                  </a:lnTo>
                  <a:lnTo>
                    <a:pt x="24773" y="6472"/>
                  </a:lnTo>
                  <a:lnTo>
                    <a:pt x="24778" y="6480"/>
                  </a:lnTo>
                  <a:lnTo>
                    <a:pt x="24786" y="6484"/>
                  </a:lnTo>
                  <a:lnTo>
                    <a:pt x="24796" y="6486"/>
                  </a:lnTo>
                  <a:lnTo>
                    <a:pt x="24802" y="6491"/>
                  </a:lnTo>
                  <a:lnTo>
                    <a:pt x="24807" y="6499"/>
                  </a:lnTo>
                  <a:lnTo>
                    <a:pt x="24814" y="6506"/>
                  </a:lnTo>
                  <a:lnTo>
                    <a:pt x="24822" y="6509"/>
                  </a:lnTo>
                  <a:lnTo>
                    <a:pt x="24837" y="6514"/>
                  </a:lnTo>
                  <a:lnTo>
                    <a:pt x="24845" y="6519"/>
                  </a:lnTo>
                  <a:lnTo>
                    <a:pt x="24855" y="6527"/>
                  </a:lnTo>
                  <a:lnTo>
                    <a:pt x="24861" y="6531"/>
                  </a:lnTo>
                  <a:lnTo>
                    <a:pt x="24867" y="6532"/>
                  </a:lnTo>
                  <a:lnTo>
                    <a:pt x="24879" y="6532"/>
                  </a:lnTo>
                  <a:lnTo>
                    <a:pt x="24886" y="6532"/>
                  </a:lnTo>
                  <a:lnTo>
                    <a:pt x="24901" y="6528"/>
                  </a:lnTo>
                  <a:lnTo>
                    <a:pt x="24910" y="6528"/>
                  </a:lnTo>
                  <a:lnTo>
                    <a:pt x="24922" y="6536"/>
                  </a:lnTo>
                  <a:lnTo>
                    <a:pt x="24938" y="6553"/>
                  </a:lnTo>
                  <a:lnTo>
                    <a:pt x="24954" y="6567"/>
                  </a:lnTo>
                  <a:lnTo>
                    <a:pt x="24969" y="6567"/>
                  </a:lnTo>
                  <a:lnTo>
                    <a:pt x="24957" y="6562"/>
                  </a:lnTo>
                  <a:lnTo>
                    <a:pt x="24924" y="6523"/>
                  </a:lnTo>
                  <a:close/>
                  <a:moveTo>
                    <a:pt x="25363" y="4958"/>
                  </a:moveTo>
                  <a:lnTo>
                    <a:pt x="25363" y="4958"/>
                  </a:lnTo>
                  <a:lnTo>
                    <a:pt x="25368" y="4956"/>
                  </a:lnTo>
                  <a:lnTo>
                    <a:pt x="25372" y="4934"/>
                  </a:lnTo>
                  <a:lnTo>
                    <a:pt x="25370" y="4923"/>
                  </a:lnTo>
                  <a:lnTo>
                    <a:pt x="25363" y="4919"/>
                  </a:lnTo>
                  <a:lnTo>
                    <a:pt x="25357" y="4923"/>
                  </a:lnTo>
                  <a:lnTo>
                    <a:pt x="25319" y="4978"/>
                  </a:lnTo>
                  <a:lnTo>
                    <a:pt x="25314" y="5009"/>
                  </a:lnTo>
                  <a:lnTo>
                    <a:pt x="25314" y="5020"/>
                  </a:lnTo>
                  <a:lnTo>
                    <a:pt x="25323" y="5051"/>
                  </a:lnTo>
                  <a:lnTo>
                    <a:pt x="25334" y="5037"/>
                  </a:lnTo>
                  <a:lnTo>
                    <a:pt x="25347" y="5013"/>
                  </a:lnTo>
                  <a:lnTo>
                    <a:pt x="25355" y="4990"/>
                  </a:lnTo>
                  <a:lnTo>
                    <a:pt x="25345" y="4976"/>
                  </a:lnTo>
                  <a:lnTo>
                    <a:pt x="25352" y="4967"/>
                  </a:lnTo>
                  <a:lnTo>
                    <a:pt x="25363" y="4958"/>
                  </a:lnTo>
                  <a:close/>
                  <a:moveTo>
                    <a:pt x="25426" y="5141"/>
                  </a:moveTo>
                  <a:lnTo>
                    <a:pt x="25426" y="5141"/>
                  </a:lnTo>
                  <a:lnTo>
                    <a:pt x="25425" y="5159"/>
                  </a:lnTo>
                  <a:lnTo>
                    <a:pt x="25430" y="5174"/>
                  </a:lnTo>
                  <a:lnTo>
                    <a:pt x="25443" y="5186"/>
                  </a:lnTo>
                  <a:lnTo>
                    <a:pt x="25454" y="5184"/>
                  </a:lnTo>
                  <a:lnTo>
                    <a:pt x="25462" y="5172"/>
                  </a:lnTo>
                  <a:lnTo>
                    <a:pt x="25467" y="5146"/>
                  </a:lnTo>
                  <a:lnTo>
                    <a:pt x="25484" y="5117"/>
                  </a:lnTo>
                  <a:lnTo>
                    <a:pt x="25486" y="5113"/>
                  </a:lnTo>
                  <a:lnTo>
                    <a:pt x="25486" y="5109"/>
                  </a:lnTo>
                  <a:lnTo>
                    <a:pt x="25483" y="5102"/>
                  </a:lnTo>
                  <a:lnTo>
                    <a:pt x="25475" y="5095"/>
                  </a:lnTo>
                  <a:lnTo>
                    <a:pt x="25467" y="5091"/>
                  </a:lnTo>
                  <a:lnTo>
                    <a:pt x="25459" y="5090"/>
                  </a:lnTo>
                  <a:lnTo>
                    <a:pt x="25452" y="5092"/>
                  </a:lnTo>
                  <a:lnTo>
                    <a:pt x="25446" y="5096"/>
                  </a:lnTo>
                  <a:lnTo>
                    <a:pt x="25441" y="5102"/>
                  </a:lnTo>
                  <a:lnTo>
                    <a:pt x="25437" y="5108"/>
                  </a:lnTo>
                  <a:lnTo>
                    <a:pt x="25430" y="5123"/>
                  </a:lnTo>
                  <a:lnTo>
                    <a:pt x="25426" y="5141"/>
                  </a:lnTo>
                  <a:close/>
                  <a:moveTo>
                    <a:pt x="25555" y="5367"/>
                  </a:moveTo>
                  <a:lnTo>
                    <a:pt x="25555" y="5367"/>
                  </a:lnTo>
                  <a:lnTo>
                    <a:pt x="25557" y="5374"/>
                  </a:lnTo>
                  <a:lnTo>
                    <a:pt x="25565" y="5377"/>
                  </a:lnTo>
                  <a:lnTo>
                    <a:pt x="25577" y="5377"/>
                  </a:lnTo>
                  <a:lnTo>
                    <a:pt x="25585" y="5373"/>
                  </a:lnTo>
                  <a:lnTo>
                    <a:pt x="25587" y="5369"/>
                  </a:lnTo>
                  <a:lnTo>
                    <a:pt x="25586" y="5355"/>
                  </a:lnTo>
                  <a:lnTo>
                    <a:pt x="25586" y="5301"/>
                  </a:lnTo>
                  <a:lnTo>
                    <a:pt x="25586" y="5293"/>
                  </a:lnTo>
                  <a:lnTo>
                    <a:pt x="25586" y="5285"/>
                  </a:lnTo>
                  <a:lnTo>
                    <a:pt x="25583" y="5279"/>
                  </a:lnTo>
                  <a:lnTo>
                    <a:pt x="25577" y="5276"/>
                  </a:lnTo>
                  <a:lnTo>
                    <a:pt x="25575" y="5299"/>
                  </a:lnTo>
                  <a:lnTo>
                    <a:pt x="25572" y="5313"/>
                  </a:lnTo>
                  <a:lnTo>
                    <a:pt x="25568" y="5324"/>
                  </a:lnTo>
                  <a:lnTo>
                    <a:pt x="25549" y="5339"/>
                  </a:lnTo>
                  <a:lnTo>
                    <a:pt x="25547" y="5349"/>
                  </a:lnTo>
                  <a:lnTo>
                    <a:pt x="25563" y="5359"/>
                  </a:lnTo>
                  <a:lnTo>
                    <a:pt x="25555" y="5367"/>
                  </a:lnTo>
                  <a:close/>
                  <a:moveTo>
                    <a:pt x="25977" y="4782"/>
                  </a:moveTo>
                  <a:lnTo>
                    <a:pt x="25977" y="4782"/>
                  </a:lnTo>
                  <a:lnTo>
                    <a:pt x="26035" y="4780"/>
                  </a:lnTo>
                  <a:lnTo>
                    <a:pt x="26058" y="4772"/>
                  </a:lnTo>
                  <a:lnTo>
                    <a:pt x="26073" y="4756"/>
                  </a:lnTo>
                  <a:lnTo>
                    <a:pt x="26061" y="4758"/>
                  </a:lnTo>
                  <a:lnTo>
                    <a:pt x="26054" y="4757"/>
                  </a:lnTo>
                  <a:lnTo>
                    <a:pt x="26048" y="4754"/>
                  </a:lnTo>
                  <a:lnTo>
                    <a:pt x="26041" y="4751"/>
                  </a:lnTo>
                  <a:lnTo>
                    <a:pt x="26011" y="4759"/>
                  </a:lnTo>
                  <a:lnTo>
                    <a:pt x="26004" y="4758"/>
                  </a:lnTo>
                  <a:lnTo>
                    <a:pt x="25989" y="4752"/>
                  </a:lnTo>
                  <a:lnTo>
                    <a:pt x="25954" y="4755"/>
                  </a:lnTo>
                  <a:lnTo>
                    <a:pt x="25940" y="4751"/>
                  </a:lnTo>
                  <a:lnTo>
                    <a:pt x="25927" y="4749"/>
                  </a:lnTo>
                  <a:lnTo>
                    <a:pt x="25920" y="4759"/>
                  </a:lnTo>
                  <a:lnTo>
                    <a:pt x="25919" y="4772"/>
                  </a:lnTo>
                  <a:lnTo>
                    <a:pt x="25924" y="4778"/>
                  </a:lnTo>
                  <a:lnTo>
                    <a:pt x="25977" y="4782"/>
                  </a:lnTo>
                  <a:close/>
                  <a:moveTo>
                    <a:pt x="12519" y="8353"/>
                  </a:moveTo>
                  <a:lnTo>
                    <a:pt x="12519" y="8353"/>
                  </a:lnTo>
                  <a:lnTo>
                    <a:pt x="12509" y="8348"/>
                  </a:lnTo>
                  <a:lnTo>
                    <a:pt x="12499" y="8346"/>
                  </a:lnTo>
                  <a:lnTo>
                    <a:pt x="12489" y="8348"/>
                  </a:lnTo>
                  <a:lnTo>
                    <a:pt x="12479" y="8354"/>
                  </a:lnTo>
                  <a:lnTo>
                    <a:pt x="12472" y="8363"/>
                  </a:lnTo>
                  <a:lnTo>
                    <a:pt x="12470" y="8377"/>
                  </a:lnTo>
                  <a:lnTo>
                    <a:pt x="12473" y="8389"/>
                  </a:lnTo>
                  <a:lnTo>
                    <a:pt x="12484" y="8394"/>
                  </a:lnTo>
                  <a:lnTo>
                    <a:pt x="12486" y="8398"/>
                  </a:lnTo>
                  <a:lnTo>
                    <a:pt x="12488" y="8406"/>
                  </a:lnTo>
                  <a:lnTo>
                    <a:pt x="12492" y="8413"/>
                  </a:lnTo>
                  <a:lnTo>
                    <a:pt x="12508" y="8418"/>
                  </a:lnTo>
                  <a:lnTo>
                    <a:pt x="12522" y="8425"/>
                  </a:lnTo>
                  <a:lnTo>
                    <a:pt x="12531" y="8426"/>
                  </a:lnTo>
                  <a:lnTo>
                    <a:pt x="12546" y="8414"/>
                  </a:lnTo>
                  <a:lnTo>
                    <a:pt x="12544" y="8391"/>
                  </a:lnTo>
                  <a:lnTo>
                    <a:pt x="12532" y="8369"/>
                  </a:lnTo>
                  <a:lnTo>
                    <a:pt x="12519" y="8353"/>
                  </a:lnTo>
                  <a:close/>
                  <a:moveTo>
                    <a:pt x="12639" y="8387"/>
                  </a:moveTo>
                  <a:lnTo>
                    <a:pt x="12639" y="8387"/>
                  </a:lnTo>
                  <a:lnTo>
                    <a:pt x="12633" y="8386"/>
                  </a:lnTo>
                  <a:lnTo>
                    <a:pt x="12627" y="8387"/>
                  </a:lnTo>
                  <a:lnTo>
                    <a:pt x="12604" y="8397"/>
                  </a:lnTo>
                  <a:lnTo>
                    <a:pt x="12600" y="8399"/>
                  </a:lnTo>
                  <a:lnTo>
                    <a:pt x="12598" y="8403"/>
                  </a:lnTo>
                  <a:lnTo>
                    <a:pt x="12598" y="8410"/>
                  </a:lnTo>
                  <a:lnTo>
                    <a:pt x="12601" y="8412"/>
                  </a:lnTo>
                  <a:lnTo>
                    <a:pt x="12608" y="8413"/>
                  </a:lnTo>
                  <a:lnTo>
                    <a:pt x="12622" y="8413"/>
                  </a:lnTo>
                  <a:lnTo>
                    <a:pt x="12677" y="8418"/>
                  </a:lnTo>
                  <a:lnTo>
                    <a:pt x="12680" y="8416"/>
                  </a:lnTo>
                  <a:lnTo>
                    <a:pt x="12681" y="8406"/>
                  </a:lnTo>
                  <a:lnTo>
                    <a:pt x="12679" y="8399"/>
                  </a:lnTo>
                  <a:lnTo>
                    <a:pt x="12675" y="8395"/>
                  </a:lnTo>
                  <a:lnTo>
                    <a:pt x="12668" y="8395"/>
                  </a:lnTo>
                  <a:lnTo>
                    <a:pt x="12661" y="8394"/>
                  </a:lnTo>
                  <a:lnTo>
                    <a:pt x="12653" y="8393"/>
                  </a:lnTo>
                  <a:lnTo>
                    <a:pt x="12639" y="8387"/>
                  </a:lnTo>
                  <a:close/>
                  <a:moveTo>
                    <a:pt x="17256" y="9148"/>
                  </a:moveTo>
                  <a:lnTo>
                    <a:pt x="17256" y="9148"/>
                  </a:lnTo>
                  <a:lnTo>
                    <a:pt x="17251" y="9151"/>
                  </a:lnTo>
                  <a:lnTo>
                    <a:pt x="17247" y="9155"/>
                  </a:lnTo>
                  <a:lnTo>
                    <a:pt x="17241" y="9159"/>
                  </a:lnTo>
                  <a:lnTo>
                    <a:pt x="17253" y="9181"/>
                  </a:lnTo>
                  <a:lnTo>
                    <a:pt x="17262" y="9188"/>
                  </a:lnTo>
                  <a:lnTo>
                    <a:pt x="17277" y="9186"/>
                  </a:lnTo>
                  <a:lnTo>
                    <a:pt x="17285" y="9175"/>
                  </a:lnTo>
                  <a:lnTo>
                    <a:pt x="17286" y="9160"/>
                  </a:lnTo>
                  <a:lnTo>
                    <a:pt x="17278" y="9148"/>
                  </a:lnTo>
                  <a:lnTo>
                    <a:pt x="17263" y="9145"/>
                  </a:lnTo>
                  <a:lnTo>
                    <a:pt x="17256" y="9148"/>
                  </a:lnTo>
                  <a:close/>
                  <a:moveTo>
                    <a:pt x="17701" y="9241"/>
                  </a:moveTo>
                  <a:lnTo>
                    <a:pt x="17701" y="9241"/>
                  </a:lnTo>
                  <a:lnTo>
                    <a:pt x="17684" y="9239"/>
                  </a:lnTo>
                  <a:lnTo>
                    <a:pt x="17673" y="9249"/>
                  </a:lnTo>
                  <a:lnTo>
                    <a:pt x="17678" y="9270"/>
                  </a:lnTo>
                  <a:lnTo>
                    <a:pt x="17694" y="9284"/>
                  </a:lnTo>
                  <a:lnTo>
                    <a:pt x="17715" y="9274"/>
                  </a:lnTo>
                  <a:lnTo>
                    <a:pt x="17722" y="9257"/>
                  </a:lnTo>
                  <a:lnTo>
                    <a:pt x="17716" y="9246"/>
                  </a:lnTo>
                  <a:lnTo>
                    <a:pt x="17701" y="9241"/>
                  </a:lnTo>
                  <a:close/>
                  <a:moveTo>
                    <a:pt x="17305" y="8580"/>
                  </a:moveTo>
                  <a:lnTo>
                    <a:pt x="17305" y="8580"/>
                  </a:lnTo>
                  <a:lnTo>
                    <a:pt x="17328" y="8572"/>
                  </a:lnTo>
                  <a:lnTo>
                    <a:pt x="17344" y="8561"/>
                  </a:lnTo>
                  <a:lnTo>
                    <a:pt x="17345" y="8541"/>
                  </a:lnTo>
                  <a:lnTo>
                    <a:pt x="17333" y="8526"/>
                  </a:lnTo>
                  <a:lnTo>
                    <a:pt x="17308" y="8532"/>
                  </a:lnTo>
                  <a:lnTo>
                    <a:pt x="17301" y="8537"/>
                  </a:lnTo>
                  <a:lnTo>
                    <a:pt x="17295" y="8545"/>
                  </a:lnTo>
                  <a:lnTo>
                    <a:pt x="17291" y="8555"/>
                  </a:lnTo>
                  <a:lnTo>
                    <a:pt x="17290" y="8565"/>
                  </a:lnTo>
                  <a:lnTo>
                    <a:pt x="17294" y="8579"/>
                  </a:lnTo>
                  <a:lnTo>
                    <a:pt x="17305" y="8580"/>
                  </a:lnTo>
                  <a:close/>
                  <a:moveTo>
                    <a:pt x="18334" y="4877"/>
                  </a:moveTo>
                  <a:lnTo>
                    <a:pt x="18334" y="4877"/>
                  </a:lnTo>
                  <a:lnTo>
                    <a:pt x="18331" y="4878"/>
                  </a:lnTo>
                  <a:lnTo>
                    <a:pt x="18327" y="4879"/>
                  </a:lnTo>
                  <a:lnTo>
                    <a:pt x="18310" y="4891"/>
                  </a:lnTo>
                  <a:lnTo>
                    <a:pt x="18278" y="4926"/>
                  </a:lnTo>
                  <a:lnTo>
                    <a:pt x="18272" y="4939"/>
                  </a:lnTo>
                  <a:lnTo>
                    <a:pt x="18278" y="4950"/>
                  </a:lnTo>
                  <a:lnTo>
                    <a:pt x="18292" y="4951"/>
                  </a:lnTo>
                  <a:lnTo>
                    <a:pt x="18302" y="4942"/>
                  </a:lnTo>
                  <a:lnTo>
                    <a:pt x="18318" y="4919"/>
                  </a:lnTo>
                  <a:lnTo>
                    <a:pt x="18323" y="4914"/>
                  </a:lnTo>
                  <a:lnTo>
                    <a:pt x="18336" y="4907"/>
                  </a:lnTo>
                  <a:lnTo>
                    <a:pt x="18342" y="4903"/>
                  </a:lnTo>
                  <a:lnTo>
                    <a:pt x="18345" y="4896"/>
                  </a:lnTo>
                  <a:lnTo>
                    <a:pt x="18344" y="4888"/>
                  </a:lnTo>
                  <a:lnTo>
                    <a:pt x="18340" y="4881"/>
                  </a:lnTo>
                  <a:lnTo>
                    <a:pt x="18334" y="4877"/>
                  </a:lnTo>
                  <a:close/>
                  <a:moveTo>
                    <a:pt x="22480" y="6711"/>
                  </a:moveTo>
                  <a:lnTo>
                    <a:pt x="22480" y="6711"/>
                  </a:lnTo>
                  <a:lnTo>
                    <a:pt x="22470" y="6708"/>
                  </a:lnTo>
                  <a:lnTo>
                    <a:pt x="22467" y="6710"/>
                  </a:lnTo>
                  <a:lnTo>
                    <a:pt x="22475" y="6721"/>
                  </a:lnTo>
                  <a:lnTo>
                    <a:pt x="22480" y="6711"/>
                  </a:lnTo>
                  <a:close/>
                  <a:moveTo>
                    <a:pt x="21186" y="7243"/>
                  </a:moveTo>
                  <a:lnTo>
                    <a:pt x="21186" y="7243"/>
                  </a:lnTo>
                  <a:lnTo>
                    <a:pt x="21191" y="7246"/>
                  </a:lnTo>
                  <a:lnTo>
                    <a:pt x="21187" y="7239"/>
                  </a:lnTo>
                  <a:lnTo>
                    <a:pt x="21186" y="7243"/>
                  </a:lnTo>
                  <a:close/>
                  <a:moveTo>
                    <a:pt x="21200" y="7276"/>
                  </a:moveTo>
                  <a:lnTo>
                    <a:pt x="21200" y="7276"/>
                  </a:lnTo>
                  <a:lnTo>
                    <a:pt x="21194" y="7282"/>
                  </a:lnTo>
                  <a:lnTo>
                    <a:pt x="21203" y="7281"/>
                  </a:lnTo>
                  <a:lnTo>
                    <a:pt x="21200" y="7276"/>
                  </a:lnTo>
                  <a:close/>
                  <a:moveTo>
                    <a:pt x="21042" y="7335"/>
                  </a:moveTo>
                  <a:lnTo>
                    <a:pt x="21042" y="7335"/>
                  </a:lnTo>
                  <a:lnTo>
                    <a:pt x="21036" y="7337"/>
                  </a:lnTo>
                  <a:lnTo>
                    <a:pt x="21044" y="7340"/>
                  </a:lnTo>
                  <a:lnTo>
                    <a:pt x="21042" y="7335"/>
                  </a:lnTo>
                  <a:close/>
                  <a:moveTo>
                    <a:pt x="21040" y="7349"/>
                  </a:moveTo>
                  <a:lnTo>
                    <a:pt x="21040" y="7349"/>
                  </a:lnTo>
                  <a:lnTo>
                    <a:pt x="21046" y="7352"/>
                  </a:lnTo>
                  <a:lnTo>
                    <a:pt x="21042" y="7345"/>
                  </a:lnTo>
                  <a:lnTo>
                    <a:pt x="21040" y="7349"/>
                  </a:lnTo>
                  <a:close/>
                  <a:moveTo>
                    <a:pt x="20424" y="230"/>
                  </a:moveTo>
                  <a:lnTo>
                    <a:pt x="20424" y="230"/>
                  </a:lnTo>
                  <a:lnTo>
                    <a:pt x="20427" y="223"/>
                  </a:lnTo>
                  <a:lnTo>
                    <a:pt x="20424" y="222"/>
                  </a:lnTo>
                  <a:lnTo>
                    <a:pt x="20419" y="227"/>
                  </a:lnTo>
                  <a:lnTo>
                    <a:pt x="20422" y="233"/>
                  </a:lnTo>
                  <a:lnTo>
                    <a:pt x="20424" y="230"/>
                  </a:lnTo>
                  <a:close/>
                  <a:moveTo>
                    <a:pt x="19616" y="2472"/>
                  </a:moveTo>
                  <a:lnTo>
                    <a:pt x="19616" y="2472"/>
                  </a:lnTo>
                  <a:lnTo>
                    <a:pt x="19620" y="2468"/>
                  </a:lnTo>
                  <a:lnTo>
                    <a:pt x="19624" y="2462"/>
                  </a:lnTo>
                  <a:lnTo>
                    <a:pt x="19629" y="2459"/>
                  </a:lnTo>
                  <a:lnTo>
                    <a:pt x="19633" y="2458"/>
                  </a:lnTo>
                  <a:lnTo>
                    <a:pt x="19643" y="2452"/>
                  </a:lnTo>
                  <a:lnTo>
                    <a:pt x="19644" y="2450"/>
                  </a:lnTo>
                  <a:lnTo>
                    <a:pt x="19647" y="2451"/>
                  </a:lnTo>
                  <a:lnTo>
                    <a:pt x="19651" y="2452"/>
                  </a:lnTo>
                  <a:lnTo>
                    <a:pt x="19653" y="2449"/>
                  </a:lnTo>
                  <a:lnTo>
                    <a:pt x="19654" y="2439"/>
                  </a:lnTo>
                  <a:lnTo>
                    <a:pt x="19652" y="2434"/>
                  </a:lnTo>
                  <a:lnTo>
                    <a:pt x="19644" y="2442"/>
                  </a:lnTo>
                  <a:lnTo>
                    <a:pt x="19640" y="2442"/>
                  </a:lnTo>
                  <a:lnTo>
                    <a:pt x="19635" y="2440"/>
                  </a:lnTo>
                  <a:lnTo>
                    <a:pt x="19631" y="2437"/>
                  </a:lnTo>
                  <a:lnTo>
                    <a:pt x="19628" y="2437"/>
                  </a:lnTo>
                  <a:lnTo>
                    <a:pt x="19626" y="2438"/>
                  </a:lnTo>
                  <a:lnTo>
                    <a:pt x="19623" y="2435"/>
                  </a:lnTo>
                  <a:lnTo>
                    <a:pt x="19619" y="2434"/>
                  </a:lnTo>
                  <a:lnTo>
                    <a:pt x="19617" y="2439"/>
                  </a:lnTo>
                  <a:lnTo>
                    <a:pt x="19619" y="2443"/>
                  </a:lnTo>
                  <a:lnTo>
                    <a:pt x="19621" y="2444"/>
                  </a:lnTo>
                  <a:lnTo>
                    <a:pt x="19621" y="2447"/>
                  </a:lnTo>
                  <a:lnTo>
                    <a:pt x="19617" y="2447"/>
                  </a:lnTo>
                  <a:lnTo>
                    <a:pt x="19613" y="2452"/>
                  </a:lnTo>
                  <a:lnTo>
                    <a:pt x="19610" y="2453"/>
                  </a:lnTo>
                  <a:lnTo>
                    <a:pt x="19607" y="2458"/>
                  </a:lnTo>
                  <a:lnTo>
                    <a:pt x="19606" y="2465"/>
                  </a:lnTo>
                  <a:lnTo>
                    <a:pt x="19610" y="2470"/>
                  </a:lnTo>
                  <a:lnTo>
                    <a:pt x="19616" y="2472"/>
                  </a:lnTo>
                  <a:close/>
                  <a:moveTo>
                    <a:pt x="20269" y="2957"/>
                  </a:moveTo>
                  <a:lnTo>
                    <a:pt x="20269" y="2957"/>
                  </a:lnTo>
                  <a:lnTo>
                    <a:pt x="20283" y="2978"/>
                  </a:lnTo>
                  <a:lnTo>
                    <a:pt x="20286" y="2976"/>
                  </a:lnTo>
                  <a:lnTo>
                    <a:pt x="20289" y="2965"/>
                  </a:lnTo>
                  <a:lnTo>
                    <a:pt x="20289" y="2961"/>
                  </a:lnTo>
                  <a:lnTo>
                    <a:pt x="20296" y="2947"/>
                  </a:lnTo>
                  <a:lnTo>
                    <a:pt x="20292" y="2942"/>
                  </a:lnTo>
                  <a:lnTo>
                    <a:pt x="20286" y="2940"/>
                  </a:lnTo>
                  <a:lnTo>
                    <a:pt x="20281" y="2937"/>
                  </a:lnTo>
                  <a:lnTo>
                    <a:pt x="20276" y="2936"/>
                  </a:lnTo>
                  <a:lnTo>
                    <a:pt x="20271" y="2939"/>
                  </a:lnTo>
                  <a:lnTo>
                    <a:pt x="20265" y="2944"/>
                  </a:lnTo>
                  <a:lnTo>
                    <a:pt x="20261" y="2952"/>
                  </a:lnTo>
                  <a:lnTo>
                    <a:pt x="20264" y="2955"/>
                  </a:lnTo>
                  <a:lnTo>
                    <a:pt x="20269" y="2957"/>
                  </a:lnTo>
                  <a:close/>
                  <a:moveTo>
                    <a:pt x="23442" y="3126"/>
                  </a:moveTo>
                  <a:lnTo>
                    <a:pt x="23442" y="3126"/>
                  </a:lnTo>
                  <a:lnTo>
                    <a:pt x="23445" y="3121"/>
                  </a:lnTo>
                  <a:lnTo>
                    <a:pt x="23445" y="3114"/>
                  </a:lnTo>
                  <a:lnTo>
                    <a:pt x="23440" y="3111"/>
                  </a:lnTo>
                  <a:lnTo>
                    <a:pt x="23435" y="3116"/>
                  </a:lnTo>
                  <a:lnTo>
                    <a:pt x="23434" y="3126"/>
                  </a:lnTo>
                  <a:lnTo>
                    <a:pt x="23435" y="3132"/>
                  </a:lnTo>
                  <a:lnTo>
                    <a:pt x="23442" y="3126"/>
                  </a:lnTo>
                  <a:close/>
                  <a:moveTo>
                    <a:pt x="23428" y="3137"/>
                  </a:moveTo>
                  <a:lnTo>
                    <a:pt x="23428" y="3137"/>
                  </a:lnTo>
                  <a:lnTo>
                    <a:pt x="23423" y="3144"/>
                  </a:lnTo>
                  <a:lnTo>
                    <a:pt x="23423" y="3148"/>
                  </a:lnTo>
                  <a:lnTo>
                    <a:pt x="23428" y="3141"/>
                  </a:lnTo>
                  <a:lnTo>
                    <a:pt x="23428" y="3137"/>
                  </a:lnTo>
                  <a:close/>
                  <a:moveTo>
                    <a:pt x="25418" y="3333"/>
                  </a:moveTo>
                  <a:lnTo>
                    <a:pt x="25418" y="3333"/>
                  </a:lnTo>
                  <a:lnTo>
                    <a:pt x="25429" y="3329"/>
                  </a:lnTo>
                  <a:lnTo>
                    <a:pt x="25434" y="3319"/>
                  </a:lnTo>
                  <a:lnTo>
                    <a:pt x="25432" y="3311"/>
                  </a:lnTo>
                  <a:lnTo>
                    <a:pt x="25421" y="3310"/>
                  </a:lnTo>
                  <a:lnTo>
                    <a:pt x="25411" y="3317"/>
                  </a:lnTo>
                  <a:lnTo>
                    <a:pt x="25404" y="3325"/>
                  </a:lnTo>
                  <a:lnTo>
                    <a:pt x="25407" y="3332"/>
                  </a:lnTo>
                  <a:lnTo>
                    <a:pt x="25418" y="3333"/>
                  </a:lnTo>
                  <a:close/>
                  <a:moveTo>
                    <a:pt x="22418" y="8684"/>
                  </a:moveTo>
                  <a:lnTo>
                    <a:pt x="22418" y="8684"/>
                  </a:lnTo>
                  <a:lnTo>
                    <a:pt x="22426" y="8684"/>
                  </a:lnTo>
                  <a:lnTo>
                    <a:pt x="22437" y="8679"/>
                  </a:lnTo>
                  <a:lnTo>
                    <a:pt x="22438" y="8671"/>
                  </a:lnTo>
                  <a:lnTo>
                    <a:pt x="22434" y="8669"/>
                  </a:lnTo>
                  <a:lnTo>
                    <a:pt x="22429" y="8671"/>
                  </a:lnTo>
                  <a:lnTo>
                    <a:pt x="22423" y="8672"/>
                  </a:lnTo>
                  <a:lnTo>
                    <a:pt x="22417" y="8669"/>
                  </a:lnTo>
                  <a:lnTo>
                    <a:pt x="22406" y="8657"/>
                  </a:lnTo>
                  <a:lnTo>
                    <a:pt x="22402" y="8656"/>
                  </a:lnTo>
                  <a:lnTo>
                    <a:pt x="22399" y="8664"/>
                  </a:lnTo>
                  <a:lnTo>
                    <a:pt x="22400" y="8673"/>
                  </a:lnTo>
                  <a:lnTo>
                    <a:pt x="22413" y="8680"/>
                  </a:lnTo>
                  <a:lnTo>
                    <a:pt x="22418" y="8684"/>
                  </a:lnTo>
                  <a:close/>
                  <a:moveTo>
                    <a:pt x="22627" y="8772"/>
                  </a:moveTo>
                  <a:lnTo>
                    <a:pt x="22627" y="8772"/>
                  </a:lnTo>
                  <a:lnTo>
                    <a:pt x="22624" y="8768"/>
                  </a:lnTo>
                  <a:lnTo>
                    <a:pt x="22618" y="8765"/>
                  </a:lnTo>
                  <a:lnTo>
                    <a:pt x="22612" y="8766"/>
                  </a:lnTo>
                  <a:lnTo>
                    <a:pt x="22610" y="8771"/>
                  </a:lnTo>
                  <a:lnTo>
                    <a:pt x="22610" y="8778"/>
                  </a:lnTo>
                  <a:lnTo>
                    <a:pt x="22612" y="8784"/>
                  </a:lnTo>
                  <a:lnTo>
                    <a:pt x="22619" y="8788"/>
                  </a:lnTo>
                  <a:lnTo>
                    <a:pt x="22620" y="8792"/>
                  </a:lnTo>
                  <a:lnTo>
                    <a:pt x="22621" y="8795"/>
                  </a:lnTo>
                  <a:lnTo>
                    <a:pt x="22629" y="8796"/>
                  </a:lnTo>
                  <a:lnTo>
                    <a:pt x="22633" y="8792"/>
                  </a:lnTo>
                  <a:lnTo>
                    <a:pt x="22628" y="8779"/>
                  </a:lnTo>
                  <a:lnTo>
                    <a:pt x="22627" y="8772"/>
                  </a:lnTo>
                  <a:close/>
                  <a:moveTo>
                    <a:pt x="22666" y="8804"/>
                  </a:moveTo>
                  <a:lnTo>
                    <a:pt x="22666" y="8804"/>
                  </a:lnTo>
                  <a:lnTo>
                    <a:pt x="22659" y="8803"/>
                  </a:lnTo>
                  <a:lnTo>
                    <a:pt x="22654" y="8804"/>
                  </a:lnTo>
                  <a:lnTo>
                    <a:pt x="22647" y="8803"/>
                  </a:lnTo>
                  <a:lnTo>
                    <a:pt x="22643" y="8804"/>
                  </a:lnTo>
                  <a:lnTo>
                    <a:pt x="22642" y="8807"/>
                  </a:lnTo>
                  <a:lnTo>
                    <a:pt x="22640" y="8810"/>
                  </a:lnTo>
                  <a:lnTo>
                    <a:pt x="22644" y="8812"/>
                  </a:lnTo>
                  <a:lnTo>
                    <a:pt x="22653" y="8812"/>
                  </a:lnTo>
                  <a:lnTo>
                    <a:pt x="22657" y="8813"/>
                  </a:lnTo>
                  <a:lnTo>
                    <a:pt x="22666" y="8820"/>
                  </a:lnTo>
                  <a:lnTo>
                    <a:pt x="22675" y="8820"/>
                  </a:lnTo>
                  <a:lnTo>
                    <a:pt x="22677" y="8810"/>
                  </a:lnTo>
                  <a:lnTo>
                    <a:pt x="22674" y="8806"/>
                  </a:lnTo>
                  <a:lnTo>
                    <a:pt x="22666" y="8804"/>
                  </a:lnTo>
                  <a:close/>
                  <a:moveTo>
                    <a:pt x="22637" y="7865"/>
                  </a:moveTo>
                  <a:lnTo>
                    <a:pt x="22637" y="7865"/>
                  </a:lnTo>
                  <a:lnTo>
                    <a:pt x="22626" y="7861"/>
                  </a:lnTo>
                  <a:lnTo>
                    <a:pt x="22622" y="7863"/>
                  </a:lnTo>
                  <a:lnTo>
                    <a:pt x="22622" y="7868"/>
                  </a:lnTo>
                  <a:lnTo>
                    <a:pt x="22627" y="7873"/>
                  </a:lnTo>
                  <a:lnTo>
                    <a:pt x="22632" y="7876"/>
                  </a:lnTo>
                  <a:lnTo>
                    <a:pt x="22637" y="7873"/>
                  </a:lnTo>
                  <a:lnTo>
                    <a:pt x="22640" y="7869"/>
                  </a:lnTo>
                  <a:lnTo>
                    <a:pt x="22637" y="7865"/>
                  </a:lnTo>
                  <a:close/>
                  <a:moveTo>
                    <a:pt x="22312" y="8157"/>
                  </a:moveTo>
                  <a:lnTo>
                    <a:pt x="22312" y="8157"/>
                  </a:lnTo>
                  <a:lnTo>
                    <a:pt x="22319" y="8141"/>
                  </a:lnTo>
                  <a:lnTo>
                    <a:pt x="22320" y="8136"/>
                  </a:lnTo>
                  <a:lnTo>
                    <a:pt x="22319" y="8131"/>
                  </a:lnTo>
                  <a:lnTo>
                    <a:pt x="22313" y="8129"/>
                  </a:lnTo>
                  <a:lnTo>
                    <a:pt x="22306" y="8131"/>
                  </a:lnTo>
                  <a:lnTo>
                    <a:pt x="22298" y="8130"/>
                  </a:lnTo>
                  <a:lnTo>
                    <a:pt x="22291" y="8134"/>
                  </a:lnTo>
                  <a:lnTo>
                    <a:pt x="22286" y="8144"/>
                  </a:lnTo>
                  <a:lnTo>
                    <a:pt x="22286" y="8152"/>
                  </a:lnTo>
                  <a:lnTo>
                    <a:pt x="22288" y="8155"/>
                  </a:lnTo>
                  <a:lnTo>
                    <a:pt x="22290" y="8152"/>
                  </a:lnTo>
                  <a:lnTo>
                    <a:pt x="22291" y="8151"/>
                  </a:lnTo>
                  <a:lnTo>
                    <a:pt x="22292" y="8155"/>
                  </a:lnTo>
                  <a:lnTo>
                    <a:pt x="22296" y="8158"/>
                  </a:lnTo>
                  <a:lnTo>
                    <a:pt x="22301" y="8162"/>
                  </a:lnTo>
                  <a:lnTo>
                    <a:pt x="22307" y="8161"/>
                  </a:lnTo>
                  <a:lnTo>
                    <a:pt x="22312" y="8157"/>
                  </a:lnTo>
                  <a:close/>
                  <a:moveTo>
                    <a:pt x="22064" y="8285"/>
                  </a:moveTo>
                  <a:lnTo>
                    <a:pt x="22064" y="8285"/>
                  </a:lnTo>
                  <a:lnTo>
                    <a:pt x="22057" y="8288"/>
                  </a:lnTo>
                  <a:lnTo>
                    <a:pt x="22053" y="8292"/>
                  </a:lnTo>
                  <a:lnTo>
                    <a:pt x="22052" y="8299"/>
                  </a:lnTo>
                  <a:lnTo>
                    <a:pt x="22057" y="8306"/>
                  </a:lnTo>
                  <a:lnTo>
                    <a:pt x="22064" y="8309"/>
                  </a:lnTo>
                  <a:lnTo>
                    <a:pt x="22069" y="8308"/>
                  </a:lnTo>
                  <a:lnTo>
                    <a:pt x="22074" y="8304"/>
                  </a:lnTo>
                  <a:lnTo>
                    <a:pt x="22075" y="8294"/>
                  </a:lnTo>
                  <a:lnTo>
                    <a:pt x="22070" y="8285"/>
                  </a:lnTo>
                  <a:lnTo>
                    <a:pt x="22064" y="8285"/>
                  </a:lnTo>
                  <a:close/>
                  <a:moveTo>
                    <a:pt x="23915" y="7219"/>
                  </a:moveTo>
                  <a:lnTo>
                    <a:pt x="23915" y="7219"/>
                  </a:lnTo>
                  <a:lnTo>
                    <a:pt x="23908" y="7223"/>
                  </a:lnTo>
                  <a:lnTo>
                    <a:pt x="23902" y="7227"/>
                  </a:lnTo>
                  <a:lnTo>
                    <a:pt x="23892" y="7240"/>
                  </a:lnTo>
                  <a:lnTo>
                    <a:pt x="23890" y="7259"/>
                  </a:lnTo>
                  <a:lnTo>
                    <a:pt x="23894" y="7269"/>
                  </a:lnTo>
                  <a:lnTo>
                    <a:pt x="23901" y="7268"/>
                  </a:lnTo>
                  <a:lnTo>
                    <a:pt x="23904" y="7263"/>
                  </a:lnTo>
                  <a:lnTo>
                    <a:pt x="23907" y="7262"/>
                  </a:lnTo>
                  <a:lnTo>
                    <a:pt x="23911" y="7262"/>
                  </a:lnTo>
                  <a:lnTo>
                    <a:pt x="23917" y="7259"/>
                  </a:lnTo>
                  <a:lnTo>
                    <a:pt x="23927" y="7231"/>
                  </a:lnTo>
                  <a:lnTo>
                    <a:pt x="23922" y="7220"/>
                  </a:lnTo>
                  <a:lnTo>
                    <a:pt x="23915" y="7219"/>
                  </a:lnTo>
                  <a:close/>
                  <a:moveTo>
                    <a:pt x="19474" y="2664"/>
                  </a:moveTo>
                  <a:lnTo>
                    <a:pt x="19474" y="2664"/>
                  </a:lnTo>
                  <a:lnTo>
                    <a:pt x="19475" y="2673"/>
                  </a:lnTo>
                  <a:lnTo>
                    <a:pt x="19479" y="2680"/>
                  </a:lnTo>
                  <a:lnTo>
                    <a:pt x="19484" y="2683"/>
                  </a:lnTo>
                  <a:lnTo>
                    <a:pt x="19487" y="2683"/>
                  </a:lnTo>
                  <a:lnTo>
                    <a:pt x="19488" y="2680"/>
                  </a:lnTo>
                  <a:lnTo>
                    <a:pt x="19490" y="2674"/>
                  </a:lnTo>
                  <a:lnTo>
                    <a:pt x="19505" y="2660"/>
                  </a:lnTo>
                  <a:lnTo>
                    <a:pt x="19504" y="2651"/>
                  </a:lnTo>
                  <a:lnTo>
                    <a:pt x="19501" y="2647"/>
                  </a:lnTo>
                  <a:lnTo>
                    <a:pt x="19497" y="2645"/>
                  </a:lnTo>
                  <a:lnTo>
                    <a:pt x="19490" y="2639"/>
                  </a:lnTo>
                  <a:lnTo>
                    <a:pt x="19484" y="2632"/>
                  </a:lnTo>
                  <a:lnTo>
                    <a:pt x="19478" y="2626"/>
                  </a:lnTo>
                  <a:lnTo>
                    <a:pt x="19474" y="2628"/>
                  </a:lnTo>
                  <a:lnTo>
                    <a:pt x="19472" y="2636"/>
                  </a:lnTo>
                  <a:lnTo>
                    <a:pt x="19469" y="2642"/>
                  </a:lnTo>
                  <a:lnTo>
                    <a:pt x="19470" y="2653"/>
                  </a:lnTo>
                  <a:lnTo>
                    <a:pt x="19474" y="2664"/>
                  </a:lnTo>
                  <a:close/>
                  <a:moveTo>
                    <a:pt x="6280" y="3321"/>
                  </a:moveTo>
                  <a:lnTo>
                    <a:pt x="6280" y="3321"/>
                  </a:lnTo>
                  <a:lnTo>
                    <a:pt x="6277" y="3328"/>
                  </a:lnTo>
                  <a:lnTo>
                    <a:pt x="6284" y="3338"/>
                  </a:lnTo>
                  <a:lnTo>
                    <a:pt x="6289" y="3342"/>
                  </a:lnTo>
                  <a:lnTo>
                    <a:pt x="6295" y="3338"/>
                  </a:lnTo>
                  <a:lnTo>
                    <a:pt x="6298" y="3329"/>
                  </a:lnTo>
                  <a:lnTo>
                    <a:pt x="6290" y="3321"/>
                  </a:lnTo>
                  <a:lnTo>
                    <a:pt x="6280" y="3321"/>
                  </a:lnTo>
                  <a:close/>
                  <a:moveTo>
                    <a:pt x="22536" y="4123"/>
                  </a:moveTo>
                  <a:lnTo>
                    <a:pt x="22536" y="4123"/>
                  </a:lnTo>
                  <a:lnTo>
                    <a:pt x="22544" y="4125"/>
                  </a:lnTo>
                  <a:lnTo>
                    <a:pt x="22551" y="4120"/>
                  </a:lnTo>
                  <a:lnTo>
                    <a:pt x="22557" y="4110"/>
                  </a:lnTo>
                  <a:lnTo>
                    <a:pt x="22560" y="4097"/>
                  </a:lnTo>
                  <a:lnTo>
                    <a:pt x="22564" y="4091"/>
                  </a:lnTo>
                  <a:lnTo>
                    <a:pt x="22568" y="4087"/>
                  </a:lnTo>
                  <a:lnTo>
                    <a:pt x="22569" y="4077"/>
                  </a:lnTo>
                  <a:lnTo>
                    <a:pt x="22565" y="4068"/>
                  </a:lnTo>
                  <a:lnTo>
                    <a:pt x="22560" y="4065"/>
                  </a:lnTo>
                  <a:lnTo>
                    <a:pt x="22554" y="4065"/>
                  </a:lnTo>
                  <a:lnTo>
                    <a:pt x="22542" y="4069"/>
                  </a:lnTo>
                  <a:lnTo>
                    <a:pt x="22532" y="4074"/>
                  </a:lnTo>
                  <a:lnTo>
                    <a:pt x="22529" y="4076"/>
                  </a:lnTo>
                  <a:lnTo>
                    <a:pt x="22526" y="4080"/>
                  </a:lnTo>
                  <a:lnTo>
                    <a:pt x="22522" y="4088"/>
                  </a:lnTo>
                  <a:lnTo>
                    <a:pt x="22522" y="4099"/>
                  </a:lnTo>
                  <a:lnTo>
                    <a:pt x="22527" y="4112"/>
                  </a:lnTo>
                  <a:lnTo>
                    <a:pt x="22536" y="4123"/>
                  </a:lnTo>
                  <a:close/>
                  <a:moveTo>
                    <a:pt x="18459" y="4796"/>
                  </a:moveTo>
                  <a:lnTo>
                    <a:pt x="18459" y="4796"/>
                  </a:lnTo>
                  <a:lnTo>
                    <a:pt x="18449" y="4764"/>
                  </a:lnTo>
                  <a:lnTo>
                    <a:pt x="18444" y="4756"/>
                  </a:lnTo>
                  <a:lnTo>
                    <a:pt x="18439" y="4753"/>
                  </a:lnTo>
                  <a:lnTo>
                    <a:pt x="18435" y="4755"/>
                  </a:lnTo>
                  <a:lnTo>
                    <a:pt x="18437" y="4765"/>
                  </a:lnTo>
                  <a:lnTo>
                    <a:pt x="18434" y="4769"/>
                  </a:lnTo>
                  <a:lnTo>
                    <a:pt x="18428" y="4770"/>
                  </a:lnTo>
                  <a:lnTo>
                    <a:pt x="18421" y="4772"/>
                  </a:lnTo>
                  <a:lnTo>
                    <a:pt x="18414" y="4782"/>
                  </a:lnTo>
                  <a:lnTo>
                    <a:pt x="18409" y="4795"/>
                  </a:lnTo>
                  <a:lnTo>
                    <a:pt x="18406" y="4803"/>
                  </a:lnTo>
                  <a:lnTo>
                    <a:pt x="18405" y="4806"/>
                  </a:lnTo>
                  <a:lnTo>
                    <a:pt x="18405" y="4811"/>
                  </a:lnTo>
                  <a:lnTo>
                    <a:pt x="18407" y="4816"/>
                  </a:lnTo>
                  <a:lnTo>
                    <a:pt x="18411" y="4817"/>
                  </a:lnTo>
                  <a:lnTo>
                    <a:pt x="18415" y="4820"/>
                  </a:lnTo>
                  <a:lnTo>
                    <a:pt x="18415" y="4827"/>
                  </a:lnTo>
                  <a:lnTo>
                    <a:pt x="18412" y="4832"/>
                  </a:lnTo>
                  <a:lnTo>
                    <a:pt x="18409" y="4837"/>
                  </a:lnTo>
                  <a:lnTo>
                    <a:pt x="18408" y="4840"/>
                  </a:lnTo>
                  <a:lnTo>
                    <a:pt x="18406" y="4843"/>
                  </a:lnTo>
                  <a:lnTo>
                    <a:pt x="18406" y="4852"/>
                  </a:lnTo>
                  <a:lnTo>
                    <a:pt x="18404" y="4862"/>
                  </a:lnTo>
                  <a:lnTo>
                    <a:pt x="18406" y="4874"/>
                  </a:lnTo>
                  <a:lnTo>
                    <a:pt x="18410" y="4890"/>
                  </a:lnTo>
                  <a:lnTo>
                    <a:pt x="18412" y="4894"/>
                  </a:lnTo>
                  <a:lnTo>
                    <a:pt x="18416" y="4901"/>
                  </a:lnTo>
                  <a:lnTo>
                    <a:pt x="18423" y="4903"/>
                  </a:lnTo>
                  <a:lnTo>
                    <a:pt x="18428" y="4900"/>
                  </a:lnTo>
                  <a:lnTo>
                    <a:pt x="18430" y="4897"/>
                  </a:lnTo>
                  <a:lnTo>
                    <a:pt x="18434" y="4898"/>
                  </a:lnTo>
                  <a:lnTo>
                    <a:pt x="18442" y="4905"/>
                  </a:lnTo>
                  <a:lnTo>
                    <a:pt x="18450" y="4909"/>
                  </a:lnTo>
                  <a:lnTo>
                    <a:pt x="18455" y="4908"/>
                  </a:lnTo>
                  <a:lnTo>
                    <a:pt x="18462" y="4909"/>
                  </a:lnTo>
                  <a:lnTo>
                    <a:pt x="18469" y="4907"/>
                  </a:lnTo>
                  <a:lnTo>
                    <a:pt x="18471" y="4905"/>
                  </a:lnTo>
                  <a:lnTo>
                    <a:pt x="18476" y="4903"/>
                  </a:lnTo>
                  <a:lnTo>
                    <a:pt x="18486" y="4896"/>
                  </a:lnTo>
                  <a:lnTo>
                    <a:pt x="18491" y="4887"/>
                  </a:lnTo>
                  <a:lnTo>
                    <a:pt x="18491" y="4878"/>
                  </a:lnTo>
                  <a:lnTo>
                    <a:pt x="18494" y="4864"/>
                  </a:lnTo>
                  <a:lnTo>
                    <a:pt x="18495" y="4856"/>
                  </a:lnTo>
                  <a:lnTo>
                    <a:pt x="18495" y="4846"/>
                  </a:lnTo>
                  <a:lnTo>
                    <a:pt x="18491" y="4838"/>
                  </a:lnTo>
                  <a:lnTo>
                    <a:pt x="18485" y="4832"/>
                  </a:lnTo>
                  <a:lnTo>
                    <a:pt x="18479" y="4829"/>
                  </a:lnTo>
                  <a:lnTo>
                    <a:pt x="18473" y="4832"/>
                  </a:lnTo>
                  <a:lnTo>
                    <a:pt x="18465" y="4831"/>
                  </a:lnTo>
                  <a:lnTo>
                    <a:pt x="18457" y="4818"/>
                  </a:lnTo>
                  <a:lnTo>
                    <a:pt x="18456" y="4807"/>
                  </a:lnTo>
                  <a:lnTo>
                    <a:pt x="18458" y="4802"/>
                  </a:lnTo>
                  <a:lnTo>
                    <a:pt x="18459" y="4796"/>
                  </a:lnTo>
                  <a:close/>
                  <a:moveTo>
                    <a:pt x="24891" y="5383"/>
                  </a:moveTo>
                  <a:lnTo>
                    <a:pt x="24891" y="5383"/>
                  </a:lnTo>
                  <a:lnTo>
                    <a:pt x="24895" y="5393"/>
                  </a:lnTo>
                  <a:lnTo>
                    <a:pt x="24901" y="5401"/>
                  </a:lnTo>
                  <a:lnTo>
                    <a:pt x="24924" y="5411"/>
                  </a:lnTo>
                  <a:lnTo>
                    <a:pt x="24926" y="5414"/>
                  </a:lnTo>
                  <a:lnTo>
                    <a:pt x="24927" y="5417"/>
                  </a:lnTo>
                  <a:lnTo>
                    <a:pt x="24942" y="5417"/>
                  </a:lnTo>
                  <a:lnTo>
                    <a:pt x="24955" y="5402"/>
                  </a:lnTo>
                  <a:lnTo>
                    <a:pt x="24955" y="5388"/>
                  </a:lnTo>
                  <a:lnTo>
                    <a:pt x="24946" y="5384"/>
                  </a:lnTo>
                  <a:lnTo>
                    <a:pt x="24941" y="5382"/>
                  </a:lnTo>
                  <a:lnTo>
                    <a:pt x="24932" y="5377"/>
                  </a:lnTo>
                  <a:lnTo>
                    <a:pt x="24925" y="5372"/>
                  </a:lnTo>
                  <a:lnTo>
                    <a:pt x="24921" y="5372"/>
                  </a:lnTo>
                  <a:lnTo>
                    <a:pt x="24921" y="5376"/>
                  </a:lnTo>
                  <a:lnTo>
                    <a:pt x="24912" y="5370"/>
                  </a:lnTo>
                  <a:lnTo>
                    <a:pt x="24890" y="5360"/>
                  </a:lnTo>
                  <a:lnTo>
                    <a:pt x="24880" y="5365"/>
                  </a:lnTo>
                  <a:lnTo>
                    <a:pt x="24885" y="5374"/>
                  </a:lnTo>
                  <a:lnTo>
                    <a:pt x="24891" y="5383"/>
                  </a:lnTo>
                  <a:close/>
                  <a:moveTo>
                    <a:pt x="13502" y="8416"/>
                  </a:moveTo>
                  <a:lnTo>
                    <a:pt x="13502" y="8416"/>
                  </a:lnTo>
                  <a:lnTo>
                    <a:pt x="13503" y="8391"/>
                  </a:lnTo>
                  <a:lnTo>
                    <a:pt x="13502" y="8382"/>
                  </a:lnTo>
                  <a:lnTo>
                    <a:pt x="13500" y="8379"/>
                  </a:lnTo>
                  <a:lnTo>
                    <a:pt x="13499" y="8383"/>
                  </a:lnTo>
                  <a:lnTo>
                    <a:pt x="13497" y="8392"/>
                  </a:lnTo>
                  <a:lnTo>
                    <a:pt x="13497" y="8394"/>
                  </a:lnTo>
                  <a:lnTo>
                    <a:pt x="13495" y="8390"/>
                  </a:lnTo>
                  <a:lnTo>
                    <a:pt x="13491" y="8390"/>
                  </a:lnTo>
                  <a:lnTo>
                    <a:pt x="13486" y="8393"/>
                  </a:lnTo>
                  <a:lnTo>
                    <a:pt x="13484" y="8399"/>
                  </a:lnTo>
                  <a:lnTo>
                    <a:pt x="13486" y="8405"/>
                  </a:lnTo>
                  <a:lnTo>
                    <a:pt x="13490" y="8409"/>
                  </a:lnTo>
                  <a:lnTo>
                    <a:pt x="13494" y="8409"/>
                  </a:lnTo>
                  <a:lnTo>
                    <a:pt x="13495" y="8409"/>
                  </a:lnTo>
                  <a:lnTo>
                    <a:pt x="13493" y="8412"/>
                  </a:lnTo>
                  <a:lnTo>
                    <a:pt x="13486" y="8413"/>
                  </a:lnTo>
                  <a:lnTo>
                    <a:pt x="13469" y="8412"/>
                  </a:lnTo>
                  <a:lnTo>
                    <a:pt x="13456" y="8407"/>
                  </a:lnTo>
                  <a:lnTo>
                    <a:pt x="13446" y="8407"/>
                  </a:lnTo>
                  <a:lnTo>
                    <a:pt x="13442" y="8405"/>
                  </a:lnTo>
                  <a:lnTo>
                    <a:pt x="13438" y="8399"/>
                  </a:lnTo>
                  <a:lnTo>
                    <a:pt x="13436" y="8391"/>
                  </a:lnTo>
                  <a:lnTo>
                    <a:pt x="13432" y="8385"/>
                  </a:lnTo>
                  <a:lnTo>
                    <a:pt x="13427" y="8385"/>
                  </a:lnTo>
                  <a:lnTo>
                    <a:pt x="13422" y="8402"/>
                  </a:lnTo>
                  <a:lnTo>
                    <a:pt x="13419" y="8403"/>
                  </a:lnTo>
                  <a:lnTo>
                    <a:pt x="13417" y="8400"/>
                  </a:lnTo>
                  <a:lnTo>
                    <a:pt x="13411" y="8401"/>
                  </a:lnTo>
                  <a:lnTo>
                    <a:pt x="13404" y="8407"/>
                  </a:lnTo>
                  <a:lnTo>
                    <a:pt x="13414" y="8420"/>
                  </a:lnTo>
                  <a:lnTo>
                    <a:pt x="13439" y="8433"/>
                  </a:lnTo>
                  <a:lnTo>
                    <a:pt x="13465" y="8437"/>
                  </a:lnTo>
                  <a:lnTo>
                    <a:pt x="13490" y="8430"/>
                  </a:lnTo>
                  <a:lnTo>
                    <a:pt x="13502" y="8416"/>
                  </a:lnTo>
                  <a:close/>
                  <a:moveTo>
                    <a:pt x="6238" y="3276"/>
                  </a:moveTo>
                  <a:lnTo>
                    <a:pt x="6238" y="3276"/>
                  </a:lnTo>
                  <a:lnTo>
                    <a:pt x="6240" y="3270"/>
                  </a:lnTo>
                  <a:lnTo>
                    <a:pt x="6239" y="3267"/>
                  </a:lnTo>
                  <a:lnTo>
                    <a:pt x="6237" y="3259"/>
                  </a:lnTo>
                  <a:lnTo>
                    <a:pt x="6230" y="3251"/>
                  </a:lnTo>
                  <a:lnTo>
                    <a:pt x="6224" y="3258"/>
                  </a:lnTo>
                  <a:lnTo>
                    <a:pt x="6222" y="3270"/>
                  </a:lnTo>
                  <a:lnTo>
                    <a:pt x="6218" y="3278"/>
                  </a:lnTo>
                  <a:lnTo>
                    <a:pt x="6215" y="3282"/>
                  </a:lnTo>
                  <a:lnTo>
                    <a:pt x="6218" y="3284"/>
                  </a:lnTo>
                  <a:lnTo>
                    <a:pt x="6227" y="3284"/>
                  </a:lnTo>
                  <a:lnTo>
                    <a:pt x="6232" y="3282"/>
                  </a:lnTo>
                  <a:lnTo>
                    <a:pt x="6235" y="3280"/>
                  </a:lnTo>
                  <a:lnTo>
                    <a:pt x="6238" y="3276"/>
                  </a:lnTo>
                  <a:close/>
                  <a:moveTo>
                    <a:pt x="20771" y="754"/>
                  </a:moveTo>
                  <a:lnTo>
                    <a:pt x="20771" y="754"/>
                  </a:lnTo>
                  <a:lnTo>
                    <a:pt x="20778" y="746"/>
                  </a:lnTo>
                  <a:lnTo>
                    <a:pt x="20773" y="737"/>
                  </a:lnTo>
                  <a:lnTo>
                    <a:pt x="20768" y="732"/>
                  </a:lnTo>
                  <a:lnTo>
                    <a:pt x="20764" y="734"/>
                  </a:lnTo>
                  <a:lnTo>
                    <a:pt x="20762" y="736"/>
                  </a:lnTo>
                  <a:lnTo>
                    <a:pt x="20763" y="746"/>
                  </a:lnTo>
                  <a:lnTo>
                    <a:pt x="20771" y="754"/>
                  </a:lnTo>
                  <a:close/>
                  <a:moveTo>
                    <a:pt x="21571" y="4469"/>
                  </a:moveTo>
                  <a:lnTo>
                    <a:pt x="21571" y="4469"/>
                  </a:lnTo>
                  <a:lnTo>
                    <a:pt x="21584" y="4468"/>
                  </a:lnTo>
                  <a:lnTo>
                    <a:pt x="21593" y="4461"/>
                  </a:lnTo>
                  <a:lnTo>
                    <a:pt x="21596" y="4451"/>
                  </a:lnTo>
                  <a:lnTo>
                    <a:pt x="21591" y="4442"/>
                  </a:lnTo>
                  <a:lnTo>
                    <a:pt x="21567" y="4437"/>
                  </a:lnTo>
                  <a:lnTo>
                    <a:pt x="21562" y="4432"/>
                  </a:lnTo>
                  <a:lnTo>
                    <a:pt x="21550" y="4426"/>
                  </a:lnTo>
                  <a:lnTo>
                    <a:pt x="21547" y="4420"/>
                  </a:lnTo>
                  <a:lnTo>
                    <a:pt x="21544" y="4412"/>
                  </a:lnTo>
                  <a:lnTo>
                    <a:pt x="21539" y="4407"/>
                  </a:lnTo>
                  <a:lnTo>
                    <a:pt x="21533" y="4406"/>
                  </a:lnTo>
                  <a:lnTo>
                    <a:pt x="21528" y="4408"/>
                  </a:lnTo>
                  <a:lnTo>
                    <a:pt x="21525" y="4413"/>
                  </a:lnTo>
                  <a:lnTo>
                    <a:pt x="21524" y="4416"/>
                  </a:lnTo>
                  <a:lnTo>
                    <a:pt x="21528" y="4420"/>
                  </a:lnTo>
                  <a:lnTo>
                    <a:pt x="21543" y="4431"/>
                  </a:lnTo>
                  <a:lnTo>
                    <a:pt x="21543" y="4439"/>
                  </a:lnTo>
                  <a:lnTo>
                    <a:pt x="21541" y="4449"/>
                  </a:lnTo>
                  <a:lnTo>
                    <a:pt x="21544" y="4458"/>
                  </a:lnTo>
                  <a:lnTo>
                    <a:pt x="21552" y="4464"/>
                  </a:lnTo>
                  <a:lnTo>
                    <a:pt x="21564" y="4466"/>
                  </a:lnTo>
                  <a:lnTo>
                    <a:pt x="21569" y="4467"/>
                  </a:lnTo>
                  <a:lnTo>
                    <a:pt x="21566" y="4468"/>
                  </a:lnTo>
                  <a:lnTo>
                    <a:pt x="21571" y="4469"/>
                  </a:lnTo>
                  <a:close/>
                  <a:moveTo>
                    <a:pt x="25347" y="7507"/>
                  </a:moveTo>
                  <a:lnTo>
                    <a:pt x="25347" y="7507"/>
                  </a:lnTo>
                  <a:lnTo>
                    <a:pt x="25342" y="7506"/>
                  </a:lnTo>
                  <a:lnTo>
                    <a:pt x="25339" y="7505"/>
                  </a:lnTo>
                  <a:lnTo>
                    <a:pt x="25334" y="7504"/>
                  </a:lnTo>
                  <a:lnTo>
                    <a:pt x="25325" y="7505"/>
                  </a:lnTo>
                  <a:lnTo>
                    <a:pt x="25319" y="7514"/>
                  </a:lnTo>
                  <a:lnTo>
                    <a:pt x="25318" y="7527"/>
                  </a:lnTo>
                  <a:lnTo>
                    <a:pt x="25319" y="7541"/>
                  </a:lnTo>
                  <a:lnTo>
                    <a:pt x="25327" y="7552"/>
                  </a:lnTo>
                  <a:lnTo>
                    <a:pt x="25336" y="7554"/>
                  </a:lnTo>
                  <a:lnTo>
                    <a:pt x="25344" y="7552"/>
                  </a:lnTo>
                  <a:lnTo>
                    <a:pt x="25352" y="7544"/>
                  </a:lnTo>
                  <a:lnTo>
                    <a:pt x="25357" y="7527"/>
                  </a:lnTo>
                  <a:lnTo>
                    <a:pt x="25357" y="7517"/>
                  </a:lnTo>
                  <a:lnTo>
                    <a:pt x="25356" y="7516"/>
                  </a:lnTo>
                  <a:lnTo>
                    <a:pt x="25347" y="7507"/>
                  </a:lnTo>
                  <a:close/>
                  <a:moveTo>
                    <a:pt x="9970" y="7558"/>
                  </a:moveTo>
                  <a:lnTo>
                    <a:pt x="9970" y="7558"/>
                  </a:lnTo>
                  <a:lnTo>
                    <a:pt x="9963" y="7562"/>
                  </a:lnTo>
                  <a:lnTo>
                    <a:pt x="9963" y="7567"/>
                  </a:lnTo>
                  <a:lnTo>
                    <a:pt x="9966" y="7574"/>
                  </a:lnTo>
                  <a:lnTo>
                    <a:pt x="9969" y="7582"/>
                  </a:lnTo>
                  <a:lnTo>
                    <a:pt x="9974" y="7587"/>
                  </a:lnTo>
                  <a:lnTo>
                    <a:pt x="9982" y="7582"/>
                  </a:lnTo>
                  <a:lnTo>
                    <a:pt x="9990" y="7571"/>
                  </a:lnTo>
                  <a:lnTo>
                    <a:pt x="9992" y="7560"/>
                  </a:lnTo>
                  <a:lnTo>
                    <a:pt x="9988" y="7555"/>
                  </a:lnTo>
                  <a:lnTo>
                    <a:pt x="9970" y="7558"/>
                  </a:lnTo>
                  <a:close/>
                  <a:moveTo>
                    <a:pt x="17201" y="10652"/>
                  </a:moveTo>
                  <a:lnTo>
                    <a:pt x="17201" y="10652"/>
                  </a:lnTo>
                  <a:lnTo>
                    <a:pt x="17190" y="10651"/>
                  </a:lnTo>
                  <a:lnTo>
                    <a:pt x="17169" y="10653"/>
                  </a:lnTo>
                  <a:lnTo>
                    <a:pt x="17153" y="10660"/>
                  </a:lnTo>
                  <a:lnTo>
                    <a:pt x="17145" y="10670"/>
                  </a:lnTo>
                  <a:lnTo>
                    <a:pt x="17147" y="10676"/>
                  </a:lnTo>
                  <a:lnTo>
                    <a:pt x="17161" y="10677"/>
                  </a:lnTo>
                  <a:lnTo>
                    <a:pt x="17175" y="10677"/>
                  </a:lnTo>
                  <a:lnTo>
                    <a:pt x="17189" y="10673"/>
                  </a:lnTo>
                  <a:lnTo>
                    <a:pt x="17201" y="10668"/>
                  </a:lnTo>
                  <a:lnTo>
                    <a:pt x="17212" y="10661"/>
                  </a:lnTo>
                  <a:lnTo>
                    <a:pt x="17213" y="10653"/>
                  </a:lnTo>
                  <a:lnTo>
                    <a:pt x="17206" y="10651"/>
                  </a:lnTo>
                  <a:lnTo>
                    <a:pt x="17201" y="10652"/>
                  </a:lnTo>
                  <a:close/>
                  <a:moveTo>
                    <a:pt x="25369" y="7726"/>
                  </a:moveTo>
                  <a:lnTo>
                    <a:pt x="25369" y="7726"/>
                  </a:lnTo>
                  <a:lnTo>
                    <a:pt x="25382" y="7713"/>
                  </a:lnTo>
                  <a:lnTo>
                    <a:pt x="25385" y="7703"/>
                  </a:lnTo>
                  <a:lnTo>
                    <a:pt x="25372" y="7709"/>
                  </a:lnTo>
                  <a:lnTo>
                    <a:pt x="25368" y="7713"/>
                  </a:lnTo>
                  <a:lnTo>
                    <a:pt x="25365" y="7711"/>
                  </a:lnTo>
                  <a:lnTo>
                    <a:pt x="25363" y="7704"/>
                  </a:lnTo>
                  <a:lnTo>
                    <a:pt x="25356" y="7682"/>
                  </a:lnTo>
                  <a:lnTo>
                    <a:pt x="25351" y="7679"/>
                  </a:lnTo>
                  <a:lnTo>
                    <a:pt x="25344" y="7680"/>
                  </a:lnTo>
                  <a:lnTo>
                    <a:pt x="25314" y="7691"/>
                  </a:lnTo>
                  <a:lnTo>
                    <a:pt x="25311" y="7694"/>
                  </a:lnTo>
                  <a:lnTo>
                    <a:pt x="25311" y="7668"/>
                  </a:lnTo>
                  <a:lnTo>
                    <a:pt x="25292" y="7686"/>
                  </a:lnTo>
                  <a:lnTo>
                    <a:pt x="25284" y="7713"/>
                  </a:lnTo>
                  <a:lnTo>
                    <a:pt x="25288" y="7742"/>
                  </a:lnTo>
                  <a:lnTo>
                    <a:pt x="25301" y="7765"/>
                  </a:lnTo>
                  <a:lnTo>
                    <a:pt x="25321" y="7752"/>
                  </a:lnTo>
                  <a:lnTo>
                    <a:pt x="25330" y="7750"/>
                  </a:lnTo>
                  <a:lnTo>
                    <a:pt x="25332" y="7761"/>
                  </a:lnTo>
                  <a:lnTo>
                    <a:pt x="25326" y="7771"/>
                  </a:lnTo>
                  <a:lnTo>
                    <a:pt x="25317" y="7782"/>
                  </a:lnTo>
                  <a:lnTo>
                    <a:pt x="25315" y="7790"/>
                  </a:lnTo>
                  <a:lnTo>
                    <a:pt x="25328" y="7796"/>
                  </a:lnTo>
                  <a:lnTo>
                    <a:pt x="25341" y="7789"/>
                  </a:lnTo>
                  <a:lnTo>
                    <a:pt x="25351" y="7798"/>
                  </a:lnTo>
                  <a:lnTo>
                    <a:pt x="25361" y="7818"/>
                  </a:lnTo>
                  <a:lnTo>
                    <a:pt x="25390" y="7841"/>
                  </a:lnTo>
                  <a:lnTo>
                    <a:pt x="25394" y="7847"/>
                  </a:lnTo>
                  <a:lnTo>
                    <a:pt x="25398" y="7844"/>
                  </a:lnTo>
                  <a:lnTo>
                    <a:pt x="25407" y="7849"/>
                  </a:lnTo>
                  <a:lnTo>
                    <a:pt x="25421" y="7862"/>
                  </a:lnTo>
                  <a:lnTo>
                    <a:pt x="25425" y="7871"/>
                  </a:lnTo>
                  <a:lnTo>
                    <a:pt x="25427" y="7876"/>
                  </a:lnTo>
                  <a:lnTo>
                    <a:pt x="25428" y="7878"/>
                  </a:lnTo>
                  <a:lnTo>
                    <a:pt x="25434" y="7876"/>
                  </a:lnTo>
                  <a:lnTo>
                    <a:pt x="25447" y="7867"/>
                  </a:lnTo>
                  <a:lnTo>
                    <a:pt x="25456" y="7856"/>
                  </a:lnTo>
                  <a:lnTo>
                    <a:pt x="25467" y="7848"/>
                  </a:lnTo>
                  <a:lnTo>
                    <a:pt x="25484" y="7845"/>
                  </a:lnTo>
                  <a:lnTo>
                    <a:pt x="25484" y="7840"/>
                  </a:lnTo>
                  <a:lnTo>
                    <a:pt x="25474" y="7839"/>
                  </a:lnTo>
                  <a:lnTo>
                    <a:pt x="25466" y="7835"/>
                  </a:lnTo>
                  <a:lnTo>
                    <a:pt x="25459" y="7830"/>
                  </a:lnTo>
                  <a:lnTo>
                    <a:pt x="25454" y="7828"/>
                  </a:lnTo>
                  <a:lnTo>
                    <a:pt x="25440" y="7828"/>
                  </a:lnTo>
                  <a:lnTo>
                    <a:pt x="25438" y="7825"/>
                  </a:lnTo>
                  <a:lnTo>
                    <a:pt x="25444" y="7818"/>
                  </a:lnTo>
                  <a:lnTo>
                    <a:pt x="25432" y="7818"/>
                  </a:lnTo>
                  <a:lnTo>
                    <a:pt x="25425" y="7815"/>
                  </a:lnTo>
                  <a:lnTo>
                    <a:pt x="25404" y="7783"/>
                  </a:lnTo>
                  <a:lnTo>
                    <a:pt x="25395" y="7776"/>
                  </a:lnTo>
                  <a:lnTo>
                    <a:pt x="25385" y="7779"/>
                  </a:lnTo>
                  <a:lnTo>
                    <a:pt x="25376" y="7766"/>
                  </a:lnTo>
                  <a:lnTo>
                    <a:pt x="25367" y="7757"/>
                  </a:lnTo>
                  <a:lnTo>
                    <a:pt x="25361" y="7747"/>
                  </a:lnTo>
                  <a:lnTo>
                    <a:pt x="25363" y="7734"/>
                  </a:lnTo>
                  <a:lnTo>
                    <a:pt x="25369" y="7726"/>
                  </a:lnTo>
                  <a:close/>
                  <a:moveTo>
                    <a:pt x="25590" y="7958"/>
                  </a:moveTo>
                  <a:lnTo>
                    <a:pt x="25590" y="7958"/>
                  </a:lnTo>
                  <a:lnTo>
                    <a:pt x="25599" y="7949"/>
                  </a:lnTo>
                  <a:lnTo>
                    <a:pt x="25603" y="7936"/>
                  </a:lnTo>
                  <a:lnTo>
                    <a:pt x="25600" y="7925"/>
                  </a:lnTo>
                  <a:lnTo>
                    <a:pt x="25591" y="7914"/>
                  </a:lnTo>
                  <a:lnTo>
                    <a:pt x="25582" y="7906"/>
                  </a:lnTo>
                  <a:lnTo>
                    <a:pt x="25574" y="7902"/>
                  </a:lnTo>
                  <a:lnTo>
                    <a:pt x="25562" y="7899"/>
                  </a:lnTo>
                  <a:lnTo>
                    <a:pt x="25552" y="7890"/>
                  </a:lnTo>
                  <a:lnTo>
                    <a:pt x="25536" y="7871"/>
                  </a:lnTo>
                  <a:lnTo>
                    <a:pt x="25530" y="7866"/>
                  </a:lnTo>
                  <a:lnTo>
                    <a:pt x="25510" y="7855"/>
                  </a:lnTo>
                  <a:lnTo>
                    <a:pt x="25502" y="7849"/>
                  </a:lnTo>
                  <a:lnTo>
                    <a:pt x="25498" y="7848"/>
                  </a:lnTo>
                  <a:lnTo>
                    <a:pt x="25493" y="7848"/>
                  </a:lnTo>
                  <a:lnTo>
                    <a:pt x="25488" y="7849"/>
                  </a:lnTo>
                  <a:lnTo>
                    <a:pt x="25482" y="7851"/>
                  </a:lnTo>
                  <a:lnTo>
                    <a:pt x="25477" y="7854"/>
                  </a:lnTo>
                  <a:lnTo>
                    <a:pt x="25473" y="7857"/>
                  </a:lnTo>
                  <a:lnTo>
                    <a:pt x="25463" y="7868"/>
                  </a:lnTo>
                  <a:lnTo>
                    <a:pt x="25460" y="7870"/>
                  </a:lnTo>
                  <a:lnTo>
                    <a:pt x="25451" y="7875"/>
                  </a:lnTo>
                  <a:lnTo>
                    <a:pt x="25446" y="7879"/>
                  </a:lnTo>
                  <a:lnTo>
                    <a:pt x="25440" y="7884"/>
                  </a:lnTo>
                  <a:lnTo>
                    <a:pt x="25436" y="7890"/>
                  </a:lnTo>
                  <a:lnTo>
                    <a:pt x="25434" y="7896"/>
                  </a:lnTo>
                  <a:lnTo>
                    <a:pt x="25436" y="7904"/>
                  </a:lnTo>
                  <a:lnTo>
                    <a:pt x="25442" y="7909"/>
                  </a:lnTo>
                  <a:lnTo>
                    <a:pt x="25480" y="7926"/>
                  </a:lnTo>
                  <a:lnTo>
                    <a:pt x="25484" y="7931"/>
                  </a:lnTo>
                  <a:lnTo>
                    <a:pt x="25486" y="7939"/>
                  </a:lnTo>
                  <a:lnTo>
                    <a:pt x="25493" y="7940"/>
                  </a:lnTo>
                  <a:lnTo>
                    <a:pt x="25502" y="7938"/>
                  </a:lnTo>
                  <a:lnTo>
                    <a:pt x="25510" y="7938"/>
                  </a:lnTo>
                  <a:lnTo>
                    <a:pt x="25525" y="7957"/>
                  </a:lnTo>
                  <a:lnTo>
                    <a:pt x="25528" y="7962"/>
                  </a:lnTo>
                  <a:lnTo>
                    <a:pt x="25528" y="7968"/>
                  </a:lnTo>
                  <a:lnTo>
                    <a:pt x="25531" y="7977"/>
                  </a:lnTo>
                  <a:lnTo>
                    <a:pt x="25535" y="7987"/>
                  </a:lnTo>
                  <a:lnTo>
                    <a:pt x="25541" y="7995"/>
                  </a:lnTo>
                  <a:lnTo>
                    <a:pt x="25560" y="8006"/>
                  </a:lnTo>
                  <a:lnTo>
                    <a:pt x="25572" y="7997"/>
                  </a:lnTo>
                  <a:lnTo>
                    <a:pt x="25576" y="7981"/>
                  </a:lnTo>
                  <a:lnTo>
                    <a:pt x="25568" y="7969"/>
                  </a:lnTo>
                  <a:lnTo>
                    <a:pt x="25590" y="7958"/>
                  </a:lnTo>
                  <a:close/>
                  <a:moveTo>
                    <a:pt x="948" y="2251"/>
                  </a:moveTo>
                  <a:lnTo>
                    <a:pt x="948" y="2251"/>
                  </a:lnTo>
                  <a:lnTo>
                    <a:pt x="939" y="2236"/>
                  </a:lnTo>
                  <a:lnTo>
                    <a:pt x="925" y="2202"/>
                  </a:lnTo>
                  <a:lnTo>
                    <a:pt x="912" y="2189"/>
                  </a:lnTo>
                  <a:lnTo>
                    <a:pt x="908" y="2192"/>
                  </a:lnTo>
                  <a:lnTo>
                    <a:pt x="904" y="2190"/>
                  </a:lnTo>
                  <a:lnTo>
                    <a:pt x="894" y="2180"/>
                  </a:lnTo>
                  <a:lnTo>
                    <a:pt x="895" y="2201"/>
                  </a:lnTo>
                  <a:lnTo>
                    <a:pt x="894" y="2211"/>
                  </a:lnTo>
                  <a:lnTo>
                    <a:pt x="890" y="2216"/>
                  </a:lnTo>
                  <a:lnTo>
                    <a:pt x="881" y="2213"/>
                  </a:lnTo>
                  <a:lnTo>
                    <a:pt x="876" y="2203"/>
                  </a:lnTo>
                  <a:lnTo>
                    <a:pt x="873" y="2191"/>
                  </a:lnTo>
                  <a:lnTo>
                    <a:pt x="870" y="2182"/>
                  </a:lnTo>
                  <a:lnTo>
                    <a:pt x="855" y="2163"/>
                  </a:lnTo>
                  <a:lnTo>
                    <a:pt x="846" y="2154"/>
                  </a:lnTo>
                  <a:lnTo>
                    <a:pt x="835" y="2150"/>
                  </a:lnTo>
                  <a:lnTo>
                    <a:pt x="826" y="2148"/>
                  </a:lnTo>
                  <a:lnTo>
                    <a:pt x="805" y="2137"/>
                  </a:lnTo>
                  <a:lnTo>
                    <a:pt x="797" y="2132"/>
                  </a:lnTo>
                  <a:lnTo>
                    <a:pt x="740" y="2080"/>
                  </a:lnTo>
                  <a:lnTo>
                    <a:pt x="731" y="2081"/>
                  </a:lnTo>
                  <a:lnTo>
                    <a:pt x="733" y="2087"/>
                  </a:lnTo>
                  <a:lnTo>
                    <a:pt x="742" y="2093"/>
                  </a:lnTo>
                  <a:lnTo>
                    <a:pt x="744" y="2097"/>
                  </a:lnTo>
                  <a:lnTo>
                    <a:pt x="743" y="2101"/>
                  </a:lnTo>
                  <a:lnTo>
                    <a:pt x="739" y="2101"/>
                  </a:lnTo>
                  <a:lnTo>
                    <a:pt x="733" y="2097"/>
                  </a:lnTo>
                  <a:lnTo>
                    <a:pt x="728" y="2094"/>
                  </a:lnTo>
                  <a:lnTo>
                    <a:pt x="722" y="2090"/>
                  </a:lnTo>
                  <a:lnTo>
                    <a:pt x="715" y="2089"/>
                  </a:lnTo>
                  <a:lnTo>
                    <a:pt x="705" y="2097"/>
                  </a:lnTo>
                  <a:lnTo>
                    <a:pt x="704" y="2083"/>
                  </a:lnTo>
                  <a:lnTo>
                    <a:pt x="723" y="2058"/>
                  </a:lnTo>
                  <a:lnTo>
                    <a:pt x="720" y="2046"/>
                  </a:lnTo>
                  <a:lnTo>
                    <a:pt x="707" y="2036"/>
                  </a:lnTo>
                  <a:lnTo>
                    <a:pt x="697" y="2030"/>
                  </a:lnTo>
                  <a:lnTo>
                    <a:pt x="656" y="2024"/>
                  </a:lnTo>
                  <a:lnTo>
                    <a:pt x="640" y="2018"/>
                  </a:lnTo>
                  <a:lnTo>
                    <a:pt x="626" y="2010"/>
                  </a:lnTo>
                  <a:lnTo>
                    <a:pt x="615" y="1985"/>
                  </a:lnTo>
                  <a:lnTo>
                    <a:pt x="591" y="1975"/>
                  </a:lnTo>
                  <a:lnTo>
                    <a:pt x="585" y="1964"/>
                  </a:lnTo>
                  <a:lnTo>
                    <a:pt x="562" y="1973"/>
                  </a:lnTo>
                  <a:lnTo>
                    <a:pt x="562" y="1949"/>
                  </a:lnTo>
                  <a:lnTo>
                    <a:pt x="567" y="1946"/>
                  </a:lnTo>
                  <a:lnTo>
                    <a:pt x="580" y="1956"/>
                  </a:lnTo>
                  <a:lnTo>
                    <a:pt x="581" y="1935"/>
                  </a:lnTo>
                  <a:lnTo>
                    <a:pt x="563" y="1927"/>
                  </a:lnTo>
                  <a:lnTo>
                    <a:pt x="518" y="1925"/>
                  </a:lnTo>
                  <a:lnTo>
                    <a:pt x="516" y="1921"/>
                  </a:lnTo>
                  <a:lnTo>
                    <a:pt x="510" y="1915"/>
                  </a:lnTo>
                  <a:lnTo>
                    <a:pt x="503" y="1912"/>
                  </a:lnTo>
                  <a:lnTo>
                    <a:pt x="500" y="1918"/>
                  </a:lnTo>
                  <a:lnTo>
                    <a:pt x="499" y="1923"/>
                  </a:lnTo>
                  <a:lnTo>
                    <a:pt x="491" y="1936"/>
                  </a:lnTo>
                  <a:lnTo>
                    <a:pt x="490" y="1942"/>
                  </a:lnTo>
                  <a:lnTo>
                    <a:pt x="487" y="1953"/>
                  </a:lnTo>
                  <a:lnTo>
                    <a:pt x="487" y="1960"/>
                  </a:lnTo>
                  <a:lnTo>
                    <a:pt x="489" y="1961"/>
                  </a:lnTo>
                  <a:lnTo>
                    <a:pt x="494" y="1964"/>
                  </a:lnTo>
                  <a:lnTo>
                    <a:pt x="497" y="1968"/>
                  </a:lnTo>
                  <a:lnTo>
                    <a:pt x="496" y="1973"/>
                  </a:lnTo>
                  <a:lnTo>
                    <a:pt x="488" y="1977"/>
                  </a:lnTo>
                  <a:lnTo>
                    <a:pt x="454" y="1977"/>
                  </a:lnTo>
                  <a:lnTo>
                    <a:pt x="444" y="1983"/>
                  </a:lnTo>
                  <a:lnTo>
                    <a:pt x="439" y="1995"/>
                  </a:lnTo>
                  <a:lnTo>
                    <a:pt x="439" y="2008"/>
                  </a:lnTo>
                  <a:lnTo>
                    <a:pt x="443" y="2017"/>
                  </a:lnTo>
                  <a:lnTo>
                    <a:pt x="451" y="2018"/>
                  </a:lnTo>
                  <a:lnTo>
                    <a:pt x="462" y="2017"/>
                  </a:lnTo>
                  <a:lnTo>
                    <a:pt x="470" y="2017"/>
                  </a:lnTo>
                  <a:lnTo>
                    <a:pt x="467" y="2024"/>
                  </a:lnTo>
                  <a:lnTo>
                    <a:pt x="467" y="2030"/>
                  </a:lnTo>
                  <a:lnTo>
                    <a:pt x="476" y="2036"/>
                  </a:lnTo>
                  <a:lnTo>
                    <a:pt x="484" y="2042"/>
                  </a:lnTo>
                  <a:lnTo>
                    <a:pt x="482" y="2052"/>
                  </a:lnTo>
                  <a:lnTo>
                    <a:pt x="501" y="2065"/>
                  </a:lnTo>
                  <a:lnTo>
                    <a:pt x="505" y="2070"/>
                  </a:lnTo>
                  <a:lnTo>
                    <a:pt x="501" y="2084"/>
                  </a:lnTo>
                  <a:lnTo>
                    <a:pt x="499" y="2093"/>
                  </a:lnTo>
                  <a:lnTo>
                    <a:pt x="503" y="2097"/>
                  </a:lnTo>
                  <a:lnTo>
                    <a:pt x="549" y="2097"/>
                  </a:lnTo>
                  <a:lnTo>
                    <a:pt x="557" y="2102"/>
                  </a:lnTo>
                  <a:lnTo>
                    <a:pt x="559" y="2108"/>
                  </a:lnTo>
                  <a:lnTo>
                    <a:pt x="559" y="2114"/>
                  </a:lnTo>
                  <a:lnTo>
                    <a:pt x="562" y="2119"/>
                  </a:lnTo>
                  <a:lnTo>
                    <a:pt x="568" y="2122"/>
                  </a:lnTo>
                  <a:lnTo>
                    <a:pt x="581" y="2125"/>
                  </a:lnTo>
                  <a:lnTo>
                    <a:pt x="594" y="2135"/>
                  </a:lnTo>
                  <a:lnTo>
                    <a:pt x="599" y="2135"/>
                  </a:lnTo>
                  <a:lnTo>
                    <a:pt x="604" y="2133"/>
                  </a:lnTo>
                  <a:lnTo>
                    <a:pt x="609" y="2132"/>
                  </a:lnTo>
                  <a:lnTo>
                    <a:pt x="611" y="2130"/>
                  </a:lnTo>
                  <a:lnTo>
                    <a:pt x="613" y="2127"/>
                  </a:lnTo>
                  <a:lnTo>
                    <a:pt x="615" y="2123"/>
                  </a:lnTo>
                  <a:lnTo>
                    <a:pt x="620" y="2124"/>
                  </a:lnTo>
                  <a:lnTo>
                    <a:pt x="625" y="2130"/>
                  </a:lnTo>
                  <a:lnTo>
                    <a:pt x="629" y="2132"/>
                  </a:lnTo>
                  <a:lnTo>
                    <a:pt x="645" y="2131"/>
                  </a:lnTo>
                  <a:lnTo>
                    <a:pt x="651" y="2132"/>
                  </a:lnTo>
                  <a:lnTo>
                    <a:pt x="666" y="2137"/>
                  </a:lnTo>
                  <a:lnTo>
                    <a:pt x="681" y="2145"/>
                  </a:lnTo>
                  <a:lnTo>
                    <a:pt x="793" y="2229"/>
                  </a:lnTo>
                  <a:lnTo>
                    <a:pt x="822" y="2237"/>
                  </a:lnTo>
                  <a:lnTo>
                    <a:pt x="836" y="2257"/>
                  </a:lnTo>
                  <a:lnTo>
                    <a:pt x="850" y="2264"/>
                  </a:lnTo>
                  <a:lnTo>
                    <a:pt x="847" y="2267"/>
                  </a:lnTo>
                  <a:lnTo>
                    <a:pt x="840" y="2274"/>
                  </a:lnTo>
                  <a:lnTo>
                    <a:pt x="837" y="2277"/>
                  </a:lnTo>
                  <a:lnTo>
                    <a:pt x="845" y="2284"/>
                  </a:lnTo>
                  <a:lnTo>
                    <a:pt x="855" y="2289"/>
                  </a:lnTo>
                  <a:lnTo>
                    <a:pt x="865" y="2289"/>
                  </a:lnTo>
                  <a:lnTo>
                    <a:pt x="877" y="2282"/>
                  </a:lnTo>
                  <a:lnTo>
                    <a:pt x="904" y="2297"/>
                  </a:lnTo>
                  <a:lnTo>
                    <a:pt x="910" y="2297"/>
                  </a:lnTo>
                  <a:lnTo>
                    <a:pt x="916" y="2293"/>
                  </a:lnTo>
                  <a:lnTo>
                    <a:pt x="939" y="2286"/>
                  </a:lnTo>
                  <a:lnTo>
                    <a:pt x="935" y="2286"/>
                  </a:lnTo>
                  <a:lnTo>
                    <a:pt x="949" y="2284"/>
                  </a:lnTo>
                  <a:lnTo>
                    <a:pt x="949" y="2274"/>
                  </a:lnTo>
                  <a:lnTo>
                    <a:pt x="945" y="2262"/>
                  </a:lnTo>
                  <a:lnTo>
                    <a:pt x="948" y="2251"/>
                  </a:lnTo>
                  <a:close/>
                  <a:moveTo>
                    <a:pt x="2253" y="3931"/>
                  </a:moveTo>
                  <a:lnTo>
                    <a:pt x="2253" y="3931"/>
                  </a:lnTo>
                  <a:lnTo>
                    <a:pt x="2242" y="3904"/>
                  </a:lnTo>
                  <a:lnTo>
                    <a:pt x="2235" y="3872"/>
                  </a:lnTo>
                  <a:lnTo>
                    <a:pt x="2218" y="3836"/>
                  </a:lnTo>
                  <a:lnTo>
                    <a:pt x="2194" y="3807"/>
                  </a:lnTo>
                  <a:lnTo>
                    <a:pt x="2167" y="3796"/>
                  </a:lnTo>
                  <a:lnTo>
                    <a:pt x="2142" y="3800"/>
                  </a:lnTo>
                  <a:lnTo>
                    <a:pt x="2128" y="3804"/>
                  </a:lnTo>
                  <a:lnTo>
                    <a:pt x="2122" y="3807"/>
                  </a:lnTo>
                  <a:lnTo>
                    <a:pt x="2126" y="3815"/>
                  </a:lnTo>
                  <a:lnTo>
                    <a:pt x="2136" y="3821"/>
                  </a:lnTo>
                  <a:lnTo>
                    <a:pt x="2146" y="3826"/>
                  </a:lnTo>
                  <a:lnTo>
                    <a:pt x="2153" y="3831"/>
                  </a:lnTo>
                  <a:lnTo>
                    <a:pt x="2166" y="3850"/>
                  </a:lnTo>
                  <a:lnTo>
                    <a:pt x="2183" y="3893"/>
                  </a:lnTo>
                  <a:lnTo>
                    <a:pt x="2194" y="3911"/>
                  </a:lnTo>
                  <a:lnTo>
                    <a:pt x="2263" y="4007"/>
                  </a:lnTo>
                  <a:lnTo>
                    <a:pt x="2281" y="4047"/>
                  </a:lnTo>
                  <a:lnTo>
                    <a:pt x="2286" y="4047"/>
                  </a:lnTo>
                  <a:lnTo>
                    <a:pt x="2286" y="4040"/>
                  </a:lnTo>
                  <a:lnTo>
                    <a:pt x="2282" y="4030"/>
                  </a:lnTo>
                  <a:lnTo>
                    <a:pt x="2281" y="4023"/>
                  </a:lnTo>
                  <a:lnTo>
                    <a:pt x="2283" y="4017"/>
                  </a:lnTo>
                  <a:lnTo>
                    <a:pt x="2288" y="4010"/>
                  </a:lnTo>
                  <a:lnTo>
                    <a:pt x="2290" y="4003"/>
                  </a:lnTo>
                  <a:lnTo>
                    <a:pt x="2290" y="4007"/>
                  </a:lnTo>
                  <a:lnTo>
                    <a:pt x="2293" y="3981"/>
                  </a:lnTo>
                  <a:lnTo>
                    <a:pt x="2275" y="3956"/>
                  </a:lnTo>
                  <a:lnTo>
                    <a:pt x="2253" y="3931"/>
                  </a:lnTo>
                  <a:close/>
                  <a:moveTo>
                    <a:pt x="2255" y="4051"/>
                  </a:moveTo>
                  <a:lnTo>
                    <a:pt x="2255" y="4051"/>
                  </a:lnTo>
                  <a:lnTo>
                    <a:pt x="2259" y="4037"/>
                  </a:lnTo>
                  <a:lnTo>
                    <a:pt x="2250" y="4014"/>
                  </a:lnTo>
                  <a:lnTo>
                    <a:pt x="2223" y="3968"/>
                  </a:lnTo>
                  <a:lnTo>
                    <a:pt x="2216" y="3961"/>
                  </a:lnTo>
                  <a:lnTo>
                    <a:pt x="2209" y="3959"/>
                  </a:lnTo>
                  <a:lnTo>
                    <a:pt x="2202" y="3968"/>
                  </a:lnTo>
                  <a:lnTo>
                    <a:pt x="2207" y="3988"/>
                  </a:lnTo>
                  <a:lnTo>
                    <a:pt x="2206" y="3994"/>
                  </a:lnTo>
                  <a:lnTo>
                    <a:pt x="2203" y="3998"/>
                  </a:lnTo>
                  <a:lnTo>
                    <a:pt x="2199" y="4000"/>
                  </a:lnTo>
                  <a:lnTo>
                    <a:pt x="2193" y="4001"/>
                  </a:lnTo>
                  <a:lnTo>
                    <a:pt x="2189" y="4003"/>
                  </a:lnTo>
                  <a:lnTo>
                    <a:pt x="2183" y="4009"/>
                  </a:lnTo>
                  <a:lnTo>
                    <a:pt x="2170" y="4027"/>
                  </a:lnTo>
                  <a:lnTo>
                    <a:pt x="2167" y="4034"/>
                  </a:lnTo>
                  <a:lnTo>
                    <a:pt x="2166" y="4047"/>
                  </a:lnTo>
                  <a:lnTo>
                    <a:pt x="2168" y="4073"/>
                  </a:lnTo>
                  <a:lnTo>
                    <a:pt x="2167" y="4086"/>
                  </a:lnTo>
                  <a:lnTo>
                    <a:pt x="2153" y="4128"/>
                  </a:lnTo>
                  <a:lnTo>
                    <a:pt x="2149" y="4135"/>
                  </a:lnTo>
                  <a:lnTo>
                    <a:pt x="2144" y="4136"/>
                  </a:lnTo>
                  <a:lnTo>
                    <a:pt x="2133" y="4131"/>
                  </a:lnTo>
                  <a:lnTo>
                    <a:pt x="2127" y="4131"/>
                  </a:lnTo>
                  <a:lnTo>
                    <a:pt x="2122" y="4132"/>
                  </a:lnTo>
                  <a:lnTo>
                    <a:pt x="2115" y="4138"/>
                  </a:lnTo>
                  <a:lnTo>
                    <a:pt x="2109" y="4140"/>
                  </a:lnTo>
                  <a:lnTo>
                    <a:pt x="2136" y="4146"/>
                  </a:lnTo>
                  <a:lnTo>
                    <a:pt x="2184" y="4173"/>
                  </a:lnTo>
                  <a:lnTo>
                    <a:pt x="2204" y="4179"/>
                  </a:lnTo>
                  <a:lnTo>
                    <a:pt x="2203" y="4174"/>
                  </a:lnTo>
                  <a:lnTo>
                    <a:pt x="2204" y="4163"/>
                  </a:lnTo>
                  <a:lnTo>
                    <a:pt x="2207" y="4152"/>
                  </a:lnTo>
                  <a:lnTo>
                    <a:pt x="2210" y="4144"/>
                  </a:lnTo>
                  <a:lnTo>
                    <a:pt x="2221" y="4141"/>
                  </a:lnTo>
                  <a:lnTo>
                    <a:pt x="2230" y="4143"/>
                  </a:lnTo>
                  <a:lnTo>
                    <a:pt x="2234" y="4149"/>
                  </a:lnTo>
                  <a:lnTo>
                    <a:pt x="2228" y="4157"/>
                  </a:lnTo>
                  <a:lnTo>
                    <a:pt x="2234" y="4160"/>
                  </a:lnTo>
                  <a:lnTo>
                    <a:pt x="2238" y="4160"/>
                  </a:lnTo>
                  <a:lnTo>
                    <a:pt x="2241" y="4158"/>
                  </a:lnTo>
                  <a:lnTo>
                    <a:pt x="2246" y="4153"/>
                  </a:lnTo>
                  <a:lnTo>
                    <a:pt x="2248" y="4156"/>
                  </a:lnTo>
                  <a:lnTo>
                    <a:pt x="2249" y="4158"/>
                  </a:lnTo>
                  <a:lnTo>
                    <a:pt x="2250" y="4161"/>
                  </a:lnTo>
                  <a:lnTo>
                    <a:pt x="2251" y="4166"/>
                  </a:lnTo>
                  <a:lnTo>
                    <a:pt x="2255" y="4166"/>
                  </a:lnTo>
                  <a:lnTo>
                    <a:pt x="2258" y="4157"/>
                  </a:lnTo>
                  <a:lnTo>
                    <a:pt x="2256" y="4146"/>
                  </a:lnTo>
                  <a:lnTo>
                    <a:pt x="2252" y="4137"/>
                  </a:lnTo>
                  <a:lnTo>
                    <a:pt x="2246" y="4131"/>
                  </a:lnTo>
                  <a:lnTo>
                    <a:pt x="2251" y="4123"/>
                  </a:lnTo>
                  <a:lnTo>
                    <a:pt x="2256" y="4115"/>
                  </a:lnTo>
                  <a:lnTo>
                    <a:pt x="2258" y="4107"/>
                  </a:lnTo>
                  <a:lnTo>
                    <a:pt x="2256" y="4098"/>
                  </a:lnTo>
                  <a:lnTo>
                    <a:pt x="2260" y="4087"/>
                  </a:lnTo>
                  <a:lnTo>
                    <a:pt x="2263" y="4074"/>
                  </a:lnTo>
                  <a:lnTo>
                    <a:pt x="2261" y="4062"/>
                  </a:lnTo>
                  <a:lnTo>
                    <a:pt x="2255" y="4051"/>
                  </a:lnTo>
                  <a:close/>
                  <a:moveTo>
                    <a:pt x="3110" y="5276"/>
                  </a:moveTo>
                  <a:lnTo>
                    <a:pt x="3110" y="5276"/>
                  </a:lnTo>
                  <a:lnTo>
                    <a:pt x="3105" y="5270"/>
                  </a:lnTo>
                  <a:lnTo>
                    <a:pt x="3086" y="5257"/>
                  </a:lnTo>
                  <a:lnTo>
                    <a:pt x="3082" y="5255"/>
                  </a:lnTo>
                  <a:lnTo>
                    <a:pt x="3079" y="5254"/>
                  </a:lnTo>
                  <a:lnTo>
                    <a:pt x="3079" y="5251"/>
                  </a:lnTo>
                  <a:lnTo>
                    <a:pt x="3080" y="5243"/>
                  </a:lnTo>
                  <a:lnTo>
                    <a:pt x="3079" y="5240"/>
                  </a:lnTo>
                  <a:lnTo>
                    <a:pt x="3044" y="5190"/>
                  </a:lnTo>
                  <a:lnTo>
                    <a:pt x="3035" y="5170"/>
                  </a:lnTo>
                  <a:lnTo>
                    <a:pt x="3031" y="5144"/>
                  </a:lnTo>
                  <a:lnTo>
                    <a:pt x="3027" y="5131"/>
                  </a:lnTo>
                  <a:lnTo>
                    <a:pt x="3019" y="5126"/>
                  </a:lnTo>
                  <a:lnTo>
                    <a:pt x="3007" y="5122"/>
                  </a:lnTo>
                  <a:lnTo>
                    <a:pt x="2999" y="5114"/>
                  </a:lnTo>
                  <a:lnTo>
                    <a:pt x="2994" y="5106"/>
                  </a:lnTo>
                  <a:lnTo>
                    <a:pt x="2986" y="5099"/>
                  </a:lnTo>
                  <a:lnTo>
                    <a:pt x="2962" y="5097"/>
                  </a:lnTo>
                  <a:lnTo>
                    <a:pt x="2943" y="5107"/>
                  </a:lnTo>
                  <a:lnTo>
                    <a:pt x="2933" y="5127"/>
                  </a:lnTo>
                  <a:lnTo>
                    <a:pt x="2933" y="5152"/>
                  </a:lnTo>
                  <a:lnTo>
                    <a:pt x="2942" y="5166"/>
                  </a:lnTo>
                  <a:lnTo>
                    <a:pt x="2943" y="5172"/>
                  </a:lnTo>
                  <a:lnTo>
                    <a:pt x="2935" y="5174"/>
                  </a:lnTo>
                  <a:lnTo>
                    <a:pt x="2926" y="5172"/>
                  </a:lnTo>
                  <a:lnTo>
                    <a:pt x="2921" y="5174"/>
                  </a:lnTo>
                  <a:lnTo>
                    <a:pt x="2919" y="5181"/>
                  </a:lnTo>
                  <a:lnTo>
                    <a:pt x="2921" y="5188"/>
                  </a:lnTo>
                  <a:lnTo>
                    <a:pt x="2937" y="5205"/>
                  </a:lnTo>
                  <a:lnTo>
                    <a:pt x="2945" y="5225"/>
                  </a:lnTo>
                  <a:lnTo>
                    <a:pt x="2951" y="5231"/>
                  </a:lnTo>
                  <a:lnTo>
                    <a:pt x="2955" y="5223"/>
                  </a:lnTo>
                  <a:lnTo>
                    <a:pt x="2959" y="5223"/>
                  </a:lnTo>
                  <a:lnTo>
                    <a:pt x="2960" y="5230"/>
                  </a:lnTo>
                  <a:lnTo>
                    <a:pt x="2962" y="5234"/>
                  </a:lnTo>
                  <a:lnTo>
                    <a:pt x="2964" y="5235"/>
                  </a:lnTo>
                  <a:lnTo>
                    <a:pt x="2968" y="5231"/>
                  </a:lnTo>
                  <a:lnTo>
                    <a:pt x="2977" y="5237"/>
                  </a:lnTo>
                  <a:lnTo>
                    <a:pt x="2973" y="5243"/>
                  </a:lnTo>
                  <a:lnTo>
                    <a:pt x="2968" y="5250"/>
                  </a:lnTo>
                  <a:lnTo>
                    <a:pt x="2968" y="5258"/>
                  </a:lnTo>
                  <a:lnTo>
                    <a:pt x="2973" y="5259"/>
                  </a:lnTo>
                  <a:lnTo>
                    <a:pt x="2997" y="5258"/>
                  </a:lnTo>
                  <a:lnTo>
                    <a:pt x="3012" y="5262"/>
                  </a:lnTo>
                  <a:lnTo>
                    <a:pt x="3022" y="5271"/>
                  </a:lnTo>
                  <a:lnTo>
                    <a:pt x="3030" y="5281"/>
                  </a:lnTo>
                  <a:lnTo>
                    <a:pt x="3039" y="5289"/>
                  </a:lnTo>
                  <a:lnTo>
                    <a:pt x="3047" y="5291"/>
                  </a:lnTo>
                  <a:lnTo>
                    <a:pt x="3063" y="5292"/>
                  </a:lnTo>
                  <a:lnTo>
                    <a:pt x="3070" y="5294"/>
                  </a:lnTo>
                  <a:lnTo>
                    <a:pt x="3077" y="5298"/>
                  </a:lnTo>
                  <a:lnTo>
                    <a:pt x="3082" y="5304"/>
                  </a:lnTo>
                  <a:lnTo>
                    <a:pt x="3088" y="5309"/>
                  </a:lnTo>
                  <a:lnTo>
                    <a:pt x="3095" y="5311"/>
                  </a:lnTo>
                  <a:lnTo>
                    <a:pt x="3111" y="5311"/>
                  </a:lnTo>
                  <a:lnTo>
                    <a:pt x="3117" y="5314"/>
                  </a:lnTo>
                  <a:lnTo>
                    <a:pt x="3121" y="5329"/>
                  </a:lnTo>
                  <a:lnTo>
                    <a:pt x="3125" y="5332"/>
                  </a:lnTo>
                  <a:lnTo>
                    <a:pt x="3130" y="5330"/>
                  </a:lnTo>
                  <a:lnTo>
                    <a:pt x="3133" y="5324"/>
                  </a:lnTo>
                  <a:lnTo>
                    <a:pt x="3133" y="5328"/>
                  </a:lnTo>
                  <a:lnTo>
                    <a:pt x="3133" y="5317"/>
                  </a:lnTo>
                  <a:lnTo>
                    <a:pt x="3127" y="5302"/>
                  </a:lnTo>
                  <a:lnTo>
                    <a:pt x="3110" y="5276"/>
                  </a:lnTo>
                  <a:close/>
                  <a:moveTo>
                    <a:pt x="3364" y="5571"/>
                  </a:moveTo>
                  <a:lnTo>
                    <a:pt x="3364" y="5571"/>
                  </a:lnTo>
                  <a:lnTo>
                    <a:pt x="3366" y="5563"/>
                  </a:lnTo>
                  <a:lnTo>
                    <a:pt x="3364" y="5553"/>
                  </a:lnTo>
                  <a:lnTo>
                    <a:pt x="3360" y="5542"/>
                  </a:lnTo>
                  <a:lnTo>
                    <a:pt x="3358" y="5533"/>
                  </a:lnTo>
                  <a:lnTo>
                    <a:pt x="3355" y="5523"/>
                  </a:lnTo>
                  <a:lnTo>
                    <a:pt x="3340" y="5509"/>
                  </a:lnTo>
                  <a:lnTo>
                    <a:pt x="3336" y="5503"/>
                  </a:lnTo>
                  <a:lnTo>
                    <a:pt x="3332" y="5491"/>
                  </a:lnTo>
                  <a:lnTo>
                    <a:pt x="3323" y="5485"/>
                  </a:lnTo>
                  <a:lnTo>
                    <a:pt x="3300" y="5478"/>
                  </a:lnTo>
                  <a:lnTo>
                    <a:pt x="3294" y="5473"/>
                  </a:lnTo>
                  <a:lnTo>
                    <a:pt x="3281" y="5458"/>
                  </a:lnTo>
                  <a:lnTo>
                    <a:pt x="3245" y="5425"/>
                  </a:lnTo>
                  <a:lnTo>
                    <a:pt x="3239" y="5421"/>
                  </a:lnTo>
                  <a:lnTo>
                    <a:pt x="3233" y="5412"/>
                  </a:lnTo>
                  <a:lnTo>
                    <a:pt x="3226" y="5403"/>
                  </a:lnTo>
                  <a:lnTo>
                    <a:pt x="3214" y="5399"/>
                  </a:lnTo>
                  <a:lnTo>
                    <a:pt x="3208" y="5405"/>
                  </a:lnTo>
                  <a:lnTo>
                    <a:pt x="3203" y="5419"/>
                  </a:lnTo>
                  <a:lnTo>
                    <a:pt x="3199" y="5443"/>
                  </a:lnTo>
                  <a:lnTo>
                    <a:pt x="3200" y="5447"/>
                  </a:lnTo>
                  <a:lnTo>
                    <a:pt x="3203" y="5460"/>
                  </a:lnTo>
                  <a:lnTo>
                    <a:pt x="3209" y="5470"/>
                  </a:lnTo>
                  <a:lnTo>
                    <a:pt x="3209" y="5475"/>
                  </a:lnTo>
                  <a:lnTo>
                    <a:pt x="3203" y="5483"/>
                  </a:lnTo>
                  <a:lnTo>
                    <a:pt x="3215" y="5489"/>
                  </a:lnTo>
                  <a:lnTo>
                    <a:pt x="3222" y="5498"/>
                  </a:lnTo>
                  <a:lnTo>
                    <a:pt x="3225" y="5511"/>
                  </a:lnTo>
                  <a:lnTo>
                    <a:pt x="3225" y="5529"/>
                  </a:lnTo>
                  <a:lnTo>
                    <a:pt x="3217" y="5566"/>
                  </a:lnTo>
                  <a:lnTo>
                    <a:pt x="3216" y="5581"/>
                  </a:lnTo>
                  <a:lnTo>
                    <a:pt x="3225" y="5579"/>
                  </a:lnTo>
                  <a:lnTo>
                    <a:pt x="3229" y="5590"/>
                  </a:lnTo>
                  <a:lnTo>
                    <a:pt x="3230" y="5614"/>
                  </a:lnTo>
                  <a:lnTo>
                    <a:pt x="3235" y="5624"/>
                  </a:lnTo>
                  <a:lnTo>
                    <a:pt x="3243" y="5627"/>
                  </a:lnTo>
                  <a:lnTo>
                    <a:pt x="3249" y="5623"/>
                  </a:lnTo>
                  <a:lnTo>
                    <a:pt x="3254" y="5615"/>
                  </a:lnTo>
                  <a:lnTo>
                    <a:pt x="3257" y="5606"/>
                  </a:lnTo>
                  <a:lnTo>
                    <a:pt x="3268" y="5612"/>
                  </a:lnTo>
                  <a:lnTo>
                    <a:pt x="3283" y="5617"/>
                  </a:lnTo>
                  <a:lnTo>
                    <a:pt x="3299" y="5620"/>
                  </a:lnTo>
                  <a:lnTo>
                    <a:pt x="3314" y="5615"/>
                  </a:lnTo>
                  <a:lnTo>
                    <a:pt x="3318" y="5609"/>
                  </a:lnTo>
                  <a:lnTo>
                    <a:pt x="3322" y="5592"/>
                  </a:lnTo>
                  <a:lnTo>
                    <a:pt x="3327" y="5584"/>
                  </a:lnTo>
                  <a:lnTo>
                    <a:pt x="3336" y="5580"/>
                  </a:lnTo>
                  <a:lnTo>
                    <a:pt x="3357" y="5576"/>
                  </a:lnTo>
                  <a:lnTo>
                    <a:pt x="3364" y="5571"/>
                  </a:lnTo>
                  <a:close/>
                  <a:moveTo>
                    <a:pt x="3500" y="5884"/>
                  </a:moveTo>
                  <a:lnTo>
                    <a:pt x="3500" y="5884"/>
                  </a:lnTo>
                  <a:lnTo>
                    <a:pt x="3491" y="5868"/>
                  </a:lnTo>
                  <a:lnTo>
                    <a:pt x="3482" y="5848"/>
                  </a:lnTo>
                  <a:lnTo>
                    <a:pt x="3483" y="5842"/>
                  </a:lnTo>
                  <a:lnTo>
                    <a:pt x="3485" y="5837"/>
                  </a:lnTo>
                  <a:lnTo>
                    <a:pt x="3485" y="5833"/>
                  </a:lnTo>
                  <a:lnTo>
                    <a:pt x="3476" y="5831"/>
                  </a:lnTo>
                  <a:lnTo>
                    <a:pt x="3471" y="5828"/>
                  </a:lnTo>
                  <a:lnTo>
                    <a:pt x="3474" y="5823"/>
                  </a:lnTo>
                  <a:lnTo>
                    <a:pt x="3487" y="5813"/>
                  </a:lnTo>
                  <a:lnTo>
                    <a:pt x="3493" y="5817"/>
                  </a:lnTo>
                  <a:lnTo>
                    <a:pt x="3500" y="5818"/>
                  </a:lnTo>
                  <a:lnTo>
                    <a:pt x="3507" y="5817"/>
                  </a:lnTo>
                  <a:lnTo>
                    <a:pt x="3514" y="5813"/>
                  </a:lnTo>
                  <a:lnTo>
                    <a:pt x="3525" y="5816"/>
                  </a:lnTo>
                  <a:lnTo>
                    <a:pt x="3530" y="5804"/>
                  </a:lnTo>
                  <a:lnTo>
                    <a:pt x="3531" y="5786"/>
                  </a:lnTo>
                  <a:lnTo>
                    <a:pt x="3527" y="5773"/>
                  </a:lnTo>
                  <a:lnTo>
                    <a:pt x="3530" y="5763"/>
                  </a:lnTo>
                  <a:lnTo>
                    <a:pt x="3529" y="5755"/>
                  </a:lnTo>
                  <a:lnTo>
                    <a:pt x="3527" y="5740"/>
                  </a:lnTo>
                  <a:lnTo>
                    <a:pt x="3494" y="5708"/>
                  </a:lnTo>
                  <a:lnTo>
                    <a:pt x="3474" y="5675"/>
                  </a:lnTo>
                  <a:lnTo>
                    <a:pt x="3454" y="5662"/>
                  </a:lnTo>
                  <a:lnTo>
                    <a:pt x="3416" y="5624"/>
                  </a:lnTo>
                  <a:lnTo>
                    <a:pt x="3413" y="5621"/>
                  </a:lnTo>
                  <a:lnTo>
                    <a:pt x="3410" y="5620"/>
                  </a:lnTo>
                  <a:lnTo>
                    <a:pt x="3406" y="5618"/>
                  </a:lnTo>
                  <a:lnTo>
                    <a:pt x="3402" y="5615"/>
                  </a:lnTo>
                  <a:lnTo>
                    <a:pt x="3390" y="5596"/>
                  </a:lnTo>
                  <a:lnTo>
                    <a:pt x="3386" y="5592"/>
                  </a:lnTo>
                  <a:lnTo>
                    <a:pt x="3380" y="5588"/>
                  </a:lnTo>
                  <a:lnTo>
                    <a:pt x="3371" y="5584"/>
                  </a:lnTo>
                  <a:lnTo>
                    <a:pt x="3347" y="5596"/>
                  </a:lnTo>
                  <a:lnTo>
                    <a:pt x="3340" y="5604"/>
                  </a:lnTo>
                  <a:lnTo>
                    <a:pt x="3341" y="5619"/>
                  </a:lnTo>
                  <a:lnTo>
                    <a:pt x="3352" y="5663"/>
                  </a:lnTo>
                  <a:lnTo>
                    <a:pt x="3354" y="5679"/>
                  </a:lnTo>
                  <a:lnTo>
                    <a:pt x="3353" y="5685"/>
                  </a:lnTo>
                  <a:lnTo>
                    <a:pt x="3346" y="5693"/>
                  </a:lnTo>
                  <a:lnTo>
                    <a:pt x="3345" y="5701"/>
                  </a:lnTo>
                  <a:lnTo>
                    <a:pt x="3347" y="5709"/>
                  </a:lnTo>
                  <a:lnTo>
                    <a:pt x="3356" y="5720"/>
                  </a:lnTo>
                  <a:lnTo>
                    <a:pt x="3358" y="5727"/>
                  </a:lnTo>
                  <a:lnTo>
                    <a:pt x="3362" y="5735"/>
                  </a:lnTo>
                  <a:lnTo>
                    <a:pt x="3382" y="5759"/>
                  </a:lnTo>
                  <a:lnTo>
                    <a:pt x="3389" y="5764"/>
                  </a:lnTo>
                  <a:lnTo>
                    <a:pt x="3385" y="5775"/>
                  </a:lnTo>
                  <a:lnTo>
                    <a:pt x="3392" y="5777"/>
                  </a:lnTo>
                  <a:lnTo>
                    <a:pt x="3404" y="5777"/>
                  </a:lnTo>
                  <a:lnTo>
                    <a:pt x="3414" y="5780"/>
                  </a:lnTo>
                  <a:lnTo>
                    <a:pt x="3448" y="5812"/>
                  </a:lnTo>
                  <a:lnTo>
                    <a:pt x="3447" y="5818"/>
                  </a:lnTo>
                  <a:lnTo>
                    <a:pt x="3443" y="5829"/>
                  </a:lnTo>
                  <a:lnTo>
                    <a:pt x="3443" y="5834"/>
                  </a:lnTo>
                  <a:lnTo>
                    <a:pt x="3447" y="5848"/>
                  </a:lnTo>
                  <a:lnTo>
                    <a:pt x="3455" y="5858"/>
                  </a:lnTo>
                  <a:lnTo>
                    <a:pt x="3457" y="5864"/>
                  </a:lnTo>
                  <a:lnTo>
                    <a:pt x="3454" y="5866"/>
                  </a:lnTo>
                  <a:lnTo>
                    <a:pt x="3449" y="5866"/>
                  </a:lnTo>
                  <a:lnTo>
                    <a:pt x="3446" y="5864"/>
                  </a:lnTo>
                  <a:lnTo>
                    <a:pt x="3444" y="5861"/>
                  </a:lnTo>
                  <a:lnTo>
                    <a:pt x="3443" y="5857"/>
                  </a:lnTo>
                  <a:lnTo>
                    <a:pt x="3438" y="5857"/>
                  </a:lnTo>
                  <a:lnTo>
                    <a:pt x="3438" y="5867"/>
                  </a:lnTo>
                  <a:lnTo>
                    <a:pt x="3442" y="5873"/>
                  </a:lnTo>
                  <a:lnTo>
                    <a:pt x="3456" y="5884"/>
                  </a:lnTo>
                  <a:lnTo>
                    <a:pt x="3460" y="5885"/>
                  </a:lnTo>
                  <a:lnTo>
                    <a:pt x="3464" y="5884"/>
                  </a:lnTo>
                  <a:lnTo>
                    <a:pt x="3468" y="5885"/>
                  </a:lnTo>
                  <a:lnTo>
                    <a:pt x="3469" y="5890"/>
                  </a:lnTo>
                  <a:lnTo>
                    <a:pt x="3469" y="5903"/>
                  </a:lnTo>
                  <a:lnTo>
                    <a:pt x="3469" y="5906"/>
                  </a:lnTo>
                  <a:lnTo>
                    <a:pt x="3474" y="5909"/>
                  </a:lnTo>
                  <a:lnTo>
                    <a:pt x="3488" y="5915"/>
                  </a:lnTo>
                  <a:lnTo>
                    <a:pt x="3496" y="5919"/>
                  </a:lnTo>
                  <a:lnTo>
                    <a:pt x="3502" y="5925"/>
                  </a:lnTo>
                  <a:lnTo>
                    <a:pt x="3514" y="5940"/>
                  </a:lnTo>
                  <a:lnTo>
                    <a:pt x="3522" y="5945"/>
                  </a:lnTo>
                  <a:lnTo>
                    <a:pt x="3534" y="5933"/>
                  </a:lnTo>
                  <a:lnTo>
                    <a:pt x="3527" y="5915"/>
                  </a:lnTo>
                  <a:lnTo>
                    <a:pt x="3500" y="5884"/>
                  </a:lnTo>
                  <a:close/>
                  <a:moveTo>
                    <a:pt x="4754" y="7251"/>
                  </a:moveTo>
                  <a:lnTo>
                    <a:pt x="4754" y="7251"/>
                  </a:lnTo>
                  <a:lnTo>
                    <a:pt x="4715" y="7239"/>
                  </a:lnTo>
                  <a:lnTo>
                    <a:pt x="4703" y="7227"/>
                  </a:lnTo>
                  <a:lnTo>
                    <a:pt x="4695" y="7219"/>
                  </a:lnTo>
                  <a:lnTo>
                    <a:pt x="4686" y="7217"/>
                  </a:lnTo>
                  <a:lnTo>
                    <a:pt x="4674" y="7216"/>
                  </a:lnTo>
                  <a:lnTo>
                    <a:pt x="4665" y="7213"/>
                  </a:lnTo>
                  <a:lnTo>
                    <a:pt x="4648" y="7203"/>
                  </a:lnTo>
                  <a:lnTo>
                    <a:pt x="4629" y="7199"/>
                  </a:lnTo>
                  <a:lnTo>
                    <a:pt x="4613" y="7205"/>
                  </a:lnTo>
                  <a:lnTo>
                    <a:pt x="4582" y="7234"/>
                  </a:lnTo>
                  <a:lnTo>
                    <a:pt x="4600" y="7243"/>
                  </a:lnTo>
                  <a:lnTo>
                    <a:pt x="4677" y="7303"/>
                  </a:lnTo>
                  <a:lnTo>
                    <a:pt x="4684" y="7313"/>
                  </a:lnTo>
                  <a:lnTo>
                    <a:pt x="4693" y="7333"/>
                  </a:lnTo>
                  <a:lnTo>
                    <a:pt x="4701" y="7340"/>
                  </a:lnTo>
                  <a:lnTo>
                    <a:pt x="4708" y="7326"/>
                  </a:lnTo>
                  <a:lnTo>
                    <a:pt x="4711" y="7323"/>
                  </a:lnTo>
                  <a:lnTo>
                    <a:pt x="4715" y="7323"/>
                  </a:lnTo>
                  <a:lnTo>
                    <a:pt x="4721" y="7323"/>
                  </a:lnTo>
                  <a:lnTo>
                    <a:pt x="4726" y="7323"/>
                  </a:lnTo>
                  <a:lnTo>
                    <a:pt x="4728" y="7321"/>
                  </a:lnTo>
                  <a:lnTo>
                    <a:pt x="4733" y="7323"/>
                  </a:lnTo>
                  <a:lnTo>
                    <a:pt x="4763" y="7329"/>
                  </a:lnTo>
                  <a:lnTo>
                    <a:pt x="4770" y="7326"/>
                  </a:lnTo>
                  <a:lnTo>
                    <a:pt x="4765" y="7319"/>
                  </a:lnTo>
                  <a:lnTo>
                    <a:pt x="4757" y="7310"/>
                  </a:lnTo>
                  <a:lnTo>
                    <a:pt x="4754" y="7303"/>
                  </a:lnTo>
                  <a:lnTo>
                    <a:pt x="4768" y="7296"/>
                  </a:lnTo>
                  <a:lnTo>
                    <a:pt x="4777" y="7288"/>
                  </a:lnTo>
                  <a:lnTo>
                    <a:pt x="4781" y="7279"/>
                  </a:lnTo>
                  <a:lnTo>
                    <a:pt x="4773" y="7261"/>
                  </a:lnTo>
                  <a:lnTo>
                    <a:pt x="4754" y="7251"/>
                  </a:lnTo>
                  <a:close/>
                  <a:moveTo>
                    <a:pt x="5639" y="3983"/>
                  </a:moveTo>
                  <a:lnTo>
                    <a:pt x="5639" y="3983"/>
                  </a:lnTo>
                  <a:lnTo>
                    <a:pt x="5625" y="3976"/>
                  </a:lnTo>
                  <a:lnTo>
                    <a:pt x="5598" y="3971"/>
                  </a:lnTo>
                  <a:lnTo>
                    <a:pt x="5584" y="3966"/>
                  </a:lnTo>
                  <a:lnTo>
                    <a:pt x="5579" y="3957"/>
                  </a:lnTo>
                  <a:lnTo>
                    <a:pt x="5571" y="3953"/>
                  </a:lnTo>
                  <a:lnTo>
                    <a:pt x="5536" y="3947"/>
                  </a:lnTo>
                  <a:lnTo>
                    <a:pt x="5525" y="3946"/>
                  </a:lnTo>
                  <a:lnTo>
                    <a:pt x="5502" y="3959"/>
                  </a:lnTo>
                  <a:lnTo>
                    <a:pt x="5478" y="3987"/>
                  </a:lnTo>
                  <a:lnTo>
                    <a:pt x="5462" y="4017"/>
                  </a:lnTo>
                  <a:lnTo>
                    <a:pt x="5463" y="4038"/>
                  </a:lnTo>
                  <a:lnTo>
                    <a:pt x="5481" y="4035"/>
                  </a:lnTo>
                  <a:lnTo>
                    <a:pt x="5518" y="4048"/>
                  </a:lnTo>
                  <a:lnTo>
                    <a:pt x="5532" y="4045"/>
                  </a:lnTo>
                  <a:lnTo>
                    <a:pt x="5540" y="4042"/>
                  </a:lnTo>
                  <a:lnTo>
                    <a:pt x="5548" y="4044"/>
                  </a:lnTo>
                  <a:lnTo>
                    <a:pt x="5555" y="4049"/>
                  </a:lnTo>
                  <a:lnTo>
                    <a:pt x="5560" y="4051"/>
                  </a:lnTo>
                  <a:lnTo>
                    <a:pt x="5569" y="4049"/>
                  </a:lnTo>
                  <a:lnTo>
                    <a:pt x="5585" y="4040"/>
                  </a:lnTo>
                  <a:lnTo>
                    <a:pt x="5590" y="4038"/>
                  </a:lnTo>
                  <a:lnTo>
                    <a:pt x="5598" y="4036"/>
                  </a:lnTo>
                  <a:lnTo>
                    <a:pt x="5616" y="4027"/>
                  </a:lnTo>
                  <a:lnTo>
                    <a:pt x="5625" y="4025"/>
                  </a:lnTo>
                  <a:lnTo>
                    <a:pt x="5649" y="4027"/>
                  </a:lnTo>
                  <a:lnTo>
                    <a:pt x="5654" y="4025"/>
                  </a:lnTo>
                  <a:lnTo>
                    <a:pt x="5660" y="4011"/>
                  </a:lnTo>
                  <a:lnTo>
                    <a:pt x="5653" y="3996"/>
                  </a:lnTo>
                  <a:lnTo>
                    <a:pt x="5639" y="3983"/>
                  </a:lnTo>
                  <a:close/>
                  <a:moveTo>
                    <a:pt x="6100" y="4180"/>
                  </a:moveTo>
                  <a:lnTo>
                    <a:pt x="6100" y="4180"/>
                  </a:lnTo>
                  <a:lnTo>
                    <a:pt x="6119" y="4197"/>
                  </a:lnTo>
                  <a:lnTo>
                    <a:pt x="6142" y="4197"/>
                  </a:lnTo>
                  <a:lnTo>
                    <a:pt x="6149" y="4186"/>
                  </a:lnTo>
                  <a:lnTo>
                    <a:pt x="6152" y="4154"/>
                  </a:lnTo>
                  <a:lnTo>
                    <a:pt x="6156" y="4142"/>
                  </a:lnTo>
                  <a:lnTo>
                    <a:pt x="6182" y="4124"/>
                  </a:lnTo>
                  <a:lnTo>
                    <a:pt x="6194" y="4113"/>
                  </a:lnTo>
                  <a:lnTo>
                    <a:pt x="6199" y="4100"/>
                  </a:lnTo>
                  <a:lnTo>
                    <a:pt x="6195" y="4091"/>
                  </a:lnTo>
                  <a:lnTo>
                    <a:pt x="6166" y="4058"/>
                  </a:lnTo>
                  <a:lnTo>
                    <a:pt x="6161" y="4053"/>
                  </a:lnTo>
                  <a:lnTo>
                    <a:pt x="6154" y="4042"/>
                  </a:lnTo>
                  <a:lnTo>
                    <a:pt x="6150" y="4038"/>
                  </a:lnTo>
                  <a:lnTo>
                    <a:pt x="6146" y="4036"/>
                  </a:lnTo>
                  <a:lnTo>
                    <a:pt x="6132" y="4030"/>
                  </a:lnTo>
                  <a:lnTo>
                    <a:pt x="6128" y="4027"/>
                  </a:lnTo>
                  <a:lnTo>
                    <a:pt x="6115" y="4016"/>
                  </a:lnTo>
                  <a:lnTo>
                    <a:pt x="6080" y="4048"/>
                  </a:lnTo>
                  <a:lnTo>
                    <a:pt x="6059" y="4060"/>
                  </a:lnTo>
                  <a:lnTo>
                    <a:pt x="6044" y="4051"/>
                  </a:lnTo>
                  <a:lnTo>
                    <a:pt x="6039" y="4051"/>
                  </a:lnTo>
                  <a:lnTo>
                    <a:pt x="6036" y="4064"/>
                  </a:lnTo>
                  <a:lnTo>
                    <a:pt x="6035" y="4078"/>
                  </a:lnTo>
                  <a:lnTo>
                    <a:pt x="6031" y="4078"/>
                  </a:lnTo>
                  <a:lnTo>
                    <a:pt x="6028" y="4063"/>
                  </a:lnTo>
                  <a:lnTo>
                    <a:pt x="6034" y="4036"/>
                  </a:lnTo>
                  <a:lnTo>
                    <a:pt x="6031" y="4025"/>
                  </a:lnTo>
                  <a:lnTo>
                    <a:pt x="6026" y="4025"/>
                  </a:lnTo>
                  <a:lnTo>
                    <a:pt x="6021" y="4037"/>
                  </a:lnTo>
                  <a:lnTo>
                    <a:pt x="6013" y="4046"/>
                  </a:lnTo>
                  <a:lnTo>
                    <a:pt x="5995" y="4060"/>
                  </a:lnTo>
                  <a:lnTo>
                    <a:pt x="5990" y="4068"/>
                  </a:lnTo>
                  <a:lnTo>
                    <a:pt x="5981" y="4089"/>
                  </a:lnTo>
                  <a:lnTo>
                    <a:pt x="5975" y="4098"/>
                  </a:lnTo>
                  <a:lnTo>
                    <a:pt x="5976" y="4108"/>
                  </a:lnTo>
                  <a:lnTo>
                    <a:pt x="6013" y="4144"/>
                  </a:lnTo>
                  <a:lnTo>
                    <a:pt x="6022" y="4143"/>
                  </a:lnTo>
                  <a:lnTo>
                    <a:pt x="6028" y="4151"/>
                  </a:lnTo>
                  <a:lnTo>
                    <a:pt x="6035" y="4174"/>
                  </a:lnTo>
                  <a:lnTo>
                    <a:pt x="6042" y="4227"/>
                  </a:lnTo>
                  <a:lnTo>
                    <a:pt x="6054" y="4227"/>
                  </a:lnTo>
                  <a:lnTo>
                    <a:pt x="6059" y="4222"/>
                  </a:lnTo>
                  <a:lnTo>
                    <a:pt x="6066" y="4197"/>
                  </a:lnTo>
                  <a:lnTo>
                    <a:pt x="6083" y="4172"/>
                  </a:lnTo>
                  <a:lnTo>
                    <a:pt x="6100" y="4180"/>
                  </a:lnTo>
                  <a:close/>
                  <a:moveTo>
                    <a:pt x="6299" y="3912"/>
                  </a:moveTo>
                  <a:lnTo>
                    <a:pt x="6299" y="3912"/>
                  </a:lnTo>
                  <a:lnTo>
                    <a:pt x="6287" y="3884"/>
                  </a:lnTo>
                  <a:lnTo>
                    <a:pt x="6268" y="3864"/>
                  </a:lnTo>
                  <a:lnTo>
                    <a:pt x="6258" y="3859"/>
                  </a:lnTo>
                  <a:lnTo>
                    <a:pt x="6253" y="3860"/>
                  </a:lnTo>
                  <a:lnTo>
                    <a:pt x="6248" y="3864"/>
                  </a:lnTo>
                  <a:lnTo>
                    <a:pt x="6241" y="3866"/>
                  </a:lnTo>
                  <a:lnTo>
                    <a:pt x="6237" y="3865"/>
                  </a:lnTo>
                  <a:lnTo>
                    <a:pt x="6233" y="3860"/>
                  </a:lnTo>
                  <a:lnTo>
                    <a:pt x="6230" y="3855"/>
                  </a:lnTo>
                  <a:lnTo>
                    <a:pt x="6230" y="3849"/>
                  </a:lnTo>
                  <a:lnTo>
                    <a:pt x="6252" y="3844"/>
                  </a:lnTo>
                  <a:lnTo>
                    <a:pt x="6248" y="3837"/>
                  </a:lnTo>
                  <a:lnTo>
                    <a:pt x="6212" y="3805"/>
                  </a:lnTo>
                  <a:lnTo>
                    <a:pt x="6191" y="3797"/>
                  </a:lnTo>
                  <a:lnTo>
                    <a:pt x="6181" y="3791"/>
                  </a:lnTo>
                  <a:lnTo>
                    <a:pt x="6176" y="3783"/>
                  </a:lnTo>
                  <a:lnTo>
                    <a:pt x="6176" y="3788"/>
                  </a:lnTo>
                  <a:lnTo>
                    <a:pt x="6173" y="3796"/>
                  </a:lnTo>
                  <a:lnTo>
                    <a:pt x="6172" y="3800"/>
                  </a:lnTo>
                  <a:lnTo>
                    <a:pt x="6159" y="3789"/>
                  </a:lnTo>
                  <a:lnTo>
                    <a:pt x="6150" y="3808"/>
                  </a:lnTo>
                  <a:lnTo>
                    <a:pt x="6146" y="3860"/>
                  </a:lnTo>
                  <a:lnTo>
                    <a:pt x="6141" y="3875"/>
                  </a:lnTo>
                  <a:lnTo>
                    <a:pt x="6131" y="3890"/>
                  </a:lnTo>
                  <a:lnTo>
                    <a:pt x="6106" y="3911"/>
                  </a:lnTo>
                  <a:lnTo>
                    <a:pt x="6097" y="3915"/>
                  </a:lnTo>
                  <a:lnTo>
                    <a:pt x="6094" y="3919"/>
                  </a:lnTo>
                  <a:lnTo>
                    <a:pt x="6093" y="3926"/>
                  </a:lnTo>
                  <a:lnTo>
                    <a:pt x="6093" y="3934"/>
                  </a:lnTo>
                  <a:lnTo>
                    <a:pt x="6096" y="3940"/>
                  </a:lnTo>
                  <a:lnTo>
                    <a:pt x="6100" y="3944"/>
                  </a:lnTo>
                  <a:lnTo>
                    <a:pt x="6108" y="3946"/>
                  </a:lnTo>
                  <a:lnTo>
                    <a:pt x="6124" y="3947"/>
                  </a:lnTo>
                  <a:lnTo>
                    <a:pt x="6133" y="3949"/>
                  </a:lnTo>
                  <a:lnTo>
                    <a:pt x="6139" y="3954"/>
                  </a:lnTo>
                  <a:lnTo>
                    <a:pt x="6146" y="3963"/>
                  </a:lnTo>
                  <a:lnTo>
                    <a:pt x="6149" y="3969"/>
                  </a:lnTo>
                  <a:lnTo>
                    <a:pt x="6150" y="3973"/>
                  </a:lnTo>
                  <a:lnTo>
                    <a:pt x="6153" y="3976"/>
                  </a:lnTo>
                  <a:lnTo>
                    <a:pt x="6161" y="3977"/>
                  </a:lnTo>
                  <a:lnTo>
                    <a:pt x="6167" y="3975"/>
                  </a:lnTo>
                  <a:lnTo>
                    <a:pt x="6175" y="3965"/>
                  </a:lnTo>
                  <a:lnTo>
                    <a:pt x="6180" y="3962"/>
                  </a:lnTo>
                  <a:lnTo>
                    <a:pt x="6186" y="3957"/>
                  </a:lnTo>
                  <a:lnTo>
                    <a:pt x="6189" y="3955"/>
                  </a:lnTo>
                  <a:lnTo>
                    <a:pt x="6199" y="3959"/>
                  </a:lnTo>
                  <a:lnTo>
                    <a:pt x="6203" y="3959"/>
                  </a:lnTo>
                  <a:lnTo>
                    <a:pt x="6210" y="3957"/>
                  </a:lnTo>
                  <a:lnTo>
                    <a:pt x="6225" y="3946"/>
                  </a:lnTo>
                  <a:lnTo>
                    <a:pt x="6235" y="3941"/>
                  </a:lnTo>
                  <a:lnTo>
                    <a:pt x="6245" y="3938"/>
                  </a:lnTo>
                  <a:lnTo>
                    <a:pt x="6272" y="3937"/>
                  </a:lnTo>
                  <a:lnTo>
                    <a:pt x="6287" y="3940"/>
                  </a:lnTo>
                  <a:lnTo>
                    <a:pt x="6297" y="3948"/>
                  </a:lnTo>
                  <a:lnTo>
                    <a:pt x="6305" y="3958"/>
                  </a:lnTo>
                  <a:lnTo>
                    <a:pt x="6314" y="3968"/>
                  </a:lnTo>
                  <a:lnTo>
                    <a:pt x="6350" y="3984"/>
                  </a:lnTo>
                  <a:lnTo>
                    <a:pt x="6362" y="3996"/>
                  </a:lnTo>
                  <a:lnTo>
                    <a:pt x="6369" y="3999"/>
                  </a:lnTo>
                  <a:lnTo>
                    <a:pt x="6381" y="4000"/>
                  </a:lnTo>
                  <a:lnTo>
                    <a:pt x="6416" y="4016"/>
                  </a:lnTo>
                  <a:lnTo>
                    <a:pt x="6413" y="4004"/>
                  </a:lnTo>
                  <a:lnTo>
                    <a:pt x="6406" y="3994"/>
                  </a:lnTo>
                  <a:lnTo>
                    <a:pt x="6404" y="3987"/>
                  </a:lnTo>
                  <a:lnTo>
                    <a:pt x="6416" y="3981"/>
                  </a:lnTo>
                  <a:lnTo>
                    <a:pt x="6430" y="3983"/>
                  </a:lnTo>
                  <a:lnTo>
                    <a:pt x="6446" y="3989"/>
                  </a:lnTo>
                  <a:lnTo>
                    <a:pt x="6459" y="3992"/>
                  </a:lnTo>
                  <a:lnTo>
                    <a:pt x="6465" y="3983"/>
                  </a:lnTo>
                  <a:lnTo>
                    <a:pt x="6412" y="3955"/>
                  </a:lnTo>
                  <a:lnTo>
                    <a:pt x="6378" y="3909"/>
                  </a:lnTo>
                  <a:lnTo>
                    <a:pt x="6360" y="3892"/>
                  </a:lnTo>
                  <a:lnTo>
                    <a:pt x="6345" y="3897"/>
                  </a:lnTo>
                  <a:lnTo>
                    <a:pt x="6341" y="3911"/>
                  </a:lnTo>
                  <a:lnTo>
                    <a:pt x="6341" y="3921"/>
                  </a:lnTo>
                  <a:lnTo>
                    <a:pt x="6337" y="3926"/>
                  </a:lnTo>
                  <a:lnTo>
                    <a:pt x="6320" y="3928"/>
                  </a:lnTo>
                  <a:lnTo>
                    <a:pt x="6306" y="3923"/>
                  </a:lnTo>
                  <a:lnTo>
                    <a:pt x="6299" y="3912"/>
                  </a:lnTo>
                  <a:close/>
                  <a:moveTo>
                    <a:pt x="5968" y="3124"/>
                  </a:moveTo>
                  <a:lnTo>
                    <a:pt x="5968" y="3124"/>
                  </a:lnTo>
                  <a:lnTo>
                    <a:pt x="5967" y="3137"/>
                  </a:lnTo>
                  <a:lnTo>
                    <a:pt x="5970" y="3149"/>
                  </a:lnTo>
                  <a:lnTo>
                    <a:pt x="5986" y="3158"/>
                  </a:lnTo>
                  <a:lnTo>
                    <a:pt x="5993" y="3159"/>
                  </a:lnTo>
                  <a:lnTo>
                    <a:pt x="6015" y="3158"/>
                  </a:lnTo>
                  <a:lnTo>
                    <a:pt x="6023" y="3156"/>
                  </a:lnTo>
                  <a:lnTo>
                    <a:pt x="6031" y="3147"/>
                  </a:lnTo>
                  <a:lnTo>
                    <a:pt x="6037" y="3145"/>
                  </a:lnTo>
                  <a:lnTo>
                    <a:pt x="6051" y="3144"/>
                  </a:lnTo>
                  <a:lnTo>
                    <a:pt x="6061" y="3141"/>
                  </a:lnTo>
                  <a:lnTo>
                    <a:pt x="6089" y="3126"/>
                  </a:lnTo>
                  <a:lnTo>
                    <a:pt x="6095" y="3124"/>
                  </a:lnTo>
                  <a:lnTo>
                    <a:pt x="6104" y="3123"/>
                  </a:lnTo>
                  <a:lnTo>
                    <a:pt x="6107" y="3125"/>
                  </a:lnTo>
                  <a:lnTo>
                    <a:pt x="6114" y="3134"/>
                  </a:lnTo>
                  <a:lnTo>
                    <a:pt x="6117" y="3136"/>
                  </a:lnTo>
                  <a:lnTo>
                    <a:pt x="6125" y="3138"/>
                  </a:lnTo>
                  <a:lnTo>
                    <a:pt x="6121" y="3144"/>
                  </a:lnTo>
                  <a:lnTo>
                    <a:pt x="6114" y="3149"/>
                  </a:lnTo>
                  <a:lnTo>
                    <a:pt x="6110" y="3149"/>
                  </a:lnTo>
                  <a:lnTo>
                    <a:pt x="6107" y="3159"/>
                  </a:lnTo>
                  <a:lnTo>
                    <a:pt x="6107" y="3164"/>
                  </a:lnTo>
                  <a:lnTo>
                    <a:pt x="6110" y="3171"/>
                  </a:lnTo>
                  <a:lnTo>
                    <a:pt x="6088" y="3176"/>
                  </a:lnTo>
                  <a:lnTo>
                    <a:pt x="6084" y="3180"/>
                  </a:lnTo>
                  <a:lnTo>
                    <a:pt x="6083" y="3188"/>
                  </a:lnTo>
                  <a:lnTo>
                    <a:pt x="6088" y="3193"/>
                  </a:lnTo>
                  <a:lnTo>
                    <a:pt x="6102" y="3198"/>
                  </a:lnTo>
                  <a:lnTo>
                    <a:pt x="6118" y="3199"/>
                  </a:lnTo>
                  <a:lnTo>
                    <a:pt x="6126" y="3200"/>
                  </a:lnTo>
                  <a:lnTo>
                    <a:pt x="6128" y="3207"/>
                  </a:lnTo>
                  <a:lnTo>
                    <a:pt x="6124" y="3210"/>
                  </a:lnTo>
                  <a:lnTo>
                    <a:pt x="6117" y="3211"/>
                  </a:lnTo>
                  <a:lnTo>
                    <a:pt x="6102" y="3210"/>
                  </a:lnTo>
                  <a:lnTo>
                    <a:pt x="6102" y="3215"/>
                  </a:lnTo>
                  <a:lnTo>
                    <a:pt x="6115" y="3219"/>
                  </a:lnTo>
                  <a:lnTo>
                    <a:pt x="6124" y="3229"/>
                  </a:lnTo>
                  <a:lnTo>
                    <a:pt x="6128" y="3240"/>
                  </a:lnTo>
                  <a:lnTo>
                    <a:pt x="6124" y="3251"/>
                  </a:lnTo>
                  <a:lnTo>
                    <a:pt x="6178" y="3270"/>
                  </a:lnTo>
                  <a:lnTo>
                    <a:pt x="6199" y="3266"/>
                  </a:lnTo>
                  <a:lnTo>
                    <a:pt x="6207" y="3235"/>
                  </a:lnTo>
                  <a:lnTo>
                    <a:pt x="6208" y="3227"/>
                  </a:lnTo>
                  <a:lnTo>
                    <a:pt x="6210" y="3220"/>
                  </a:lnTo>
                  <a:lnTo>
                    <a:pt x="6214" y="3217"/>
                  </a:lnTo>
                  <a:lnTo>
                    <a:pt x="6223" y="3215"/>
                  </a:lnTo>
                  <a:lnTo>
                    <a:pt x="6231" y="3213"/>
                  </a:lnTo>
                  <a:lnTo>
                    <a:pt x="6237" y="3207"/>
                  </a:lnTo>
                  <a:lnTo>
                    <a:pt x="6239" y="3200"/>
                  </a:lnTo>
                  <a:lnTo>
                    <a:pt x="6236" y="3198"/>
                  </a:lnTo>
                  <a:lnTo>
                    <a:pt x="6234" y="3194"/>
                  </a:lnTo>
                  <a:lnTo>
                    <a:pt x="6234" y="3175"/>
                  </a:lnTo>
                  <a:lnTo>
                    <a:pt x="6230" y="3162"/>
                  </a:lnTo>
                  <a:lnTo>
                    <a:pt x="6232" y="3154"/>
                  </a:lnTo>
                  <a:lnTo>
                    <a:pt x="6243" y="3140"/>
                  </a:lnTo>
                  <a:lnTo>
                    <a:pt x="6236" y="3108"/>
                  </a:lnTo>
                  <a:lnTo>
                    <a:pt x="6234" y="3098"/>
                  </a:lnTo>
                  <a:lnTo>
                    <a:pt x="6230" y="3093"/>
                  </a:lnTo>
                  <a:lnTo>
                    <a:pt x="6199" y="3079"/>
                  </a:lnTo>
                  <a:lnTo>
                    <a:pt x="6191" y="3067"/>
                  </a:lnTo>
                  <a:lnTo>
                    <a:pt x="6191" y="3056"/>
                  </a:lnTo>
                  <a:lnTo>
                    <a:pt x="6194" y="3032"/>
                  </a:lnTo>
                  <a:lnTo>
                    <a:pt x="6191" y="3019"/>
                  </a:lnTo>
                  <a:lnTo>
                    <a:pt x="6183" y="3015"/>
                  </a:lnTo>
                  <a:lnTo>
                    <a:pt x="6178" y="3019"/>
                  </a:lnTo>
                  <a:lnTo>
                    <a:pt x="6181" y="3026"/>
                  </a:lnTo>
                  <a:lnTo>
                    <a:pt x="6159" y="3038"/>
                  </a:lnTo>
                  <a:lnTo>
                    <a:pt x="6140" y="3045"/>
                  </a:lnTo>
                  <a:lnTo>
                    <a:pt x="6119" y="3046"/>
                  </a:lnTo>
                  <a:lnTo>
                    <a:pt x="6093" y="3039"/>
                  </a:lnTo>
                  <a:lnTo>
                    <a:pt x="6078" y="3031"/>
                  </a:lnTo>
                  <a:lnTo>
                    <a:pt x="6069" y="3030"/>
                  </a:lnTo>
                  <a:lnTo>
                    <a:pt x="6066" y="3037"/>
                  </a:lnTo>
                  <a:lnTo>
                    <a:pt x="6063" y="3045"/>
                  </a:lnTo>
                  <a:lnTo>
                    <a:pt x="6056" y="3047"/>
                  </a:lnTo>
                  <a:lnTo>
                    <a:pt x="6042" y="3043"/>
                  </a:lnTo>
                  <a:lnTo>
                    <a:pt x="6032" y="3045"/>
                  </a:lnTo>
                  <a:lnTo>
                    <a:pt x="6029" y="3048"/>
                  </a:lnTo>
                  <a:lnTo>
                    <a:pt x="6029" y="3054"/>
                  </a:lnTo>
                  <a:lnTo>
                    <a:pt x="6026" y="3061"/>
                  </a:lnTo>
                  <a:lnTo>
                    <a:pt x="6019" y="3071"/>
                  </a:lnTo>
                  <a:lnTo>
                    <a:pt x="6016" y="3075"/>
                  </a:lnTo>
                  <a:lnTo>
                    <a:pt x="6008" y="3079"/>
                  </a:lnTo>
                  <a:lnTo>
                    <a:pt x="5977" y="3090"/>
                  </a:lnTo>
                  <a:lnTo>
                    <a:pt x="5961" y="3100"/>
                  </a:lnTo>
                  <a:lnTo>
                    <a:pt x="5962" y="3112"/>
                  </a:lnTo>
                  <a:lnTo>
                    <a:pt x="5968" y="3124"/>
                  </a:lnTo>
                  <a:close/>
                  <a:moveTo>
                    <a:pt x="5758" y="3127"/>
                  </a:moveTo>
                  <a:lnTo>
                    <a:pt x="5758" y="3127"/>
                  </a:lnTo>
                  <a:lnTo>
                    <a:pt x="5779" y="3151"/>
                  </a:lnTo>
                  <a:lnTo>
                    <a:pt x="5782" y="3154"/>
                  </a:lnTo>
                  <a:lnTo>
                    <a:pt x="5790" y="3155"/>
                  </a:lnTo>
                  <a:lnTo>
                    <a:pt x="5803" y="3153"/>
                  </a:lnTo>
                  <a:lnTo>
                    <a:pt x="5809" y="3154"/>
                  </a:lnTo>
                  <a:lnTo>
                    <a:pt x="5832" y="3167"/>
                  </a:lnTo>
                  <a:lnTo>
                    <a:pt x="5843" y="3170"/>
                  </a:lnTo>
                  <a:lnTo>
                    <a:pt x="5857" y="3167"/>
                  </a:lnTo>
                  <a:lnTo>
                    <a:pt x="5861" y="3166"/>
                  </a:lnTo>
                  <a:lnTo>
                    <a:pt x="5868" y="3167"/>
                  </a:lnTo>
                  <a:lnTo>
                    <a:pt x="5871" y="3167"/>
                  </a:lnTo>
                  <a:lnTo>
                    <a:pt x="5871" y="3164"/>
                  </a:lnTo>
                  <a:lnTo>
                    <a:pt x="5870" y="3157"/>
                  </a:lnTo>
                  <a:lnTo>
                    <a:pt x="5871" y="3154"/>
                  </a:lnTo>
                  <a:lnTo>
                    <a:pt x="5874" y="3148"/>
                  </a:lnTo>
                  <a:lnTo>
                    <a:pt x="5876" y="3143"/>
                  </a:lnTo>
                  <a:lnTo>
                    <a:pt x="5879" y="3139"/>
                  </a:lnTo>
                  <a:lnTo>
                    <a:pt x="5884" y="3136"/>
                  </a:lnTo>
                  <a:lnTo>
                    <a:pt x="5880" y="3131"/>
                  </a:lnTo>
                  <a:lnTo>
                    <a:pt x="5878" y="3127"/>
                  </a:lnTo>
                  <a:lnTo>
                    <a:pt x="5878" y="3123"/>
                  </a:lnTo>
                  <a:lnTo>
                    <a:pt x="5880" y="3118"/>
                  </a:lnTo>
                  <a:lnTo>
                    <a:pt x="5891" y="3128"/>
                  </a:lnTo>
                  <a:lnTo>
                    <a:pt x="5896" y="3129"/>
                  </a:lnTo>
                  <a:lnTo>
                    <a:pt x="5909" y="3083"/>
                  </a:lnTo>
                  <a:lnTo>
                    <a:pt x="5910" y="3070"/>
                  </a:lnTo>
                  <a:lnTo>
                    <a:pt x="5906" y="3057"/>
                  </a:lnTo>
                  <a:lnTo>
                    <a:pt x="5903" y="3053"/>
                  </a:lnTo>
                  <a:lnTo>
                    <a:pt x="5900" y="3050"/>
                  </a:lnTo>
                  <a:lnTo>
                    <a:pt x="5894" y="3044"/>
                  </a:lnTo>
                  <a:lnTo>
                    <a:pt x="5886" y="3040"/>
                  </a:lnTo>
                  <a:lnTo>
                    <a:pt x="5878" y="3038"/>
                  </a:lnTo>
                  <a:lnTo>
                    <a:pt x="5870" y="3040"/>
                  </a:lnTo>
                  <a:lnTo>
                    <a:pt x="5862" y="3043"/>
                  </a:lnTo>
                  <a:lnTo>
                    <a:pt x="5867" y="3050"/>
                  </a:lnTo>
                  <a:lnTo>
                    <a:pt x="5870" y="3058"/>
                  </a:lnTo>
                  <a:lnTo>
                    <a:pt x="5870" y="3067"/>
                  </a:lnTo>
                  <a:lnTo>
                    <a:pt x="5866" y="3074"/>
                  </a:lnTo>
                  <a:lnTo>
                    <a:pt x="5857" y="3066"/>
                  </a:lnTo>
                  <a:lnTo>
                    <a:pt x="5838" y="3044"/>
                  </a:lnTo>
                  <a:lnTo>
                    <a:pt x="5831" y="3039"/>
                  </a:lnTo>
                  <a:lnTo>
                    <a:pt x="5823" y="3045"/>
                  </a:lnTo>
                  <a:lnTo>
                    <a:pt x="5818" y="3067"/>
                  </a:lnTo>
                  <a:lnTo>
                    <a:pt x="5809" y="3074"/>
                  </a:lnTo>
                  <a:lnTo>
                    <a:pt x="5803" y="3074"/>
                  </a:lnTo>
                  <a:lnTo>
                    <a:pt x="5790" y="3069"/>
                  </a:lnTo>
                  <a:lnTo>
                    <a:pt x="5782" y="3070"/>
                  </a:lnTo>
                  <a:lnTo>
                    <a:pt x="5775" y="3073"/>
                  </a:lnTo>
                  <a:lnTo>
                    <a:pt x="5774" y="3076"/>
                  </a:lnTo>
                  <a:lnTo>
                    <a:pt x="5776" y="3080"/>
                  </a:lnTo>
                  <a:lnTo>
                    <a:pt x="5780" y="3094"/>
                  </a:lnTo>
                  <a:lnTo>
                    <a:pt x="5782" y="3100"/>
                  </a:lnTo>
                  <a:lnTo>
                    <a:pt x="5783" y="3106"/>
                  </a:lnTo>
                  <a:lnTo>
                    <a:pt x="5778" y="3110"/>
                  </a:lnTo>
                  <a:lnTo>
                    <a:pt x="5771" y="3109"/>
                  </a:lnTo>
                  <a:lnTo>
                    <a:pt x="5762" y="3098"/>
                  </a:lnTo>
                  <a:lnTo>
                    <a:pt x="5756" y="3096"/>
                  </a:lnTo>
                  <a:lnTo>
                    <a:pt x="5748" y="3102"/>
                  </a:lnTo>
                  <a:lnTo>
                    <a:pt x="5751" y="3114"/>
                  </a:lnTo>
                  <a:lnTo>
                    <a:pt x="5758" y="3127"/>
                  </a:lnTo>
                  <a:close/>
                  <a:moveTo>
                    <a:pt x="5494" y="3325"/>
                  </a:moveTo>
                  <a:lnTo>
                    <a:pt x="5494" y="3325"/>
                  </a:lnTo>
                  <a:lnTo>
                    <a:pt x="5492" y="3317"/>
                  </a:lnTo>
                  <a:lnTo>
                    <a:pt x="5489" y="3312"/>
                  </a:lnTo>
                  <a:lnTo>
                    <a:pt x="5481" y="3303"/>
                  </a:lnTo>
                  <a:lnTo>
                    <a:pt x="5469" y="3284"/>
                  </a:lnTo>
                  <a:lnTo>
                    <a:pt x="5462" y="3275"/>
                  </a:lnTo>
                  <a:lnTo>
                    <a:pt x="5441" y="3268"/>
                  </a:lnTo>
                  <a:lnTo>
                    <a:pt x="5434" y="3259"/>
                  </a:lnTo>
                  <a:lnTo>
                    <a:pt x="5430" y="3247"/>
                  </a:lnTo>
                  <a:lnTo>
                    <a:pt x="5424" y="3237"/>
                  </a:lnTo>
                  <a:lnTo>
                    <a:pt x="5414" y="3232"/>
                  </a:lnTo>
                  <a:lnTo>
                    <a:pt x="5404" y="3233"/>
                  </a:lnTo>
                  <a:lnTo>
                    <a:pt x="5396" y="3242"/>
                  </a:lnTo>
                  <a:lnTo>
                    <a:pt x="5391" y="3264"/>
                  </a:lnTo>
                  <a:lnTo>
                    <a:pt x="5385" y="3277"/>
                  </a:lnTo>
                  <a:lnTo>
                    <a:pt x="5384" y="3285"/>
                  </a:lnTo>
                  <a:lnTo>
                    <a:pt x="5385" y="3299"/>
                  </a:lnTo>
                  <a:lnTo>
                    <a:pt x="5388" y="3312"/>
                  </a:lnTo>
                  <a:lnTo>
                    <a:pt x="5413" y="3348"/>
                  </a:lnTo>
                  <a:lnTo>
                    <a:pt x="5419" y="3354"/>
                  </a:lnTo>
                  <a:lnTo>
                    <a:pt x="5425" y="3367"/>
                  </a:lnTo>
                  <a:lnTo>
                    <a:pt x="5433" y="3380"/>
                  </a:lnTo>
                  <a:lnTo>
                    <a:pt x="5445" y="3387"/>
                  </a:lnTo>
                  <a:lnTo>
                    <a:pt x="5462" y="3380"/>
                  </a:lnTo>
                  <a:lnTo>
                    <a:pt x="5475" y="3362"/>
                  </a:lnTo>
                  <a:lnTo>
                    <a:pt x="5494" y="3325"/>
                  </a:lnTo>
                  <a:close/>
                  <a:moveTo>
                    <a:pt x="5253" y="3434"/>
                  </a:moveTo>
                  <a:lnTo>
                    <a:pt x="5253" y="3434"/>
                  </a:lnTo>
                  <a:lnTo>
                    <a:pt x="5252" y="3445"/>
                  </a:lnTo>
                  <a:lnTo>
                    <a:pt x="5255" y="3456"/>
                  </a:lnTo>
                  <a:lnTo>
                    <a:pt x="5264" y="3466"/>
                  </a:lnTo>
                  <a:lnTo>
                    <a:pt x="5275" y="3472"/>
                  </a:lnTo>
                  <a:lnTo>
                    <a:pt x="5283" y="3472"/>
                  </a:lnTo>
                  <a:lnTo>
                    <a:pt x="5291" y="3468"/>
                  </a:lnTo>
                  <a:lnTo>
                    <a:pt x="5346" y="3457"/>
                  </a:lnTo>
                  <a:lnTo>
                    <a:pt x="5356" y="3450"/>
                  </a:lnTo>
                  <a:lnTo>
                    <a:pt x="5358" y="3433"/>
                  </a:lnTo>
                  <a:lnTo>
                    <a:pt x="5357" y="3414"/>
                  </a:lnTo>
                  <a:lnTo>
                    <a:pt x="5354" y="3401"/>
                  </a:lnTo>
                  <a:lnTo>
                    <a:pt x="5349" y="3387"/>
                  </a:lnTo>
                  <a:lnTo>
                    <a:pt x="5341" y="3375"/>
                  </a:lnTo>
                  <a:lnTo>
                    <a:pt x="5333" y="3366"/>
                  </a:lnTo>
                  <a:lnTo>
                    <a:pt x="5324" y="3357"/>
                  </a:lnTo>
                  <a:lnTo>
                    <a:pt x="5313" y="3350"/>
                  </a:lnTo>
                  <a:lnTo>
                    <a:pt x="5301" y="3348"/>
                  </a:lnTo>
                  <a:lnTo>
                    <a:pt x="5280" y="3356"/>
                  </a:lnTo>
                  <a:lnTo>
                    <a:pt x="5267" y="3376"/>
                  </a:lnTo>
                  <a:lnTo>
                    <a:pt x="5253" y="3434"/>
                  </a:lnTo>
                  <a:close/>
                  <a:moveTo>
                    <a:pt x="4937" y="3156"/>
                  </a:moveTo>
                  <a:lnTo>
                    <a:pt x="4937" y="3156"/>
                  </a:lnTo>
                  <a:lnTo>
                    <a:pt x="4951" y="3151"/>
                  </a:lnTo>
                  <a:lnTo>
                    <a:pt x="4966" y="3144"/>
                  </a:lnTo>
                  <a:lnTo>
                    <a:pt x="4978" y="3140"/>
                  </a:lnTo>
                  <a:lnTo>
                    <a:pt x="5018" y="3137"/>
                  </a:lnTo>
                  <a:lnTo>
                    <a:pt x="5029" y="3140"/>
                  </a:lnTo>
                  <a:lnTo>
                    <a:pt x="5036" y="3146"/>
                  </a:lnTo>
                  <a:lnTo>
                    <a:pt x="5043" y="3155"/>
                  </a:lnTo>
                  <a:lnTo>
                    <a:pt x="5051" y="3163"/>
                  </a:lnTo>
                  <a:lnTo>
                    <a:pt x="5062" y="3167"/>
                  </a:lnTo>
                  <a:lnTo>
                    <a:pt x="5073" y="3168"/>
                  </a:lnTo>
                  <a:lnTo>
                    <a:pt x="5095" y="3176"/>
                  </a:lnTo>
                  <a:lnTo>
                    <a:pt x="5104" y="3180"/>
                  </a:lnTo>
                  <a:lnTo>
                    <a:pt x="5133" y="3207"/>
                  </a:lnTo>
                  <a:lnTo>
                    <a:pt x="5133" y="3209"/>
                  </a:lnTo>
                  <a:lnTo>
                    <a:pt x="5220" y="3262"/>
                  </a:lnTo>
                  <a:lnTo>
                    <a:pt x="5247" y="3266"/>
                  </a:lnTo>
                  <a:lnTo>
                    <a:pt x="5273" y="3251"/>
                  </a:lnTo>
                  <a:lnTo>
                    <a:pt x="5277" y="3236"/>
                  </a:lnTo>
                  <a:lnTo>
                    <a:pt x="5270" y="3225"/>
                  </a:lnTo>
                  <a:lnTo>
                    <a:pt x="5246" y="3207"/>
                  </a:lnTo>
                  <a:lnTo>
                    <a:pt x="5215" y="3158"/>
                  </a:lnTo>
                  <a:lnTo>
                    <a:pt x="5188" y="3132"/>
                  </a:lnTo>
                  <a:lnTo>
                    <a:pt x="5143" y="3101"/>
                  </a:lnTo>
                  <a:lnTo>
                    <a:pt x="5091" y="3074"/>
                  </a:lnTo>
                  <a:lnTo>
                    <a:pt x="5036" y="3055"/>
                  </a:lnTo>
                  <a:lnTo>
                    <a:pt x="5006" y="3052"/>
                  </a:lnTo>
                  <a:lnTo>
                    <a:pt x="4981" y="3061"/>
                  </a:lnTo>
                  <a:lnTo>
                    <a:pt x="4972" y="3072"/>
                  </a:lnTo>
                  <a:lnTo>
                    <a:pt x="4961" y="3099"/>
                  </a:lnTo>
                  <a:lnTo>
                    <a:pt x="4951" y="3112"/>
                  </a:lnTo>
                  <a:lnTo>
                    <a:pt x="4930" y="3134"/>
                  </a:lnTo>
                  <a:lnTo>
                    <a:pt x="4922" y="3146"/>
                  </a:lnTo>
                  <a:lnTo>
                    <a:pt x="4923" y="3154"/>
                  </a:lnTo>
                  <a:lnTo>
                    <a:pt x="4937" y="3156"/>
                  </a:lnTo>
                  <a:close/>
                  <a:moveTo>
                    <a:pt x="4820" y="3092"/>
                  </a:moveTo>
                  <a:lnTo>
                    <a:pt x="4820" y="3092"/>
                  </a:lnTo>
                  <a:lnTo>
                    <a:pt x="4822" y="3117"/>
                  </a:lnTo>
                  <a:lnTo>
                    <a:pt x="4842" y="3178"/>
                  </a:lnTo>
                  <a:lnTo>
                    <a:pt x="4842" y="3190"/>
                  </a:lnTo>
                  <a:lnTo>
                    <a:pt x="4834" y="3199"/>
                  </a:lnTo>
                  <a:lnTo>
                    <a:pt x="4806" y="3206"/>
                  </a:lnTo>
                  <a:lnTo>
                    <a:pt x="4792" y="3215"/>
                  </a:lnTo>
                  <a:lnTo>
                    <a:pt x="4783" y="3228"/>
                  </a:lnTo>
                  <a:lnTo>
                    <a:pt x="4781" y="3242"/>
                  </a:lnTo>
                  <a:lnTo>
                    <a:pt x="4814" y="3268"/>
                  </a:lnTo>
                  <a:lnTo>
                    <a:pt x="4820" y="3271"/>
                  </a:lnTo>
                  <a:lnTo>
                    <a:pt x="4852" y="3294"/>
                  </a:lnTo>
                  <a:lnTo>
                    <a:pt x="4879" y="3301"/>
                  </a:lnTo>
                  <a:lnTo>
                    <a:pt x="4904" y="3298"/>
                  </a:lnTo>
                  <a:lnTo>
                    <a:pt x="4958" y="3285"/>
                  </a:lnTo>
                  <a:lnTo>
                    <a:pt x="4972" y="3286"/>
                  </a:lnTo>
                  <a:lnTo>
                    <a:pt x="5000" y="3293"/>
                  </a:lnTo>
                  <a:lnTo>
                    <a:pt x="5014" y="3294"/>
                  </a:lnTo>
                  <a:lnTo>
                    <a:pt x="5069" y="3290"/>
                  </a:lnTo>
                  <a:lnTo>
                    <a:pt x="5096" y="3295"/>
                  </a:lnTo>
                  <a:lnTo>
                    <a:pt x="5119" y="3308"/>
                  </a:lnTo>
                  <a:lnTo>
                    <a:pt x="5153" y="3338"/>
                  </a:lnTo>
                  <a:lnTo>
                    <a:pt x="5164" y="3352"/>
                  </a:lnTo>
                  <a:lnTo>
                    <a:pt x="5166" y="3354"/>
                  </a:lnTo>
                  <a:lnTo>
                    <a:pt x="5169" y="3357"/>
                  </a:lnTo>
                  <a:lnTo>
                    <a:pt x="5176" y="3355"/>
                  </a:lnTo>
                  <a:lnTo>
                    <a:pt x="5182" y="3352"/>
                  </a:lnTo>
                  <a:lnTo>
                    <a:pt x="5186" y="3350"/>
                  </a:lnTo>
                  <a:lnTo>
                    <a:pt x="5193" y="3340"/>
                  </a:lnTo>
                  <a:lnTo>
                    <a:pt x="5196" y="3316"/>
                  </a:lnTo>
                  <a:lnTo>
                    <a:pt x="5202" y="3303"/>
                  </a:lnTo>
                  <a:lnTo>
                    <a:pt x="5200" y="3303"/>
                  </a:lnTo>
                  <a:lnTo>
                    <a:pt x="5198" y="3299"/>
                  </a:lnTo>
                  <a:lnTo>
                    <a:pt x="5196" y="3290"/>
                  </a:lnTo>
                  <a:lnTo>
                    <a:pt x="5191" y="3275"/>
                  </a:lnTo>
                  <a:lnTo>
                    <a:pt x="5188" y="3271"/>
                  </a:lnTo>
                  <a:lnTo>
                    <a:pt x="5179" y="3260"/>
                  </a:lnTo>
                  <a:lnTo>
                    <a:pt x="5106" y="3207"/>
                  </a:lnTo>
                  <a:lnTo>
                    <a:pt x="5056" y="3183"/>
                  </a:lnTo>
                  <a:lnTo>
                    <a:pt x="5024" y="3159"/>
                  </a:lnTo>
                  <a:lnTo>
                    <a:pt x="5012" y="3153"/>
                  </a:lnTo>
                  <a:lnTo>
                    <a:pt x="4998" y="3150"/>
                  </a:lnTo>
                  <a:lnTo>
                    <a:pt x="4983" y="3149"/>
                  </a:lnTo>
                  <a:lnTo>
                    <a:pt x="4974" y="3151"/>
                  </a:lnTo>
                  <a:lnTo>
                    <a:pt x="4956" y="3161"/>
                  </a:lnTo>
                  <a:lnTo>
                    <a:pt x="4947" y="3163"/>
                  </a:lnTo>
                  <a:lnTo>
                    <a:pt x="4935" y="3162"/>
                  </a:lnTo>
                  <a:lnTo>
                    <a:pt x="4920" y="3159"/>
                  </a:lnTo>
                  <a:lnTo>
                    <a:pt x="4909" y="3153"/>
                  </a:lnTo>
                  <a:lnTo>
                    <a:pt x="4911" y="3142"/>
                  </a:lnTo>
                  <a:lnTo>
                    <a:pt x="4917" y="3132"/>
                  </a:lnTo>
                  <a:lnTo>
                    <a:pt x="4916" y="3123"/>
                  </a:lnTo>
                  <a:lnTo>
                    <a:pt x="4911" y="3116"/>
                  </a:lnTo>
                  <a:lnTo>
                    <a:pt x="4878" y="3080"/>
                  </a:lnTo>
                  <a:lnTo>
                    <a:pt x="4859" y="3070"/>
                  </a:lnTo>
                  <a:lnTo>
                    <a:pt x="4834" y="3074"/>
                  </a:lnTo>
                  <a:lnTo>
                    <a:pt x="4820" y="3092"/>
                  </a:lnTo>
                  <a:close/>
                  <a:moveTo>
                    <a:pt x="4555" y="2832"/>
                  </a:moveTo>
                  <a:lnTo>
                    <a:pt x="4555" y="2832"/>
                  </a:lnTo>
                  <a:lnTo>
                    <a:pt x="4580" y="2855"/>
                  </a:lnTo>
                  <a:lnTo>
                    <a:pt x="4605" y="2867"/>
                  </a:lnTo>
                  <a:lnTo>
                    <a:pt x="4702" y="2882"/>
                  </a:lnTo>
                  <a:lnTo>
                    <a:pt x="4715" y="2888"/>
                  </a:lnTo>
                  <a:lnTo>
                    <a:pt x="4721" y="2890"/>
                  </a:lnTo>
                  <a:lnTo>
                    <a:pt x="4731" y="2895"/>
                  </a:lnTo>
                  <a:lnTo>
                    <a:pt x="4759" y="2929"/>
                  </a:lnTo>
                  <a:lnTo>
                    <a:pt x="4799" y="2968"/>
                  </a:lnTo>
                  <a:lnTo>
                    <a:pt x="4827" y="2986"/>
                  </a:lnTo>
                  <a:lnTo>
                    <a:pt x="4847" y="2982"/>
                  </a:lnTo>
                  <a:lnTo>
                    <a:pt x="4849" y="2971"/>
                  </a:lnTo>
                  <a:lnTo>
                    <a:pt x="4838" y="2927"/>
                  </a:lnTo>
                  <a:lnTo>
                    <a:pt x="4838" y="2876"/>
                  </a:lnTo>
                  <a:lnTo>
                    <a:pt x="4835" y="2845"/>
                  </a:lnTo>
                  <a:lnTo>
                    <a:pt x="4817" y="2829"/>
                  </a:lnTo>
                  <a:lnTo>
                    <a:pt x="4763" y="2815"/>
                  </a:lnTo>
                  <a:lnTo>
                    <a:pt x="4757" y="2812"/>
                  </a:lnTo>
                  <a:lnTo>
                    <a:pt x="4743" y="2804"/>
                  </a:lnTo>
                  <a:lnTo>
                    <a:pt x="4737" y="2801"/>
                  </a:lnTo>
                  <a:lnTo>
                    <a:pt x="4730" y="2801"/>
                  </a:lnTo>
                  <a:lnTo>
                    <a:pt x="4711" y="2801"/>
                  </a:lnTo>
                  <a:lnTo>
                    <a:pt x="4672" y="2794"/>
                  </a:lnTo>
                  <a:lnTo>
                    <a:pt x="4631" y="2790"/>
                  </a:lnTo>
                  <a:lnTo>
                    <a:pt x="4616" y="2787"/>
                  </a:lnTo>
                  <a:lnTo>
                    <a:pt x="4606" y="2782"/>
                  </a:lnTo>
                  <a:lnTo>
                    <a:pt x="4595" y="2774"/>
                  </a:lnTo>
                  <a:lnTo>
                    <a:pt x="4564" y="2760"/>
                  </a:lnTo>
                  <a:lnTo>
                    <a:pt x="4552" y="2757"/>
                  </a:lnTo>
                  <a:lnTo>
                    <a:pt x="4523" y="2765"/>
                  </a:lnTo>
                  <a:lnTo>
                    <a:pt x="4521" y="2784"/>
                  </a:lnTo>
                  <a:lnTo>
                    <a:pt x="4535" y="2808"/>
                  </a:lnTo>
                  <a:lnTo>
                    <a:pt x="4555" y="2832"/>
                  </a:lnTo>
                  <a:close/>
                  <a:moveTo>
                    <a:pt x="4669" y="3080"/>
                  </a:moveTo>
                  <a:lnTo>
                    <a:pt x="4669" y="3080"/>
                  </a:lnTo>
                  <a:lnTo>
                    <a:pt x="4668" y="3096"/>
                  </a:lnTo>
                  <a:lnTo>
                    <a:pt x="4673" y="3107"/>
                  </a:lnTo>
                  <a:lnTo>
                    <a:pt x="4680" y="3117"/>
                  </a:lnTo>
                  <a:lnTo>
                    <a:pt x="4691" y="3136"/>
                  </a:lnTo>
                  <a:lnTo>
                    <a:pt x="4734" y="3183"/>
                  </a:lnTo>
                  <a:lnTo>
                    <a:pt x="4757" y="3202"/>
                  </a:lnTo>
                  <a:lnTo>
                    <a:pt x="4776" y="3207"/>
                  </a:lnTo>
                  <a:lnTo>
                    <a:pt x="4781" y="3203"/>
                  </a:lnTo>
                  <a:lnTo>
                    <a:pt x="4801" y="3187"/>
                  </a:lnTo>
                  <a:lnTo>
                    <a:pt x="4807" y="3184"/>
                  </a:lnTo>
                  <a:lnTo>
                    <a:pt x="4813" y="3184"/>
                  </a:lnTo>
                  <a:lnTo>
                    <a:pt x="4818" y="3184"/>
                  </a:lnTo>
                  <a:lnTo>
                    <a:pt x="4820" y="3178"/>
                  </a:lnTo>
                  <a:lnTo>
                    <a:pt x="4819" y="3163"/>
                  </a:lnTo>
                  <a:lnTo>
                    <a:pt x="4807" y="3127"/>
                  </a:lnTo>
                  <a:lnTo>
                    <a:pt x="4806" y="3111"/>
                  </a:lnTo>
                  <a:lnTo>
                    <a:pt x="4807" y="3096"/>
                  </a:lnTo>
                  <a:lnTo>
                    <a:pt x="4826" y="3035"/>
                  </a:lnTo>
                  <a:lnTo>
                    <a:pt x="4828" y="3019"/>
                  </a:lnTo>
                  <a:lnTo>
                    <a:pt x="4824" y="3005"/>
                  </a:lnTo>
                  <a:lnTo>
                    <a:pt x="4820" y="2999"/>
                  </a:lnTo>
                  <a:lnTo>
                    <a:pt x="4810" y="2988"/>
                  </a:lnTo>
                  <a:lnTo>
                    <a:pt x="4761" y="2953"/>
                  </a:lnTo>
                  <a:lnTo>
                    <a:pt x="4726" y="2915"/>
                  </a:lnTo>
                  <a:lnTo>
                    <a:pt x="4706" y="2900"/>
                  </a:lnTo>
                  <a:lnTo>
                    <a:pt x="4681" y="2894"/>
                  </a:lnTo>
                  <a:lnTo>
                    <a:pt x="4667" y="2895"/>
                  </a:lnTo>
                  <a:lnTo>
                    <a:pt x="4658" y="2897"/>
                  </a:lnTo>
                  <a:lnTo>
                    <a:pt x="4654" y="2904"/>
                  </a:lnTo>
                  <a:lnTo>
                    <a:pt x="4653" y="2918"/>
                  </a:lnTo>
                  <a:lnTo>
                    <a:pt x="4657" y="2945"/>
                  </a:lnTo>
                  <a:lnTo>
                    <a:pt x="4655" y="2951"/>
                  </a:lnTo>
                  <a:lnTo>
                    <a:pt x="4649" y="2963"/>
                  </a:lnTo>
                  <a:lnTo>
                    <a:pt x="4648" y="2969"/>
                  </a:lnTo>
                  <a:lnTo>
                    <a:pt x="4650" y="2980"/>
                  </a:lnTo>
                  <a:lnTo>
                    <a:pt x="4655" y="2994"/>
                  </a:lnTo>
                  <a:lnTo>
                    <a:pt x="4662" y="3007"/>
                  </a:lnTo>
                  <a:lnTo>
                    <a:pt x="4674" y="3018"/>
                  </a:lnTo>
                  <a:lnTo>
                    <a:pt x="4676" y="3029"/>
                  </a:lnTo>
                  <a:lnTo>
                    <a:pt x="4675" y="3053"/>
                  </a:lnTo>
                  <a:lnTo>
                    <a:pt x="4669" y="3080"/>
                  </a:lnTo>
                  <a:close/>
                  <a:moveTo>
                    <a:pt x="4144" y="2599"/>
                  </a:moveTo>
                  <a:lnTo>
                    <a:pt x="4144" y="2599"/>
                  </a:lnTo>
                  <a:lnTo>
                    <a:pt x="4149" y="2614"/>
                  </a:lnTo>
                  <a:lnTo>
                    <a:pt x="4156" y="2643"/>
                  </a:lnTo>
                  <a:lnTo>
                    <a:pt x="4169" y="2668"/>
                  </a:lnTo>
                  <a:lnTo>
                    <a:pt x="4189" y="2687"/>
                  </a:lnTo>
                  <a:lnTo>
                    <a:pt x="4214" y="2699"/>
                  </a:lnTo>
                  <a:lnTo>
                    <a:pt x="4244" y="2704"/>
                  </a:lnTo>
                  <a:lnTo>
                    <a:pt x="4258" y="2704"/>
                  </a:lnTo>
                  <a:lnTo>
                    <a:pt x="4275" y="2701"/>
                  </a:lnTo>
                  <a:lnTo>
                    <a:pt x="4291" y="2696"/>
                  </a:lnTo>
                  <a:lnTo>
                    <a:pt x="4298" y="2689"/>
                  </a:lnTo>
                  <a:lnTo>
                    <a:pt x="4302" y="2682"/>
                  </a:lnTo>
                  <a:lnTo>
                    <a:pt x="4334" y="2660"/>
                  </a:lnTo>
                  <a:lnTo>
                    <a:pt x="4343" y="2647"/>
                  </a:lnTo>
                  <a:lnTo>
                    <a:pt x="4345" y="2634"/>
                  </a:lnTo>
                  <a:lnTo>
                    <a:pt x="4342" y="2606"/>
                  </a:lnTo>
                  <a:lnTo>
                    <a:pt x="4347" y="2590"/>
                  </a:lnTo>
                  <a:lnTo>
                    <a:pt x="4368" y="2565"/>
                  </a:lnTo>
                  <a:lnTo>
                    <a:pt x="4373" y="2551"/>
                  </a:lnTo>
                  <a:lnTo>
                    <a:pt x="4369" y="2527"/>
                  </a:lnTo>
                  <a:lnTo>
                    <a:pt x="4361" y="2510"/>
                  </a:lnTo>
                  <a:lnTo>
                    <a:pt x="4338" y="2480"/>
                  </a:lnTo>
                  <a:lnTo>
                    <a:pt x="4328" y="2467"/>
                  </a:lnTo>
                  <a:lnTo>
                    <a:pt x="4312" y="2448"/>
                  </a:lnTo>
                  <a:lnTo>
                    <a:pt x="4291" y="2435"/>
                  </a:lnTo>
                  <a:lnTo>
                    <a:pt x="4269" y="2442"/>
                  </a:lnTo>
                  <a:lnTo>
                    <a:pt x="4237" y="2474"/>
                  </a:lnTo>
                  <a:lnTo>
                    <a:pt x="4227" y="2480"/>
                  </a:lnTo>
                  <a:lnTo>
                    <a:pt x="4214" y="2481"/>
                  </a:lnTo>
                  <a:lnTo>
                    <a:pt x="4192" y="2473"/>
                  </a:lnTo>
                  <a:lnTo>
                    <a:pt x="4181" y="2471"/>
                  </a:lnTo>
                  <a:lnTo>
                    <a:pt x="4156" y="2476"/>
                  </a:lnTo>
                  <a:lnTo>
                    <a:pt x="4142" y="2489"/>
                  </a:lnTo>
                  <a:lnTo>
                    <a:pt x="4133" y="2509"/>
                  </a:lnTo>
                  <a:lnTo>
                    <a:pt x="4126" y="2562"/>
                  </a:lnTo>
                  <a:lnTo>
                    <a:pt x="4128" y="2576"/>
                  </a:lnTo>
                  <a:lnTo>
                    <a:pt x="4144" y="2599"/>
                  </a:lnTo>
                  <a:close/>
                  <a:moveTo>
                    <a:pt x="9530" y="4454"/>
                  </a:moveTo>
                  <a:lnTo>
                    <a:pt x="9530" y="4454"/>
                  </a:lnTo>
                  <a:lnTo>
                    <a:pt x="9522" y="4444"/>
                  </a:lnTo>
                  <a:lnTo>
                    <a:pt x="9512" y="4437"/>
                  </a:lnTo>
                  <a:lnTo>
                    <a:pt x="9500" y="4434"/>
                  </a:lnTo>
                  <a:lnTo>
                    <a:pt x="9493" y="4437"/>
                  </a:lnTo>
                  <a:lnTo>
                    <a:pt x="9488" y="4443"/>
                  </a:lnTo>
                  <a:lnTo>
                    <a:pt x="9481" y="4447"/>
                  </a:lnTo>
                  <a:lnTo>
                    <a:pt x="9469" y="4447"/>
                  </a:lnTo>
                  <a:lnTo>
                    <a:pt x="9458" y="4443"/>
                  </a:lnTo>
                  <a:lnTo>
                    <a:pt x="9436" y="4429"/>
                  </a:lnTo>
                  <a:lnTo>
                    <a:pt x="9424" y="4426"/>
                  </a:lnTo>
                  <a:lnTo>
                    <a:pt x="9417" y="4428"/>
                  </a:lnTo>
                  <a:lnTo>
                    <a:pt x="9404" y="4437"/>
                  </a:lnTo>
                  <a:lnTo>
                    <a:pt x="9396" y="4439"/>
                  </a:lnTo>
                  <a:lnTo>
                    <a:pt x="9384" y="4437"/>
                  </a:lnTo>
                  <a:lnTo>
                    <a:pt x="9362" y="4431"/>
                  </a:lnTo>
                  <a:lnTo>
                    <a:pt x="9352" y="4430"/>
                  </a:lnTo>
                  <a:lnTo>
                    <a:pt x="9341" y="4435"/>
                  </a:lnTo>
                  <a:lnTo>
                    <a:pt x="9337" y="4447"/>
                  </a:lnTo>
                  <a:lnTo>
                    <a:pt x="9332" y="4553"/>
                  </a:lnTo>
                  <a:lnTo>
                    <a:pt x="9316" y="4594"/>
                  </a:lnTo>
                  <a:lnTo>
                    <a:pt x="9314" y="4608"/>
                  </a:lnTo>
                  <a:lnTo>
                    <a:pt x="9319" y="4616"/>
                  </a:lnTo>
                  <a:lnTo>
                    <a:pt x="9332" y="4626"/>
                  </a:lnTo>
                  <a:lnTo>
                    <a:pt x="9345" y="4633"/>
                  </a:lnTo>
                  <a:lnTo>
                    <a:pt x="9354" y="4637"/>
                  </a:lnTo>
                  <a:lnTo>
                    <a:pt x="9369" y="4633"/>
                  </a:lnTo>
                  <a:lnTo>
                    <a:pt x="9391" y="4611"/>
                  </a:lnTo>
                  <a:lnTo>
                    <a:pt x="9412" y="4604"/>
                  </a:lnTo>
                  <a:lnTo>
                    <a:pt x="9433" y="4593"/>
                  </a:lnTo>
                  <a:lnTo>
                    <a:pt x="9480" y="4573"/>
                  </a:lnTo>
                  <a:lnTo>
                    <a:pt x="9489" y="4571"/>
                  </a:lnTo>
                  <a:lnTo>
                    <a:pt x="9496" y="4567"/>
                  </a:lnTo>
                  <a:lnTo>
                    <a:pt x="9527" y="4545"/>
                  </a:lnTo>
                  <a:lnTo>
                    <a:pt x="9541" y="4539"/>
                  </a:lnTo>
                  <a:lnTo>
                    <a:pt x="9547" y="4535"/>
                  </a:lnTo>
                  <a:lnTo>
                    <a:pt x="9549" y="4529"/>
                  </a:lnTo>
                  <a:lnTo>
                    <a:pt x="9547" y="4523"/>
                  </a:lnTo>
                  <a:lnTo>
                    <a:pt x="9542" y="4519"/>
                  </a:lnTo>
                  <a:lnTo>
                    <a:pt x="9538" y="4515"/>
                  </a:lnTo>
                  <a:lnTo>
                    <a:pt x="9536" y="4512"/>
                  </a:lnTo>
                  <a:lnTo>
                    <a:pt x="9536" y="4465"/>
                  </a:lnTo>
                  <a:lnTo>
                    <a:pt x="9530" y="4454"/>
                  </a:lnTo>
                  <a:close/>
                  <a:moveTo>
                    <a:pt x="13772" y="6236"/>
                  </a:moveTo>
                  <a:lnTo>
                    <a:pt x="13772" y="6236"/>
                  </a:lnTo>
                  <a:lnTo>
                    <a:pt x="13778" y="6217"/>
                  </a:lnTo>
                  <a:lnTo>
                    <a:pt x="13786" y="6213"/>
                  </a:lnTo>
                  <a:lnTo>
                    <a:pt x="13785" y="6206"/>
                  </a:lnTo>
                  <a:lnTo>
                    <a:pt x="13781" y="6201"/>
                  </a:lnTo>
                  <a:lnTo>
                    <a:pt x="13771" y="6197"/>
                  </a:lnTo>
                  <a:lnTo>
                    <a:pt x="13767" y="6192"/>
                  </a:lnTo>
                  <a:lnTo>
                    <a:pt x="13767" y="6168"/>
                  </a:lnTo>
                  <a:lnTo>
                    <a:pt x="13766" y="6161"/>
                  </a:lnTo>
                  <a:lnTo>
                    <a:pt x="13763" y="6146"/>
                  </a:lnTo>
                  <a:lnTo>
                    <a:pt x="13764" y="6118"/>
                  </a:lnTo>
                  <a:lnTo>
                    <a:pt x="13763" y="6107"/>
                  </a:lnTo>
                  <a:lnTo>
                    <a:pt x="13758" y="6095"/>
                  </a:lnTo>
                  <a:lnTo>
                    <a:pt x="13753" y="6087"/>
                  </a:lnTo>
                  <a:lnTo>
                    <a:pt x="13748" y="6073"/>
                  </a:lnTo>
                  <a:lnTo>
                    <a:pt x="13749" y="6061"/>
                  </a:lnTo>
                  <a:lnTo>
                    <a:pt x="13778" y="6051"/>
                  </a:lnTo>
                  <a:lnTo>
                    <a:pt x="13777" y="6039"/>
                  </a:lnTo>
                  <a:lnTo>
                    <a:pt x="13768" y="6026"/>
                  </a:lnTo>
                  <a:lnTo>
                    <a:pt x="13758" y="6016"/>
                  </a:lnTo>
                  <a:lnTo>
                    <a:pt x="13741" y="5991"/>
                  </a:lnTo>
                  <a:lnTo>
                    <a:pt x="13738" y="5966"/>
                  </a:lnTo>
                  <a:lnTo>
                    <a:pt x="13746" y="5902"/>
                  </a:lnTo>
                  <a:lnTo>
                    <a:pt x="13749" y="5895"/>
                  </a:lnTo>
                  <a:lnTo>
                    <a:pt x="13751" y="5888"/>
                  </a:lnTo>
                  <a:lnTo>
                    <a:pt x="13749" y="5880"/>
                  </a:lnTo>
                  <a:lnTo>
                    <a:pt x="13744" y="5871"/>
                  </a:lnTo>
                  <a:lnTo>
                    <a:pt x="13740" y="5873"/>
                  </a:lnTo>
                  <a:lnTo>
                    <a:pt x="13735" y="5880"/>
                  </a:lnTo>
                  <a:lnTo>
                    <a:pt x="13730" y="5884"/>
                  </a:lnTo>
                  <a:lnTo>
                    <a:pt x="13719" y="5888"/>
                  </a:lnTo>
                  <a:lnTo>
                    <a:pt x="13681" y="5921"/>
                  </a:lnTo>
                  <a:lnTo>
                    <a:pt x="13674" y="5926"/>
                  </a:lnTo>
                  <a:lnTo>
                    <a:pt x="13652" y="5935"/>
                  </a:lnTo>
                  <a:lnTo>
                    <a:pt x="13648" y="5939"/>
                  </a:lnTo>
                  <a:lnTo>
                    <a:pt x="13647" y="5947"/>
                  </a:lnTo>
                  <a:lnTo>
                    <a:pt x="13633" y="5988"/>
                  </a:lnTo>
                  <a:lnTo>
                    <a:pt x="13605" y="6038"/>
                  </a:lnTo>
                  <a:lnTo>
                    <a:pt x="13601" y="6050"/>
                  </a:lnTo>
                  <a:lnTo>
                    <a:pt x="13597" y="6095"/>
                  </a:lnTo>
                  <a:lnTo>
                    <a:pt x="13581" y="6135"/>
                  </a:lnTo>
                  <a:lnTo>
                    <a:pt x="13579" y="6149"/>
                  </a:lnTo>
                  <a:lnTo>
                    <a:pt x="13583" y="6197"/>
                  </a:lnTo>
                  <a:lnTo>
                    <a:pt x="13587" y="6207"/>
                  </a:lnTo>
                  <a:lnTo>
                    <a:pt x="13599" y="6223"/>
                  </a:lnTo>
                  <a:lnTo>
                    <a:pt x="13613" y="6237"/>
                  </a:lnTo>
                  <a:lnTo>
                    <a:pt x="13619" y="6245"/>
                  </a:lnTo>
                  <a:lnTo>
                    <a:pt x="13621" y="6261"/>
                  </a:lnTo>
                  <a:lnTo>
                    <a:pt x="13615" y="6300"/>
                  </a:lnTo>
                  <a:lnTo>
                    <a:pt x="13617" y="6311"/>
                  </a:lnTo>
                  <a:lnTo>
                    <a:pt x="13620" y="6316"/>
                  </a:lnTo>
                  <a:lnTo>
                    <a:pt x="13628" y="6325"/>
                  </a:lnTo>
                  <a:lnTo>
                    <a:pt x="13630" y="6332"/>
                  </a:lnTo>
                  <a:lnTo>
                    <a:pt x="13627" y="6337"/>
                  </a:lnTo>
                  <a:lnTo>
                    <a:pt x="13621" y="6341"/>
                  </a:lnTo>
                  <a:lnTo>
                    <a:pt x="13615" y="6342"/>
                  </a:lnTo>
                  <a:lnTo>
                    <a:pt x="13612" y="6344"/>
                  </a:lnTo>
                  <a:lnTo>
                    <a:pt x="13610" y="6358"/>
                  </a:lnTo>
                  <a:lnTo>
                    <a:pt x="13605" y="6373"/>
                  </a:lnTo>
                  <a:lnTo>
                    <a:pt x="13603" y="6387"/>
                  </a:lnTo>
                  <a:lnTo>
                    <a:pt x="13608" y="6400"/>
                  </a:lnTo>
                  <a:lnTo>
                    <a:pt x="13617" y="6395"/>
                  </a:lnTo>
                  <a:lnTo>
                    <a:pt x="13624" y="6398"/>
                  </a:lnTo>
                  <a:lnTo>
                    <a:pt x="13629" y="6406"/>
                  </a:lnTo>
                  <a:lnTo>
                    <a:pt x="13630" y="6417"/>
                  </a:lnTo>
                  <a:lnTo>
                    <a:pt x="13635" y="6413"/>
                  </a:lnTo>
                  <a:lnTo>
                    <a:pt x="13646" y="6398"/>
                  </a:lnTo>
                  <a:lnTo>
                    <a:pt x="13651" y="6393"/>
                  </a:lnTo>
                  <a:lnTo>
                    <a:pt x="13664" y="6389"/>
                  </a:lnTo>
                  <a:lnTo>
                    <a:pt x="13670" y="6387"/>
                  </a:lnTo>
                  <a:lnTo>
                    <a:pt x="13681" y="6376"/>
                  </a:lnTo>
                  <a:lnTo>
                    <a:pt x="13686" y="6371"/>
                  </a:lnTo>
                  <a:lnTo>
                    <a:pt x="13688" y="6367"/>
                  </a:lnTo>
                  <a:lnTo>
                    <a:pt x="13689" y="6365"/>
                  </a:lnTo>
                  <a:lnTo>
                    <a:pt x="13699" y="6361"/>
                  </a:lnTo>
                  <a:lnTo>
                    <a:pt x="13703" y="6358"/>
                  </a:lnTo>
                  <a:lnTo>
                    <a:pt x="13705" y="6354"/>
                  </a:lnTo>
                  <a:lnTo>
                    <a:pt x="13704" y="6346"/>
                  </a:lnTo>
                  <a:lnTo>
                    <a:pt x="13705" y="6343"/>
                  </a:lnTo>
                  <a:lnTo>
                    <a:pt x="13710" y="6338"/>
                  </a:lnTo>
                  <a:lnTo>
                    <a:pt x="13714" y="6335"/>
                  </a:lnTo>
                  <a:lnTo>
                    <a:pt x="13720" y="6334"/>
                  </a:lnTo>
                  <a:lnTo>
                    <a:pt x="13730" y="6334"/>
                  </a:lnTo>
                  <a:lnTo>
                    <a:pt x="13737" y="6332"/>
                  </a:lnTo>
                  <a:lnTo>
                    <a:pt x="13740" y="6327"/>
                  </a:lnTo>
                  <a:lnTo>
                    <a:pt x="13744" y="6321"/>
                  </a:lnTo>
                  <a:lnTo>
                    <a:pt x="13749" y="6316"/>
                  </a:lnTo>
                  <a:lnTo>
                    <a:pt x="13755" y="6315"/>
                  </a:lnTo>
                  <a:lnTo>
                    <a:pt x="13763" y="6315"/>
                  </a:lnTo>
                  <a:lnTo>
                    <a:pt x="13769" y="6312"/>
                  </a:lnTo>
                  <a:lnTo>
                    <a:pt x="13772" y="6305"/>
                  </a:lnTo>
                  <a:lnTo>
                    <a:pt x="13770" y="6296"/>
                  </a:lnTo>
                  <a:lnTo>
                    <a:pt x="13761" y="6280"/>
                  </a:lnTo>
                  <a:lnTo>
                    <a:pt x="13758" y="6271"/>
                  </a:lnTo>
                  <a:lnTo>
                    <a:pt x="13758" y="6255"/>
                  </a:lnTo>
                  <a:lnTo>
                    <a:pt x="13764" y="6244"/>
                  </a:lnTo>
                  <a:lnTo>
                    <a:pt x="13772" y="6236"/>
                  </a:lnTo>
                  <a:close/>
                  <a:moveTo>
                    <a:pt x="13294" y="8265"/>
                  </a:moveTo>
                  <a:lnTo>
                    <a:pt x="13294" y="8265"/>
                  </a:lnTo>
                  <a:lnTo>
                    <a:pt x="13293" y="8248"/>
                  </a:lnTo>
                  <a:lnTo>
                    <a:pt x="13282" y="8238"/>
                  </a:lnTo>
                  <a:lnTo>
                    <a:pt x="13237" y="8214"/>
                  </a:lnTo>
                  <a:lnTo>
                    <a:pt x="13222" y="8208"/>
                  </a:lnTo>
                  <a:lnTo>
                    <a:pt x="13169" y="8203"/>
                  </a:lnTo>
                  <a:lnTo>
                    <a:pt x="13115" y="8204"/>
                  </a:lnTo>
                  <a:lnTo>
                    <a:pt x="13102" y="8203"/>
                  </a:lnTo>
                  <a:lnTo>
                    <a:pt x="13089" y="8205"/>
                  </a:lnTo>
                  <a:lnTo>
                    <a:pt x="13082" y="8211"/>
                  </a:lnTo>
                  <a:lnTo>
                    <a:pt x="13089" y="8221"/>
                  </a:lnTo>
                  <a:lnTo>
                    <a:pt x="13081" y="8233"/>
                  </a:lnTo>
                  <a:lnTo>
                    <a:pt x="13072" y="8240"/>
                  </a:lnTo>
                  <a:lnTo>
                    <a:pt x="13065" y="8248"/>
                  </a:lnTo>
                  <a:lnTo>
                    <a:pt x="13063" y="8264"/>
                  </a:lnTo>
                  <a:lnTo>
                    <a:pt x="13067" y="8271"/>
                  </a:lnTo>
                  <a:lnTo>
                    <a:pt x="13078" y="8272"/>
                  </a:lnTo>
                  <a:lnTo>
                    <a:pt x="13102" y="8270"/>
                  </a:lnTo>
                  <a:lnTo>
                    <a:pt x="13095" y="8294"/>
                  </a:lnTo>
                  <a:lnTo>
                    <a:pt x="13096" y="8299"/>
                  </a:lnTo>
                  <a:lnTo>
                    <a:pt x="13110" y="8312"/>
                  </a:lnTo>
                  <a:lnTo>
                    <a:pt x="13112" y="8312"/>
                  </a:lnTo>
                  <a:lnTo>
                    <a:pt x="13114" y="8315"/>
                  </a:lnTo>
                  <a:lnTo>
                    <a:pt x="13118" y="8315"/>
                  </a:lnTo>
                  <a:lnTo>
                    <a:pt x="13122" y="8313"/>
                  </a:lnTo>
                  <a:lnTo>
                    <a:pt x="13125" y="8310"/>
                  </a:lnTo>
                  <a:lnTo>
                    <a:pt x="13125" y="8307"/>
                  </a:lnTo>
                  <a:lnTo>
                    <a:pt x="13120" y="8301"/>
                  </a:lnTo>
                  <a:lnTo>
                    <a:pt x="13120" y="8297"/>
                  </a:lnTo>
                  <a:lnTo>
                    <a:pt x="13119" y="8298"/>
                  </a:lnTo>
                  <a:lnTo>
                    <a:pt x="13118" y="8296"/>
                  </a:lnTo>
                  <a:lnTo>
                    <a:pt x="13119" y="8292"/>
                  </a:lnTo>
                  <a:lnTo>
                    <a:pt x="13120" y="8288"/>
                  </a:lnTo>
                  <a:lnTo>
                    <a:pt x="13129" y="8279"/>
                  </a:lnTo>
                  <a:lnTo>
                    <a:pt x="13154" y="8298"/>
                  </a:lnTo>
                  <a:lnTo>
                    <a:pt x="13169" y="8302"/>
                  </a:lnTo>
                  <a:lnTo>
                    <a:pt x="13183" y="8292"/>
                  </a:lnTo>
                  <a:lnTo>
                    <a:pt x="13180" y="8288"/>
                  </a:lnTo>
                  <a:lnTo>
                    <a:pt x="13177" y="8285"/>
                  </a:lnTo>
                  <a:lnTo>
                    <a:pt x="13169" y="8279"/>
                  </a:lnTo>
                  <a:lnTo>
                    <a:pt x="13162" y="8276"/>
                  </a:lnTo>
                  <a:lnTo>
                    <a:pt x="13155" y="8275"/>
                  </a:lnTo>
                  <a:lnTo>
                    <a:pt x="13149" y="8271"/>
                  </a:lnTo>
                  <a:lnTo>
                    <a:pt x="13147" y="8264"/>
                  </a:lnTo>
                  <a:lnTo>
                    <a:pt x="13151" y="8263"/>
                  </a:lnTo>
                  <a:lnTo>
                    <a:pt x="13171" y="8252"/>
                  </a:lnTo>
                  <a:lnTo>
                    <a:pt x="13179" y="8254"/>
                  </a:lnTo>
                  <a:lnTo>
                    <a:pt x="13183" y="8256"/>
                  </a:lnTo>
                  <a:lnTo>
                    <a:pt x="13186" y="8259"/>
                  </a:lnTo>
                  <a:lnTo>
                    <a:pt x="13191" y="8261"/>
                  </a:lnTo>
                  <a:lnTo>
                    <a:pt x="13195" y="8261"/>
                  </a:lnTo>
                  <a:lnTo>
                    <a:pt x="13199" y="8258"/>
                  </a:lnTo>
                  <a:lnTo>
                    <a:pt x="13205" y="8257"/>
                  </a:lnTo>
                  <a:lnTo>
                    <a:pt x="13208" y="8253"/>
                  </a:lnTo>
                  <a:lnTo>
                    <a:pt x="13211" y="8252"/>
                  </a:lnTo>
                  <a:lnTo>
                    <a:pt x="13216" y="8255"/>
                  </a:lnTo>
                  <a:lnTo>
                    <a:pt x="13218" y="8257"/>
                  </a:lnTo>
                  <a:lnTo>
                    <a:pt x="13226" y="8261"/>
                  </a:lnTo>
                  <a:lnTo>
                    <a:pt x="13236" y="8263"/>
                  </a:lnTo>
                  <a:lnTo>
                    <a:pt x="13249" y="8269"/>
                  </a:lnTo>
                  <a:lnTo>
                    <a:pt x="13256" y="8270"/>
                  </a:lnTo>
                  <a:lnTo>
                    <a:pt x="13284" y="8271"/>
                  </a:lnTo>
                  <a:lnTo>
                    <a:pt x="13294" y="8265"/>
                  </a:lnTo>
                  <a:close/>
                  <a:moveTo>
                    <a:pt x="18284" y="9220"/>
                  </a:moveTo>
                  <a:lnTo>
                    <a:pt x="18284" y="9220"/>
                  </a:lnTo>
                  <a:lnTo>
                    <a:pt x="18305" y="9208"/>
                  </a:lnTo>
                  <a:lnTo>
                    <a:pt x="18309" y="9197"/>
                  </a:lnTo>
                  <a:lnTo>
                    <a:pt x="18314" y="9152"/>
                  </a:lnTo>
                  <a:lnTo>
                    <a:pt x="18316" y="9148"/>
                  </a:lnTo>
                  <a:lnTo>
                    <a:pt x="18320" y="9145"/>
                  </a:lnTo>
                  <a:lnTo>
                    <a:pt x="18323" y="9140"/>
                  </a:lnTo>
                  <a:lnTo>
                    <a:pt x="18322" y="9132"/>
                  </a:lnTo>
                  <a:lnTo>
                    <a:pt x="18317" y="9126"/>
                  </a:lnTo>
                  <a:lnTo>
                    <a:pt x="18311" y="9123"/>
                  </a:lnTo>
                  <a:lnTo>
                    <a:pt x="18305" y="9124"/>
                  </a:lnTo>
                  <a:lnTo>
                    <a:pt x="18300" y="9128"/>
                  </a:lnTo>
                  <a:lnTo>
                    <a:pt x="18283" y="9118"/>
                  </a:lnTo>
                  <a:lnTo>
                    <a:pt x="18267" y="9112"/>
                  </a:lnTo>
                  <a:lnTo>
                    <a:pt x="18250" y="9110"/>
                  </a:lnTo>
                  <a:lnTo>
                    <a:pt x="18229" y="9109"/>
                  </a:lnTo>
                  <a:lnTo>
                    <a:pt x="18219" y="9110"/>
                  </a:lnTo>
                  <a:lnTo>
                    <a:pt x="18198" y="9116"/>
                  </a:lnTo>
                  <a:lnTo>
                    <a:pt x="18189" y="9120"/>
                  </a:lnTo>
                  <a:lnTo>
                    <a:pt x="18178" y="9126"/>
                  </a:lnTo>
                  <a:lnTo>
                    <a:pt x="18121" y="9174"/>
                  </a:lnTo>
                  <a:lnTo>
                    <a:pt x="18110" y="9190"/>
                  </a:lnTo>
                  <a:lnTo>
                    <a:pt x="18110" y="9212"/>
                  </a:lnTo>
                  <a:lnTo>
                    <a:pt x="18124" y="9225"/>
                  </a:lnTo>
                  <a:lnTo>
                    <a:pt x="18150" y="9223"/>
                  </a:lnTo>
                  <a:lnTo>
                    <a:pt x="18203" y="9212"/>
                  </a:lnTo>
                  <a:lnTo>
                    <a:pt x="18255" y="9221"/>
                  </a:lnTo>
                  <a:lnTo>
                    <a:pt x="18284" y="9220"/>
                  </a:lnTo>
                  <a:close/>
                  <a:moveTo>
                    <a:pt x="18475" y="9260"/>
                  </a:moveTo>
                  <a:lnTo>
                    <a:pt x="18475" y="9260"/>
                  </a:lnTo>
                  <a:lnTo>
                    <a:pt x="18483" y="9258"/>
                  </a:lnTo>
                  <a:lnTo>
                    <a:pt x="18486" y="9255"/>
                  </a:lnTo>
                  <a:lnTo>
                    <a:pt x="18491" y="9247"/>
                  </a:lnTo>
                  <a:lnTo>
                    <a:pt x="18501" y="9235"/>
                  </a:lnTo>
                  <a:lnTo>
                    <a:pt x="18513" y="9225"/>
                  </a:lnTo>
                  <a:lnTo>
                    <a:pt x="18522" y="9221"/>
                  </a:lnTo>
                  <a:lnTo>
                    <a:pt x="18526" y="9226"/>
                  </a:lnTo>
                  <a:lnTo>
                    <a:pt x="18529" y="9235"/>
                  </a:lnTo>
                  <a:lnTo>
                    <a:pt x="18535" y="9242"/>
                  </a:lnTo>
                  <a:lnTo>
                    <a:pt x="18542" y="9241"/>
                  </a:lnTo>
                  <a:lnTo>
                    <a:pt x="18568" y="9213"/>
                  </a:lnTo>
                  <a:lnTo>
                    <a:pt x="18583" y="9189"/>
                  </a:lnTo>
                  <a:lnTo>
                    <a:pt x="18592" y="9167"/>
                  </a:lnTo>
                  <a:lnTo>
                    <a:pt x="18598" y="9156"/>
                  </a:lnTo>
                  <a:lnTo>
                    <a:pt x="18608" y="9148"/>
                  </a:lnTo>
                  <a:lnTo>
                    <a:pt x="18622" y="9145"/>
                  </a:lnTo>
                  <a:lnTo>
                    <a:pt x="18664" y="9144"/>
                  </a:lnTo>
                  <a:lnTo>
                    <a:pt x="18692" y="9137"/>
                  </a:lnTo>
                  <a:lnTo>
                    <a:pt x="18700" y="9134"/>
                  </a:lnTo>
                  <a:lnTo>
                    <a:pt x="18703" y="9130"/>
                  </a:lnTo>
                  <a:lnTo>
                    <a:pt x="18706" y="9116"/>
                  </a:lnTo>
                  <a:lnTo>
                    <a:pt x="18704" y="9109"/>
                  </a:lnTo>
                  <a:lnTo>
                    <a:pt x="18697" y="9105"/>
                  </a:lnTo>
                  <a:lnTo>
                    <a:pt x="18669" y="9103"/>
                  </a:lnTo>
                  <a:lnTo>
                    <a:pt x="18656" y="9100"/>
                  </a:lnTo>
                  <a:lnTo>
                    <a:pt x="18646" y="9097"/>
                  </a:lnTo>
                  <a:lnTo>
                    <a:pt x="18640" y="9093"/>
                  </a:lnTo>
                  <a:lnTo>
                    <a:pt x="18629" y="9085"/>
                  </a:lnTo>
                  <a:lnTo>
                    <a:pt x="18626" y="9083"/>
                  </a:lnTo>
                  <a:lnTo>
                    <a:pt x="18624" y="9082"/>
                  </a:lnTo>
                  <a:lnTo>
                    <a:pt x="18623" y="9079"/>
                  </a:lnTo>
                  <a:lnTo>
                    <a:pt x="18621" y="9075"/>
                  </a:lnTo>
                  <a:lnTo>
                    <a:pt x="18617" y="9074"/>
                  </a:lnTo>
                  <a:lnTo>
                    <a:pt x="18613" y="9075"/>
                  </a:lnTo>
                  <a:lnTo>
                    <a:pt x="18607" y="9078"/>
                  </a:lnTo>
                  <a:lnTo>
                    <a:pt x="18604" y="9078"/>
                  </a:lnTo>
                  <a:lnTo>
                    <a:pt x="18593" y="9083"/>
                  </a:lnTo>
                  <a:lnTo>
                    <a:pt x="18582" y="9093"/>
                  </a:lnTo>
                  <a:lnTo>
                    <a:pt x="18570" y="9103"/>
                  </a:lnTo>
                  <a:lnTo>
                    <a:pt x="18553" y="9105"/>
                  </a:lnTo>
                  <a:lnTo>
                    <a:pt x="18553" y="9109"/>
                  </a:lnTo>
                  <a:lnTo>
                    <a:pt x="18557" y="9117"/>
                  </a:lnTo>
                  <a:lnTo>
                    <a:pt x="18551" y="9121"/>
                  </a:lnTo>
                  <a:lnTo>
                    <a:pt x="18539" y="9121"/>
                  </a:lnTo>
                  <a:lnTo>
                    <a:pt x="18531" y="9119"/>
                  </a:lnTo>
                  <a:lnTo>
                    <a:pt x="18528" y="9115"/>
                  </a:lnTo>
                  <a:lnTo>
                    <a:pt x="18528" y="9110"/>
                  </a:lnTo>
                  <a:lnTo>
                    <a:pt x="18527" y="9105"/>
                  </a:lnTo>
                  <a:lnTo>
                    <a:pt x="18522" y="9101"/>
                  </a:lnTo>
                  <a:lnTo>
                    <a:pt x="18517" y="9101"/>
                  </a:lnTo>
                  <a:lnTo>
                    <a:pt x="18512" y="9103"/>
                  </a:lnTo>
                  <a:lnTo>
                    <a:pt x="18507" y="9106"/>
                  </a:lnTo>
                  <a:lnTo>
                    <a:pt x="18504" y="9109"/>
                  </a:lnTo>
                  <a:lnTo>
                    <a:pt x="18501" y="9117"/>
                  </a:lnTo>
                  <a:lnTo>
                    <a:pt x="18505" y="9122"/>
                  </a:lnTo>
                  <a:lnTo>
                    <a:pt x="18510" y="9127"/>
                  </a:lnTo>
                  <a:lnTo>
                    <a:pt x="18513" y="9136"/>
                  </a:lnTo>
                  <a:lnTo>
                    <a:pt x="18510" y="9149"/>
                  </a:lnTo>
                  <a:lnTo>
                    <a:pt x="18503" y="9157"/>
                  </a:lnTo>
                  <a:lnTo>
                    <a:pt x="18494" y="9159"/>
                  </a:lnTo>
                  <a:lnTo>
                    <a:pt x="18486" y="9150"/>
                  </a:lnTo>
                  <a:lnTo>
                    <a:pt x="18474" y="9157"/>
                  </a:lnTo>
                  <a:lnTo>
                    <a:pt x="18476" y="9164"/>
                  </a:lnTo>
                  <a:lnTo>
                    <a:pt x="18485" y="9171"/>
                  </a:lnTo>
                  <a:lnTo>
                    <a:pt x="18491" y="9181"/>
                  </a:lnTo>
                  <a:lnTo>
                    <a:pt x="18488" y="9194"/>
                  </a:lnTo>
                  <a:lnTo>
                    <a:pt x="18478" y="9200"/>
                  </a:lnTo>
                  <a:lnTo>
                    <a:pt x="18465" y="9201"/>
                  </a:lnTo>
                  <a:lnTo>
                    <a:pt x="18451" y="9199"/>
                  </a:lnTo>
                  <a:lnTo>
                    <a:pt x="18439" y="9194"/>
                  </a:lnTo>
                  <a:lnTo>
                    <a:pt x="18432" y="9187"/>
                  </a:lnTo>
                  <a:lnTo>
                    <a:pt x="18431" y="9177"/>
                  </a:lnTo>
                  <a:lnTo>
                    <a:pt x="18437" y="9163"/>
                  </a:lnTo>
                  <a:lnTo>
                    <a:pt x="18455" y="9147"/>
                  </a:lnTo>
                  <a:lnTo>
                    <a:pt x="18460" y="9141"/>
                  </a:lnTo>
                  <a:lnTo>
                    <a:pt x="18461" y="9134"/>
                  </a:lnTo>
                  <a:lnTo>
                    <a:pt x="18461" y="9123"/>
                  </a:lnTo>
                  <a:lnTo>
                    <a:pt x="18464" y="9119"/>
                  </a:lnTo>
                  <a:lnTo>
                    <a:pt x="18448" y="9115"/>
                  </a:lnTo>
                  <a:lnTo>
                    <a:pt x="18431" y="9114"/>
                  </a:lnTo>
                  <a:lnTo>
                    <a:pt x="18422" y="9118"/>
                  </a:lnTo>
                  <a:lnTo>
                    <a:pt x="18408" y="9131"/>
                  </a:lnTo>
                  <a:lnTo>
                    <a:pt x="18398" y="9132"/>
                  </a:lnTo>
                  <a:lnTo>
                    <a:pt x="18392" y="9139"/>
                  </a:lnTo>
                  <a:lnTo>
                    <a:pt x="18383" y="9138"/>
                  </a:lnTo>
                  <a:lnTo>
                    <a:pt x="18373" y="9133"/>
                  </a:lnTo>
                  <a:lnTo>
                    <a:pt x="18365" y="9131"/>
                  </a:lnTo>
                  <a:lnTo>
                    <a:pt x="18355" y="9136"/>
                  </a:lnTo>
                  <a:lnTo>
                    <a:pt x="18343" y="9145"/>
                  </a:lnTo>
                  <a:lnTo>
                    <a:pt x="18334" y="9155"/>
                  </a:lnTo>
                  <a:lnTo>
                    <a:pt x="18336" y="9163"/>
                  </a:lnTo>
                  <a:lnTo>
                    <a:pt x="18380" y="9163"/>
                  </a:lnTo>
                  <a:lnTo>
                    <a:pt x="18403" y="9166"/>
                  </a:lnTo>
                  <a:lnTo>
                    <a:pt x="18410" y="9172"/>
                  </a:lnTo>
                  <a:lnTo>
                    <a:pt x="18411" y="9186"/>
                  </a:lnTo>
                  <a:lnTo>
                    <a:pt x="18408" y="9190"/>
                  </a:lnTo>
                  <a:lnTo>
                    <a:pt x="18400" y="9195"/>
                  </a:lnTo>
                  <a:lnTo>
                    <a:pt x="18347" y="9219"/>
                  </a:lnTo>
                  <a:lnTo>
                    <a:pt x="18338" y="9221"/>
                  </a:lnTo>
                  <a:lnTo>
                    <a:pt x="18328" y="9225"/>
                  </a:lnTo>
                  <a:lnTo>
                    <a:pt x="18300" y="9252"/>
                  </a:lnTo>
                  <a:lnTo>
                    <a:pt x="18260" y="9281"/>
                  </a:lnTo>
                  <a:lnTo>
                    <a:pt x="18244" y="9299"/>
                  </a:lnTo>
                  <a:lnTo>
                    <a:pt x="18251" y="9314"/>
                  </a:lnTo>
                  <a:lnTo>
                    <a:pt x="18256" y="9314"/>
                  </a:lnTo>
                  <a:lnTo>
                    <a:pt x="18259" y="9311"/>
                  </a:lnTo>
                  <a:lnTo>
                    <a:pt x="18263" y="9310"/>
                  </a:lnTo>
                  <a:lnTo>
                    <a:pt x="18267" y="9312"/>
                  </a:lnTo>
                  <a:lnTo>
                    <a:pt x="18270" y="9314"/>
                  </a:lnTo>
                  <a:lnTo>
                    <a:pt x="18278" y="9318"/>
                  </a:lnTo>
                  <a:lnTo>
                    <a:pt x="18280" y="9319"/>
                  </a:lnTo>
                  <a:lnTo>
                    <a:pt x="18286" y="9318"/>
                  </a:lnTo>
                  <a:lnTo>
                    <a:pt x="18292" y="9317"/>
                  </a:lnTo>
                  <a:lnTo>
                    <a:pt x="18298" y="9315"/>
                  </a:lnTo>
                  <a:lnTo>
                    <a:pt x="18307" y="9305"/>
                  </a:lnTo>
                  <a:lnTo>
                    <a:pt x="18321" y="9311"/>
                  </a:lnTo>
                  <a:lnTo>
                    <a:pt x="18345" y="9327"/>
                  </a:lnTo>
                  <a:lnTo>
                    <a:pt x="18355" y="9338"/>
                  </a:lnTo>
                  <a:lnTo>
                    <a:pt x="18360" y="9341"/>
                  </a:lnTo>
                  <a:lnTo>
                    <a:pt x="18369" y="9341"/>
                  </a:lnTo>
                  <a:lnTo>
                    <a:pt x="18375" y="9339"/>
                  </a:lnTo>
                  <a:lnTo>
                    <a:pt x="18385" y="9330"/>
                  </a:lnTo>
                  <a:lnTo>
                    <a:pt x="18391" y="9327"/>
                  </a:lnTo>
                  <a:lnTo>
                    <a:pt x="18420" y="9296"/>
                  </a:lnTo>
                  <a:lnTo>
                    <a:pt x="18428" y="9304"/>
                  </a:lnTo>
                  <a:lnTo>
                    <a:pt x="18442" y="9324"/>
                  </a:lnTo>
                  <a:lnTo>
                    <a:pt x="18449" y="9327"/>
                  </a:lnTo>
                  <a:lnTo>
                    <a:pt x="18462" y="9327"/>
                  </a:lnTo>
                  <a:lnTo>
                    <a:pt x="18474" y="9325"/>
                  </a:lnTo>
                  <a:lnTo>
                    <a:pt x="18484" y="9318"/>
                  </a:lnTo>
                  <a:lnTo>
                    <a:pt x="18491" y="9305"/>
                  </a:lnTo>
                  <a:lnTo>
                    <a:pt x="18468" y="9277"/>
                  </a:lnTo>
                  <a:lnTo>
                    <a:pt x="18464" y="9270"/>
                  </a:lnTo>
                  <a:lnTo>
                    <a:pt x="18467" y="9264"/>
                  </a:lnTo>
                  <a:lnTo>
                    <a:pt x="18475" y="9260"/>
                  </a:lnTo>
                  <a:close/>
                  <a:moveTo>
                    <a:pt x="18943" y="9101"/>
                  </a:moveTo>
                  <a:lnTo>
                    <a:pt x="18943" y="9101"/>
                  </a:lnTo>
                  <a:lnTo>
                    <a:pt x="18934" y="9084"/>
                  </a:lnTo>
                  <a:lnTo>
                    <a:pt x="18928" y="9077"/>
                  </a:lnTo>
                  <a:lnTo>
                    <a:pt x="18919" y="9074"/>
                  </a:lnTo>
                  <a:lnTo>
                    <a:pt x="18910" y="9076"/>
                  </a:lnTo>
                  <a:lnTo>
                    <a:pt x="18906" y="9081"/>
                  </a:lnTo>
                  <a:lnTo>
                    <a:pt x="18903" y="9085"/>
                  </a:lnTo>
                  <a:lnTo>
                    <a:pt x="18894" y="9094"/>
                  </a:lnTo>
                  <a:lnTo>
                    <a:pt x="18876" y="9121"/>
                  </a:lnTo>
                  <a:lnTo>
                    <a:pt x="18863" y="9134"/>
                  </a:lnTo>
                  <a:lnTo>
                    <a:pt x="18841" y="9172"/>
                  </a:lnTo>
                  <a:lnTo>
                    <a:pt x="18823" y="9185"/>
                  </a:lnTo>
                  <a:lnTo>
                    <a:pt x="18815" y="9194"/>
                  </a:lnTo>
                  <a:lnTo>
                    <a:pt x="18814" y="9208"/>
                  </a:lnTo>
                  <a:lnTo>
                    <a:pt x="18810" y="9205"/>
                  </a:lnTo>
                  <a:lnTo>
                    <a:pt x="18806" y="9203"/>
                  </a:lnTo>
                  <a:lnTo>
                    <a:pt x="18797" y="9189"/>
                  </a:lnTo>
                  <a:lnTo>
                    <a:pt x="18797" y="9187"/>
                  </a:lnTo>
                  <a:lnTo>
                    <a:pt x="18797" y="9185"/>
                  </a:lnTo>
                  <a:lnTo>
                    <a:pt x="18792" y="9166"/>
                  </a:lnTo>
                  <a:lnTo>
                    <a:pt x="18788" y="9163"/>
                  </a:lnTo>
                  <a:lnTo>
                    <a:pt x="18782" y="9157"/>
                  </a:lnTo>
                  <a:lnTo>
                    <a:pt x="18772" y="9156"/>
                  </a:lnTo>
                  <a:lnTo>
                    <a:pt x="18759" y="9161"/>
                  </a:lnTo>
                  <a:lnTo>
                    <a:pt x="18734" y="9177"/>
                  </a:lnTo>
                  <a:lnTo>
                    <a:pt x="18722" y="9192"/>
                  </a:lnTo>
                  <a:lnTo>
                    <a:pt x="18699" y="9234"/>
                  </a:lnTo>
                  <a:lnTo>
                    <a:pt x="18695" y="9237"/>
                  </a:lnTo>
                  <a:lnTo>
                    <a:pt x="18687" y="9245"/>
                  </a:lnTo>
                  <a:lnTo>
                    <a:pt x="18684" y="9253"/>
                  </a:lnTo>
                  <a:lnTo>
                    <a:pt x="18693" y="9257"/>
                  </a:lnTo>
                  <a:lnTo>
                    <a:pt x="18699" y="9256"/>
                  </a:lnTo>
                  <a:lnTo>
                    <a:pt x="18704" y="9255"/>
                  </a:lnTo>
                  <a:lnTo>
                    <a:pt x="18729" y="9242"/>
                  </a:lnTo>
                  <a:lnTo>
                    <a:pt x="18743" y="9237"/>
                  </a:lnTo>
                  <a:lnTo>
                    <a:pt x="18756" y="9237"/>
                  </a:lnTo>
                  <a:lnTo>
                    <a:pt x="18761" y="9246"/>
                  </a:lnTo>
                  <a:lnTo>
                    <a:pt x="18764" y="9254"/>
                  </a:lnTo>
                  <a:lnTo>
                    <a:pt x="18776" y="9271"/>
                  </a:lnTo>
                  <a:lnTo>
                    <a:pt x="18779" y="9283"/>
                  </a:lnTo>
                  <a:lnTo>
                    <a:pt x="18777" y="9308"/>
                  </a:lnTo>
                  <a:lnTo>
                    <a:pt x="18782" y="9316"/>
                  </a:lnTo>
                  <a:lnTo>
                    <a:pt x="18799" y="9319"/>
                  </a:lnTo>
                  <a:lnTo>
                    <a:pt x="18813" y="9317"/>
                  </a:lnTo>
                  <a:lnTo>
                    <a:pt x="18828" y="9314"/>
                  </a:lnTo>
                  <a:lnTo>
                    <a:pt x="18840" y="9308"/>
                  </a:lnTo>
                  <a:lnTo>
                    <a:pt x="18850" y="9301"/>
                  </a:lnTo>
                  <a:lnTo>
                    <a:pt x="18859" y="9290"/>
                  </a:lnTo>
                  <a:lnTo>
                    <a:pt x="18868" y="9275"/>
                  </a:lnTo>
                  <a:lnTo>
                    <a:pt x="18874" y="9260"/>
                  </a:lnTo>
                  <a:lnTo>
                    <a:pt x="18879" y="9232"/>
                  </a:lnTo>
                  <a:lnTo>
                    <a:pt x="18885" y="9218"/>
                  </a:lnTo>
                  <a:lnTo>
                    <a:pt x="18894" y="9205"/>
                  </a:lnTo>
                  <a:lnTo>
                    <a:pt x="18903" y="9194"/>
                  </a:lnTo>
                  <a:lnTo>
                    <a:pt x="18927" y="9178"/>
                  </a:lnTo>
                  <a:lnTo>
                    <a:pt x="18937" y="9165"/>
                  </a:lnTo>
                  <a:lnTo>
                    <a:pt x="18936" y="9152"/>
                  </a:lnTo>
                  <a:lnTo>
                    <a:pt x="18932" y="9140"/>
                  </a:lnTo>
                  <a:lnTo>
                    <a:pt x="18934" y="9125"/>
                  </a:lnTo>
                  <a:lnTo>
                    <a:pt x="18943" y="9101"/>
                  </a:lnTo>
                  <a:close/>
                  <a:moveTo>
                    <a:pt x="18349" y="10645"/>
                  </a:moveTo>
                  <a:lnTo>
                    <a:pt x="18349" y="10645"/>
                  </a:lnTo>
                  <a:lnTo>
                    <a:pt x="18342" y="10644"/>
                  </a:lnTo>
                  <a:lnTo>
                    <a:pt x="18335" y="10645"/>
                  </a:lnTo>
                  <a:lnTo>
                    <a:pt x="18329" y="10645"/>
                  </a:lnTo>
                  <a:lnTo>
                    <a:pt x="18327" y="10638"/>
                  </a:lnTo>
                  <a:lnTo>
                    <a:pt x="18331" y="10638"/>
                  </a:lnTo>
                  <a:lnTo>
                    <a:pt x="18337" y="10632"/>
                  </a:lnTo>
                  <a:lnTo>
                    <a:pt x="18342" y="10626"/>
                  </a:lnTo>
                  <a:lnTo>
                    <a:pt x="18338" y="10622"/>
                  </a:lnTo>
                  <a:lnTo>
                    <a:pt x="18340" y="10617"/>
                  </a:lnTo>
                  <a:lnTo>
                    <a:pt x="18348" y="10605"/>
                  </a:lnTo>
                  <a:lnTo>
                    <a:pt x="18352" y="10591"/>
                  </a:lnTo>
                  <a:lnTo>
                    <a:pt x="18340" y="10583"/>
                  </a:lnTo>
                  <a:lnTo>
                    <a:pt x="18351" y="10569"/>
                  </a:lnTo>
                  <a:lnTo>
                    <a:pt x="18354" y="10561"/>
                  </a:lnTo>
                  <a:lnTo>
                    <a:pt x="18353" y="10551"/>
                  </a:lnTo>
                  <a:lnTo>
                    <a:pt x="18347" y="10542"/>
                  </a:lnTo>
                  <a:lnTo>
                    <a:pt x="18339" y="10548"/>
                  </a:lnTo>
                  <a:lnTo>
                    <a:pt x="18325" y="10571"/>
                  </a:lnTo>
                  <a:lnTo>
                    <a:pt x="18314" y="10579"/>
                  </a:lnTo>
                  <a:lnTo>
                    <a:pt x="18278" y="10591"/>
                  </a:lnTo>
                  <a:lnTo>
                    <a:pt x="18253" y="10604"/>
                  </a:lnTo>
                  <a:lnTo>
                    <a:pt x="18243" y="10614"/>
                  </a:lnTo>
                  <a:lnTo>
                    <a:pt x="18238" y="10625"/>
                  </a:lnTo>
                  <a:lnTo>
                    <a:pt x="18237" y="10634"/>
                  </a:lnTo>
                  <a:lnTo>
                    <a:pt x="18232" y="10635"/>
                  </a:lnTo>
                  <a:lnTo>
                    <a:pt x="18227" y="10633"/>
                  </a:lnTo>
                  <a:lnTo>
                    <a:pt x="18220" y="10636"/>
                  </a:lnTo>
                  <a:lnTo>
                    <a:pt x="18216" y="10643"/>
                  </a:lnTo>
                  <a:lnTo>
                    <a:pt x="18214" y="10657"/>
                  </a:lnTo>
                  <a:lnTo>
                    <a:pt x="18212" y="10663"/>
                  </a:lnTo>
                  <a:lnTo>
                    <a:pt x="18202" y="10672"/>
                  </a:lnTo>
                  <a:lnTo>
                    <a:pt x="18174" y="10684"/>
                  </a:lnTo>
                  <a:lnTo>
                    <a:pt x="18161" y="10692"/>
                  </a:lnTo>
                  <a:lnTo>
                    <a:pt x="18129" y="10723"/>
                  </a:lnTo>
                  <a:lnTo>
                    <a:pt x="18114" y="10730"/>
                  </a:lnTo>
                  <a:lnTo>
                    <a:pt x="18107" y="10731"/>
                  </a:lnTo>
                  <a:lnTo>
                    <a:pt x="18100" y="10730"/>
                  </a:lnTo>
                  <a:lnTo>
                    <a:pt x="18093" y="10731"/>
                  </a:lnTo>
                  <a:lnTo>
                    <a:pt x="18085" y="10736"/>
                  </a:lnTo>
                  <a:lnTo>
                    <a:pt x="18080" y="10739"/>
                  </a:lnTo>
                  <a:lnTo>
                    <a:pt x="18073" y="10739"/>
                  </a:lnTo>
                  <a:lnTo>
                    <a:pt x="18059" y="10739"/>
                  </a:lnTo>
                  <a:lnTo>
                    <a:pt x="18044" y="10740"/>
                  </a:lnTo>
                  <a:lnTo>
                    <a:pt x="18003" y="10752"/>
                  </a:lnTo>
                  <a:lnTo>
                    <a:pt x="17989" y="10764"/>
                  </a:lnTo>
                  <a:lnTo>
                    <a:pt x="17976" y="10767"/>
                  </a:lnTo>
                  <a:lnTo>
                    <a:pt x="17974" y="10772"/>
                  </a:lnTo>
                  <a:lnTo>
                    <a:pt x="17977" y="10784"/>
                  </a:lnTo>
                  <a:lnTo>
                    <a:pt x="17981" y="10842"/>
                  </a:lnTo>
                  <a:lnTo>
                    <a:pt x="17995" y="10861"/>
                  </a:lnTo>
                  <a:lnTo>
                    <a:pt x="18020" y="10862"/>
                  </a:lnTo>
                  <a:lnTo>
                    <a:pt x="18079" y="10851"/>
                  </a:lnTo>
                  <a:lnTo>
                    <a:pt x="18079" y="10846"/>
                  </a:lnTo>
                  <a:lnTo>
                    <a:pt x="18070" y="10839"/>
                  </a:lnTo>
                  <a:lnTo>
                    <a:pt x="18076" y="10831"/>
                  </a:lnTo>
                  <a:lnTo>
                    <a:pt x="18089" y="10824"/>
                  </a:lnTo>
                  <a:lnTo>
                    <a:pt x="18187" y="10796"/>
                  </a:lnTo>
                  <a:lnTo>
                    <a:pt x="18212" y="10795"/>
                  </a:lnTo>
                  <a:lnTo>
                    <a:pt x="18232" y="10790"/>
                  </a:lnTo>
                  <a:lnTo>
                    <a:pt x="18247" y="10774"/>
                  </a:lnTo>
                  <a:lnTo>
                    <a:pt x="18249" y="10768"/>
                  </a:lnTo>
                  <a:lnTo>
                    <a:pt x="18251" y="10761"/>
                  </a:lnTo>
                  <a:lnTo>
                    <a:pt x="18251" y="10746"/>
                  </a:lnTo>
                  <a:lnTo>
                    <a:pt x="18254" y="10741"/>
                  </a:lnTo>
                  <a:lnTo>
                    <a:pt x="18262" y="10738"/>
                  </a:lnTo>
                  <a:lnTo>
                    <a:pt x="18270" y="10735"/>
                  </a:lnTo>
                  <a:lnTo>
                    <a:pt x="18276" y="10732"/>
                  </a:lnTo>
                  <a:lnTo>
                    <a:pt x="18311" y="10704"/>
                  </a:lnTo>
                  <a:lnTo>
                    <a:pt x="18322" y="10699"/>
                  </a:lnTo>
                  <a:lnTo>
                    <a:pt x="18334" y="10700"/>
                  </a:lnTo>
                  <a:lnTo>
                    <a:pt x="18349" y="10703"/>
                  </a:lnTo>
                  <a:lnTo>
                    <a:pt x="18362" y="10702"/>
                  </a:lnTo>
                  <a:lnTo>
                    <a:pt x="18367" y="10692"/>
                  </a:lnTo>
                  <a:lnTo>
                    <a:pt x="18369" y="10663"/>
                  </a:lnTo>
                  <a:lnTo>
                    <a:pt x="18364" y="10653"/>
                  </a:lnTo>
                  <a:lnTo>
                    <a:pt x="18349" y="10645"/>
                  </a:lnTo>
                  <a:close/>
                  <a:moveTo>
                    <a:pt x="21412" y="9063"/>
                  </a:moveTo>
                  <a:lnTo>
                    <a:pt x="21412" y="9063"/>
                  </a:lnTo>
                  <a:lnTo>
                    <a:pt x="21410" y="9055"/>
                  </a:lnTo>
                  <a:lnTo>
                    <a:pt x="21389" y="9043"/>
                  </a:lnTo>
                  <a:lnTo>
                    <a:pt x="21367" y="9050"/>
                  </a:lnTo>
                  <a:lnTo>
                    <a:pt x="21342" y="9051"/>
                  </a:lnTo>
                  <a:lnTo>
                    <a:pt x="21292" y="9043"/>
                  </a:lnTo>
                  <a:lnTo>
                    <a:pt x="21245" y="9027"/>
                  </a:lnTo>
                  <a:lnTo>
                    <a:pt x="21222" y="9022"/>
                  </a:lnTo>
                  <a:lnTo>
                    <a:pt x="21199" y="9025"/>
                  </a:lnTo>
                  <a:lnTo>
                    <a:pt x="21191" y="9024"/>
                  </a:lnTo>
                  <a:lnTo>
                    <a:pt x="21184" y="9025"/>
                  </a:lnTo>
                  <a:lnTo>
                    <a:pt x="21179" y="9028"/>
                  </a:lnTo>
                  <a:lnTo>
                    <a:pt x="21176" y="9034"/>
                  </a:lnTo>
                  <a:lnTo>
                    <a:pt x="21185" y="9039"/>
                  </a:lnTo>
                  <a:lnTo>
                    <a:pt x="21191" y="9043"/>
                  </a:lnTo>
                  <a:lnTo>
                    <a:pt x="21194" y="9050"/>
                  </a:lnTo>
                  <a:lnTo>
                    <a:pt x="21196" y="9063"/>
                  </a:lnTo>
                  <a:lnTo>
                    <a:pt x="21202" y="9072"/>
                  </a:lnTo>
                  <a:lnTo>
                    <a:pt x="21219" y="9085"/>
                  </a:lnTo>
                  <a:lnTo>
                    <a:pt x="21229" y="9091"/>
                  </a:lnTo>
                  <a:lnTo>
                    <a:pt x="21242" y="9095"/>
                  </a:lnTo>
                  <a:lnTo>
                    <a:pt x="21282" y="9098"/>
                  </a:lnTo>
                  <a:lnTo>
                    <a:pt x="21291" y="9099"/>
                  </a:lnTo>
                  <a:lnTo>
                    <a:pt x="21299" y="9103"/>
                  </a:lnTo>
                  <a:lnTo>
                    <a:pt x="21326" y="9121"/>
                  </a:lnTo>
                  <a:lnTo>
                    <a:pt x="21336" y="9126"/>
                  </a:lnTo>
                  <a:lnTo>
                    <a:pt x="21347" y="9128"/>
                  </a:lnTo>
                  <a:lnTo>
                    <a:pt x="21357" y="9123"/>
                  </a:lnTo>
                  <a:lnTo>
                    <a:pt x="21365" y="9105"/>
                  </a:lnTo>
                  <a:lnTo>
                    <a:pt x="21373" y="9101"/>
                  </a:lnTo>
                  <a:lnTo>
                    <a:pt x="21406" y="9074"/>
                  </a:lnTo>
                  <a:lnTo>
                    <a:pt x="21412" y="9063"/>
                  </a:lnTo>
                  <a:close/>
                  <a:moveTo>
                    <a:pt x="22525" y="8923"/>
                  </a:moveTo>
                  <a:lnTo>
                    <a:pt x="22525" y="8923"/>
                  </a:lnTo>
                  <a:lnTo>
                    <a:pt x="22532" y="8914"/>
                  </a:lnTo>
                  <a:lnTo>
                    <a:pt x="22534" y="8904"/>
                  </a:lnTo>
                  <a:lnTo>
                    <a:pt x="22534" y="8892"/>
                  </a:lnTo>
                  <a:lnTo>
                    <a:pt x="22529" y="8883"/>
                  </a:lnTo>
                  <a:lnTo>
                    <a:pt x="22521" y="8879"/>
                  </a:lnTo>
                  <a:lnTo>
                    <a:pt x="22519" y="8875"/>
                  </a:lnTo>
                  <a:lnTo>
                    <a:pt x="22523" y="8859"/>
                  </a:lnTo>
                  <a:lnTo>
                    <a:pt x="22523" y="8852"/>
                  </a:lnTo>
                  <a:lnTo>
                    <a:pt x="22519" y="8848"/>
                  </a:lnTo>
                  <a:lnTo>
                    <a:pt x="22513" y="8844"/>
                  </a:lnTo>
                  <a:lnTo>
                    <a:pt x="22507" y="8841"/>
                  </a:lnTo>
                  <a:lnTo>
                    <a:pt x="22501" y="8839"/>
                  </a:lnTo>
                  <a:lnTo>
                    <a:pt x="22478" y="8839"/>
                  </a:lnTo>
                  <a:lnTo>
                    <a:pt x="22472" y="8836"/>
                  </a:lnTo>
                  <a:lnTo>
                    <a:pt x="22467" y="8834"/>
                  </a:lnTo>
                  <a:lnTo>
                    <a:pt x="22451" y="8827"/>
                  </a:lnTo>
                  <a:lnTo>
                    <a:pt x="22446" y="8826"/>
                  </a:lnTo>
                  <a:lnTo>
                    <a:pt x="22386" y="8826"/>
                  </a:lnTo>
                  <a:lnTo>
                    <a:pt x="22366" y="8833"/>
                  </a:lnTo>
                  <a:lnTo>
                    <a:pt x="22357" y="8851"/>
                  </a:lnTo>
                  <a:lnTo>
                    <a:pt x="22355" y="8894"/>
                  </a:lnTo>
                  <a:lnTo>
                    <a:pt x="22361" y="8908"/>
                  </a:lnTo>
                  <a:lnTo>
                    <a:pt x="22422" y="8976"/>
                  </a:lnTo>
                  <a:lnTo>
                    <a:pt x="22426" y="8983"/>
                  </a:lnTo>
                  <a:lnTo>
                    <a:pt x="22467" y="8993"/>
                  </a:lnTo>
                  <a:lnTo>
                    <a:pt x="22479" y="8994"/>
                  </a:lnTo>
                  <a:lnTo>
                    <a:pt x="22483" y="8988"/>
                  </a:lnTo>
                  <a:lnTo>
                    <a:pt x="22501" y="8947"/>
                  </a:lnTo>
                  <a:lnTo>
                    <a:pt x="22525" y="8923"/>
                  </a:lnTo>
                  <a:close/>
                  <a:moveTo>
                    <a:pt x="23362" y="9037"/>
                  </a:moveTo>
                  <a:lnTo>
                    <a:pt x="23362" y="9037"/>
                  </a:lnTo>
                  <a:lnTo>
                    <a:pt x="23351" y="9041"/>
                  </a:lnTo>
                  <a:lnTo>
                    <a:pt x="23341" y="9043"/>
                  </a:lnTo>
                  <a:lnTo>
                    <a:pt x="23337" y="9045"/>
                  </a:lnTo>
                  <a:lnTo>
                    <a:pt x="23331" y="9054"/>
                  </a:lnTo>
                  <a:lnTo>
                    <a:pt x="23327" y="9056"/>
                  </a:lnTo>
                  <a:lnTo>
                    <a:pt x="23321" y="9054"/>
                  </a:lnTo>
                  <a:lnTo>
                    <a:pt x="23320" y="9050"/>
                  </a:lnTo>
                  <a:lnTo>
                    <a:pt x="23322" y="9044"/>
                  </a:lnTo>
                  <a:lnTo>
                    <a:pt x="23325" y="9039"/>
                  </a:lnTo>
                  <a:lnTo>
                    <a:pt x="23303" y="9017"/>
                  </a:lnTo>
                  <a:lnTo>
                    <a:pt x="23294" y="9012"/>
                  </a:lnTo>
                  <a:lnTo>
                    <a:pt x="23279" y="9020"/>
                  </a:lnTo>
                  <a:lnTo>
                    <a:pt x="23253" y="9052"/>
                  </a:lnTo>
                  <a:lnTo>
                    <a:pt x="23239" y="9050"/>
                  </a:lnTo>
                  <a:lnTo>
                    <a:pt x="23230" y="9044"/>
                  </a:lnTo>
                  <a:lnTo>
                    <a:pt x="23222" y="9044"/>
                  </a:lnTo>
                  <a:lnTo>
                    <a:pt x="23217" y="9050"/>
                  </a:lnTo>
                  <a:lnTo>
                    <a:pt x="23214" y="9061"/>
                  </a:lnTo>
                  <a:lnTo>
                    <a:pt x="23216" y="9072"/>
                  </a:lnTo>
                  <a:lnTo>
                    <a:pt x="23219" y="9080"/>
                  </a:lnTo>
                  <a:lnTo>
                    <a:pt x="23220" y="9087"/>
                  </a:lnTo>
                  <a:lnTo>
                    <a:pt x="23214" y="9097"/>
                  </a:lnTo>
                  <a:lnTo>
                    <a:pt x="23209" y="9100"/>
                  </a:lnTo>
                  <a:lnTo>
                    <a:pt x="23192" y="9108"/>
                  </a:lnTo>
                  <a:lnTo>
                    <a:pt x="23186" y="9109"/>
                  </a:lnTo>
                  <a:lnTo>
                    <a:pt x="23176" y="9114"/>
                  </a:lnTo>
                  <a:lnTo>
                    <a:pt x="23169" y="9123"/>
                  </a:lnTo>
                  <a:lnTo>
                    <a:pt x="23164" y="9132"/>
                  </a:lnTo>
                  <a:lnTo>
                    <a:pt x="23151" y="9143"/>
                  </a:lnTo>
                  <a:lnTo>
                    <a:pt x="23124" y="9175"/>
                  </a:lnTo>
                  <a:lnTo>
                    <a:pt x="23117" y="9186"/>
                  </a:lnTo>
                  <a:lnTo>
                    <a:pt x="23148" y="9186"/>
                  </a:lnTo>
                  <a:lnTo>
                    <a:pt x="23154" y="9183"/>
                  </a:lnTo>
                  <a:lnTo>
                    <a:pt x="23163" y="9176"/>
                  </a:lnTo>
                  <a:lnTo>
                    <a:pt x="23192" y="9159"/>
                  </a:lnTo>
                  <a:lnTo>
                    <a:pt x="23201" y="9150"/>
                  </a:lnTo>
                  <a:lnTo>
                    <a:pt x="23203" y="9143"/>
                  </a:lnTo>
                  <a:lnTo>
                    <a:pt x="23201" y="9121"/>
                  </a:lnTo>
                  <a:lnTo>
                    <a:pt x="23207" y="9120"/>
                  </a:lnTo>
                  <a:lnTo>
                    <a:pt x="23239" y="9109"/>
                  </a:lnTo>
                  <a:lnTo>
                    <a:pt x="23257" y="9111"/>
                  </a:lnTo>
                  <a:lnTo>
                    <a:pt x="23264" y="9110"/>
                  </a:lnTo>
                  <a:lnTo>
                    <a:pt x="23310" y="9091"/>
                  </a:lnTo>
                  <a:lnTo>
                    <a:pt x="23335" y="9074"/>
                  </a:lnTo>
                  <a:lnTo>
                    <a:pt x="23355" y="9067"/>
                  </a:lnTo>
                  <a:lnTo>
                    <a:pt x="23374" y="9057"/>
                  </a:lnTo>
                  <a:lnTo>
                    <a:pt x="23388" y="9039"/>
                  </a:lnTo>
                  <a:lnTo>
                    <a:pt x="23374" y="9035"/>
                  </a:lnTo>
                  <a:lnTo>
                    <a:pt x="23362" y="9037"/>
                  </a:lnTo>
                  <a:close/>
                  <a:moveTo>
                    <a:pt x="16515" y="7734"/>
                  </a:moveTo>
                  <a:lnTo>
                    <a:pt x="16515" y="7734"/>
                  </a:lnTo>
                  <a:lnTo>
                    <a:pt x="16518" y="7706"/>
                  </a:lnTo>
                  <a:lnTo>
                    <a:pt x="16519" y="7678"/>
                  </a:lnTo>
                  <a:lnTo>
                    <a:pt x="16516" y="7650"/>
                  </a:lnTo>
                  <a:lnTo>
                    <a:pt x="16510" y="7624"/>
                  </a:lnTo>
                  <a:lnTo>
                    <a:pt x="16494" y="7583"/>
                  </a:lnTo>
                  <a:lnTo>
                    <a:pt x="16492" y="7568"/>
                  </a:lnTo>
                  <a:lnTo>
                    <a:pt x="16489" y="7558"/>
                  </a:lnTo>
                  <a:lnTo>
                    <a:pt x="16483" y="7549"/>
                  </a:lnTo>
                  <a:lnTo>
                    <a:pt x="16478" y="7538"/>
                  </a:lnTo>
                  <a:lnTo>
                    <a:pt x="16479" y="7524"/>
                  </a:lnTo>
                  <a:lnTo>
                    <a:pt x="16477" y="7518"/>
                  </a:lnTo>
                  <a:lnTo>
                    <a:pt x="16473" y="7513"/>
                  </a:lnTo>
                  <a:lnTo>
                    <a:pt x="16468" y="7511"/>
                  </a:lnTo>
                  <a:lnTo>
                    <a:pt x="16461" y="7513"/>
                  </a:lnTo>
                  <a:lnTo>
                    <a:pt x="16453" y="7535"/>
                  </a:lnTo>
                  <a:lnTo>
                    <a:pt x="16447" y="7563"/>
                  </a:lnTo>
                  <a:lnTo>
                    <a:pt x="16443" y="7649"/>
                  </a:lnTo>
                  <a:lnTo>
                    <a:pt x="16450" y="7716"/>
                  </a:lnTo>
                  <a:lnTo>
                    <a:pt x="16448" y="7754"/>
                  </a:lnTo>
                  <a:lnTo>
                    <a:pt x="16446" y="7763"/>
                  </a:lnTo>
                  <a:lnTo>
                    <a:pt x="16437" y="7776"/>
                  </a:lnTo>
                  <a:lnTo>
                    <a:pt x="16435" y="7783"/>
                  </a:lnTo>
                  <a:lnTo>
                    <a:pt x="16436" y="7789"/>
                  </a:lnTo>
                  <a:lnTo>
                    <a:pt x="16444" y="7810"/>
                  </a:lnTo>
                  <a:lnTo>
                    <a:pt x="16445" y="7817"/>
                  </a:lnTo>
                  <a:lnTo>
                    <a:pt x="16445" y="7824"/>
                  </a:lnTo>
                  <a:lnTo>
                    <a:pt x="16447" y="7829"/>
                  </a:lnTo>
                  <a:lnTo>
                    <a:pt x="16455" y="7831"/>
                  </a:lnTo>
                  <a:lnTo>
                    <a:pt x="16460" y="7834"/>
                  </a:lnTo>
                  <a:lnTo>
                    <a:pt x="16462" y="7841"/>
                  </a:lnTo>
                  <a:lnTo>
                    <a:pt x="16457" y="7911"/>
                  </a:lnTo>
                  <a:lnTo>
                    <a:pt x="16458" y="7924"/>
                  </a:lnTo>
                  <a:lnTo>
                    <a:pt x="16464" y="7944"/>
                  </a:lnTo>
                  <a:lnTo>
                    <a:pt x="16468" y="7972"/>
                  </a:lnTo>
                  <a:lnTo>
                    <a:pt x="16474" y="7968"/>
                  </a:lnTo>
                  <a:lnTo>
                    <a:pt x="16481" y="7955"/>
                  </a:lnTo>
                  <a:lnTo>
                    <a:pt x="16484" y="7942"/>
                  </a:lnTo>
                  <a:lnTo>
                    <a:pt x="16481" y="7917"/>
                  </a:lnTo>
                  <a:lnTo>
                    <a:pt x="16482" y="7905"/>
                  </a:lnTo>
                  <a:lnTo>
                    <a:pt x="16490" y="7891"/>
                  </a:lnTo>
                  <a:lnTo>
                    <a:pt x="16495" y="7881"/>
                  </a:lnTo>
                  <a:lnTo>
                    <a:pt x="16500" y="7849"/>
                  </a:lnTo>
                  <a:lnTo>
                    <a:pt x="16501" y="7824"/>
                  </a:lnTo>
                  <a:lnTo>
                    <a:pt x="16497" y="7790"/>
                  </a:lnTo>
                  <a:lnTo>
                    <a:pt x="16500" y="7775"/>
                  </a:lnTo>
                  <a:lnTo>
                    <a:pt x="16515" y="7734"/>
                  </a:lnTo>
                  <a:close/>
                  <a:moveTo>
                    <a:pt x="19669" y="1456"/>
                  </a:moveTo>
                  <a:lnTo>
                    <a:pt x="19669" y="1456"/>
                  </a:lnTo>
                  <a:lnTo>
                    <a:pt x="19676" y="1464"/>
                  </a:lnTo>
                  <a:lnTo>
                    <a:pt x="19710" y="1492"/>
                  </a:lnTo>
                  <a:lnTo>
                    <a:pt x="19725" y="1500"/>
                  </a:lnTo>
                  <a:lnTo>
                    <a:pt x="19727" y="1504"/>
                  </a:lnTo>
                  <a:lnTo>
                    <a:pt x="19727" y="1525"/>
                  </a:lnTo>
                  <a:lnTo>
                    <a:pt x="19725" y="1528"/>
                  </a:lnTo>
                  <a:lnTo>
                    <a:pt x="19723" y="1534"/>
                  </a:lnTo>
                  <a:lnTo>
                    <a:pt x="19717" y="1565"/>
                  </a:lnTo>
                  <a:lnTo>
                    <a:pt x="19718" y="1577"/>
                  </a:lnTo>
                  <a:lnTo>
                    <a:pt x="19729" y="1585"/>
                  </a:lnTo>
                  <a:lnTo>
                    <a:pt x="19760" y="1593"/>
                  </a:lnTo>
                  <a:lnTo>
                    <a:pt x="19774" y="1600"/>
                  </a:lnTo>
                  <a:lnTo>
                    <a:pt x="19777" y="1607"/>
                  </a:lnTo>
                  <a:lnTo>
                    <a:pt x="19778" y="1614"/>
                  </a:lnTo>
                  <a:lnTo>
                    <a:pt x="19780" y="1619"/>
                  </a:lnTo>
                  <a:lnTo>
                    <a:pt x="19789" y="1621"/>
                  </a:lnTo>
                  <a:lnTo>
                    <a:pt x="19794" y="1619"/>
                  </a:lnTo>
                  <a:lnTo>
                    <a:pt x="19817" y="1601"/>
                  </a:lnTo>
                  <a:lnTo>
                    <a:pt x="19820" y="1598"/>
                  </a:lnTo>
                  <a:lnTo>
                    <a:pt x="19821" y="1592"/>
                  </a:lnTo>
                  <a:lnTo>
                    <a:pt x="19819" y="1588"/>
                  </a:lnTo>
                  <a:lnTo>
                    <a:pt x="19814" y="1578"/>
                  </a:lnTo>
                  <a:lnTo>
                    <a:pt x="19812" y="1573"/>
                  </a:lnTo>
                  <a:lnTo>
                    <a:pt x="19809" y="1558"/>
                  </a:lnTo>
                  <a:lnTo>
                    <a:pt x="19807" y="1544"/>
                  </a:lnTo>
                  <a:lnTo>
                    <a:pt x="19804" y="1544"/>
                  </a:lnTo>
                  <a:lnTo>
                    <a:pt x="19796" y="1541"/>
                  </a:lnTo>
                  <a:lnTo>
                    <a:pt x="19789" y="1538"/>
                  </a:lnTo>
                  <a:lnTo>
                    <a:pt x="19787" y="1537"/>
                  </a:lnTo>
                  <a:lnTo>
                    <a:pt x="19781" y="1519"/>
                  </a:lnTo>
                  <a:lnTo>
                    <a:pt x="19776" y="1514"/>
                  </a:lnTo>
                  <a:lnTo>
                    <a:pt x="19765" y="1504"/>
                  </a:lnTo>
                  <a:lnTo>
                    <a:pt x="19763" y="1501"/>
                  </a:lnTo>
                  <a:lnTo>
                    <a:pt x="19761" y="1494"/>
                  </a:lnTo>
                  <a:lnTo>
                    <a:pt x="19761" y="1490"/>
                  </a:lnTo>
                  <a:lnTo>
                    <a:pt x="19762" y="1486"/>
                  </a:lnTo>
                  <a:lnTo>
                    <a:pt x="19763" y="1482"/>
                  </a:lnTo>
                  <a:lnTo>
                    <a:pt x="19759" y="1471"/>
                  </a:lnTo>
                  <a:lnTo>
                    <a:pt x="19736" y="1435"/>
                  </a:lnTo>
                  <a:lnTo>
                    <a:pt x="19722" y="1419"/>
                  </a:lnTo>
                  <a:lnTo>
                    <a:pt x="19699" y="1404"/>
                  </a:lnTo>
                  <a:lnTo>
                    <a:pt x="19676" y="1401"/>
                  </a:lnTo>
                  <a:lnTo>
                    <a:pt x="19661" y="1418"/>
                  </a:lnTo>
                  <a:lnTo>
                    <a:pt x="19660" y="1432"/>
                  </a:lnTo>
                  <a:lnTo>
                    <a:pt x="19663" y="1445"/>
                  </a:lnTo>
                  <a:lnTo>
                    <a:pt x="19669" y="1456"/>
                  </a:lnTo>
                  <a:close/>
                  <a:moveTo>
                    <a:pt x="20499" y="1224"/>
                  </a:moveTo>
                  <a:lnTo>
                    <a:pt x="20499" y="1224"/>
                  </a:lnTo>
                  <a:lnTo>
                    <a:pt x="20552" y="1224"/>
                  </a:lnTo>
                  <a:lnTo>
                    <a:pt x="20560" y="1219"/>
                  </a:lnTo>
                  <a:lnTo>
                    <a:pt x="20569" y="1206"/>
                  </a:lnTo>
                  <a:lnTo>
                    <a:pt x="20577" y="1180"/>
                  </a:lnTo>
                  <a:lnTo>
                    <a:pt x="20582" y="1123"/>
                  </a:lnTo>
                  <a:lnTo>
                    <a:pt x="20595" y="1096"/>
                  </a:lnTo>
                  <a:lnTo>
                    <a:pt x="20633" y="1050"/>
                  </a:lnTo>
                  <a:lnTo>
                    <a:pt x="20635" y="1040"/>
                  </a:lnTo>
                  <a:lnTo>
                    <a:pt x="20631" y="1029"/>
                  </a:lnTo>
                  <a:lnTo>
                    <a:pt x="20618" y="1012"/>
                  </a:lnTo>
                  <a:lnTo>
                    <a:pt x="20598" y="984"/>
                  </a:lnTo>
                  <a:lnTo>
                    <a:pt x="20595" y="979"/>
                  </a:lnTo>
                  <a:lnTo>
                    <a:pt x="20599" y="964"/>
                  </a:lnTo>
                  <a:lnTo>
                    <a:pt x="20605" y="950"/>
                  </a:lnTo>
                  <a:lnTo>
                    <a:pt x="20609" y="937"/>
                  </a:lnTo>
                  <a:lnTo>
                    <a:pt x="20604" y="923"/>
                  </a:lnTo>
                  <a:lnTo>
                    <a:pt x="20603" y="913"/>
                  </a:lnTo>
                  <a:lnTo>
                    <a:pt x="20598" y="910"/>
                  </a:lnTo>
                  <a:lnTo>
                    <a:pt x="20590" y="910"/>
                  </a:lnTo>
                  <a:lnTo>
                    <a:pt x="20582" y="906"/>
                  </a:lnTo>
                  <a:lnTo>
                    <a:pt x="20577" y="898"/>
                  </a:lnTo>
                  <a:lnTo>
                    <a:pt x="20576" y="891"/>
                  </a:lnTo>
                  <a:lnTo>
                    <a:pt x="20574" y="885"/>
                  </a:lnTo>
                  <a:lnTo>
                    <a:pt x="20565" y="879"/>
                  </a:lnTo>
                  <a:lnTo>
                    <a:pt x="20552" y="877"/>
                  </a:lnTo>
                  <a:lnTo>
                    <a:pt x="20534" y="877"/>
                  </a:lnTo>
                  <a:lnTo>
                    <a:pt x="20518" y="880"/>
                  </a:lnTo>
                  <a:lnTo>
                    <a:pt x="20511" y="886"/>
                  </a:lnTo>
                  <a:lnTo>
                    <a:pt x="20512" y="894"/>
                  </a:lnTo>
                  <a:lnTo>
                    <a:pt x="20515" y="908"/>
                  </a:lnTo>
                  <a:lnTo>
                    <a:pt x="20516" y="914"/>
                  </a:lnTo>
                  <a:lnTo>
                    <a:pt x="20516" y="922"/>
                  </a:lnTo>
                  <a:lnTo>
                    <a:pt x="20515" y="926"/>
                  </a:lnTo>
                  <a:lnTo>
                    <a:pt x="20499" y="977"/>
                  </a:lnTo>
                  <a:lnTo>
                    <a:pt x="20492" y="988"/>
                  </a:lnTo>
                  <a:lnTo>
                    <a:pt x="20489" y="994"/>
                  </a:lnTo>
                  <a:lnTo>
                    <a:pt x="20490" y="1002"/>
                  </a:lnTo>
                  <a:lnTo>
                    <a:pt x="20492" y="1010"/>
                  </a:lnTo>
                  <a:lnTo>
                    <a:pt x="20494" y="1016"/>
                  </a:lnTo>
                  <a:lnTo>
                    <a:pt x="20504" y="1022"/>
                  </a:lnTo>
                  <a:lnTo>
                    <a:pt x="20507" y="1025"/>
                  </a:lnTo>
                  <a:lnTo>
                    <a:pt x="20508" y="1028"/>
                  </a:lnTo>
                  <a:lnTo>
                    <a:pt x="20507" y="1035"/>
                  </a:lnTo>
                  <a:lnTo>
                    <a:pt x="20507" y="1038"/>
                  </a:lnTo>
                  <a:lnTo>
                    <a:pt x="20517" y="1049"/>
                  </a:lnTo>
                  <a:lnTo>
                    <a:pt x="20529" y="1056"/>
                  </a:lnTo>
                  <a:lnTo>
                    <a:pt x="20542" y="1059"/>
                  </a:lnTo>
                  <a:lnTo>
                    <a:pt x="20558" y="1060"/>
                  </a:lnTo>
                  <a:lnTo>
                    <a:pt x="20565" y="1067"/>
                  </a:lnTo>
                  <a:lnTo>
                    <a:pt x="20560" y="1082"/>
                  </a:lnTo>
                  <a:lnTo>
                    <a:pt x="20525" y="1147"/>
                  </a:lnTo>
                  <a:lnTo>
                    <a:pt x="20493" y="1180"/>
                  </a:lnTo>
                  <a:lnTo>
                    <a:pt x="20486" y="1192"/>
                  </a:lnTo>
                  <a:lnTo>
                    <a:pt x="20485" y="1206"/>
                  </a:lnTo>
                  <a:lnTo>
                    <a:pt x="20490" y="1219"/>
                  </a:lnTo>
                  <a:lnTo>
                    <a:pt x="20499" y="1224"/>
                  </a:lnTo>
                  <a:close/>
                  <a:moveTo>
                    <a:pt x="17369" y="4128"/>
                  </a:moveTo>
                  <a:lnTo>
                    <a:pt x="17369" y="4128"/>
                  </a:lnTo>
                  <a:lnTo>
                    <a:pt x="17372" y="4131"/>
                  </a:lnTo>
                  <a:lnTo>
                    <a:pt x="17382" y="4129"/>
                  </a:lnTo>
                  <a:lnTo>
                    <a:pt x="17390" y="4123"/>
                  </a:lnTo>
                  <a:lnTo>
                    <a:pt x="17394" y="4115"/>
                  </a:lnTo>
                  <a:lnTo>
                    <a:pt x="17396" y="4104"/>
                  </a:lnTo>
                  <a:lnTo>
                    <a:pt x="17392" y="4098"/>
                  </a:lnTo>
                  <a:lnTo>
                    <a:pt x="17387" y="4083"/>
                  </a:lnTo>
                  <a:lnTo>
                    <a:pt x="17383" y="4078"/>
                  </a:lnTo>
                  <a:lnTo>
                    <a:pt x="17356" y="4060"/>
                  </a:lnTo>
                  <a:lnTo>
                    <a:pt x="17335" y="4064"/>
                  </a:lnTo>
                  <a:lnTo>
                    <a:pt x="17321" y="4072"/>
                  </a:lnTo>
                  <a:lnTo>
                    <a:pt x="17307" y="4075"/>
                  </a:lnTo>
                  <a:lnTo>
                    <a:pt x="17290" y="4060"/>
                  </a:lnTo>
                  <a:lnTo>
                    <a:pt x="17283" y="4078"/>
                  </a:lnTo>
                  <a:lnTo>
                    <a:pt x="17279" y="4082"/>
                  </a:lnTo>
                  <a:lnTo>
                    <a:pt x="17258" y="4091"/>
                  </a:lnTo>
                  <a:lnTo>
                    <a:pt x="17250" y="4097"/>
                  </a:lnTo>
                  <a:lnTo>
                    <a:pt x="17243" y="4104"/>
                  </a:lnTo>
                  <a:lnTo>
                    <a:pt x="17224" y="4132"/>
                  </a:lnTo>
                  <a:lnTo>
                    <a:pt x="17219" y="4144"/>
                  </a:lnTo>
                  <a:lnTo>
                    <a:pt x="17219" y="4153"/>
                  </a:lnTo>
                  <a:lnTo>
                    <a:pt x="17227" y="4157"/>
                  </a:lnTo>
                  <a:lnTo>
                    <a:pt x="17238" y="4156"/>
                  </a:lnTo>
                  <a:lnTo>
                    <a:pt x="17249" y="4151"/>
                  </a:lnTo>
                  <a:lnTo>
                    <a:pt x="17257" y="4146"/>
                  </a:lnTo>
                  <a:lnTo>
                    <a:pt x="17273" y="4113"/>
                  </a:lnTo>
                  <a:lnTo>
                    <a:pt x="17279" y="4111"/>
                  </a:lnTo>
                  <a:lnTo>
                    <a:pt x="17286" y="4113"/>
                  </a:lnTo>
                  <a:lnTo>
                    <a:pt x="17315" y="4118"/>
                  </a:lnTo>
                  <a:lnTo>
                    <a:pt x="17322" y="4119"/>
                  </a:lnTo>
                  <a:lnTo>
                    <a:pt x="17332" y="4129"/>
                  </a:lnTo>
                  <a:lnTo>
                    <a:pt x="17341" y="4131"/>
                  </a:lnTo>
                  <a:lnTo>
                    <a:pt x="17350" y="4129"/>
                  </a:lnTo>
                  <a:lnTo>
                    <a:pt x="17351" y="4124"/>
                  </a:lnTo>
                  <a:lnTo>
                    <a:pt x="17343" y="4109"/>
                  </a:lnTo>
                  <a:lnTo>
                    <a:pt x="17352" y="4113"/>
                  </a:lnTo>
                  <a:lnTo>
                    <a:pt x="17369" y="4128"/>
                  </a:lnTo>
                  <a:close/>
                  <a:moveTo>
                    <a:pt x="17427" y="4068"/>
                  </a:moveTo>
                  <a:lnTo>
                    <a:pt x="17427" y="4068"/>
                  </a:lnTo>
                  <a:lnTo>
                    <a:pt x="17441" y="4060"/>
                  </a:lnTo>
                  <a:lnTo>
                    <a:pt x="17455" y="4066"/>
                  </a:lnTo>
                  <a:lnTo>
                    <a:pt x="17468" y="4064"/>
                  </a:lnTo>
                  <a:lnTo>
                    <a:pt x="17478" y="4055"/>
                  </a:lnTo>
                  <a:lnTo>
                    <a:pt x="17485" y="4043"/>
                  </a:lnTo>
                  <a:lnTo>
                    <a:pt x="17485" y="4031"/>
                  </a:lnTo>
                  <a:lnTo>
                    <a:pt x="17484" y="4022"/>
                  </a:lnTo>
                  <a:lnTo>
                    <a:pt x="17479" y="4017"/>
                  </a:lnTo>
                  <a:lnTo>
                    <a:pt x="17470" y="4016"/>
                  </a:lnTo>
                  <a:lnTo>
                    <a:pt x="17459" y="4016"/>
                  </a:lnTo>
                  <a:lnTo>
                    <a:pt x="17453" y="4015"/>
                  </a:lnTo>
                  <a:lnTo>
                    <a:pt x="17436" y="4007"/>
                  </a:lnTo>
                  <a:lnTo>
                    <a:pt x="17429" y="4005"/>
                  </a:lnTo>
                  <a:lnTo>
                    <a:pt x="17403" y="4003"/>
                  </a:lnTo>
                  <a:lnTo>
                    <a:pt x="17400" y="4006"/>
                  </a:lnTo>
                  <a:lnTo>
                    <a:pt x="17402" y="4017"/>
                  </a:lnTo>
                  <a:lnTo>
                    <a:pt x="17401" y="4021"/>
                  </a:lnTo>
                  <a:lnTo>
                    <a:pt x="17396" y="4021"/>
                  </a:lnTo>
                  <a:lnTo>
                    <a:pt x="17391" y="4019"/>
                  </a:lnTo>
                  <a:lnTo>
                    <a:pt x="17388" y="4017"/>
                  </a:lnTo>
                  <a:lnTo>
                    <a:pt x="17387" y="4016"/>
                  </a:lnTo>
                  <a:lnTo>
                    <a:pt x="17374" y="4014"/>
                  </a:lnTo>
                  <a:lnTo>
                    <a:pt x="17368" y="4016"/>
                  </a:lnTo>
                  <a:lnTo>
                    <a:pt x="17365" y="4023"/>
                  </a:lnTo>
                  <a:lnTo>
                    <a:pt x="17363" y="4032"/>
                  </a:lnTo>
                  <a:lnTo>
                    <a:pt x="17360" y="4039"/>
                  </a:lnTo>
                  <a:lnTo>
                    <a:pt x="17361" y="4045"/>
                  </a:lnTo>
                  <a:lnTo>
                    <a:pt x="17370" y="4056"/>
                  </a:lnTo>
                  <a:lnTo>
                    <a:pt x="17385" y="4064"/>
                  </a:lnTo>
                  <a:lnTo>
                    <a:pt x="17406" y="4069"/>
                  </a:lnTo>
                  <a:lnTo>
                    <a:pt x="17427" y="4068"/>
                  </a:lnTo>
                  <a:close/>
                  <a:moveTo>
                    <a:pt x="18228" y="4610"/>
                  </a:moveTo>
                  <a:lnTo>
                    <a:pt x="18228" y="4610"/>
                  </a:lnTo>
                  <a:lnTo>
                    <a:pt x="18231" y="4606"/>
                  </a:lnTo>
                  <a:lnTo>
                    <a:pt x="18241" y="4605"/>
                  </a:lnTo>
                  <a:lnTo>
                    <a:pt x="18246" y="4600"/>
                  </a:lnTo>
                  <a:lnTo>
                    <a:pt x="18250" y="4594"/>
                  </a:lnTo>
                  <a:lnTo>
                    <a:pt x="18256" y="4588"/>
                  </a:lnTo>
                  <a:lnTo>
                    <a:pt x="18227" y="4545"/>
                  </a:lnTo>
                  <a:lnTo>
                    <a:pt x="18223" y="4542"/>
                  </a:lnTo>
                  <a:lnTo>
                    <a:pt x="18219" y="4538"/>
                  </a:lnTo>
                  <a:lnTo>
                    <a:pt x="18215" y="4536"/>
                  </a:lnTo>
                  <a:lnTo>
                    <a:pt x="18207" y="4540"/>
                  </a:lnTo>
                  <a:lnTo>
                    <a:pt x="18203" y="4547"/>
                  </a:lnTo>
                  <a:lnTo>
                    <a:pt x="18202" y="4554"/>
                  </a:lnTo>
                  <a:lnTo>
                    <a:pt x="18200" y="4560"/>
                  </a:lnTo>
                  <a:lnTo>
                    <a:pt x="18192" y="4562"/>
                  </a:lnTo>
                  <a:lnTo>
                    <a:pt x="18183" y="4560"/>
                  </a:lnTo>
                  <a:lnTo>
                    <a:pt x="18178" y="4556"/>
                  </a:lnTo>
                  <a:lnTo>
                    <a:pt x="18173" y="4551"/>
                  </a:lnTo>
                  <a:lnTo>
                    <a:pt x="18169" y="4549"/>
                  </a:lnTo>
                  <a:lnTo>
                    <a:pt x="18145" y="4549"/>
                  </a:lnTo>
                  <a:lnTo>
                    <a:pt x="18116" y="4553"/>
                  </a:lnTo>
                  <a:lnTo>
                    <a:pt x="18108" y="4556"/>
                  </a:lnTo>
                  <a:lnTo>
                    <a:pt x="18095" y="4567"/>
                  </a:lnTo>
                  <a:lnTo>
                    <a:pt x="18088" y="4571"/>
                  </a:lnTo>
                  <a:lnTo>
                    <a:pt x="18079" y="4570"/>
                  </a:lnTo>
                  <a:lnTo>
                    <a:pt x="18056" y="4560"/>
                  </a:lnTo>
                  <a:lnTo>
                    <a:pt x="18041" y="4558"/>
                  </a:lnTo>
                  <a:lnTo>
                    <a:pt x="18031" y="4563"/>
                  </a:lnTo>
                  <a:lnTo>
                    <a:pt x="17991" y="4621"/>
                  </a:lnTo>
                  <a:lnTo>
                    <a:pt x="17981" y="4647"/>
                  </a:lnTo>
                  <a:lnTo>
                    <a:pt x="17975" y="4675"/>
                  </a:lnTo>
                  <a:lnTo>
                    <a:pt x="17973" y="4703"/>
                  </a:lnTo>
                  <a:lnTo>
                    <a:pt x="17975" y="4730"/>
                  </a:lnTo>
                  <a:lnTo>
                    <a:pt x="18015" y="4820"/>
                  </a:lnTo>
                  <a:lnTo>
                    <a:pt x="18030" y="4824"/>
                  </a:lnTo>
                  <a:lnTo>
                    <a:pt x="18045" y="4814"/>
                  </a:lnTo>
                  <a:lnTo>
                    <a:pt x="18093" y="4772"/>
                  </a:lnTo>
                  <a:lnTo>
                    <a:pt x="18106" y="4757"/>
                  </a:lnTo>
                  <a:lnTo>
                    <a:pt x="18119" y="4738"/>
                  </a:lnTo>
                  <a:lnTo>
                    <a:pt x="18126" y="4718"/>
                  </a:lnTo>
                  <a:lnTo>
                    <a:pt x="18132" y="4707"/>
                  </a:lnTo>
                  <a:lnTo>
                    <a:pt x="18138" y="4703"/>
                  </a:lnTo>
                  <a:lnTo>
                    <a:pt x="18144" y="4698"/>
                  </a:lnTo>
                  <a:lnTo>
                    <a:pt x="18158" y="4667"/>
                  </a:lnTo>
                  <a:lnTo>
                    <a:pt x="18167" y="4662"/>
                  </a:lnTo>
                  <a:lnTo>
                    <a:pt x="18177" y="4659"/>
                  </a:lnTo>
                  <a:lnTo>
                    <a:pt x="18185" y="4653"/>
                  </a:lnTo>
                  <a:lnTo>
                    <a:pt x="18191" y="4637"/>
                  </a:lnTo>
                  <a:lnTo>
                    <a:pt x="18195" y="4638"/>
                  </a:lnTo>
                  <a:lnTo>
                    <a:pt x="18200" y="4642"/>
                  </a:lnTo>
                  <a:lnTo>
                    <a:pt x="18203" y="4645"/>
                  </a:lnTo>
                  <a:lnTo>
                    <a:pt x="18204" y="4652"/>
                  </a:lnTo>
                  <a:lnTo>
                    <a:pt x="18203" y="4672"/>
                  </a:lnTo>
                  <a:lnTo>
                    <a:pt x="18217" y="4757"/>
                  </a:lnTo>
                  <a:lnTo>
                    <a:pt x="18212" y="4778"/>
                  </a:lnTo>
                  <a:lnTo>
                    <a:pt x="18182" y="4797"/>
                  </a:lnTo>
                  <a:lnTo>
                    <a:pt x="18174" y="4800"/>
                  </a:lnTo>
                  <a:lnTo>
                    <a:pt x="18169" y="4802"/>
                  </a:lnTo>
                  <a:lnTo>
                    <a:pt x="18168" y="4808"/>
                  </a:lnTo>
                  <a:lnTo>
                    <a:pt x="18169" y="4816"/>
                  </a:lnTo>
                  <a:lnTo>
                    <a:pt x="18172" y="4822"/>
                  </a:lnTo>
                  <a:lnTo>
                    <a:pt x="18177" y="4825"/>
                  </a:lnTo>
                  <a:lnTo>
                    <a:pt x="18198" y="4831"/>
                  </a:lnTo>
                  <a:lnTo>
                    <a:pt x="18203" y="4837"/>
                  </a:lnTo>
                  <a:lnTo>
                    <a:pt x="18207" y="4843"/>
                  </a:lnTo>
                  <a:lnTo>
                    <a:pt x="18212" y="4845"/>
                  </a:lnTo>
                  <a:lnTo>
                    <a:pt x="18236" y="4827"/>
                  </a:lnTo>
                  <a:lnTo>
                    <a:pt x="18244" y="4826"/>
                  </a:lnTo>
                  <a:lnTo>
                    <a:pt x="18247" y="4833"/>
                  </a:lnTo>
                  <a:lnTo>
                    <a:pt x="18249" y="4848"/>
                  </a:lnTo>
                  <a:lnTo>
                    <a:pt x="18254" y="4851"/>
                  </a:lnTo>
                  <a:lnTo>
                    <a:pt x="18259" y="4845"/>
                  </a:lnTo>
                  <a:lnTo>
                    <a:pt x="18260" y="4831"/>
                  </a:lnTo>
                  <a:lnTo>
                    <a:pt x="18259" y="4773"/>
                  </a:lnTo>
                  <a:lnTo>
                    <a:pt x="18264" y="4744"/>
                  </a:lnTo>
                  <a:lnTo>
                    <a:pt x="18278" y="4720"/>
                  </a:lnTo>
                  <a:lnTo>
                    <a:pt x="18284" y="4716"/>
                  </a:lnTo>
                  <a:lnTo>
                    <a:pt x="18289" y="4713"/>
                  </a:lnTo>
                  <a:lnTo>
                    <a:pt x="18295" y="4712"/>
                  </a:lnTo>
                  <a:lnTo>
                    <a:pt x="18302" y="4712"/>
                  </a:lnTo>
                  <a:lnTo>
                    <a:pt x="18308" y="4715"/>
                  </a:lnTo>
                  <a:lnTo>
                    <a:pt x="18309" y="4723"/>
                  </a:lnTo>
                  <a:lnTo>
                    <a:pt x="18309" y="4730"/>
                  </a:lnTo>
                  <a:lnTo>
                    <a:pt x="18311" y="4734"/>
                  </a:lnTo>
                  <a:lnTo>
                    <a:pt x="18323" y="4738"/>
                  </a:lnTo>
                  <a:lnTo>
                    <a:pt x="18328" y="4749"/>
                  </a:lnTo>
                  <a:lnTo>
                    <a:pt x="18331" y="4773"/>
                  </a:lnTo>
                  <a:lnTo>
                    <a:pt x="18344" y="4765"/>
                  </a:lnTo>
                  <a:lnTo>
                    <a:pt x="18361" y="4777"/>
                  </a:lnTo>
                  <a:lnTo>
                    <a:pt x="18373" y="4771"/>
                  </a:lnTo>
                  <a:lnTo>
                    <a:pt x="18379" y="4768"/>
                  </a:lnTo>
                  <a:lnTo>
                    <a:pt x="18391" y="4765"/>
                  </a:lnTo>
                  <a:lnTo>
                    <a:pt x="18396" y="4762"/>
                  </a:lnTo>
                  <a:lnTo>
                    <a:pt x="18422" y="4740"/>
                  </a:lnTo>
                  <a:lnTo>
                    <a:pt x="18439" y="4723"/>
                  </a:lnTo>
                  <a:lnTo>
                    <a:pt x="18442" y="4716"/>
                  </a:lnTo>
                  <a:lnTo>
                    <a:pt x="18443" y="4710"/>
                  </a:lnTo>
                  <a:lnTo>
                    <a:pt x="18442" y="4690"/>
                  </a:lnTo>
                  <a:lnTo>
                    <a:pt x="18445" y="4677"/>
                  </a:lnTo>
                  <a:lnTo>
                    <a:pt x="18454" y="4653"/>
                  </a:lnTo>
                  <a:lnTo>
                    <a:pt x="18455" y="4640"/>
                  </a:lnTo>
                  <a:lnTo>
                    <a:pt x="18453" y="4628"/>
                  </a:lnTo>
                  <a:lnTo>
                    <a:pt x="18446" y="4620"/>
                  </a:lnTo>
                  <a:lnTo>
                    <a:pt x="18434" y="4616"/>
                  </a:lnTo>
                  <a:lnTo>
                    <a:pt x="18422" y="4615"/>
                  </a:lnTo>
                  <a:lnTo>
                    <a:pt x="18412" y="4611"/>
                  </a:lnTo>
                  <a:lnTo>
                    <a:pt x="18398" y="4597"/>
                  </a:lnTo>
                  <a:lnTo>
                    <a:pt x="18391" y="4593"/>
                  </a:lnTo>
                  <a:lnTo>
                    <a:pt x="18383" y="4598"/>
                  </a:lnTo>
                  <a:lnTo>
                    <a:pt x="18378" y="4606"/>
                  </a:lnTo>
                  <a:lnTo>
                    <a:pt x="18374" y="4610"/>
                  </a:lnTo>
                  <a:lnTo>
                    <a:pt x="18365" y="4604"/>
                  </a:lnTo>
                  <a:lnTo>
                    <a:pt x="18363" y="4599"/>
                  </a:lnTo>
                  <a:lnTo>
                    <a:pt x="18362" y="4591"/>
                  </a:lnTo>
                  <a:lnTo>
                    <a:pt x="18360" y="4586"/>
                  </a:lnTo>
                  <a:lnTo>
                    <a:pt x="18356" y="4586"/>
                  </a:lnTo>
                  <a:lnTo>
                    <a:pt x="18351" y="4588"/>
                  </a:lnTo>
                  <a:lnTo>
                    <a:pt x="18345" y="4589"/>
                  </a:lnTo>
                  <a:lnTo>
                    <a:pt x="18334" y="4588"/>
                  </a:lnTo>
                  <a:lnTo>
                    <a:pt x="18325" y="4592"/>
                  </a:lnTo>
                  <a:lnTo>
                    <a:pt x="18320" y="4601"/>
                  </a:lnTo>
                  <a:lnTo>
                    <a:pt x="18314" y="4619"/>
                  </a:lnTo>
                  <a:lnTo>
                    <a:pt x="18305" y="4633"/>
                  </a:lnTo>
                  <a:lnTo>
                    <a:pt x="18302" y="4635"/>
                  </a:lnTo>
                  <a:lnTo>
                    <a:pt x="18294" y="4639"/>
                  </a:lnTo>
                  <a:lnTo>
                    <a:pt x="18291" y="4641"/>
                  </a:lnTo>
                  <a:lnTo>
                    <a:pt x="18273" y="4673"/>
                  </a:lnTo>
                  <a:lnTo>
                    <a:pt x="18262" y="4687"/>
                  </a:lnTo>
                  <a:lnTo>
                    <a:pt x="18247" y="4699"/>
                  </a:lnTo>
                  <a:lnTo>
                    <a:pt x="18244" y="4689"/>
                  </a:lnTo>
                  <a:lnTo>
                    <a:pt x="18245" y="4669"/>
                  </a:lnTo>
                  <a:lnTo>
                    <a:pt x="18243" y="4659"/>
                  </a:lnTo>
                  <a:lnTo>
                    <a:pt x="18239" y="4654"/>
                  </a:lnTo>
                  <a:lnTo>
                    <a:pt x="18233" y="4648"/>
                  </a:lnTo>
                  <a:lnTo>
                    <a:pt x="18227" y="4642"/>
                  </a:lnTo>
                  <a:lnTo>
                    <a:pt x="18225" y="4634"/>
                  </a:lnTo>
                  <a:lnTo>
                    <a:pt x="18226" y="4617"/>
                  </a:lnTo>
                  <a:lnTo>
                    <a:pt x="18228" y="4610"/>
                  </a:lnTo>
                  <a:close/>
                  <a:moveTo>
                    <a:pt x="18115" y="6357"/>
                  </a:moveTo>
                  <a:lnTo>
                    <a:pt x="18115" y="6357"/>
                  </a:lnTo>
                  <a:lnTo>
                    <a:pt x="18107" y="6362"/>
                  </a:lnTo>
                  <a:lnTo>
                    <a:pt x="18096" y="6378"/>
                  </a:lnTo>
                  <a:lnTo>
                    <a:pt x="18088" y="6385"/>
                  </a:lnTo>
                  <a:lnTo>
                    <a:pt x="18072" y="6396"/>
                  </a:lnTo>
                  <a:lnTo>
                    <a:pt x="18065" y="6404"/>
                  </a:lnTo>
                  <a:lnTo>
                    <a:pt x="18071" y="6416"/>
                  </a:lnTo>
                  <a:lnTo>
                    <a:pt x="18077" y="6444"/>
                  </a:lnTo>
                  <a:lnTo>
                    <a:pt x="18083" y="6457"/>
                  </a:lnTo>
                  <a:lnTo>
                    <a:pt x="18103" y="6485"/>
                  </a:lnTo>
                  <a:lnTo>
                    <a:pt x="18126" y="6509"/>
                  </a:lnTo>
                  <a:lnTo>
                    <a:pt x="18153" y="6525"/>
                  </a:lnTo>
                  <a:lnTo>
                    <a:pt x="18185" y="6528"/>
                  </a:lnTo>
                  <a:lnTo>
                    <a:pt x="18207" y="6516"/>
                  </a:lnTo>
                  <a:lnTo>
                    <a:pt x="18224" y="6495"/>
                  </a:lnTo>
                  <a:lnTo>
                    <a:pt x="18251" y="6452"/>
                  </a:lnTo>
                  <a:lnTo>
                    <a:pt x="18261" y="6432"/>
                  </a:lnTo>
                  <a:lnTo>
                    <a:pt x="18260" y="6407"/>
                  </a:lnTo>
                  <a:lnTo>
                    <a:pt x="18248" y="6384"/>
                  </a:lnTo>
                  <a:lnTo>
                    <a:pt x="18229" y="6369"/>
                  </a:lnTo>
                  <a:lnTo>
                    <a:pt x="18216" y="6368"/>
                  </a:lnTo>
                  <a:lnTo>
                    <a:pt x="18200" y="6369"/>
                  </a:lnTo>
                  <a:lnTo>
                    <a:pt x="18184" y="6374"/>
                  </a:lnTo>
                  <a:lnTo>
                    <a:pt x="18174" y="6380"/>
                  </a:lnTo>
                  <a:lnTo>
                    <a:pt x="18163" y="6382"/>
                  </a:lnTo>
                  <a:lnTo>
                    <a:pt x="18150" y="6375"/>
                  </a:lnTo>
                  <a:lnTo>
                    <a:pt x="18137" y="6365"/>
                  </a:lnTo>
                  <a:lnTo>
                    <a:pt x="18127" y="6360"/>
                  </a:lnTo>
                  <a:lnTo>
                    <a:pt x="18115" y="6357"/>
                  </a:lnTo>
                  <a:close/>
                  <a:moveTo>
                    <a:pt x="17487" y="7164"/>
                  </a:moveTo>
                  <a:lnTo>
                    <a:pt x="17487" y="7164"/>
                  </a:lnTo>
                  <a:lnTo>
                    <a:pt x="17492" y="7162"/>
                  </a:lnTo>
                  <a:lnTo>
                    <a:pt x="17494" y="7157"/>
                  </a:lnTo>
                  <a:lnTo>
                    <a:pt x="17492" y="7140"/>
                  </a:lnTo>
                  <a:lnTo>
                    <a:pt x="17487" y="7131"/>
                  </a:lnTo>
                  <a:lnTo>
                    <a:pt x="17480" y="7125"/>
                  </a:lnTo>
                  <a:lnTo>
                    <a:pt x="17472" y="7115"/>
                  </a:lnTo>
                  <a:lnTo>
                    <a:pt x="17457" y="7117"/>
                  </a:lnTo>
                  <a:lnTo>
                    <a:pt x="17448" y="7107"/>
                  </a:lnTo>
                  <a:lnTo>
                    <a:pt x="17439" y="7069"/>
                  </a:lnTo>
                  <a:lnTo>
                    <a:pt x="17436" y="7063"/>
                  </a:lnTo>
                  <a:lnTo>
                    <a:pt x="17431" y="7061"/>
                  </a:lnTo>
                  <a:lnTo>
                    <a:pt x="17424" y="7064"/>
                  </a:lnTo>
                  <a:lnTo>
                    <a:pt x="17414" y="7077"/>
                  </a:lnTo>
                  <a:lnTo>
                    <a:pt x="17410" y="7080"/>
                  </a:lnTo>
                  <a:lnTo>
                    <a:pt x="17398" y="7080"/>
                  </a:lnTo>
                  <a:lnTo>
                    <a:pt x="17393" y="7073"/>
                  </a:lnTo>
                  <a:lnTo>
                    <a:pt x="17392" y="7064"/>
                  </a:lnTo>
                  <a:lnTo>
                    <a:pt x="17396" y="7053"/>
                  </a:lnTo>
                  <a:lnTo>
                    <a:pt x="17384" y="7057"/>
                  </a:lnTo>
                  <a:lnTo>
                    <a:pt x="17373" y="7065"/>
                  </a:lnTo>
                  <a:lnTo>
                    <a:pt x="17363" y="7074"/>
                  </a:lnTo>
                  <a:lnTo>
                    <a:pt x="17356" y="7084"/>
                  </a:lnTo>
                  <a:lnTo>
                    <a:pt x="17368" y="7097"/>
                  </a:lnTo>
                  <a:lnTo>
                    <a:pt x="17374" y="7105"/>
                  </a:lnTo>
                  <a:lnTo>
                    <a:pt x="17374" y="7111"/>
                  </a:lnTo>
                  <a:lnTo>
                    <a:pt x="17368" y="7114"/>
                  </a:lnTo>
                  <a:lnTo>
                    <a:pt x="17351" y="7117"/>
                  </a:lnTo>
                  <a:lnTo>
                    <a:pt x="17347" y="7121"/>
                  </a:lnTo>
                  <a:lnTo>
                    <a:pt x="17346" y="7129"/>
                  </a:lnTo>
                  <a:lnTo>
                    <a:pt x="17343" y="7138"/>
                  </a:lnTo>
                  <a:lnTo>
                    <a:pt x="17338" y="7146"/>
                  </a:lnTo>
                  <a:lnTo>
                    <a:pt x="17332" y="7152"/>
                  </a:lnTo>
                  <a:lnTo>
                    <a:pt x="17329" y="7161"/>
                  </a:lnTo>
                  <a:lnTo>
                    <a:pt x="17330" y="7179"/>
                  </a:lnTo>
                  <a:lnTo>
                    <a:pt x="17326" y="7186"/>
                  </a:lnTo>
                  <a:lnTo>
                    <a:pt x="17339" y="7212"/>
                  </a:lnTo>
                  <a:lnTo>
                    <a:pt x="17365" y="7250"/>
                  </a:lnTo>
                  <a:lnTo>
                    <a:pt x="17371" y="7264"/>
                  </a:lnTo>
                  <a:lnTo>
                    <a:pt x="17374" y="7270"/>
                  </a:lnTo>
                  <a:lnTo>
                    <a:pt x="17381" y="7275"/>
                  </a:lnTo>
                  <a:lnTo>
                    <a:pt x="17386" y="7276"/>
                  </a:lnTo>
                  <a:lnTo>
                    <a:pt x="17392" y="7276"/>
                  </a:lnTo>
                  <a:lnTo>
                    <a:pt x="17401" y="7279"/>
                  </a:lnTo>
                  <a:lnTo>
                    <a:pt x="17411" y="7290"/>
                  </a:lnTo>
                  <a:lnTo>
                    <a:pt x="17430" y="7320"/>
                  </a:lnTo>
                  <a:lnTo>
                    <a:pt x="17438" y="7321"/>
                  </a:lnTo>
                  <a:lnTo>
                    <a:pt x="17448" y="7317"/>
                  </a:lnTo>
                  <a:lnTo>
                    <a:pt x="17460" y="7318"/>
                  </a:lnTo>
                  <a:lnTo>
                    <a:pt x="17471" y="7318"/>
                  </a:lnTo>
                  <a:lnTo>
                    <a:pt x="17481" y="7309"/>
                  </a:lnTo>
                  <a:lnTo>
                    <a:pt x="17485" y="7297"/>
                  </a:lnTo>
                  <a:lnTo>
                    <a:pt x="17484" y="7192"/>
                  </a:lnTo>
                  <a:lnTo>
                    <a:pt x="17481" y="7174"/>
                  </a:lnTo>
                  <a:lnTo>
                    <a:pt x="17483" y="7167"/>
                  </a:lnTo>
                  <a:lnTo>
                    <a:pt x="17487" y="7164"/>
                  </a:lnTo>
                  <a:close/>
                  <a:moveTo>
                    <a:pt x="21516" y="6055"/>
                  </a:moveTo>
                  <a:lnTo>
                    <a:pt x="21516" y="6055"/>
                  </a:lnTo>
                  <a:lnTo>
                    <a:pt x="21486" y="6066"/>
                  </a:lnTo>
                  <a:lnTo>
                    <a:pt x="21433" y="6107"/>
                  </a:lnTo>
                  <a:lnTo>
                    <a:pt x="21426" y="6109"/>
                  </a:lnTo>
                  <a:lnTo>
                    <a:pt x="21371" y="6106"/>
                  </a:lnTo>
                  <a:lnTo>
                    <a:pt x="21361" y="6107"/>
                  </a:lnTo>
                  <a:lnTo>
                    <a:pt x="21353" y="6109"/>
                  </a:lnTo>
                  <a:lnTo>
                    <a:pt x="21320" y="6129"/>
                  </a:lnTo>
                  <a:lnTo>
                    <a:pt x="21305" y="6142"/>
                  </a:lnTo>
                  <a:lnTo>
                    <a:pt x="21276" y="6177"/>
                  </a:lnTo>
                  <a:lnTo>
                    <a:pt x="21274" y="6183"/>
                  </a:lnTo>
                  <a:lnTo>
                    <a:pt x="21281" y="6197"/>
                  </a:lnTo>
                  <a:lnTo>
                    <a:pt x="21283" y="6211"/>
                  </a:lnTo>
                  <a:lnTo>
                    <a:pt x="21287" y="6222"/>
                  </a:lnTo>
                  <a:lnTo>
                    <a:pt x="21301" y="6228"/>
                  </a:lnTo>
                  <a:lnTo>
                    <a:pt x="21321" y="6227"/>
                  </a:lnTo>
                  <a:lnTo>
                    <a:pt x="21334" y="6217"/>
                  </a:lnTo>
                  <a:lnTo>
                    <a:pt x="21344" y="6204"/>
                  </a:lnTo>
                  <a:lnTo>
                    <a:pt x="21358" y="6192"/>
                  </a:lnTo>
                  <a:lnTo>
                    <a:pt x="21366" y="6189"/>
                  </a:lnTo>
                  <a:lnTo>
                    <a:pt x="21382" y="6186"/>
                  </a:lnTo>
                  <a:lnTo>
                    <a:pt x="21399" y="6176"/>
                  </a:lnTo>
                  <a:lnTo>
                    <a:pt x="21424" y="6165"/>
                  </a:lnTo>
                  <a:lnTo>
                    <a:pt x="21449" y="6146"/>
                  </a:lnTo>
                  <a:lnTo>
                    <a:pt x="21461" y="6141"/>
                  </a:lnTo>
                  <a:lnTo>
                    <a:pt x="21473" y="6148"/>
                  </a:lnTo>
                  <a:lnTo>
                    <a:pt x="21462" y="6160"/>
                  </a:lnTo>
                  <a:lnTo>
                    <a:pt x="21429" y="6183"/>
                  </a:lnTo>
                  <a:lnTo>
                    <a:pt x="21416" y="6208"/>
                  </a:lnTo>
                  <a:lnTo>
                    <a:pt x="21412" y="6212"/>
                  </a:lnTo>
                  <a:lnTo>
                    <a:pt x="21397" y="6222"/>
                  </a:lnTo>
                  <a:lnTo>
                    <a:pt x="21393" y="6228"/>
                  </a:lnTo>
                  <a:lnTo>
                    <a:pt x="21413" y="6226"/>
                  </a:lnTo>
                  <a:lnTo>
                    <a:pt x="21425" y="6216"/>
                  </a:lnTo>
                  <a:lnTo>
                    <a:pt x="21435" y="6206"/>
                  </a:lnTo>
                  <a:lnTo>
                    <a:pt x="21449" y="6201"/>
                  </a:lnTo>
                  <a:lnTo>
                    <a:pt x="21468" y="6199"/>
                  </a:lnTo>
                  <a:lnTo>
                    <a:pt x="21483" y="6195"/>
                  </a:lnTo>
                  <a:lnTo>
                    <a:pt x="21495" y="6187"/>
                  </a:lnTo>
                  <a:lnTo>
                    <a:pt x="21508" y="6169"/>
                  </a:lnTo>
                  <a:lnTo>
                    <a:pt x="21510" y="6164"/>
                  </a:lnTo>
                  <a:lnTo>
                    <a:pt x="21509" y="6159"/>
                  </a:lnTo>
                  <a:lnTo>
                    <a:pt x="21493" y="6137"/>
                  </a:lnTo>
                  <a:lnTo>
                    <a:pt x="21490" y="6129"/>
                  </a:lnTo>
                  <a:lnTo>
                    <a:pt x="21493" y="6126"/>
                  </a:lnTo>
                  <a:lnTo>
                    <a:pt x="21500" y="6126"/>
                  </a:lnTo>
                  <a:lnTo>
                    <a:pt x="21504" y="6126"/>
                  </a:lnTo>
                  <a:lnTo>
                    <a:pt x="21513" y="6130"/>
                  </a:lnTo>
                  <a:lnTo>
                    <a:pt x="21526" y="6138"/>
                  </a:lnTo>
                  <a:lnTo>
                    <a:pt x="21530" y="6139"/>
                  </a:lnTo>
                  <a:lnTo>
                    <a:pt x="21547" y="6134"/>
                  </a:lnTo>
                  <a:lnTo>
                    <a:pt x="21548" y="6124"/>
                  </a:lnTo>
                  <a:lnTo>
                    <a:pt x="21543" y="6111"/>
                  </a:lnTo>
                  <a:lnTo>
                    <a:pt x="21539" y="6097"/>
                  </a:lnTo>
                  <a:lnTo>
                    <a:pt x="21544" y="6087"/>
                  </a:lnTo>
                  <a:lnTo>
                    <a:pt x="21553" y="6079"/>
                  </a:lnTo>
                  <a:lnTo>
                    <a:pt x="21556" y="6071"/>
                  </a:lnTo>
                  <a:lnTo>
                    <a:pt x="21544" y="6060"/>
                  </a:lnTo>
                  <a:lnTo>
                    <a:pt x="21516" y="6055"/>
                  </a:lnTo>
                  <a:close/>
                  <a:moveTo>
                    <a:pt x="24435" y="7526"/>
                  </a:moveTo>
                  <a:lnTo>
                    <a:pt x="24435" y="7526"/>
                  </a:lnTo>
                  <a:lnTo>
                    <a:pt x="24425" y="7521"/>
                  </a:lnTo>
                  <a:lnTo>
                    <a:pt x="24421" y="7509"/>
                  </a:lnTo>
                  <a:lnTo>
                    <a:pt x="24419" y="7495"/>
                  </a:lnTo>
                  <a:lnTo>
                    <a:pt x="24415" y="7482"/>
                  </a:lnTo>
                  <a:lnTo>
                    <a:pt x="24411" y="7482"/>
                  </a:lnTo>
                  <a:lnTo>
                    <a:pt x="24410" y="7484"/>
                  </a:lnTo>
                  <a:lnTo>
                    <a:pt x="24407" y="7491"/>
                  </a:lnTo>
                  <a:lnTo>
                    <a:pt x="24406" y="7485"/>
                  </a:lnTo>
                  <a:lnTo>
                    <a:pt x="24399" y="7461"/>
                  </a:lnTo>
                  <a:lnTo>
                    <a:pt x="24398" y="7449"/>
                  </a:lnTo>
                  <a:lnTo>
                    <a:pt x="24396" y="7444"/>
                  </a:lnTo>
                  <a:lnTo>
                    <a:pt x="24391" y="7441"/>
                  </a:lnTo>
                  <a:lnTo>
                    <a:pt x="24386" y="7441"/>
                  </a:lnTo>
                  <a:lnTo>
                    <a:pt x="24376" y="7443"/>
                  </a:lnTo>
                  <a:lnTo>
                    <a:pt x="24371" y="7442"/>
                  </a:lnTo>
                  <a:lnTo>
                    <a:pt x="24363" y="7437"/>
                  </a:lnTo>
                  <a:lnTo>
                    <a:pt x="24365" y="7432"/>
                  </a:lnTo>
                  <a:lnTo>
                    <a:pt x="24369" y="7426"/>
                  </a:lnTo>
                  <a:lnTo>
                    <a:pt x="24371" y="7416"/>
                  </a:lnTo>
                  <a:lnTo>
                    <a:pt x="24368" y="7404"/>
                  </a:lnTo>
                  <a:lnTo>
                    <a:pt x="24362" y="7405"/>
                  </a:lnTo>
                  <a:lnTo>
                    <a:pt x="24353" y="7413"/>
                  </a:lnTo>
                  <a:lnTo>
                    <a:pt x="24344" y="7420"/>
                  </a:lnTo>
                  <a:lnTo>
                    <a:pt x="24341" y="7418"/>
                  </a:lnTo>
                  <a:lnTo>
                    <a:pt x="24318" y="7407"/>
                  </a:lnTo>
                  <a:lnTo>
                    <a:pt x="24319" y="7416"/>
                  </a:lnTo>
                  <a:lnTo>
                    <a:pt x="24322" y="7422"/>
                  </a:lnTo>
                  <a:lnTo>
                    <a:pt x="24327" y="7427"/>
                  </a:lnTo>
                  <a:lnTo>
                    <a:pt x="24331" y="7433"/>
                  </a:lnTo>
                  <a:lnTo>
                    <a:pt x="24332" y="7436"/>
                  </a:lnTo>
                  <a:lnTo>
                    <a:pt x="24331" y="7449"/>
                  </a:lnTo>
                  <a:lnTo>
                    <a:pt x="24333" y="7454"/>
                  </a:lnTo>
                  <a:lnTo>
                    <a:pt x="24337" y="7455"/>
                  </a:lnTo>
                  <a:lnTo>
                    <a:pt x="24342" y="7455"/>
                  </a:lnTo>
                  <a:lnTo>
                    <a:pt x="24344" y="7456"/>
                  </a:lnTo>
                  <a:lnTo>
                    <a:pt x="24345" y="7460"/>
                  </a:lnTo>
                  <a:lnTo>
                    <a:pt x="24345" y="7464"/>
                  </a:lnTo>
                  <a:lnTo>
                    <a:pt x="24344" y="7468"/>
                  </a:lnTo>
                  <a:lnTo>
                    <a:pt x="24342" y="7471"/>
                  </a:lnTo>
                  <a:lnTo>
                    <a:pt x="24340" y="7475"/>
                  </a:lnTo>
                  <a:lnTo>
                    <a:pt x="24344" y="7477"/>
                  </a:lnTo>
                  <a:lnTo>
                    <a:pt x="24350" y="7477"/>
                  </a:lnTo>
                  <a:lnTo>
                    <a:pt x="24353" y="7478"/>
                  </a:lnTo>
                  <a:lnTo>
                    <a:pt x="24359" y="7501"/>
                  </a:lnTo>
                  <a:lnTo>
                    <a:pt x="24362" y="7508"/>
                  </a:lnTo>
                  <a:lnTo>
                    <a:pt x="24353" y="7508"/>
                  </a:lnTo>
                  <a:lnTo>
                    <a:pt x="24351" y="7524"/>
                  </a:lnTo>
                  <a:lnTo>
                    <a:pt x="24353" y="7557"/>
                  </a:lnTo>
                  <a:lnTo>
                    <a:pt x="24352" y="7558"/>
                  </a:lnTo>
                  <a:lnTo>
                    <a:pt x="24349" y="7558"/>
                  </a:lnTo>
                  <a:lnTo>
                    <a:pt x="24346" y="7559"/>
                  </a:lnTo>
                  <a:lnTo>
                    <a:pt x="24344" y="7564"/>
                  </a:lnTo>
                  <a:lnTo>
                    <a:pt x="24345" y="7568"/>
                  </a:lnTo>
                  <a:lnTo>
                    <a:pt x="24347" y="7570"/>
                  </a:lnTo>
                  <a:lnTo>
                    <a:pt x="24348" y="7572"/>
                  </a:lnTo>
                  <a:lnTo>
                    <a:pt x="24349" y="7575"/>
                  </a:lnTo>
                  <a:lnTo>
                    <a:pt x="24348" y="7591"/>
                  </a:lnTo>
                  <a:lnTo>
                    <a:pt x="24350" y="7599"/>
                  </a:lnTo>
                  <a:lnTo>
                    <a:pt x="24353" y="7606"/>
                  </a:lnTo>
                  <a:lnTo>
                    <a:pt x="24353" y="7601"/>
                  </a:lnTo>
                  <a:lnTo>
                    <a:pt x="24360" y="7613"/>
                  </a:lnTo>
                  <a:lnTo>
                    <a:pt x="24364" y="7618"/>
                  </a:lnTo>
                  <a:lnTo>
                    <a:pt x="24369" y="7619"/>
                  </a:lnTo>
                  <a:lnTo>
                    <a:pt x="24375" y="7617"/>
                  </a:lnTo>
                  <a:lnTo>
                    <a:pt x="24378" y="7611"/>
                  </a:lnTo>
                  <a:lnTo>
                    <a:pt x="24380" y="7603"/>
                  </a:lnTo>
                  <a:lnTo>
                    <a:pt x="24380" y="7597"/>
                  </a:lnTo>
                  <a:lnTo>
                    <a:pt x="24385" y="7606"/>
                  </a:lnTo>
                  <a:lnTo>
                    <a:pt x="24389" y="7621"/>
                  </a:lnTo>
                  <a:lnTo>
                    <a:pt x="24396" y="7631"/>
                  </a:lnTo>
                  <a:lnTo>
                    <a:pt x="24409" y="7626"/>
                  </a:lnTo>
                  <a:lnTo>
                    <a:pt x="24418" y="7614"/>
                  </a:lnTo>
                  <a:lnTo>
                    <a:pt x="24426" y="7603"/>
                  </a:lnTo>
                  <a:lnTo>
                    <a:pt x="24432" y="7590"/>
                  </a:lnTo>
                  <a:lnTo>
                    <a:pt x="24437" y="7575"/>
                  </a:lnTo>
                  <a:lnTo>
                    <a:pt x="24442" y="7547"/>
                  </a:lnTo>
                  <a:lnTo>
                    <a:pt x="24441" y="7532"/>
                  </a:lnTo>
                  <a:lnTo>
                    <a:pt x="24435" y="7526"/>
                  </a:lnTo>
                  <a:close/>
                  <a:moveTo>
                    <a:pt x="24682" y="7218"/>
                  </a:moveTo>
                  <a:lnTo>
                    <a:pt x="24682" y="7218"/>
                  </a:lnTo>
                  <a:lnTo>
                    <a:pt x="24675" y="7209"/>
                  </a:lnTo>
                  <a:lnTo>
                    <a:pt x="24664" y="7204"/>
                  </a:lnTo>
                  <a:lnTo>
                    <a:pt x="24653" y="7203"/>
                  </a:lnTo>
                  <a:lnTo>
                    <a:pt x="24642" y="7208"/>
                  </a:lnTo>
                  <a:lnTo>
                    <a:pt x="24635" y="7219"/>
                  </a:lnTo>
                  <a:lnTo>
                    <a:pt x="24631" y="7244"/>
                  </a:lnTo>
                  <a:lnTo>
                    <a:pt x="24626" y="7254"/>
                  </a:lnTo>
                  <a:lnTo>
                    <a:pt x="24612" y="7275"/>
                  </a:lnTo>
                  <a:lnTo>
                    <a:pt x="24588" y="7349"/>
                  </a:lnTo>
                  <a:lnTo>
                    <a:pt x="24578" y="7372"/>
                  </a:lnTo>
                  <a:lnTo>
                    <a:pt x="24575" y="7383"/>
                  </a:lnTo>
                  <a:lnTo>
                    <a:pt x="24573" y="7410"/>
                  </a:lnTo>
                  <a:lnTo>
                    <a:pt x="24566" y="7435"/>
                  </a:lnTo>
                  <a:lnTo>
                    <a:pt x="24561" y="7438"/>
                  </a:lnTo>
                  <a:lnTo>
                    <a:pt x="24551" y="7434"/>
                  </a:lnTo>
                  <a:lnTo>
                    <a:pt x="24540" y="7431"/>
                  </a:lnTo>
                  <a:lnTo>
                    <a:pt x="24517" y="7468"/>
                  </a:lnTo>
                  <a:lnTo>
                    <a:pt x="24519" y="7479"/>
                  </a:lnTo>
                  <a:lnTo>
                    <a:pt x="24517" y="7519"/>
                  </a:lnTo>
                  <a:lnTo>
                    <a:pt x="24514" y="7526"/>
                  </a:lnTo>
                  <a:lnTo>
                    <a:pt x="24499" y="7543"/>
                  </a:lnTo>
                  <a:lnTo>
                    <a:pt x="24460" y="7654"/>
                  </a:lnTo>
                  <a:lnTo>
                    <a:pt x="24461" y="7662"/>
                  </a:lnTo>
                  <a:lnTo>
                    <a:pt x="24471" y="7657"/>
                  </a:lnTo>
                  <a:lnTo>
                    <a:pt x="24531" y="7582"/>
                  </a:lnTo>
                  <a:lnTo>
                    <a:pt x="24535" y="7575"/>
                  </a:lnTo>
                  <a:lnTo>
                    <a:pt x="24537" y="7563"/>
                  </a:lnTo>
                  <a:lnTo>
                    <a:pt x="24532" y="7543"/>
                  </a:lnTo>
                  <a:lnTo>
                    <a:pt x="24531" y="7531"/>
                  </a:lnTo>
                  <a:lnTo>
                    <a:pt x="24536" y="7509"/>
                  </a:lnTo>
                  <a:lnTo>
                    <a:pt x="24547" y="7488"/>
                  </a:lnTo>
                  <a:lnTo>
                    <a:pt x="24562" y="7470"/>
                  </a:lnTo>
                  <a:lnTo>
                    <a:pt x="24574" y="7456"/>
                  </a:lnTo>
                  <a:lnTo>
                    <a:pt x="24581" y="7445"/>
                  </a:lnTo>
                  <a:lnTo>
                    <a:pt x="24585" y="7440"/>
                  </a:lnTo>
                  <a:lnTo>
                    <a:pt x="24594" y="7436"/>
                  </a:lnTo>
                  <a:lnTo>
                    <a:pt x="24603" y="7431"/>
                  </a:lnTo>
                  <a:lnTo>
                    <a:pt x="24608" y="7429"/>
                  </a:lnTo>
                  <a:lnTo>
                    <a:pt x="24615" y="7426"/>
                  </a:lnTo>
                  <a:lnTo>
                    <a:pt x="24632" y="7409"/>
                  </a:lnTo>
                  <a:lnTo>
                    <a:pt x="24637" y="7402"/>
                  </a:lnTo>
                  <a:lnTo>
                    <a:pt x="24653" y="7354"/>
                  </a:lnTo>
                  <a:lnTo>
                    <a:pt x="24670" y="7263"/>
                  </a:lnTo>
                  <a:lnTo>
                    <a:pt x="24675" y="7257"/>
                  </a:lnTo>
                  <a:lnTo>
                    <a:pt x="24682" y="7252"/>
                  </a:lnTo>
                  <a:lnTo>
                    <a:pt x="24685" y="7240"/>
                  </a:lnTo>
                  <a:lnTo>
                    <a:pt x="24685" y="7227"/>
                  </a:lnTo>
                  <a:lnTo>
                    <a:pt x="24682" y="7218"/>
                  </a:lnTo>
                  <a:close/>
                  <a:moveTo>
                    <a:pt x="20892" y="4070"/>
                  </a:moveTo>
                  <a:lnTo>
                    <a:pt x="20892" y="4070"/>
                  </a:lnTo>
                  <a:lnTo>
                    <a:pt x="20885" y="4080"/>
                  </a:lnTo>
                  <a:lnTo>
                    <a:pt x="20877" y="4089"/>
                  </a:lnTo>
                  <a:lnTo>
                    <a:pt x="20872" y="4098"/>
                  </a:lnTo>
                  <a:lnTo>
                    <a:pt x="20872" y="4109"/>
                  </a:lnTo>
                  <a:lnTo>
                    <a:pt x="20874" y="4120"/>
                  </a:lnTo>
                  <a:lnTo>
                    <a:pt x="20879" y="4131"/>
                  </a:lnTo>
                  <a:lnTo>
                    <a:pt x="20887" y="4138"/>
                  </a:lnTo>
                  <a:lnTo>
                    <a:pt x="20906" y="4152"/>
                  </a:lnTo>
                  <a:lnTo>
                    <a:pt x="20910" y="4159"/>
                  </a:lnTo>
                  <a:lnTo>
                    <a:pt x="20912" y="4164"/>
                  </a:lnTo>
                  <a:lnTo>
                    <a:pt x="20924" y="4183"/>
                  </a:lnTo>
                  <a:lnTo>
                    <a:pt x="20926" y="4184"/>
                  </a:lnTo>
                  <a:lnTo>
                    <a:pt x="20934" y="4186"/>
                  </a:lnTo>
                  <a:lnTo>
                    <a:pt x="20937" y="4188"/>
                  </a:lnTo>
                  <a:lnTo>
                    <a:pt x="20939" y="4191"/>
                  </a:lnTo>
                  <a:lnTo>
                    <a:pt x="20940" y="4199"/>
                  </a:lnTo>
                  <a:lnTo>
                    <a:pt x="20941" y="4201"/>
                  </a:lnTo>
                  <a:lnTo>
                    <a:pt x="20948" y="4203"/>
                  </a:lnTo>
                  <a:lnTo>
                    <a:pt x="20959" y="4204"/>
                  </a:lnTo>
                  <a:lnTo>
                    <a:pt x="20966" y="4208"/>
                  </a:lnTo>
                  <a:lnTo>
                    <a:pt x="20986" y="4213"/>
                  </a:lnTo>
                  <a:lnTo>
                    <a:pt x="20988" y="4214"/>
                  </a:lnTo>
                  <a:lnTo>
                    <a:pt x="20988" y="4222"/>
                  </a:lnTo>
                  <a:lnTo>
                    <a:pt x="20968" y="4263"/>
                  </a:lnTo>
                  <a:lnTo>
                    <a:pt x="20966" y="4271"/>
                  </a:lnTo>
                  <a:lnTo>
                    <a:pt x="20969" y="4299"/>
                  </a:lnTo>
                  <a:lnTo>
                    <a:pt x="20975" y="4312"/>
                  </a:lnTo>
                  <a:lnTo>
                    <a:pt x="20976" y="4318"/>
                  </a:lnTo>
                  <a:lnTo>
                    <a:pt x="20980" y="4326"/>
                  </a:lnTo>
                  <a:lnTo>
                    <a:pt x="20988" y="4328"/>
                  </a:lnTo>
                  <a:lnTo>
                    <a:pt x="21030" y="4316"/>
                  </a:lnTo>
                  <a:lnTo>
                    <a:pt x="21065" y="4296"/>
                  </a:lnTo>
                  <a:lnTo>
                    <a:pt x="21076" y="4294"/>
                  </a:lnTo>
                  <a:lnTo>
                    <a:pt x="21082" y="4292"/>
                  </a:lnTo>
                  <a:lnTo>
                    <a:pt x="21085" y="4288"/>
                  </a:lnTo>
                  <a:lnTo>
                    <a:pt x="21088" y="4286"/>
                  </a:lnTo>
                  <a:lnTo>
                    <a:pt x="21096" y="4289"/>
                  </a:lnTo>
                  <a:lnTo>
                    <a:pt x="21100" y="4293"/>
                  </a:lnTo>
                  <a:lnTo>
                    <a:pt x="21104" y="4298"/>
                  </a:lnTo>
                  <a:lnTo>
                    <a:pt x="21108" y="4304"/>
                  </a:lnTo>
                  <a:lnTo>
                    <a:pt x="21110" y="4311"/>
                  </a:lnTo>
                  <a:lnTo>
                    <a:pt x="21106" y="4326"/>
                  </a:lnTo>
                  <a:lnTo>
                    <a:pt x="21106" y="4334"/>
                  </a:lnTo>
                  <a:lnTo>
                    <a:pt x="21112" y="4338"/>
                  </a:lnTo>
                  <a:lnTo>
                    <a:pt x="21119" y="4340"/>
                  </a:lnTo>
                  <a:lnTo>
                    <a:pt x="21122" y="4344"/>
                  </a:lnTo>
                  <a:lnTo>
                    <a:pt x="21123" y="4349"/>
                  </a:lnTo>
                  <a:lnTo>
                    <a:pt x="21125" y="4351"/>
                  </a:lnTo>
                  <a:lnTo>
                    <a:pt x="21132" y="4352"/>
                  </a:lnTo>
                  <a:lnTo>
                    <a:pt x="21148" y="4356"/>
                  </a:lnTo>
                  <a:lnTo>
                    <a:pt x="21154" y="4360"/>
                  </a:lnTo>
                  <a:lnTo>
                    <a:pt x="21168" y="4371"/>
                  </a:lnTo>
                  <a:lnTo>
                    <a:pt x="21171" y="4373"/>
                  </a:lnTo>
                  <a:lnTo>
                    <a:pt x="21178" y="4371"/>
                  </a:lnTo>
                  <a:lnTo>
                    <a:pt x="21192" y="4362"/>
                  </a:lnTo>
                  <a:lnTo>
                    <a:pt x="21201" y="4360"/>
                  </a:lnTo>
                  <a:lnTo>
                    <a:pt x="21209" y="4359"/>
                  </a:lnTo>
                  <a:lnTo>
                    <a:pt x="21215" y="4358"/>
                  </a:lnTo>
                  <a:lnTo>
                    <a:pt x="21221" y="4354"/>
                  </a:lnTo>
                  <a:lnTo>
                    <a:pt x="21250" y="4328"/>
                  </a:lnTo>
                  <a:lnTo>
                    <a:pt x="21258" y="4318"/>
                  </a:lnTo>
                  <a:lnTo>
                    <a:pt x="21260" y="4307"/>
                  </a:lnTo>
                  <a:lnTo>
                    <a:pt x="21264" y="4299"/>
                  </a:lnTo>
                  <a:lnTo>
                    <a:pt x="21264" y="4295"/>
                  </a:lnTo>
                  <a:lnTo>
                    <a:pt x="21258" y="4294"/>
                  </a:lnTo>
                  <a:lnTo>
                    <a:pt x="21254" y="4294"/>
                  </a:lnTo>
                  <a:lnTo>
                    <a:pt x="21252" y="4293"/>
                  </a:lnTo>
                  <a:lnTo>
                    <a:pt x="21252" y="4291"/>
                  </a:lnTo>
                  <a:lnTo>
                    <a:pt x="21252" y="4287"/>
                  </a:lnTo>
                  <a:lnTo>
                    <a:pt x="21249" y="4281"/>
                  </a:lnTo>
                  <a:lnTo>
                    <a:pt x="21240" y="4269"/>
                  </a:lnTo>
                  <a:lnTo>
                    <a:pt x="21238" y="4265"/>
                  </a:lnTo>
                  <a:lnTo>
                    <a:pt x="21232" y="4260"/>
                  </a:lnTo>
                  <a:lnTo>
                    <a:pt x="21204" y="4248"/>
                  </a:lnTo>
                  <a:lnTo>
                    <a:pt x="21194" y="4246"/>
                  </a:lnTo>
                  <a:lnTo>
                    <a:pt x="21153" y="4248"/>
                  </a:lnTo>
                  <a:lnTo>
                    <a:pt x="21143" y="4252"/>
                  </a:lnTo>
                  <a:lnTo>
                    <a:pt x="21137" y="4256"/>
                  </a:lnTo>
                  <a:lnTo>
                    <a:pt x="21130" y="4261"/>
                  </a:lnTo>
                  <a:lnTo>
                    <a:pt x="21122" y="4263"/>
                  </a:lnTo>
                  <a:lnTo>
                    <a:pt x="21114" y="4263"/>
                  </a:lnTo>
                  <a:lnTo>
                    <a:pt x="21106" y="4257"/>
                  </a:lnTo>
                  <a:lnTo>
                    <a:pt x="21104" y="4250"/>
                  </a:lnTo>
                  <a:lnTo>
                    <a:pt x="21105" y="4243"/>
                  </a:lnTo>
                  <a:lnTo>
                    <a:pt x="21105" y="4222"/>
                  </a:lnTo>
                  <a:lnTo>
                    <a:pt x="21102" y="4216"/>
                  </a:lnTo>
                  <a:lnTo>
                    <a:pt x="21094" y="4214"/>
                  </a:lnTo>
                  <a:lnTo>
                    <a:pt x="21086" y="4214"/>
                  </a:lnTo>
                  <a:lnTo>
                    <a:pt x="21080" y="4211"/>
                  </a:lnTo>
                  <a:lnTo>
                    <a:pt x="21076" y="4207"/>
                  </a:lnTo>
                  <a:lnTo>
                    <a:pt x="21074" y="4199"/>
                  </a:lnTo>
                  <a:lnTo>
                    <a:pt x="21076" y="4184"/>
                  </a:lnTo>
                  <a:lnTo>
                    <a:pt x="21083" y="4171"/>
                  </a:lnTo>
                  <a:lnTo>
                    <a:pt x="21121" y="4126"/>
                  </a:lnTo>
                  <a:lnTo>
                    <a:pt x="21128" y="4111"/>
                  </a:lnTo>
                  <a:lnTo>
                    <a:pt x="21125" y="4098"/>
                  </a:lnTo>
                  <a:lnTo>
                    <a:pt x="21114" y="4082"/>
                  </a:lnTo>
                  <a:lnTo>
                    <a:pt x="21110" y="4078"/>
                  </a:lnTo>
                  <a:lnTo>
                    <a:pt x="21105" y="4069"/>
                  </a:lnTo>
                  <a:lnTo>
                    <a:pt x="21102" y="4069"/>
                  </a:lnTo>
                  <a:lnTo>
                    <a:pt x="21095" y="4070"/>
                  </a:lnTo>
                  <a:lnTo>
                    <a:pt x="21092" y="4069"/>
                  </a:lnTo>
                  <a:lnTo>
                    <a:pt x="21089" y="4065"/>
                  </a:lnTo>
                  <a:lnTo>
                    <a:pt x="21086" y="4059"/>
                  </a:lnTo>
                  <a:lnTo>
                    <a:pt x="21084" y="4052"/>
                  </a:lnTo>
                  <a:lnTo>
                    <a:pt x="21083" y="4045"/>
                  </a:lnTo>
                  <a:lnTo>
                    <a:pt x="21079" y="4038"/>
                  </a:lnTo>
                  <a:lnTo>
                    <a:pt x="21064" y="4029"/>
                  </a:lnTo>
                  <a:lnTo>
                    <a:pt x="21061" y="4023"/>
                  </a:lnTo>
                  <a:lnTo>
                    <a:pt x="21058" y="4011"/>
                  </a:lnTo>
                  <a:lnTo>
                    <a:pt x="21050" y="4006"/>
                  </a:lnTo>
                  <a:lnTo>
                    <a:pt x="21028" y="3998"/>
                  </a:lnTo>
                  <a:lnTo>
                    <a:pt x="21027" y="3997"/>
                  </a:lnTo>
                  <a:lnTo>
                    <a:pt x="21026" y="3996"/>
                  </a:lnTo>
                  <a:lnTo>
                    <a:pt x="21025" y="3994"/>
                  </a:lnTo>
                  <a:lnTo>
                    <a:pt x="21023" y="3994"/>
                  </a:lnTo>
                  <a:lnTo>
                    <a:pt x="21018" y="3996"/>
                  </a:lnTo>
                  <a:lnTo>
                    <a:pt x="21014" y="4002"/>
                  </a:lnTo>
                  <a:lnTo>
                    <a:pt x="21013" y="4009"/>
                  </a:lnTo>
                  <a:lnTo>
                    <a:pt x="21012" y="4014"/>
                  </a:lnTo>
                  <a:lnTo>
                    <a:pt x="21010" y="4018"/>
                  </a:lnTo>
                  <a:lnTo>
                    <a:pt x="21004" y="4020"/>
                  </a:lnTo>
                  <a:lnTo>
                    <a:pt x="20998" y="4022"/>
                  </a:lnTo>
                  <a:lnTo>
                    <a:pt x="20994" y="4025"/>
                  </a:lnTo>
                  <a:lnTo>
                    <a:pt x="20990" y="4036"/>
                  </a:lnTo>
                  <a:lnTo>
                    <a:pt x="20987" y="4051"/>
                  </a:lnTo>
                  <a:lnTo>
                    <a:pt x="20982" y="4064"/>
                  </a:lnTo>
                  <a:lnTo>
                    <a:pt x="20972" y="4069"/>
                  </a:lnTo>
                  <a:lnTo>
                    <a:pt x="20965" y="4067"/>
                  </a:lnTo>
                  <a:lnTo>
                    <a:pt x="20959" y="4060"/>
                  </a:lnTo>
                  <a:lnTo>
                    <a:pt x="20955" y="4052"/>
                  </a:lnTo>
                  <a:lnTo>
                    <a:pt x="20953" y="4039"/>
                  </a:lnTo>
                  <a:lnTo>
                    <a:pt x="20950" y="4035"/>
                  </a:lnTo>
                  <a:lnTo>
                    <a:pt x="20946" y="4033"/>
                  </a:lnTo>
                  <a:lnTo>
                    <a:pt x="20941" y="4030"/>
                  </a:lnTo>
                  <a:lnTo>
                    <a:pt x="20931" y="4018"/>
                  </a:lnTo>
                  <a:lnTo>
                    <a:pt x="20925" y="4014"/>
                  </a:lnTo>
                  <a:lnTo>
                    <a:pt x="20917" y="4012"/>
                  </a:lnTo>
                  <a:lnTo>
                    <a:pt x="20910" y="4014"/>
                  </a:lnTo>
                  <a:lnTo>
                    <a:pt x="20897" y="4020"/>
                  </a:lnTo>
                  <a:lnTo>
                    <a:pt x="20888" y="4021"/>
                  </a:lnTo>
                  <a:lnTo>
                    <a:pt x="20896" y="4037"/>
                  </a:lnTo>
                  <a:lnTo>
                    <a:pt x="20897" y="4043"/>
                  </a:lnTo>
                  <a:lnTo>
                    <a:pt x="20897" y="4058"/>
                  </a:lnTo>
                  <a:lnTo>
                    <a:pt x="20892" y="4070"/>
                  </a:lnTo>
                  <a:close/>
                  <a:moveTo>
                    <a:pt x="20761" y="4089"/>
                  </a:moveTo>
                  <a:lnTo>
                    <a:pt x="20761" y="4089"/>
                  </a:lnTo>
                  <a:lnTo>
                    <a:pt x="20765" y="4096"/>
                  </a:lnTo>
                  <a:lnTo>
                    <a:pt x="20768" y="4104"/>
                  </a:lnTo>
                  <a:lnTo>
                    <a:pt x="20768" y="4113"/>
                  </a:lnTo>
                  <a:lnTo>
                    <a:pt x="20764" y="4114"/>
                  </a:lnTo>
                  <a:lnTo>
                    <a:pt x="20756" y="4118"/>
                  </a:lnTo>
                  <a:lnTo>
                    <a:pt x="20754" y="4124"/>
                  </a:lnTo>
                  <a:lnTo>
                    <a:pt x="20764" y="4131"/>
                  </a:lnTo>
                  <a:lnTo>
                    <a:pt x="20762" y="4133"/>
                  </a:lnTo>
                  <a:lnTo>
                    <a:pt x="20761" y="4135"/>
                  </a:lnTo>
                  <a:lnTo>
                    <a:pt x="20759" y="4140"/>
                  </a:lnTo>
                  <a:lnTo>
                    <a:pt x="20800" y="4140"/>
                  </a:lnTo>
                  <a:lnTo>
                    <a:pt x="20812" y="4137"/>
                  </a:lnTo>
                  <a:lnTo>
                    <a:pt x="20820" y="4132"/>
                  </a:lnTo>
                  <a:lnTo>
                    <a:pt x="20835" y="4118"/>
                  </a:lnTo>
                  <a:lnTo>
                    <a:pt x="20838" y="4118"/>
                  </a:lnTo>
                  <a:lnTo>
                    <a:pt x="20843" y="4121"/>
                  </a:lnTo>
                  <a:lnTo>
                    <a:pt x="20846" y="4122"/>
                  </a:lnTo>
                  <a:lnTo>
                    <a:pt x="20849" y="4109"/>
                  </a:lnTo>
                  <a:lnTo>
                    <a:pt x="20856" y="4101"/>
                  </a:lnTo>
                  <a:lnTo>
                    <a:pt x="20857" y="4096"/>
                  </a:lnTo>
                  <a:lnTo>
                    <a:pt x="20853" y="4078"/>
                  </a:lnTo>
                  <a:lnTo>
                    <a:pt x="20853" y="4069"/>
                  </a:lnTo>
                  <a:lnTo>
                    <a:pt x="20864" y="4061"/>
                  </a:lnTo>
                  <a:lnTo>
                    <a:pt x="20865" y="4052"/>
                  </a:lnTo>
                  <a:lnTo>
                    <a:pt x="20863" y="4042"/>
                  </a:lnTo>
                  <a:lnTo>
                    <a:pt x="20859" y="4036"/>
                  </a:lnTo>
                  <a:lnTo>
                    <a:pt x="20854" y="4029"/>
                  </a:lnTo>
                  <a:lnTo>
                    <a:pt x="20848" y="4020"/>
                  </a:lnTo>
                  <a:lnTo>
                    <a:pt x="20846" y="4010"/>
                  </a:lnTo>
                  <a:lnTo>
                    <a:pt x="20850" y="4001"/>
                  </a:lnTo>
                  <a:lnTo>
                    <a:pt x="20855" y="3999"/>
                  </a:lnTo>
                  <a:lnTo>
                    <a:pt x="20866" y="4000"/>
                  </a:lnTo>
                  <a:lnTo>
                    <a:pt x="20870" y="3999"/>
                  </a:lnTo>
                  <a:lnTo>
                    <a:pt x="20873" y="3995"/>
                  </a:lnTo>
                  <a:lnTo>
                    <a:pt x="20875" y="3989"/>
                  </a:lnTo>
                  <a:lnTo>
                    <a:pt x="20876" y="3983"/>
                  </a:lnTo>
                  <a:lnTo>
                    <a:pt x="20873" y="3981"/>
                  </a:lnTo>
                  <a:lnTo>
                    <a:pt x="20854" y="3982"/>
                  </a:lnTo>
                  <a:lnTo>
                    <a:pt x="20848" y="3980"/>
                  </a:lnTo>
                  <a:lnTo>
                    <a:pt x="20844" y="3972"/>
                  </a:lnTo>
                  <a:lnTo>
                    <a:pt x="20840" y="3967"/>
                  </a:lnTo>
                  <a:lnTo>
                    <a:pt x="20835" y="3964"/>
                  </a:lnTo>
                  <a:lnTo>
                    <a:pt x="20831" y="3964"/>
                  </a:lnTo>
                  <a:lnTo>
                    <a:pt x="20826" y="3968"/>
                  </a:lnTo>
                  <a:lnTo>
                    <a:pt x="20822" y="3963"/>
                  </a:lnTo>
                  <a:lnTo>
                    <a:pt x="20815" y="3968"/>
                  </a:lnTo>
                  <a:lnTo>
                    <a:pt x="20797" y="3967"/>
                  </a:lnTo>
                  <a:lnTo>
                    <a:pt x="20788" y="3970"/>
                  </a:lnTo>
                  <a:lnTo>
                    <a:pt x="20783" y="3973"/>
                  </a:lnTo>
                  <a:lnTo>
                    <a:pt x="20766" y="3980"/>
                  </a:lnTo>
                  <a:lnTo>
                    <a:pt x="20762" y="3981"/>
                  </a:lnTo>
                  <a:lnTo>
                    <a:pt x="20755" y="3987"/>
                  </a:lnTo>
                  <a:lnTo>
                    <a:pt x="20757" y="4002"/>
                  </a:lnTo>
                  <a:lnTo>
                    <a:pt x="20763" y="4019"/>
                  </a:lnTo>
                  <a:lnTo>
                    <a:pt x="20764" y="4034"/>
                  </a:lnTo>
                  <a:lnTo>
                    <a:pt x="20762" y="4036"/>
                  </a:lnTo>
                  <a:lnTo>
                    <a:pt x="20759" y="4037"/>
                  </a:lnTo>
                  <a:lnTo>
                    <a:pt x="20756" y="4040"/>
                  </a:lnTo>
                  <a:lnTo>
                    <a:pt x="20755" y="4045"/>
                  </a:lnTo>
                  <a:lnTo>
                    <a:pt x="20755" y="4063"/>
                  </a:lnTo>
                  <a:lnTo>
                    <a:pt x="20750" y="4077"/>
                  </a:lnTo>
                  <a:lnTo>
                    <a:pt x="20750" y="4084"/>
                  </a:lnTo>
                  <a:lnTo>
                    <a:pt x="20757" y="4086"/>
                  </a:lnTo>
                  <a:lnTo>
                    <a:pt x="20761" y="4089"/>
                  </a:lnTo>
                  <a:close/>
                  <a:moveTo>
                    <a:pt x="22458" y="5031"/>
                  </a:moveTo>
                  <a:lnTo>
                    <a:pt x="22458" y="5031"/>
                  </a:lnTo>
                  <a:lnTo>
                    <a:pt x="22473" y="5035"/>
                  </a:lnTo>
                  <a:lnTo>
                    <a:pt x="22501" y="5046"/>
                  </a:lnTo>
                  <a:lnTo>
                    <a:pt x="22505" y="5049"/>
                  </a:lnTo>
                  <a:lnTo>
                    <a:pt x="22516" y="5062"/>
                  </a:lnTo>
                  <a:lnTo>
                    <a:pt x="22521" y="5064"/>
                  </a:lnTo>
                  <a:lnTo>
                    <a:pt x="22530" y="5068"/>
                  </a:lnTo>
                  <a:lnTo>
                    <a:pt x="22542" y="5076"/>
                  </a:lnTo>
                  <a:lnTo>
                    <a:pt x="22561" y="5083"/>
                  </a:lnTo>
                  <a:lnTo>
                    <a:pt x="22570" y="5088"/>
                  </a:lnTo>
                  <a:lnTo>
                    <a:pt x="22575" y="5090"/>
                  </a:lnTo>
                  <a:lnTo>
                    <a:pt x="22603" y="5091"/>
                  </a:lnTo>
                  <a:lnTo>
                    <a:pt x="22632" y="5104"/>
                  </a:lnTo>
                  <a:lnTo>
                    <a:pt x="22666" y="5102"/>
                  </a:lnTo>
                  <a:lnTo>
                    <a:pt x="22680" y="5104"/>
                  </a:lnTo>
                  <a:lnTo>
                    <a:pt x="22696" y="5112"/>
                  </a:lnTo>
                  <a:lnTo>
                    <a:pt x="22694" y="5113"/>
                  </a:lnTo>
                  <a:lnTo>
                    <a:pt x="22687" y="5117"/>
                  </a:lnTo>
                  <a:lnTo>
                    <a:pt x="22692" y="5119"/>
                  </a:lnTo>
                  <a:lnTo>
                    <a:pt x="22697" y="5121"/>
                  </a:lnTo>
                  <a:lnTo>
                    <a:pt x="22701" y="5125"/>
                  </a:lnTo>
                  <a:lnTo>
                    <a:pt x="22705" y="5130"/>
                  </a:lnTo>
                  <a:lnTo>
                    <a:pt x="22723" y="5125"/>
                  </a:lnTo>
                  <a:lnTo>
                    <a:pt x="22768" y="5125"/>
                  </a:lnTo>
                  <a:lnTo>
                    <a:pt x="22789" y="5117"/>
                  </a:lnTo>
                  <a:lnTo>
                    <a:pt x="22795" y="5110"/>
                  </a:lnTo>
                  <a:lnTo>
                    <a:pt x="22802" y="5100"/>
                  </a:lnTo>
                  <a:lnTo>
                    <a:pt x="22809" y="5090"/>
                  </a:lnTo>
                  <a:lnTo>
                    <a:pt x="22818" y="5086"/>
                  </a:lnTo>
                  <a:lnTo>
                    <a:pt x="22823" y="5082"/>
                  </a:lnTo>
                  <a:lnTo>
                    <a:pt x="22835" y="5062"/>
                  </a:lnTo>
                  <a:lnTo>
                    <a:pt x="22842" y="5055"/>
                  </a:lnTo>
                  <a:lnTo>
                    <a:pt x="22844" y="5059"/>
                  </a:lnTo>
                  <a:lnTo>
                    <a:pt x="22845" y="5065"/>
                  </a:lnTo>
                  <a:lnTo>
                    <a:pt x="22847" y="5068"/>
                  </a:lnTo>
                  <a:lnTo>
                    <a:pt x="22845" y="5070"/>
                  </a:lnTo>
                  <a:lnTo>
                    <a:pt x="22843" y="5077"/>
                  </a:lnTo>
                  <a:lnTo>
                    <a:pt x="22843" y="5083"/>
                  </a:lnTo>
                  <a:lnTo>
                    <a:pt x="22849" y="5086"/>
                  </a:lnTo>
                  <a:lnTo>
                    <a:pt x="22855" y="5088"/>
                  </a:lnTo>
                  <a:lnTo>
                    <a:pt x="22860" y="5093"/>
                  </a:lnTo>
                  <a:lnTo>
                    <a:pt x="22865" y="5096"/>
                  </a:lnTo>
                  <a:lnTo>
                    <a:pt x="22871" y="5093"/>
                  </a:lnTo>
                  <a:lnTo>
                    <a:pt x="22876" y="5088"/>
                  </a:lnTo>
                  <a:lnTo>
                    <a:pt x="22878" y="5084"/>
                  </a:lnTo>
                  <a:lnTo>
                    <a:pt x="22881" y="5081"/>
                  </a:lnTo>
                  <a:lnTo>
                    <a:pt x="22886" y="5077"/>
                  </a:lnTo>
                  <a:lnTo>
                    <a:pt x="22894" y="5075"/>
                  </a:lnTo>
                  <a:lnTo>
                    <a:pt x="22901" y="5075"/>
                  </a:lnTo>
                  <a:lnTo>
                    <a:pt x="22906" y="5072"/>
                  </a:lnTo>
                  <a:lnTo>
                    <a:pt x="22904" y="5064"/>
                  </a:lnTo>
                  <a:lnTo>
                    <a:pt x="22846" y="5041"/>
                  </a:lnTo>
                  <a:lnTo>
                    <a:pt x="22853" y="5031"/>
                  </a:lnTo>
                  <a:lnTo>
                    <a:pt x="22873" y="5016"/>
                  </a:lnTo>
                  <a:lnTo>
                    <a:pt x="22880" y="5014"/>
                  </a:lnTo>
                  <a:lnTo>
                    <a:pt x="22886" y="5013"/>
                  </a:lnTo>
                  <a:lnTo>
                    <a:pt x="22890" y="5011"/>
                  </a:lnTo>
                  <a:lnTo>
                    <a:pt x="22892" y="4996"/>
                  </a:lnTo>
                  <a:lnTo>
                    <a:pt x="22895" y="4995"/>
                  </a:lnTo>
                  <a:lnTo>
                    <a:pt x="22900" y="4995"/>
                  </a:lnTo>
                  <a:lnTo>
                    <a:pt x="22907" y="4991"/>
                  </a:lnTo>
                  <a:lnTo>
                    <a:pt x="22908" y="4982"/>
                  </a:lnTo>
                  <a:lnTo>
                    <a:pt x="22902" y="4968"/>
                  </a:lnTo>
                  <a:lnTo>
                    <a:pt x="22894" y="4955"/>
                  </a:lnTo>
                  <a:lnTo>
                    <a:pt x="22886" y="4945"/>
                  </a:lnTo>
                  <a:lnTo>
                    <a:pt x="22851" y="4921"/>
                  </a:lnTo>
                  <a:lnTo>
                    <a:pt x="22854" y="4891"/>
                  </a:lnTo>
                  <a:lnTo>
                    <a:pt x="22852" y="4882"/>
                  </a:lnTo>
                  <a:lnTo>
                    <a:pt x="22845" y="4880"/>
                  </a:lnTo>
                  <a:lnTo>
                    <a:pt x="22838" y="4880"/>
                  </a:lnTo>
                  <a:lnTo>
                    <a:pt x="22831" y="4881"/>
                  </a:lnTo>
                  <a:lnTo>
                    <a:pt x="22810" y="4890"/>
                  </a:lnTo>
                  <a:lnTo>
                    <a:pt x="22797" y="4898"/>
                  </a:lnTo>
                  <a:lnTo>
                    <a:pt x="22784" y="4907"/>
                  </a:lnTo>
                  <a:lnTo>
                    <a:pt x="22773" y="4917"/>
                  </a:lnTo>
                  <a:lnTo>
                    <a:pt x="22766" y="4918"/>
                  </a:lnTo>
                  <a:lnTo>
                    <a:pt x="22727" y="4910"/>
                  </a:lnTo>
                  <a:lnTo>
                    <a:pt x="22712" y="4911"/>
                  </a:lnTo>
                  <a:lnTo>
                    <a:pt x="22685" y="4917"/>
                  </a:lnTo>
                  <a:lnTo>
                    <a:pt x="22657" y="4920"/>
                  </a:lnTo>
                  <a:lnTo>
                    <a:pt x="22643" y="4923"/>
                  </a:lnTo>
                  <a:lnTo>
                    <a:pt x="22631" y="4927"/>
                  </a:lnTo>
                  <a:lnTo>
                    <a:pt x="22597" y="4946"/>
                  </a:lnTo>
                  <a:lnTo>
                    <a:pt x="22584" y="4952"/>
                  </a:lnTo>
                  <a:lnTo>
                    <a:pt x="22562" y="4955"/>
                  </a:lnTo>
                  <a:lnTo>
                    <a:pt x="22556" y="4957"/>
                  </a:lnTo>
                  <a:lnTo>
                    <a:pt x="22546" y="4963"/>
                  </a:lnTo>
                  <a:lnTo>
                    <a:pt x="22544" y="4964"/>
                  </a:lnTo>
                  <a:lnTo>
                    <a:pt x="22544" y="4967"/>
                  </a:lnTo>
                  <a:lnTo>
                    <a:pt x="22543" y="4969"/>
                  </a:lnTo>
                  <a:lnTo>
                    <a:pt x="22541" y="4971"/>
                  </a:lnTo>
                  <a:lnTo>
                    <a:pt x="22459" y="5000"/>
                  </a:lnTo>
                  <a:lnTo>
                    <a:pt x="22439" y="5011"/>
                  </a:lnTo>
                  <a:lnTo>
                    <a:pt x="22451" y="5026"/>
                  </a:lnTo>
                  <a:lnTo>
                    <a:pt x="22458" y="5031"/>
                  </a:lnTo>
                  <a:close/>
                  <a:moveTo>
                    <a:pt x="28377" y="9177"/>
                  </a:moveTo>
                  <a:lnTo>
                    <a:pt x="28377" y="9177"/>
                  </a:lnTo>
                  <a:lnTo>
                    <a:pt x="28351" y="9151"/>
                  </a:lnTo>
                  <a:lnTo>
                    <a:pt x="28341" y="9138"/>
                  </a:lnTo>
                  <a:lnTo>
                    <a:pt x="28337" y="9121"/>
                  </a:lnTo>
                  <a:lnTo>
                    <a:pt x="28337" y="9100"/>
                  </a:lnTo>
                  <a:lnTo>
                    <a:pt x="28334" y="9078"/>
                  </a:lnTo>
                  <a:lnTo>
                    <a:pt x="28325" y="9063"/>
                  </a:lnTo>
                  <a:lnTo>
                    <a:pt x="28304" y="9061"/>
                  </a:lnTo>
                  <a:lnTo>
                    <a:pt x="28267" y="9073"/>
                  </a:lnTo>
                  <a:lnTo>
                    <a:pt x="28242" y="9076"/>
                  </a:lnTo>
                  <a:lnTo>
                    <a:pt x="28233" y="9081"/>
                  </a:lnTo>
                  <a:lnTo>
                    <a:pt x="28228" y="9090"/>
                  </a:lnTo>
                  <a:lnTo>
                    <a:pt x="28226" y="9103"/>
                  </a:lnTo>
                  <a:lnTo>
                    <a:pt x="28221" y="9114"/>
                  </a:lnTo>
                  <a:lnTo>
                    <a:pt x="28210" y="9125"/>
                  </a:lnTo>
                  <a:lnTo>
                    <a:pt x="28161" y="9157"/>
                  </a:lnTo>
                  <a:lnTo>
                    <a:pt x="28154" y="9167"/>
                  </a:lnTo>
                  <a:lnTo>
                    <a:pt x="28151" y="9183"/>
                  </a:lnTo>
                  <a:lnTo>
                    <a:pt x="28157" y="9196"/>
                  </a:lnTo>
                  <a:lnTo>
                    <a:pt x="28173" y="9200"/>
                  </a:lnTo>
                  <a:lnTo>
                    <a:pt x="28204" y="9199"/>
                  </a:lnTo>
                  <a:lnTo>
                    <a:pt x="28219" y="9202"/>
                  </a:lnTo>
                  <a:lnTo>
                    <a:pt x="28249" y="9214"/>
                  </a:lnTo>
                  <a:lnTo>
                    <a:pt x="28375" y="9221"/>
                  </a:lnTo>
                  <a:lnTo>
                    <a:pt x="28385" y="9215"/>
                  </a:lnTo>
                  <a:lnTo>
                    <a:pt x="28385" y="9201"/>
                  </a:lnTo>
                  <a:lnTo>
                    <a:pt x="28381" y="9186"/>
                  </a:lnTo>
                  <a:lnTo>
                    <a:pt x="28377" y="9177"/>
                  </a:lnTo>
                  <a:close/>
                  <a:moveTo>
                    <a:pt x="25750" y="4491"/>
                  </a:moveTo>
                  <a:lnTo>
                    <a:pt x="25750" y="4491"/>
                  </a:lnTo>
                  <a:lnTo>
                    <a:pt x="25761" y="4515"/>
                  </a:lnTo>
                  <a:lnTo>
                    <a:pt x="25768" y="4523"/>
                  </a:lnTo>
                  <a:lnTo>
                    <a:pt x="25778" y="4529"/>
                  </a:lnTo>
                  <a:lnTo>
                    <a:pt x="25787" y="4531"/>
                  </a:lnTo>
                  <a:lnTo>
                    <a:pt x="25808" y="4532"/>
                  </a:lnTo>
                  <a:lnTo>
                    <a:pt x="25819" y="4531"/>
                  </a:lnTo>
                  <a:lnTo>
                    <a:pt x="25828" y="4527"/>
                  </a:lnTo>
                  <a:lnTo>
                    <a:pt x="25851" y="4498"/>
                  </a:lnTo>
                  <a:lnTo>
                    <a:pt x="25851" y="4477"/>
                  </a:lnTo>
                  <a:lnTo>
                    <a:pt x="25852" y="4466"/>
                  </a:lnTo>
                  <a:lnTo>
                    <a:pt x="25856" y="4457"/>
                  </a:lnTo>
                  <a:lnTo>
                    <a:pt x="25843" y="4463"/>
                  </a:lnTo>
                  <a:lnTo>
                    <a:pt x="25832" y="4490"/>
                  </a:lnTo>
                  <a:lnTo>
                    <a:pt x="25820" y="4496"/>
                  </a:lnTo>
                  <a:lnTo>
                    <a:pt x="25810" y="4491"/>
                  </a:lnTo>
                  <a:lnTo>
                    <a:pt x="25813" y="4482"/>
                  </a:lnTo>
                  <a:lnTo>
                    <a:pt x="25825" y="4468"/>
                  </a:lnTo>
                  <a:lnTo>
                    <a:pt x="25825" y="4461"/>
                  </a:lnTo>
                  <a:lnTo>
                    <a:pt x="25828" y="4451"/>
                  </a:lnTo>
                  <a:lnTo>
                    <a:pt x="25828" y="4445"/>
                  </a:lnTo>
                  <a:lnTo>
                    <a:pt x="25827" y="4439"/>
                  </a:lnTo>
                  <a:lnTo>
                    <a:pt x="25821" y="4429"/>
                  </a:lnTo>
                  <a:lnTo>
                    <a:pt x="25820" y="4424"/>
                  </a:lnTo>
                  <a:lnTo>
                    <a:pt x="25816" y="4417"/>
                  </a:lnTo>
                  <a:lnTo>
                    <a:pt x="25807" y="4413"/>
                  </a:lnTo>
                  <a:lnTo>
                    <a:pt x="25778" y="4404"/>
                  </a:lnTo>
                  <a:lnTo>
                    <a:pt x="25768" y="4405"/>
                  </a:lnTo>
                  <a:lnTo>
                    <a:pt x="25759" y="4409"/>
                  </a:lnTo>
                  <a:lnTo>
                    <a:pt x="25749" y="4417"/>
                  </a:lnTo>
                  <a:lnTo>
                    <a:pt x="25747" y="4420"/>
                  </a:lnTo>
                  <a:lnTo>
                    <a:pt x="25744" y="4423"/>
                  </a:lnTo>
                  <a:lnTo>
                    <a:pt x="25740" y="4430"/>
                  </a:lnTo>
                  <a:lnTo>
                    <a:pt x="25739" y="4442"/>
                  </a:lnTo>
                  <a:lnTo>
                    <a:pt x="25738" y="4445"/>
                  </a:lnTo>
                  <a:lnTo>
                    <a:pt x="25727" y="4463"/>
                  </a:lnTo>
                  <a:lnTo>
                    <a:pt x="25736" y="4477"/>
                  </a:lnTo>
                  <a:lnTo>
                    <a:pt x="25750" y="4491"/>
                  </a:lnTo>
                  <a:close/>
                  <a:moveTo>
                    <a:pt x="12353" y="8297"/>
                  </a:moveTo>
                  <a:lnTo>
                    <a:pt x="12353" y="8297"/>
                  </a:lnTo>
                  <a:lnTo>
                    <a:pt x="12363" y="8279"/>
                  </a:lnTo>
                  <a:lnTo>
                    <a:pt x="12353" y="8266"/>
                  </a:lnTo>
                  <a:lnTo>
                    <a:pt x="12337" y="8262"/>
                  </a:lnTo>
                  <a:lnTo>
                    <a:pt x="12320" y="8260"/>
                  </a:lnTo>
                  <a:lnTo>
                    <a:pt x="12307" y="8255"/>
                  </a:lnTo>
                  <a:lnTo>
                    <a:pt x="12295" y="8245"/>
                  </a:lnTo>
                  <a:lnTo>
                    <a:pt x="12283" y="8237"/>
                  </a:lnTo>
                  <a:lnTo>
                    <a:pt x="12271" y="8231"/>
                  </a:lnTo>
                  <a:lnTo>
                    <a:pt x="12257" y="8226"/>
                  </a:lnTo>
                  <a:lnTo>
                    <a:pt x="12228" y="8222"/>
                  </a:lnTo>
                  <a:lnTo>
                    <a:pt x="12146" y="8235"/>
                  </a:lnTo>
                  <a:lnTo>
                    <a:pt x="11674" y="8233"/>
                  </a:lnTo>
                  <a:lnTo>
                    <a:pt x="11619" y="8240"/>
                  </a:lnTo>
                  <a:lnTo>
                    <a:pt x="11595" y="8239"/>
                  </a:lnTo>
                  <a:lnTo>
                    <a:pt x="11576" y="8240"/>
                  </a:lnTo>
                  <a:lnTo>
                    <a:pt x="11549" y="8244"/>
                  </a:lnTo>
                  <a:lnTo>
                    <a:pt x="11529" y="8251"/>
                  </a:lnTo>
                  <a:lnTo>
                    <a:pt x="11530" y="8261"/>
                  </a:lnTo>
                  <a:lnTo>
                    <a:pt x="11497" y="8300"/>
                  </a:lnTo>
                  <a:lnTo>
                    <a:pt x="11478" y="8317"/>
                  </a:lnTo>
                  <a:lnTo>
                    <a:pt x="11459" y="8328"/>
                  </a:lnTo>
                  <a:lnTo>
                    <a:pt x="11446" y="8331"/>
                  </a:lnTo>
                  <a:lnTo>
                    <a:pt x="11437" y="8331"/>
                  </a:lnTo>
                  <a:lnTo>
                    <a:pt x="11433" y="8335"/>
                  </a:lnTo>
                  <a:lnTo>
                    <a:pt x="11432" y="8348"/>
                  </a:lnTo>
                  <a:lnTo>
                    <a:pt x="11433" y="8359"/>
                  </a:lnTo>
                  <a:lnTo>
                    <a:pt x="11438" y="8370"/>
                  </a:lnTo>
                  <a:lnTo>
                    <a:pt x="11443" y="8373"/>
                  </a:lnTo>
                  <a:lnTo>
                    <a:pt x="11450" y="8363"/>
                  </a:lnTo>
                  <a:lnTo>
                    <a:pt x="11454" y="8368"/>
                  </a:lnTo>
                  <a:lnTo>
                    <a:pt x="11449" y="8377"/>
                  </a:lnTo>
                  <a:lnTo>
                    <a:pt x="11448" y="8386"/>
                  </a:lnTo>
                  <a:lnTo>
                    <a:pt x="11450" y="8406"/>
                  </a:lnTo>
                  <a:lnTo>
                    <a:pt x="11454" y="8413"/>
                  </a:lnTo>
                  <a:lnTo>
                    <a:pt x="11464" y="8414"/>
                  </a:lnTo>
                  <a:lnTo>
                    <a:pt x="11487" y="8413"/>
                  </a:lnTo>
                  <a:lnTo>
                    <a:pt x="11513" y="8414"/>
                  </a:lnTo>
                  <a:lnTo>
                    <a:pt x="11713" y="8460"/>
                  </a:lnTo>
                  <a:lnTo>
                    <a:pt x="11725" y="8457"/>
                  </a:lnTo>
                  <a:lnTo>
                    <a:pt x="11727" y="8449"/>
                  </a:lnTo>
                  <a:lnTo>
                    <a:pt x="11718" y="8441"/>
                  </a:lnTo>
                  <a:lnTo>
                    <a:pt x="11706" y="8433"/>
                  </a:lnTo>
                  <a:lnTo>
                    <a:pt x="11698" y="8426"/>
                  </a:lnTo>
                  <a:lnTo>
                    <a:pt x="11702" y="8421"/>
                  </a:lnTo>
                  <a:lnTo>
                    <a:pt x="11701" y="8408"/>
                  </a:lnTo>
                  <a:lnTo>
                    <a:pt x="11705" y="8401"/>
                  </a:lnTo>
                  <a:lnTo>
                    <a:pt x="11710" y="8400"/>
                  </a:lnTo>
                  <a:lnTo>
                    <a:pt x="11725" y="8407"/>
                  </a:lnTo>
                  <a:lnTo>
                    <a:pt x="11733" y="8408"/>
                  </a:lnTo>
                  <a:lnTo>
                    <a:pt x="11733" y="8413"/>
                  </a:lnTo>
                  <a:lnTo>
                    <a:pt x="11725" y="8417"/>
                  </a:lnTo>
                  <a:lnTo>
                    <a:pt x="11725" y="8421"/>
                  </a:lnTo>
                  <a:lnTo>
                    <a:pt x="11730" y="8425"/>
                  </a:lnTo>
                  <a:lnTo>
                    <a:pt x="11733" y="8430"/>
                  </a:lnTo>
                  <a:lnTo>
                    <a:pt x="11738" y="8452"/>
                  </a:lnTo>
                  <a:lnTo>
                    <a:pt x="11751" y="8454"/>
                  </a:lnTo>
                  <a:lnTo>
                    <a:pt x="11782" y="8444"/>
                  </a:lnTo>
                  <a:lnTo>
                    <a:pt x="11793" y="8446"/>
                  </a:lnTo>
                  <a:lnTo>
                    <a:pt x="11805" y="8451"/>
                  </a:lnTo>
                  <a:lnTo>
                    <a:pt x="11904" y="8457"/>
                  </a:lnTo>
                  <a:lnTo>
                    <a:pt x="11946" y="8451"/>
                  </a:lnTo>
                  <a:lnTo>
                    <a:pt x="11959" y="8452"/>
                  </a:lnTo>
                  <a:lnTo>
                    <a:pt x="11964" y="8458"/>
                  </a:lnTo>
                  <a:lnTo>
                    <a:pt x="11975" y="8467"/>
                  </a:lnTo>
                  <a:lnTo>
                    <a:pt x="11986" y="8470"/>
                  </a:lnTo>
                  <a:lnTo>
                    <a:pt x="11990" y="8454"/>
                  </a:lnTo>
                  <a:lnTo>
                    <a:pt x="11988" y="8433"/>
                  </a:lnTo>
                  <a:lnTo>
                    <a:pt x="11990" y="8426"/>
                  </a:lnTo>
                  <a:lnTo>
                    <a:pt x="11996" y="8418"/>
                  </a:lnTo>
                  <a:lnTo>
                    <a:pt x="12000" y="8419"/>
                  </a:lnTo>
                  <a:lnTo>
                    <a:pt x="12003" y="8423"/>
                  </a:lnTo>
                  <a:lnTo>
                    <a:pt x="12003" y="8426"/>
                  </a:lnTo>
                  <a:lnTo>
                    <a:pt x="12003" y="8428"/>
                  </a:lnTo>
                  <a:lnTo>
                    <a:pt x="12007" y="8430"/>
                  </a:lnTo>
                  <a:lnTo>
                    <a:pt x="12011" y="8431"/>
                  </a:lnTo>
                  <a:lnTo>
                    <a:pt x="12012" y="8428"/>
                  </a:lnTo>
                  <a:lnTo>
                    <a:pt x="12012" y="8421"/>
                  </a:lnTo>
                  <a:lnTo>
                    <a:pt x="12012" y="8418"/>
                  </a:lnTo>
                  <a:lnTo>
                    <a:pt x="12014" y="8417"/>
                  </a:lnTo>
                  <a:lnTo>
                    <a:pt x="12016" y="8414"/>
                  </a:lnTo>
                  <a:lnTo>
                    <a:pt x="12020" y="8402"/>
                  </a:lnTo>
                  <a:lnTo>
                    <a:pt x="12024" y="8399"/>
                  </a:lnTo>
                  <a:lnTo>
                    <a:pt x="12061" y="8381"/>
                  </a:lnTo>
                  <a:lnTo>
                    <a:pt x="12061" y="8377"/>
                  </a:lnTo>
                  <a:lnTo>
                    <a:pt x="12074" y="8375"/>
                  </a:lnTo>
                  <a:lnTo>
                    <a:pt x="12137" y="8381"/>
                  </a:lnTo>
                  <a:lnTo>
                    <a:pt x="12174" y="8391"/>
                  </a:lnTo>
                  <a:lnTo>
                    <a:pt x="12195" y="8393"/>
                  </a:lnTo>
                  <a:lnTo>
                    <a:pt x="12210" y="8388"/>
                  </a:lnTo>
                  <a:lnTo>
                    <a:pt x="12212" y="8377"/>
                  </a:lnTo>
                  <a:lnTo>
                    <a:pt x="12204" y="8370"/>
                  </a:lnTo>
                  <a:lnTo>
                    <a:pt x="12192" y="8364"/>
                  </a:lnTo>
                  <a:lnTo>
                    <a:pt x="12186" y="8359"/>
                  </a:lnTo>
                  <a:lnTo>
                    <a:pt x="12185" y="8353"/>
                  </a:lnTo>
                  <a:lnTo>
                    <a:pt x="12187" y="8349"/>
                  </a:lnTo>
                  <a:lnTo>
                    <a:pt x="12191" y="8346"/>
                  </a:lnTo>
                  <a:lnTo>
                    <a:pt x="12196" y="8345"/>
                  </a:lnTo>
                  <a:lnTo>
                    <a:pt x="12202" y="8344"/>
                  </a:lnTo>
                  <a:lnTo>
                    <a:pt x="12203" y="8341"/>
                  </a:lnTo>
                  <a:lnTo>
                    <a:pt x="12203" y="8338"/>
                  </a:lnTo>
                  <a:lnTo>
                    <a:pt x="12206" y="8337"/>
                  </a:lnTo>
                  <a:lnTo>
                    <a:pt x="12245" y="8336"/>
                  </a:lnTo>
                  <a:lnTo>
                    <a:pt x="12251" y="8333"/>
                  </a:lnTo>
                  <a:lnTo>
                    <a:pt x="12265" y="8323"/>
                  </a:lnTo>
                  <a:lnTo>
                    <a:pt x="12324" y="8309"/>
                  </a:lnTo>
                  <a:lnTo>
                    <a:pt x="12353" y="8297"/>
                  </a:lnTo>
                  <a:close/>
                  <a:moveTo>
                    <a:pt x="17536" y="4020"/>
                  </a:moveTo>
                  <a:lnTo>
                    <a:pt x="17536" y="4020"/>
                  </a:lnTo>
                  <a:lnTo>
                    <a:pt x="17519" y="4009"/>
                  </a:lnTo>
                  <a:lnTo>
                    <a:pt x="17516" y="4005"/>
                  </a:lnTo>
                  <a:lnTo>
                    <a:pt x="17512" y="3972"/>
                  </a:lnTo>
                  <a:lnTo>
                    <a:pt x="17500" y="3975"/>
                  </a:lnTo>
                  <a:lnTo>
                    <a:pt x="17493" y="3993"/>
                  </a:lnTo>
                  <a:lnTo>
                    <a:pt x="17489" y="4014"/>
                  </a:lnTo>
                  <a:lnTo>
                    <a:pt x="17489" y="4030"/>
                  </a:lnTo>
                  <a:lnTo>
                    <a:pt x="17496" y="4058"/>
                  </a:lnTo>
                  <a:lnTo>
                    <a:pt x="17505" y="4064"/>
                  </a:lnTo>
                  <a:lnTo>
                    <a:pt x="17508" y="4060"/>
                  </a:lnTo>
                  <a:lnTo>
                    <a:pt x="17508" y="4053"/>
                  </a:lnTo>
                  <a:lnTo>
                    <a:pt x="17512" y="4047"/>
                  </a:lnTo>
                  <a:lnTo>
                    <a:pt x="17520" y="4048"/>
                  </a:lnTo>
                  <a:lnTo>
                    <a:pt x="17525" y="4052"/>
                  </a:lnTo>
                  <a:lnTo>
                    <a:pt x="17531" y="4055"/>
                  </a:lnTo>
                  <a:lnTo>
                    <a:pt x="17540" y="4049"/>
                  </a:lnTo>
                  <a:lnTo>
                    <a:pt x="17544" y="4043"/>
                  </a:lnTo>
                  <a:lnTo>
                    <a:pt x="17543" y="4034"/>
                  </a:lnTo>
                  <a:lnTo>
                    <a:pt x="17540" y="4026"/>
                  </a:lnTo>
                  <a:lnTo>
                    <a:pt x="17536" y="4020"/>
                  </a:lnTo>
                  <a:close/>
                  <a:moveTo>
                    <a:pt x="25652" y="7959"/>
                  </a:moveTo>
                  <a:lnTo>
                    <a:pt x="25652" y="7959"/>
                  </a:lnTo>
                  <a:lnTo>
                    <a:pt x="25639" y="7957"/>
                  </a:lnTo>
                  <a:lnTo>
                    <a:pt x="25627" y="7963"/>
                  </a:lnTo>
                  <a:lnTo>
                    <a:pt x="25618" y="7971"/>
                  </a:lnTo>
                  <a:lnTo>
                    <a:pt x="25613" y="7978"/>
                  </a:lnTo>
                  <a:lnTo>
                    <a:pt x="25615" y="7985"/>
                  </a:lnTo>
                  <a:lnTo>
                    <a:pt x="25621" y="7991"/>
                  </a:lnTo>
                  <a:lnTo>
                    <a:pt x="25626" y="8000"/>
                  </a:lnTo>
                  <a:lnTo>
                    <a:pt x="25629" y="8014"/>
                  </a:lnTo>
                  <a:lnTo>
                    <a:pt x="25634" y="8025"/>
                  </a:lnTo>
                  <a:lnTo>
                    <a:pt x="25646" y="8027"/>
                  </a:lnTo>
                  <a:lnTo>
                    <a:pt x="25655" y="8024"/>
                  </a:lnTo>
                  <a:lnTo>
                    <a:pt x="25658" y="8021"/>
                  </a:lnTo>
                  <a:lnTo>
                    <a:pt x="25664" y="8019"/>
                  </a:lnTo>
                  <a:lnTo>
                    <a:pt x="25672" y="8021"/>
                  </a:lnTo>
                  <a:lnTo>
                    <a:pt x="25682" y="8016"/>
                  </a:lnTo>
                  <a:lnTo>
                    <a:pt x="25685" y="8003"/>
                  </a:lnTo>
                  <a:lnTo>
                    <a:pt x="25682" y="7996"/>
                  </a:lnTo>
                  <a:lnTo>
                    <a:pt x="25680" y="7989"/>
                  </a:lnTo>
                  <a:lnTo>
                    <a:pt x="25675" y="7978"/>
                  </a:lnTo>
                  <a:lnTo>
                    <a:pt x="25665" y="7967"/>
                  </a:lnTo>
                  <a:lnTo>
                    <a:pt x="25652" y="7959"/>
                  </a:lnTo>
                  <a:close/>
                  <a:moveTo>
                    <a:pt x="2755" y="4853"/>
                  </a:moveTo>
                  <a:lnTo>
                    <a:pt x="2755" y="4853"/>
                  </a:lnTo>
                  <a:lnTo>
                    <a:pt x="2758" y="4843"/>
                  </a:lnTo>
                  <a:lnTo>
                    <a:pt x="2754" y="4832"/>
                  </a:lnTo>
                  <a:lnTo>
                    <a:pt x="2748" y="4822"/>
                  </a:lnTo>
                  <a:lnTo>
                    <a:pt x="2740" y="4818"/>
                  </a:lnTo>
                  <a:lnTo>
                    <a:pt x="2729" y="4818"/>
                  </a:lnTo>
                  <a:lnTo>
                    <a:pt x="2720" y="4817"/>
                  </a:lnTo>
                  <a:lnTo>
                    <a:pt x="2714" y="4813"/>
                  </a:lnTo>
                  <a:lnTo>
                    <a:pt x="2711" y="4802"/>
                  </a:lnTo>
                  <a:lnTo>
                    <a:pt x="2711" y="4785"/>
                  </a:lnTo>
                  <a:lnTo>
                    <a:pt x="2710" y="4777"/>
                  </a:lnTo>
                  <a:lnTo>
                    <a:pt x="2705" y="4774"/>
                  </a:lnTo>
                  <a:lnTo>
                    <a:pt x="2700" y="4773"/>
                  </a:lnTo>
                  <a:lnTo>
                    <a:pt x="2694" y="4769"/>
                  </a:lnTo>
                  <a:lnTo>
                    <a:pt x="2672" y="4746"/>
                  </a:lnTo>
                  <a:lnTo>
                    <a:pt x="2662" y="4733"/>
                  </a:lnTo>
                  <a:lnTo>
                    <a:pt x="2658" y="4720"/>
                  </a:lnTo>
                  <a:lnTo>
                    <a:pt x="2662" y="4720"/>
                  </a:lnTo>
                  <a:lnTo>
                    <a:pt x="2679" y="4735"/>
                  </a:lnTo>
                  <a:lnTo>
                    <a:pt x="2685" y="4738"/>
                  </a:lnTo>
                  <a:lnTo>
                    <a:pt x="2684" y="4711"/>
                  </a:lnTo>
                  <a:lnTo>
                    <a:pt x="2671" y="4695"/>
                  </a:lnTo>
                  <a:lnTo>
                    <a:pt x="2653" y="4681"/>
                  </a:lnTo>
                  <a:lnTo>
                    <a:pt x="2640" y="4659"/>
                  </a:lnTo>
                  <a:lnTo>
                    <a:pt x="2634" y="4636"/>
                  </a:lnTo>
                  <a:lnTo>
                    <a:pt x="2628" y="4627"/>
                  </a:lnTo>
                  <a:lnTo>
                    <a:pt x="2616" y="4623"/>
                  </a:lnTo>
                  <a:lnTo>
                    <a:pt x="2612" y="4620"/>
                  </a:lnTo>
                  <a:lnTo>
                    <a:pt x="2615" y="4613"/>
                  </a:lnTo>
                  <a:lnTo>
                    <a:pt x="2620" y="4607"/>
                  </a:lnTo>
                  <a:lnTo>
                    <a:pt x="2623" y="4606"/>
                  </a:lnTo>
                  <a:lnTo>
                    <a:pt x="2622" y="4600"/>
                  </a:lnTo>
                  <a:lnTo>
                    <a:pt x="2620" y="4595"/>
                  </a:lnTo>
                  <a:lnTo>
                    <a:pt x="2608" y="4582"/>
                  </a:lnTo>
                  <a:lnTo>
                    <a:pt x="2604" y="4580"/>
                  </a:lnTo>
                  <a:lnTo>
                    <a:pt x="2601" y="4577"/>
                  </a:lnTo>
                  <a:lnTo>
                    <a:pt x="2601" y="4569"/>
                  </a:lnTo>
                  <a:lnTo>
                    <a:pt x="2599" y="4562"/>
                  </a:lnTo>
                  <a:lnTo>
                    <a:pt x="2595" y="4557"/>
                  </a:lnTo>
                  <a:lnTo>
                    <a:pt x="2585" y="4547"/>
                  </a:lnTo>
                  <a:lnTo>
                    <a:pt x="2579" y="4538"/>
                  </a:lnTo>
                  <a:lnTo>
                    <a:pt x="2571" y="4516"/>
                  </a:lnTo>
                  <a:lnTo>
                    <a:pt x="2565" y="4505"/>
                  </a:lnTo>
                  <a:lnTo>
                    <a:pt x="2557" y="4499"/>
                  </a:lnTo>
                  <a:lnTo>
                    <a:pt x="2547" y="4493"/>
                  </a:lnTo>
                  <a:lnTo>
                    <a:pt x="2538" y="4487"/>
                  </a:lnTo>
                  <a:lnTo>
                    <a:pt x="2534" y="4476"/>
                  </a:lnTo>
                  <a:lnTo>
                    <a:pt x="2532" y="4464"/>
                  </a:lnTo>
                  <a:lnTo>
                    <a:pt x="2528" y="4456"/>
                  </a:lnTo>
                  <a:lnTo>
                    <a:pt x="2522" y="4449"/>
                  </a:lnTo>
                  <a:lnTo>
                    <a:pt x="2517" y="4439"/>
                  </a:lnTo>
                  <a:lnTo>
                    <a:pt x="2524" y="4439"/>
                  </a:lnTo>
                  <a:lnTo>
                    <a:pt x="2529" y="4440"/>
                  </a:lnTo>
                  <a:lnTo>
                    <a:pt x="2534" y="4443"/>
                  </a:lnTo>
                  <a:lnTo>
                    <a:pt x="2539" y="4447"/>
                  </a:lnTo>
                  <a:lnTo>
                    <a:pt x="2543" y="4435"/>
                  </a:lnTo>
                  <a:lnTo>
                    <a:pt x="2538" y="4419"/>
                  </a:lnTo>
                  <a:lnTo>
                    <a:pt x="2525" y="4406"/>
                  </a:lnTo>
                  <a:lnTo>
                    <a:pt x="2508" y="4403"/>
                  </a:lnTo>
                  <a:lnTo>
                    <a:pt x="2512" y="4391"/>
                  </a:lnTo>
                  <a:lnTo>
                    <a:pt x="2502" y="4389"/>
                  </a:lnTo>
                  <a:lnTo>
                    <a:pt x="2475" y="4395"/>
                  </a:lnTo>
                  <a:lnTo>
                    <a:pt x="2466" y="4398"/>
                  </a:lnTo>
                  <a:lnTo>
                    <a:pt x="2451" y="4413"/>
                  </a:lnTo>
                  <a:lnTo>
                    <a:pt x="2441" y="4417"/>
                  </a:lnTo>
                  <a:lnTo>
                    <a:pt x="2429" y="4417"/>
                  </a:lnTo>
                  <a:lnTo>
                    <a:pt x="2408" y="4410"/>
                  </a:lnTo>
                  <a:lnTo>
                    <a:pt x="2399" y="4408"/>
                  </a:lnTo>
                  <a:lnTo>
                    <a:pt x="2387" y="4409"/>
                  </a:lnTo>
                  <a:lnTo>
                    <a:pt x="2374" y="4411"/>
                  </a:lnTo>
                  <a:lnTo>
                    <a:pt x="2363" y="4416"/>
                  </a:lnTo>
                  <a:lnTo>
                    <a:pt x="2357" y="4421"/>
                  </a:lnTo>
                  <a:lnTo>
                    <a:pt x="2353" y="4433"/>
                  </a:lnTo>
                  <a:lnTo>
                    <a:pt x="2351" y="4448"/>
                  </a:lnTo>
                  <a:lnTo>
                    <a:pt x="2352" y="4476"/>
                  </a:lnTo>
                  <a:lnTo>
                    <a:pt x="2351" y="4491"/>
                  </a:lnTo>
                  <a:lnTo>
                    <a:pt x="2347" y="4505"/>
                  </a:lnTo>
                  <a:lnTo>
                    <a:pt x="2335" y="4531"/>
                  </a:lnTo>
                  <a:lnTo>
                    <a:pt x="2318" y="4558"/>
                  </a:lnTo>
                  <a:lnTo>
                    <a:pt x="2315" y="4572"/>
                  </a:lnTo>
                  <a:lnTo>
                    <a:pt x="2324" y="4586"/>
                  </a:lnTo>
                  <a:lnTo>
                    <a:pt x="2328" y="4592"/>
                  </a:lnTo>
                  <a:lnTo>
                    <a:pt x="2339" y="4615"/>
                  </a:lnTo>
                  <a:lnTo>
                    <a:pt x="2340" y="4618"/>
                  </a:lnTo>
                  <a:lnTo>
                    <a:pt x="2339" y="4625"/>
                  </a:lnTo>
                  <a:lnTo>
                    <a:pt x="2339" y="4628"/>
                  </a:lnTo>
                  <a:lnTo>
                    <a:pt x="2342" y="4631"/>
                  </a:lnTo>
                  <a:lnTo>
                    <a:pt x="2352" y="4637"/>
                  </a:lnTo>
                  <a:lnTo>
                    <a:pt x="2456" y="4785"/>
                  </a:lnTo>
                  <a:lnTo>
                    <a:pt x="2468" y="4811"/>
                  </a:lnTo>
                  <a:lnTo>
                    <a:pt x="2463" y="4835"/>
                  </a:lnTo>
                  <a:lnTo>
                    <a:pt x="2466" y="4838"/>
                  </a:lnTo>
                  <a:lnTo>
                    <a:pt x="2473" y="4842"/>
                  </a:lnTo>
                  <a:lnTo>
                    <a:pt x="2477" y="4844"/>
                  </a:lnTo>
                  <a:lnTo>
                    <a:pt x="2503" y="4881"/>
                  </a:lnTo>
                  <a:lnTo>
                    <a:pt x="2512" y="4887"/>
                  </a:lnTo>
                  <a:lnTo>
                    <a:pt x="2552" y="4903"/>
                  </a:lnTo>
                  <a:lnTo>
                    <a:pt x="2569" y="4920"/>
                  </a:lnTo>
                  <a:lnTo>
                    <a:pt x="2643" y="4958"/>
                  </a:lnTo>
                  <a:lnTo>
                    <a:pt x="2655" y="4960"/>
                  </a:lnTo>
                  <a:lnTo>
                    <a:pt x="2665" y="4956"/>
                  </a:lnTo>
                  <a:lnTo>
                    <a:pt x="2674" y="4950"/>
                  </a:lnTo>
                  <a:lnTo>
                    <a:pt x="2684" y="4945"/>
                  </a:lnTo>
                  <a:lnTo>
                    <a:pt x="2696" y="4942"/>
                  </a:lnTo>
                  <a:lnTo>
                    <a:pt x="2713" y="4940"/>
                  </a:lnTo>
                  <a:lnTo>
                    <a:pt x="2727" y="4944"/>
                  </a:lnTo>
                  <a:lnTo>
                    <a:pt x="2736" y="4945"/>
                  </a:lnTo>
                  <a:lnTo>
                    <a:pt x="2743" y="4941"/>
                  </a:lnTo>
                  <a:lnTo>
                    <a:pt x="2743" y="4931"/>
                  </a:lnTo>
                  <a:lnTo>
                    <a:pt x="2737" y="4905"/>
                  </a:lnTo>
                  <a:lnTo>
                    <a:pt x="2714" y="4855"/>
                  </a:lnTo>
                  <a:lnTo>
                    <a:pt x="2707" y="4848"/>
                  </a:lnTo>
                  <a:lnTo>
                    <a:pt x="2713" y="4847"/>
                  </a:lnTo>
                  <a:lnTo>
                    <a:pt x="2716" y="4846"/>
                  </a:lnTo>
                  <a:lnTo>
                    <a:pt x="2725" y="4840"/>
                  </a:lnTo>
                  <a:lnTo>
                    <a:pt x="2742" y="4865"/>
                  </a:lnTo>
                  <a:lnTo>
                    <a:pt x="2747" y="4875"/>
                  </a:lnTo>
                  <a:lnTo>
                    <a:pt x="2755" y="4919"/>
                  </a:lnTo>
                  <a:lnTo>
                    <a:pt x="2767" y="4907"/>
                  </a:lnTo>
                  <a:lnTo>
                    <a:pt x="2768" y="4886"/>
                  </a:lnTo>
                  <a:lnTo>
                    <a:pt x="2763" y="4865"/>
                  </a:lnTo>
                  <a:lnTo>
                    <a:pt x="2755" y="4853"/>
                  </a:lnTo>
                  <a:close/>
                  <a:moveTo>
                    <a:pt x="1881" y="3157"/>
                  </a:moveTo>
                  <a:lnTo>
                    <a:pt x="1881" y="3157"/>
                  </a:lnTo>
                  <a:lnTo>
                    <a:pt x="1870" y="3132"/>
                  </a:lnTo>
                  <a:lnTo>
                    <a:pt x="1860" y="3123"/>
                  </a:lnTo>
                  <a:lnTo>
                    <a:pt x="1849" y="3120"/>
                  </a:lnTo>
                  <a:lnTo>
                    <a:pt x="1836" y="3118"/>
                  </a:lnTo>
                  <a:lnTo>
                    <a:pt x="1826" y="3115"/>
                  </a:lnTo>
                  <a:lnTo>
                    <a:pt x="1821" y="3107"/>
                  </a:lnTo>
                  <a:lnTo>
                    <a:pt x="1819" y="3098"/>
                  </a:lnTo>
                  <a:lnTo>
                    <a:pt x="1814" y="3090"/>
                  </a:lnTo>
                  <a:lnTo>
                    <a:pt x="1803" y="3074"/>
                  </a:lnTo>
                  <a:lnTo>
                    <a:pt x="1797" y="3068"/>
                  </a:lnTo>
                  <a:lnTo>
                    <a:pt x="1787" y="3061"/>
                  </a:lnTo>
                  <a:lnTo>
                    <a:pt x="1774" y="3055"/>
                  </a:lnTo>
                  <a:lnTo>
                    <a:pt x="1746" y="3049"/>
                  </a:lnTo>
                  <a:lnTo>
                    <a:pt x="1733" y="3041"/>
                  </a:lnTo>
                  <a:lnTo>
                    <a:pt x="1683" y="2980"/>
                  </a:lnTo>
                  <a:lnTo>
                    <a:pt x="1676" y="2953"/>
                  </a:lnTo>
                  <a:lnTo>
                    <a:pt x="1668" y="2942"/>
                  </a:lnTo>
                  <a:lnTo>
                    <a:pt x="1634" y="2909"/>
                  </a:lnTo>
                  <a:lnTo>
                    <a:pt x="1630" y="2903"/>
                  </a:lnTo>
                  <a:lnTo>
                    <a:pt x="1626" y="2889"/>
                  </a:lnTo>
                  <a:lnTo>
                    <a:pt x="1624" y="2885"/>
                  </a:lnTo>
                  <a:lnTo>
                    <a:pt x="1619" y="2883"/>
                  </a:lnTo>
                  <a:lnTo>
                    <a:pt x="1604" y="2867"/>
                  </a:lnTo>
                  <a:lnTo>
                    <a:pt x="1602" y="2865"/>
                  </a:lnTo>
                  <a:lnTo>
                    <a:pt x="1600" y="2856"/>
                  </a:lnTo>
                  <a:lnTo>
                    <a:pt x="1599" y="2854"/>
                  </a:lnTo>
                  <a:lnTo>
                    <a:pt x="1596" y="2854"/>
                  </a:lnTo>
                  <a:lnTo>
                    <a:pt x="1589" y="2854"/>
                  </a:lnTo>
                  <a:lnTo>
                    <a:pt x="1582" y="2853"/>
                  </a:lnTo>
                  <a:lnTo>
                    <a:pt x="1574" y="2854"/>
                  </a:lnTo>
                  <a:lnTo>
                    <a:pt x="1570" y="2852"/>
                  </a:lnTo>
                  <a:lnTo>
                    <a:pt x="1568" y="2849"/>
                  </a:lnTo>
                  <a:lnTo>
                    <a:pt x="1568" y="2842"/>
                  </a:lnTo>
                  <a:lnTo>
                    <a:pt x="1559" y="2829"/>
                  </a:lnTo>
                  <a:lnTo>
                    <a:pt x="1554" y="2827"/>
                  </a:lnTo>
                  <a:lnTo>
                    <a:pt x="1548" y="2830"/>
                  </a:lnTo>
                  <a:lnTo>
                    <a:pt x="1538" y="2833"/>
                  </a:lnTo>
                  <a:lnTo>
                    <a:pt x="1527" y="2827"/>
                  </a:lnTo>
                  <a:lnTo>
                    <a:pt x="1511" y="2810"/>
                  </a:lnTo>
                  <a:lnTo>
                    <a:pt x="1502" y="2815"/>
                  </a:lnTo>
                  <a:lnTo>
                    <a:pt x="1499" y="2821"/>
                  </a:lnTo>
                  <a:lnTo>
                    <a:pt x="1501" y="2839"/>
                  </a:lnTo>
                  <a:lnTo>
                    <a:pt x="1499" y="2848"/>
                  </a:lnTo>
                  <a:lnTo>
                    <a:pt x="1492" y="2856"/>
                  </a:lnTo>
                  <a:lnTo>
                    <a:pt x="1464" y="2880"/>
                  </a:lnTo>
                  <a:lnTo>
                    <a:pt x="1451" y="2888"/>
                  </a:lnTo>
                  <a:lnTo>
                    <a:pt x="1437" y="2893"/>
                  </a:lnTo>
                  <a:lnTo>
                    <a:pt x="1418" y="2894"/>
                  </a:lnTo>
                  <a:lnTo>
                    <a:pt x="1402" y="2893"/>
                  </a:lnTo>
                  <a:lnTo>
                    <a:pt x="1394" y="2893"/>
                  </a:lnTo>
                  <a:lnTo>
                    <a:pt x="1391" y="2896"/>
                  </a:lnTo>
                  <a:lnTo>
                    <a:pt x="1389" y="2892"/>
                  </a:lnTo>
                  <a:lnTo>
                    <a:pt x="1382" y="2887"/>
                  </a:lnTo>
                  <a:lnTo>
                    <a:pt x="1375" y="2883"/>
                  </a:lnTo>
                  <a:lnTo>
                    <a:pt x="1369" y="2880"/>
                  </a:lnTo>
                  <a:lnTo>
                    <a:pt x="1354" y="2880"/>
                  </a:lnTo>
                  <a:lnTo>
                    <a:pt x="1337" y="2884"/>
                  </a:lnTo>
                  <a:lnTo>
                    <a:pt x="1326" y="2893"/>
                  </a:lnTo>
                  <a:lnTo>
                    <a:pt x="1329" y="2907"/>
                  </a:lnTo>
                  <a:lnTo>
                    <a:pt x="1338" y="2900"/>
                  </a:lnTo>
                  <a:lnTo>
                    <a:pt x="1338" y="2898"/>
                  </a:lnTo>
                  <a:lnTo>
                    <a:pt x="1354" y="2905"/>
                  </a:lnTo>
                  <a:lnTo>
                    <a:pt x="1368" y="2914"/>
                  </a:lnTo>
                  <a:lnTo>
                    <a:pt x="1394" y="2940"/>
                  </a:lnTo>
                  <a:lnTo>
                    <a:pt x="1398" y="2947"/>
                  </a:lnTo>
                  <a:lnTo>
                    <a:pt x="1405" y="2962"/>
                  </a:lnTo>
                  <a:lnTo>
                    <a:pt x="1408" y="2969"/>
                  </a:lnTo>
                  <a:lnTo>
                    <a:pt x="1415" y="2975"/>
                  </a:lnTo>
                  <a:lnTo>
                    <a:pt x="1422" y="2977"/>
                  </a:lnTo>
                  <a:lnTo>
                    <a:pt x="1429" y="2979"/>
                  </a:lnTo>
                  <a:lnTo>
                    <a:pt x="1435" y="2982"/>
                  </a:lnTo>
                  <a:lnTo>
                    <a:pt x="1440" y="2985"/>
                  </a:lnTo>
                  <a:lnTo>
                    <a:pt x="1444" y="2989"/>
                  </a:lnTo>
                  <a:lnTo>
                    <a:pt x="1447" y="2994"/>
                  </a:lnTo>
                  <a:lnTo>
                    <a:pt x="1449" y="3001"/>
                  </a:lnTo>
                  <a:lnTo>
                    <a:pt x="1451" y="3009"/>
                  </a:lnTo>
                  <a:lnTo>
                    <a:pt x="1460" y="3017"/>
                  </a:lnTo>
                  <a:lnTo>
                    <a:pt x="1465" y="3032"/>
                  </a:lnTo>
                  <a:lnTo>
                    <a:pt x="1471" y="3038"/>
                  </a:lnTo>
                  <a:lnTo>
                    <a:pt x="1478" y="3042"/>
                  </a:lnTo>
                  <a:lnTo>
                    <a:pt x="1484" y="3048"/>
                  </a:lnTo>
                  <a:lnTo>
                    <a:pt x="1487" y="3053"/>
                  </a:lnTo>
                  <a:lnTo>
                    <a:pt x="1493" y="3070"/>
                  </a:lnTo>
                  <a:lnTo>
                    <a:pt x="1525" y="3122"/>
                  </a:lnTo>
                  <a:lnTo>
                    <a:pt x="1535" y="3148"/>
                  </a:lnTo>
                  <a:lnTo>
                    <a:pt x="1537" y="3175"/>
                  </a:lnTo>
                  <a:lnTo>
                    <a:pt x="1536" y="3191"/>
                  </a:lnTo>
                  <a:lnTo>
                    <a:pt x="1540" y="3196"/>
                  </a:lnTo>
                  <a:lnTo>
                    <a:pt x="1566" y="3193"/>
                  </a:lnTo>
                  <a:lnTo>
                    <a:pt x="1580" y="3194"/>
                  </a:lnTo>
                  <a:lnTo>
                    <a:pt x="1595" y="3197"/>
                  </a:lnTo>
                  <a:lnTo>
                    <a:pt x="1603" y="3203"/>
                  </a:lnTo>
                  <a:lnTo>
                    <a:pt x="1599" y="3215"/>
                  </a:lnTo>
                  <a:lnTo>
                    <a:pt x="1656" y="3249"/>
                  </a:lnTo>
                  <a:lnTo>
                    <a:pt x="1682" y="3274"/>
                  </a:lnTo>
                  <a:lnTo>
                    <a:pt x="1692" y="3301"/>
                  </a:lnTo>
                  <a:lnTo>
                    <a:pt x="1694" y="3308"/>
                  </a:lnTo>
                  <a:lnTo>
                    <a:pt x="1703" y="3330"/>
                  </a:lnTo>
                  <a:lnTo>
                    <a:pt x="1708" y="3336"/>
                  </a:lnTo>
                  <a:lnTo>
                    <a:pt x="1711" y="3343"/>
                  </a:lnTo>
                  <a:lnTo>
                    <a:pt x="1710" y="3361"/>
                  </a:lnTo>
                  <a:lnTo>
                    <a:pt x="1710" y="3369"/>
                  </a:lnTo>
                  <a:lnTo>
                    <a:pt x="1717" y="3379"/>
                  </a:lnTo>
                  <a:lnTo>
                    <a:pt x="1727" y="3390"/>
                  </a:lnTo>
                  <a:lnTo>
                    <a:pt x="1731" y="3402"/>
                  </a:lnTo>
                  <a:lnTo>
                    <a:pt x="1724" y="3418"/>
                  </a:lnTo>
                  <a:lnTo>
                    <a:pt x="1727" y="3420"/>
                  </a:lnTo>
                  <a:lnTo>
                    <a:pt x="1731" y="3423"/>
                  </a:lnTo>
                  <a:lnTo>
                    <a:pt x="1735" y="3426"/>
                  </a:lnTo>
                  <a:lnTo>
                    <a:pt x="1740" y="3435"/>
                  </a:lnTo>
                  <a:lnTo>
                    <a:pt x="1747" y="3434"/>
                  </a:lnTo>
                  <a:lnTo>
                    <a:pt x="1754" y="3429"/>
                  </a:lnTo>
                  <a:lnTo>
                    <a:pt x="1754" y="3426"/>
                  </a:lnTo>
                  <a:lnTo>
                    <a:pt x="1771" y="3437"/>
                  </a:lnTo>
                  <a:lnTo>
                    <a:pt x="1779" y="3438"/>
                  </a:lnTo>
                  <a:lnTo>
                    <a:pt x="1785" y="3426"/>
                  </a:lnTo>
                  <a:lnTo>
                    <a:pt x="1802" y="3439"/>
                  </a:lnTo>
                  <a:lnTo>
                    <a:pt x="1808" y="3443"/>
                  </a:lnTo>
                  <a:lnTo>
                    <a:pt x="1814" y="3444"/>
                  </a:lnTo>
                  <a:lnTo>
                    <a:pt x="1819" y="3441"/>
                  </a:lnTo>
                  <a:lnTo>
                    <a:pt x="1850" y="3403"/>
                  </a:lnTo>
                  <a:lnTo>
                    <a:pt x="1856" y="3390"/>
                  </a:lnTo>
                  <a:lnTo>
                    <a:pt x="1857" y="3341"/>
                  </a:lnTo>
                  <a:lnTo>
                    <a:pt x="1862" y="3303"/>
                  </a:lnTo>
                  <a:lnTo>
                    <a:pt x="1868" y="3288"/>
                  </a:lnTo>
                  <a:lnTo>
                    <a:pt x="1869" y="3279"/>
                  </a:lnTo>
                  <a:lnTo>
                    <a:pt x="1866" y="3240"/>
                  </a:lnTo>
                  <a:lnTo>
                    <a:pt x="1868" y="3221"/>
                  </a:lnTo>
                  <a:lnTo>
                    <a:pt x="1878" y="3202"/>
                  </a:lnTo>
                  <a:lnTo>
                    <a:pt x="1878" y="3207"/>
                  </a:lnTo>
                  <a:lnTo>
                    <a:pt x="1889" y="3183"/>
                  </a:lnTo>
                  <a:lnTo>
                    <a:pt x="1892" y="3169"/>
                  </a:lnTo>
                  <a:lnTo>
                    <a:pt x="1885" y="3163"/>
                  </a:lnTo>
                  <a:lnTo>
                    <a:pt x="1881" y="3157"/>
                  </a:lnTo>
                  <a:close/>
                  <a:moveTo>
                    <a:pt x="6553" y="5139"/>
                  </a:moveTo>
                  <a:lnTo>
                    <a:pt x="6553" y="5139"/>
                  </a:lnTo>
                  <a:lnTo>
                    <a:pt x="6562" y="5135"/>
                  </a:lnTo>
                  <a:lnTo>
                    <a:pt x="6573" y="5132"/>
                  </a:lnTo>
                  <a:lnTo>
                    <a:pt x="6595" y="5130"/>
                  </a:lnTo>
                  <a:lnTo>
                    <a:pt x="6606" y="5132"/>
                  </a:lnTo>
                  <a:lnTo>
                    <a:pt x="6631" y="5144"/>
                  </a:lnTo>
                  <a:lnTo>
                    <a:pt x="6633" y="5148"/>
                  </a:lnTo>
                  <a:lnTo>
                    <a:pt x="6647" y="5168"/>
                  </a:lnTo>
                  <a:lnTo>
                    <a:pt x="6651" y="5172"/>
                  </a:lnTo>
                  <a:lnTo>
                    <a:pt x="6656" y="5174"/>
                  </a:lnTo>
                  <a:lnTo>
                    <a:pt x="6689" y="5165"/>
                  </a:lnTo>
                  <a:lnTo>
                    <a:pt x="6731" y="5165"/>
                  </a:lnTo>
                  <a:lnTo>
                    <a:pt x="6743" y="5167"/>
                  </a:lnTo>
                  <a:lnTo>
                    <a:pt x="6749" y="5166"/>
                  </a:lnTo>
                  <a:lnTo>
                    <a:pt x="6762" y="5157"/>
                  </a:lnTo>
                  <a:lnTo>
                    <a:pt x="6775" y="5151"/>
                  </a:lnTo>
                  <a:lnTo>
                    <a:pt x="6809" y="5140"/>
                  </a:lnTo>
                  <a:lnTo>
                    <a:pt x="6824" y="5130"/>
                  </a:lnTo>
                  <a:lnTo>
                    <a:pt x="6831" y="5137"/>
                  </a:lnTo>
                  <a:lnTo>
                    <a:pt x="6842" y="5154"/>
                  </a:lnTo>
                  <a:lnTo>
                    <a:pt x="6850" y="5161"/>
                  </a:lnTo>
                  <a:lnTo>
                    <a:pt x="6856" y="5163"/>
                  </a:lnTo>
                  <a:lnTo>
                    <a:pt x="6877" y="5165"/>
                  </a:lnTo>
                  <a:lnTo>
                    <a:pt x="6879" y="5165"/>
                  </a:lnTo>
                  <a:lnTo>
                    <a:pt x="6886" y="5162"/>
                  </a:lnTo>
                  <a:lnTo>
                    <a:pt x="6891" y="5161"/>
                  </a:lnTo>
                  <a:lnTo>
                    <a:pt x="6893" y="5163"/>
                  </a:lnTo>
                  <a:lnTo>
                    <a:pt x="6900" y="5168"/>
                  </a:lnTo>
                  <a:lnTo>
                    <a:pt x="6903" y="5170"/>
                  </a:lnTo>
                  <a:lnTo>
                    <a:pt x="6941" y="5175"/>
                  </a:lnTo>
                  <a:lnTo>
                    <a:pt x="6952" y="5179"/>
                  </a:lnTo>
                  <a:lnTo>
                    <a:pt x="6962" y="5184"/>
                  </a:lnTo>
                  <a:lnTo>
                    <a:pt x="6969" y="5190"/>
                  </a:lnTo>
                  <a:lnTo>
                    <a:pt x="6972" y="5198"/>
                  </a:lnTo>
                  <a:lnTo>
                    <a:pt x="6974" y="5217"/>
                  </a:lnTo>
                  <a:lnTo>
                    <a:pt x="6974" y="5238"/>
                  </a:lnTo>
                  <a:lnTo>
                    <a:pt x="6975" y="5245"/>
                  </a:lnTo>
                  <a:lnTo>
                    <a:pt x="6982" y="5258"/>
                  </a:lnTo>
                  <a:lnTo>
                    <a:pt x="6984" y="5269"/>
                  </a:lnTo>
                  <a:lnTo>
                    <a:pt x="6990" y="5279"/>
                  </a:lnTo>
                  <a:lnTo>
                    <a:pt x="6992" y="5285"/>
                  </a:lnTo>
                  <a:lnTo>
                    <a:pt x="6992" y="5292"/>
                  </a:lnTo>
                  <a:lnTo>
                    <a:pt x="6987" y="5311"/>
                  </a:lnTo>
                  <a:lnTo>
                    <a:pt x="6993" y="5341"/>
                  </a:lnTo>
                  <a:lnTo>
                    <a:pt x="7013" y="5357"/>
                  </a:lnTo>
                  <a:lnTo>
                    <a:pt x="7038" y="5368"/>
                  </a:lnTo>
                  <a:lnTo>
                    <a:pt x="7058" y="5381"/>
                  </a:lnTo>
                  <a:lnTo>
                    <a:pt x="7068" y="5408"/>
                  </a:lnTo>
                  <a:lnTo>
                    <a:pt x="7061" y="5436"/>
                  </a:lnTo>
                  <a:lnTo>
                    <a:pt x="7048" y="5464"/>
                  </a:lnTo>
                  <a:lnTo>
                    <a:pt x="7041" y="5491"/>
                  </a:lnTo>
                  <a:lnTo>
                    <a:pt x="7045" y="5521"/>
                  </a:lnTo>
                  <a:lnTo>
                    <a:pt x="7054" y="5548"/>
                  </a:lnTo>
                  <a:lnTo>
                    <a:pt x="7095" y="5615"/>
                  </a:lnTo>
                  <a:lnTo>
                    <a:pt x="7106" y="5621"/>
                  </a:lnTo>
                  <a:lnTo>
                    <a:pt x="7152" y="5625"/>
                  </a:lnTo>
                  <a:lnTo>
                    <a:pt x="7165" y="5628"/>
                  </a:lnTo>
                  <a:lnTo>
                    <a:pt x="7300" y="5674"/>
                  </a:lnTo>
                  <a:lnTo>
                    <a:pt x="7331" y="5705"/>
                  </a:lnTo>
                  <a:lnTo>
                    <a:pt x="7343" y="5709"/>
                  </a:lnTo>
                  <a:lnTo>
                    <a:pt x="7374" y="5708"/>
                  </a:lnTo>
                  <a:lnTo>
                    <a:pt x="7386" y="5711"/>
                  </a:lnTo>
                  <a:lnTo>
                    <a:pt x="7393" y="5718"/>
                  </a:lnTo>
                  <a:lnTo>
                    <a:pt x="7401" y="5733"/>
                  </a:lnTo>
                  <a:lnTo>
                    <a:pt x="7406" y="5740"/>
                  </a:lnTo>
                  <a:lnTo>
                    <a:pt x="7420" y="5750"/>
                  </a:lnTo>
                  <a:lnTo>
                    <a:pt x="7427" y="5755"/>
                  </a:lnTo>
                  <a:lnTo>
                    <a:pt x="7430" y="5762"/>
                  </a:lnTo>
                  <a:lnTo>
                    <a:pt x="7433" y="5777"/>
                  </a:lnTo>
                  <a:lnTo>
                    <a:pt x="7439" y="5791"/>
                  </a:lnTo>
                  <a:lnTo>
                    <a:pt x="7448" y="5798"/>
                  </a:lnTo>
                  <a:lnTo>
                    <a:pt x="7462" y="5791"/>
                  </a:lnTo>
                  <a:lnTo>
                    <a:pt x="7464" y="5793"/>
                  </a:lnTo>
                  <a:lnTo>
                    <a:pt x="7471" y="5796"/>
                  </a:lnTo>
                  <a:lnTo>
                    <a:pt x="7475" y="5780"/>
                  </a:lnTo>
                  <a:lnTo>
                    <a:pt x="7493" y="5776"/>
                  </a:lnTo>
                  <a:lnTo>
                    <a:pt x="7528" y="5782"/>
                  </a:lnTo>
                  <a:lnTo>
                    <a:pt x="7532" y="5785"/>
                  </a:lnTo>
                  <a:lnTo>
                    <a:pt x="7535" y="5790"/>
                  </a:lnTo>
                  <a:lnTo>
                    <a:pt x="7538" y="5792"/>
                  </a:lnTo>
                  <a:lnTo>
                    <a:pt x="7549" y="5786"/>
                  </a:lnTo>
                  <a:lnTo>
                    <a:pt x="7553" y="5787"/>
                  </a:lnTo>
                  <a:lnTo>
                    <a:pt x="7557" y="5789"/>
                  </a:lnTo>
                  <a:lnTo>
                    <a:pt x="7562" y="5791"/>
                  </a:lnTo>
                  <a:lnTo>
                    <a:pt x="7570" y="5788"/>
                  </a:lnTo>
                  <a:lnTo>
                    <a:pt x="7575" y="5783"/>
                  </a:lnTo>
                  <a:lnTo>
                    <a:pt x="7580" y="5780"/>
                  </a:lnTo>
                  <a:lnTo>
                    <a:pt x="7586" y="5782"/>
                  </a:lnTo>
                  <a:lnTo>
                    <a:pt x="7591" y="5778"/>
                  </a:lnTo>
                  <a:lnTo>
                    <a:pt x="7588" y="5774"/>
                  </a:lnTo>
                  <a:lnTo>
                    <a:pt x="7582" y="5764"/>
                  </a:lnTo>
                  <a:lnTo>
                    <a:pt x="7586" y="5755"/>
                  </a:lnTo>
                  <a:lnTo>
                    <a:pt x="7587" y="5743"/>
                  </a:lnTo>
                  <a:lnTo>
                    <a:pt x="7582" y="5733"/>
                  </a:lnTo>
                  <a:lnTo>
                    <a:pt x="7571" y="5729"/>
                  </a:lnTo>
                  <a:lnTo>
                    <a:pt x="7561" y="5727"/>
                  </a:lnTo>
                  <a:lnTo>
                    <a:pt x="7556" y="5723"/>
                  </a:lnTo>
                  <a:lnTo>
                    <a:pt x="7552" y="5717"/>
                  </a:lnTo>
                  <a:lnTo>
                    <a:pt x="7546" y="5711"/>
                  </a:lnTo>
                  <a:lnTo>
                    <a:pt x="7540" y="5709"/>
                  </a:lnTo>
                  <a:lnTo>
                    <a:pt x="7531" y="5708"/>
                  </a:lnTo>
                  <a:lnTo>
                    <a:pt x="7524" y="5707"/>
                  </a:lnTo>
                  <a:lnTo>
                    <a:pt x="7501" y="5693"/>
                  </a:lnTo>
                  <a:lnTo>
                    <a:pt x="7495" y="5672"/>
                  </a:lnTo>
                  <a:lnTo>
                    <a:pt x="7500" y="5647"/>
                  </a:lnTo>
                  <a:lnTo>
                    <a:pt x="7541" y="5537"/>
                  </a:lnTo>
                  <a:lnTo>
                    <a:pt x="7571" y="5492"/>
                  </a:lnTo>
                  <a:lnTo>
                    <a:pt x="7582" y="5482"/>
                  </a:lnTo>
                  <a:lnTo>
                    <a:pt x="7593" y="5478"/>
                  </a:lnTo>
                  <a:lnTo>
                    <a:pt x="7600" y="5477"/>
                  </a:lnTo>
                  <a:lnTo>
                    <a:pt x="7621" y="5465"/>
                  </a:lnTo>
                  <a:lnTo>
                    <a:pt x="7628" y="5464"/>
                  </a:lnTo>
                  <a:lnTo>
                    <a:pt x="7634" y="5464"/>
                  </a:lnTo>
                  <a:lnTo>
                    <a:pt x="7639" y="5464"/>
                  </a:lnTo>
                  <a:lnTo>
                    <a:pt x="7643" y="5460"/>
                  </a:lnTo>
                  <a:lnTo>
                    <a:pt x="7643" y="5452"/>
                  </a:lnTo>
                  <a:lnTo>
                    <a:pt x="7632" y="5448"/>
                  </a:lnTo>
                  <a:lnTo>
                    <a:pt x="7602" y="5448"/>
                  </a:lnTo>
                  <a:lnTo>
                    <a:pt x="7588" y="5445"/>
                  </a:lnTo>
                  <a:lnTo>
                    <a:pt x="7546" y="5430"/>
                  </a:lnTo>
                  <a:lnTo>
                    <a:pt x="7462" y="5416"/>
                  </a:lnTo>
                  <a:lnTo>
                    <a:pt x="7390" y="5390"/>
                  </a:lnTo>
                  <a:lnTo>
                    <a:pt x="7382" y="5392"/>
                  </a:lnTo>
                  <a:lnTo>
                    <a:pt x="7375" y="5399"/>
                  </a:lnTo>
                  <a:lnTo>
                    <a:pt x="7360" y="5397"/>
                  </a:lnTo>
                  <a:lnTo>
                    <a:pt x="7344" y="5391"/>
                  </a:lnTo>
                  <a:lnTo>
                    <a:pt x="7333" y="5385"/>
                  </a:lnTo>
                  <a:lnTo>
                    <a:pt x="7310" y="5365"/>
                  </a:lnTo>
                  <a:lnTo>
                    <a:pt x="7291" y="5340"/>
                  </a:lnTo>
                  <a:lnTo>
                    <a:pt x="7275" y="5313"/>
                  </a:lnTo>
                  <a:lnTo>
                    <a:pt x="7234" y="5202"/>
                  </a:lnTo>
                  <a:lnTo>
                    <a:pt x="7210" y="5092"/>
                  </a:lnTo>
                  <a:lnTo>
                    <a:pt x="7209" y="5064"/>
                  </a:lnTo>
                  <a:lnTo>
                    <a:pt x="7217" y="5022"/>
                  </a:lnTo>
                  <a:lnTo>
                    <a:pt x="7220" y="5016"/>
                  </a:lnTo>
                  <a:lnTo>
                    <a:pt x="7217" y="5010"/>
                  </a:lnTo>
                  <a:lnTo>
                    <a:pt x="7183" y="4971"/>
                  </a:lnTo>
                  <a:lnTo>
                    <a:pt x="7184" y="4966"/>
                  </a:lnTo>
                  <a:lnTo>
                    <a:pt x="7186" y="4959"/>
                  </a:lnTo>
                  <a:lnTo>
                    <a:pt x="7186" y="4953"/>
                  </a:lnTo>
                  <a:lnTo>
                    <a:pt x="7181" y="4950"/>
                  </a:lnTo>
                  <a:lnTo>
                    <a:pt x="7173" y="4948"/>
                  </a:lnTo>
                  <a:lnTo>
                    <a:pt x="7168" y="4944"/>
                  </a:lnTo>
                  <a:lnTo>
                    <a:pt x="7165" y="4938"/>
                  </a:lnTo>
                  <a:lnTo>
                    <a:pt x="7165" y="4930"/>
                  </a:lnTo>
                  <a:lnTo>
                    <a:pt x="7163" y="4924"/>
                  </a:lnTo>
                  <a:lnTo>
                    <a:pt x="7160" y="4920"/>
                  </a:lnTo>
                  <a:lnTo>
                    <a:pt x="7155" y="4918"/>
                  </a:lnTo>
                  <a:lnTo>
                    <a:pt x="7151" y="4914"/>
                  </a:lnTo>
                  <a:lnTo>
                    <a:pt x="7149" y="4910"/>
                  </a:lnTo>
                  <a:lnTo>
                    <a:pt x="7145" y="4898"/>
                  </a:lnTo>
                  <a:lnTo>
                    <a:pt x="7143" y="4892"/>
                  </a:lnTo>
                  <a:lnTo>
                    <a:pt x="7138" y="4889"/>
                  </a:lnTo>
                  <a:lnTo>
                    <a:pt x="7133" y="4886"/>
                  </a:lnTo>
                  <a:lnTo>
                    <a:pt x="7127" y="4881"/>
                  </a:lnTo>
                  <a:lnTo>
                    <a:pt x="7125" y="4873"/>
                  </a:lnTo>
                  <a:lnTo>
                    <a:pt x="7125" y="4846"/>
                  </a:lnTo>
                  <a:lnTo>
                    <a:pt x="7127" y="4839"/>
                  </a:lnTo>
                  <a:lnTo>
                    <a:pt x="7133" y="4833"/>
                  </a:lnTo>
                  <a:lnTo>
                    <a:pt x="7134" y="4827"/>
                  </a:lnTo>
                  <a:lnTo>
                    <a:pt x="7131" y="4820"/>
                  </a:lnTo>
                  <a:lnTo>
                    <a:pt x="7126" y="4815"/>
                  </a:lnTo>
                  <a:lnTo>
                    <a:pt x="7096" y="4793"/>
                  </a:lnTo>
                  <a:lnTo>
                    <a:pt x="7092" y="4791"/>
                  </a:lnTo>
                  <a:lnTo>
                    <a:pt x="7078" y="4792"/>
                  </a:lnTo>
                  <a:lnTo>
                    <a:pt x="7071" y="4791"/>
                  </a:lnTo>
                  <a:lnTo>
                    <a:pt x="7065" y="4789"/>
                  </a:lnTo>
                  <a:lnTo>
                    <a:pt x="7057" y="4778"/>
                  </a:lnTo>
                  <a:lnTo>
                    <a:pt x="7054" y="4769"/>
                  </a:lnTo>
                  <a:lnTo>
                    <a:pt x="7049" y="4762"/>
                  </a:lnTo>
                  <a:lnTo>
                    <a:pt x="7036" y="4760"/>
                  </a:lnTo>
                  <a:lnTo>
                    <a:pt x="7036" y="4760"/>
                  </a:lnTo>
                  <a:lnTo>
                    <a:pt x="7024" y="4759"/>
                  </a:lnTo>
                  <a:lnTo>
                    <a:pt x="6997" y="4778"/>
                  </a:lnTo>
                  <a:lnTo>
                    <a:pt x="6981" y="4782"/>
                  </a:lnTo>
                  <a:lnTo>
                    <a:pt x="6923" y="4782"/>
                  </a:lnTo>
                  <a:lnTo>
                    <a:pt x="6908" y="4787"/>
                  </a:lnTo>
                  <a:lnTo>
                    <a:pt x="6915" y="4792"/>
                  </a:lnTo>
                  <a:lnTo>
                    <a:pt x="6921" y="4800"/>
                  </a:lnTo>
                  <a:lnTo>
                    <a:pt x="6926" y="4809"/>
                  </a:lnTo>
                  <a:lnTo>
                    <a:pt x="6930" y="4818"/>
                  </a:lnTo>
                  <a:lnTo>
                    <a:pt x="6931" y="4823"/>
                  </a:lnTo>
                  <a:lnTo>
                    <a:pt x="6932" y="4834"/>
                  </a:lnTo>
                  <a:lnTo>
                    <a:pt x="6934" y="4840"/>
                  </a:lnTo>
                  <a:lnTo>
                    <a:pt x="6946" y="4858"/>
                  </a:lnTo>
                  <a:lnTo>
                    <a:pt x="6948" y="4859"/>
                  </a:lnTo>
                  <a:lnTo>
                    <a:pt x="6943" y="4884"/>
                  </a:lnTo>
                  <a:lnTo>
                    <a:pt x="6943" y="4897"/>
                  </a:lnTo>
                  <a:lnTo>
                    <a:pt x="6950" y="4908"/>
                  </a:lnTo>
                  <a:lnTo>
                    <a:pt x="6970" y="4929"/>
                  </a:lnTo>
                  <a:lnTo>
                    <a:pt x="6978" y="4941"/>
                  </a:lnTo>
                  <a:lnTo>
                    <a:pt x="6983" y="4954"/>
                  </a:lnTo>
                  <a:lnTo>
                    <a:pt x="6966" y="4955"/>
                  </a:lnTo>
                  <a:lnTo>
                    <a:pt x="6961" y="4954"/>
                  </a:lnTo>
                  <a:lnTo>
                    <a:pt x="6957" y="4950"/>
                  </a:lnTo>
                  <a:lnTo>
                    <a:pt x="6953" y="4939"/>
                  </a:lnTo>
                  <a:lnTo>
                    <a:pt x="6950" y="4936"/>
                  </a:lnTo>
                  <a:lnTo>
                    <a:pt x="6937" y="4938"/>
                  </a:lnTo>
                  <a:lnTo>
                    <a:pt x="6929" y="4941"/>
                  </a:lnTo>
                  <a:lnTo>
                    <a:pt x="6920" y="4942"/>
                  </a:lnTo>
                  <a:lnTo>
                    <a:pt x="6908" y="4936"/>
                  </a:lnTo>
                  <a:lnTo>
                    <a:pt x="6899" y="4930"/>
                  </a:lnTo>
                  <a:lnTo>
                    <a:pt x="6886" y="4920"/>
                  </a:lnTo>
                  <a:lnTo>
                    <a:pt x="6878" y="4909"/>
                  </a:lnTo>
                  <a:lnTo>
                    <a:pt x="6879" y="4899"/>
                  </a:lnTo>
                  <a:lnTo>
                    <a:pt x="6905" y="4876"/>
                  </a:lnTo>
                  <a:lnTo>
                    <a:pt x="6912" y="4866"/>
                  </a:lnTo>
                  <a:lnTo>
                    <a:pt x="6894" y="4861"/>
                  </a:lnTo>
                  <a:lnTo>
                    <a:pt x="6877" y="4852"/>
                  </a:lnTo>
                  <a:lnTo>
                    <a:pt x="6864" y="4839"/>
                  </a:lnTo>
                  <a:lnTo>
                    <a:pt x="6859" y="4824"/>
                  </a:lnTo>
                  <a:lnTo>
                    <a:pt x="6858" y="4808"/>
                  </a:lnTo>
                  <a:lnTo>
                    <a:pt x="6853" y="4792"/>
                  </a:lnTo>
                  <a:lnTo>
                    <a:pt x="6842" y="4782"/>
                  </a:lnTo>
                  <a:lnTo>
                    <a:pt x="6824" y="4787"/>
                  </a:lnTo>
                  <a:lnTo>
                    <a:pt x="6816" y="4792"/>
                  </a:lnTo>
                  <a:lnTo>
                    <a:pt x="6811" y="4798"/>
                  </a:lnTo>
                  <a:lnTo>
                    <a:pt x="6805" y="4801"/>
                  </a:lnTo>
                  <a:lnTo>
                    <a:pt x="6793" y="4805"/>
                  </a:lnTo>
                  <a:lnTo>
                    <a:pt x="6763" y="4804"/>
                  </a:lnTo>
                  <a:lnTo>
                    <a:pt x="6755" y="4807"/>
                  </a:lnTo>
                  <a:lnTo>
                    <a:pt x="6728" y="4833"/>
                  </a:lnTo>
                  <a:lnTo>
                    <a:pt x="6725" y="4835"/>
                  </a:lnTo>
                  <a:lnTo>
                    <a:pt x="6716" y="4834"/>
                  </a:lnTo>
                  <a:lnTo>
                    <a:pt x="6713" y="4835"/>
                  </a:lnTo>
                  <a:lnTo>
                    <a:pt x="6709" y="4839"/>
                  </a:lnTo>
                  <a:lnTo>
                    <a:pt x="6706" y="4849"/>
                  </a:lnTo>
                  <a:lnTo>
                    <a:pt x="6704" y="4853"/>
                  </a:lnTo>
                  <a:lnTo>
                    <a:pt x="6697" y="4856"/>
                  </a:lnTo>
                  <a:lnTo>
                    <a:pt x="6690" y="4859"/>
                  </a:lnTo>
                  <a:lnTo>
                    <a:pt x="6684" y="4862"/>
                  </a:lnTo>
                  <a:lnTo>
                    <a:pt x="6682" y="4868"/>
                  </a:lnTo>
                  <a:lnTo>
                    <a:pt x="6685" y="4881"/>
                  </a:lnTo>
                  <a:lnTo>
                    <a:pt x="6685" y="4886"/>
                  </a:lnTo>
                  <a:lnTo>
                    <a:pt x="6679" y="4888"/>
                  </a:lnTo>
                  <a:lnTo>
                    <a:pt x="6675" y="4893"/>
                  </a:lnTo>
                  <a:lnTo>
                    <a:pt x="6687" y="4904"/>
                  </a:lnTo>
                  <a:lnTo>
                    <a:pt x="6713" y="4919"/>
                  </a:lnTo>
                  <a:lnTo>
                    <a:pt x="6718" y="4948"/>
                  </a:lnTo>
                  <a:lnTo>
                    <a:pt x="6701" y="4973"/>
                  </a:lnTo>
                  <a:lnTo>
                    <a:pt x="6651" y="5006"/>
                  </a:lnTo>
                  <a:lnTo>
                    <a:pt x="6576" y="5034"/>
                  </a:lnTo>
                  <a:lnTo>
                    <a:pt x="6557" y="5046"/>
                  </a:lnTo>
                  <a:lnTo>
                    <a:pt x="6546" y="5065"/>
                  </a:lnTo>
                  <a:lnTo>
                    <a:pt x="6539" y="5090"/>
                  </a:lnTo>
                  <a:lnTo>
                    <a:pt x="6540" y="5116"/>
                  </a:lnTo>
                  <a:lnTo>
                    <a:pt x="6553" y="5139"/>
                  </a:lnTo>
                  <a:close/>
                  <a:moveTo>
                    <a:pt x="8143" y="5609"/>
                  </a:moveTo>
                  <a:lnTo>
                    <a:pt x="8143" y="5609"/>
                  </a:lnTo>
                  <a:lnTo>
                    <a:pt x="8145" y="5630"/>
                  </a:lnTo>
                  <a:lnTo>
                    <a:pt x="8141" y="5647"/>
                  </a:lnTo>
                  <a:lnTo>
                    <a:pt x="8129" y="5655"/>
                  </a:lnTo>
                  <a:lnTo>
                    <a:pt x="8120" y="5657"/>
                  </a:lnTo>
                  <a:lnTo>
                    <a:pt x="8112" y="5662"/>
                  </a:lnTo>
                  <a:lnTo>
                    <a:pt x="8106" y="5669"/>
                  </a:lnTo>
                  <a:lnTo>
                    <a:pt x="8105" y="5677"/>
                  </a:lnTo>
                  <a:lnTo>
                    <a:pt x="8109" y="5684"/>
                  </a:lnTo>
                  <a:lnTo>
                    <a:pt x="8115" y="5684"/>
                  </a:lnTo>
                  <a:lnTo>
                    <a:pt x="8131" y="5677"/>
                  </a:lnTo>
                  <a:lnTo>
                    <a:pt x="8142" y="5675"/>
                  </a:lnTo>
                  <a:lnTo>
                    <a:pt x="8146" y="5677"/>
                  </a:lnTo>
                  <a:lnTo>
                    <a:pt x="8144" y="5701"/>
                  </a:lnTo>
                  <a:lnTo>
                    <a:pt x="8142" y="5707"/>
                  </a:lnTo>
                  <a:lnTo>
                    <a:pt x="8130" y="5721"/>
                  </a:lnTo>
                  <a:lnTo>
                    <a:pt x="8126" y="5729"/>
                  </a:lnTo>
                  <a:lnTo>
                    <a:pt x="8127" y="5737"/>
                  </a:lnTo>
                  <a:lnTo>
                    <a:pt x="8130" y="5743"/>
                  </a:lnTo>
                  <a:lnTo>
                    <a:pt x="8133" y="5749"/>
                  </a:lnTo>
                  <a:lnTo>
                    <a:pt x="8135" y="5756"/>
                  </a:lnTo>
                  <a:lnTo>
                    <a:pt x="8135" y="5763"/>
                  </a:lnTo>
                  <a:lnTo>
                    <a:pt x="8135" y="5771"/>
                  </a:lnTo>
                  <a:lnTo>
                    <a:pt x="8135" y="5779"/>
                  </a:lnTo>
                  <a:lnTo>
                    <a:pt x="8138" y="5784"/>
                  </a:lnTo>
                  <a:lnTo>
                    <a:pt x="8155" y="5798"/>
                  </a:lnTo>
                  <a:lnTo>
                    <a:pt x="8159" y="5804"/>
                  </a:lnTo>
                  <a:lnTo>
                    <a:pt x="8162" y="5806"/>
                  </a:lnTo>
                  <a:lnTo>
                    <a:pt x="8165" y="5808"/>
                  </a:lnTo>
                  <a:lnTo>
                    <a:pt x="8166" y="5813"/>
                  </a:lnTo>
                  <a:lnTo>
                    <a:pt x="8165" y="5816"/>
                  </a:lnTo>
                  <a:lnTo>
                    <a:pt x="8147" y="5842"/>
                  </a:lnTo>
                  <a:lnTo>
                    <a:pt x="8144" y="5848"/>
                  </a:lnTo>
                  <a:lnTo>
                    <a:pt x="8149" y="5871"/>
                  </a:lnTo>
                  <a:lnTo>
                    <a:pt x="8174" y="5872"/>
                  </a:lnTo>
                  <a:lnTo>
                    <a:pt x="8278" y="5838"/>
                  </a:lnTo>
                  <a:lnTo>
                    <a:pt x="8295" y="5824"/>
                  </a:lnTo>
                  <a:lnTo>
                    <a:pt x="8295" y="5800"/>
                  </a:lnTo>
                  <a:lnTo>
                    <a:pt x="8285" y="5782"/>
                  </a:lnTo>
                  <a:lnTo>
                    <a:pt x="8285" y="5773"/>
                  </a:lnTo>
                  <a:lnTo>
                    <a:pt x="8297" y="5769"/>
                  </a:lnTo>
                  <a:lnTo>
                    <a:pt x="8306" y="5767"/>
                  </a:lnTo>
                  <a:lnTo>
                    <a:pt x="8310" y="5764"/>
                  </a:lnTo>
                  <a:lnTo>
                    <a:pt x="8314" y="5763"/>
                  </a:lnTo>
                  <a:lnTo>
                    <a:pt x="8322" y="5769"/>
                  </a:lnTo>
                  <a:lnTo>
                    <a:pt x="8326" y="5775"/>
                  </a:lnTo>
                  <a:lnTo>
                    <a:pt x="8327" y="5781"/>
                  </a:lnTo>
                  <a:lnTo>
                    <a:pt x="8327" y="5786"/>
                  </a:lnTo>
                  <a:lnTo>
                    <a:pt x="8325" y="5786"/>
                  </a:lnTo>
                  <a:lnTo>
                    <a:pt x="8360" y="5817"/>
                  </a:lnTo>
                  <a:lnTo>
                    <a:pt x="8376" y="5827"/>
                  </a:lnTo>
                  <a:lnTo>
                    <a:pt x="8378" y="5841"/>
                  </a:lnTo>
                  <a:lnTo>
                    <a:pt x="8379" y="5870"/>
                  </a:lnTo>
                  <a:lnTo>
                    <a:pt x="8385" y="5885"/>
                  </a:lnTo>
                  <a:lnTo>
                    <a:pt x="8394" y="5886"/>
                  </a:lnTo>
                  <a:lnTo>
                    <a:pt x="8405" y="5882"/>
                  </a:lnTo>
                  <a:lnTo>
                    <a:pt x="8421" y="5880"/>
                  </a:lnTo>
                  <a:lnTo>
                    <a:pt x="8439" y="5879"/>
                  </a:lnTo>
                  <a:lnTo>
                    <a:pt x="8446" y="5876"/>
                  </a:lnTo>
                  <a:lnTo>
                    <a:pt x="8446" y="5853"/>
                  </a:lnTo>
                  <a:lnTo>
                    <a:pt x="8449" y="5841"/>
                  </a:lnTo>
                  <a:lnTo>
                    <a:pt x="8456" y="5834"/>
                  </a:lnTo>
                  <a:lnTo>
                    <a:pt x="8468" y="5831"/>
                  </a:lnTo>
                  <a:lnTo>
                    <a:pt x="8483" y="5831"/>
                  </a:lnTo>
                  <a:lnTo>
                    <a:pt x="8496" y="5828"/>
                  </a:lnTo>
                  <a:lnTo>
                    <a:pt x="8519" y="5818"/>
                  </a:lnTo>
                  <a:lnTo>
                    <a:pt x="8534" y="5818"/>
                  </a:lnTo>
                  <a:lnTo>
                    <a:pt x="8530" y="5811"/>
                  </a:lnTo>
                  <a:lnTo>
                    <a:pt x="8519" y="5802"/>
                  </a:lnTo>
                  <a:lnTo>
                    <a:pt x="8517" y="5798"/>
                  </a:lnTo>
                  <a:lnTo>
                    <a:pt x="8518" y="5792"/>
                  </a:lnTo>
                  <a:lnTo>
                    <a:pt x="8521" y="5787"/>
                  </a:lnTo>
                  <a:lnTo>
                    <a:pt x="8524" y="5783"/>
                  </a:lnTo>
                  <a:lnTo>
                    <a:pt x="8525" y="5780"/>
                  </a:lnTo>
                  <a:lnTo>
                    <a:pt x="8527" y="5774"/>
                  </a:lnTo>
                  <a:lnTo>
                    <a:pt x="8532" y="5762"/>
                  </a:lnTo>
                  <a:lnTo>
                    <a:pt x="8534" y="5756"/>
                  </a:lnTo>
                  <a:lnTo>
                    <a:pt x="8534" y="5750"/>
                  </a:lnTo>
                  <a:lnTo>
                    <a:pt x="8530" y="5740"/>
                  </a:lnTo>
                  <a:lnTo>
                    <a:pt x="8530" y="5734"/>
                  </a:lnTo>
                  <a:lnTo>
                    <a:pt x="8537" y="5716"/>
                  </a:lnTo>
                  <a:lnTo>
                    <a:pt x="8564" y="5683"/>
                  </a:lnTo>
                  <a:lnTo>
                    <a:pt x="8570" y="5666"/>
                  </a:lnTo>
                  <a:lnTo>
                    <a:pt x="8572" y="5660"/>
                  </a:lnTo>
                  <a:lnTo>
                    <a:pt x="8578" y="5653"/>
                  </a:lnTo>
                  <a:lnTo>
                    <a:pt x="8584" y="5645"/>
                  </a:lnTo>
                  <a:lnTo>
                    <a:pt x="8588" y="5633"/>
                  </a:lnTo>
                  <a:lnTo>
                    <a:pt x="8586" y="5620"/>
                  </a:lnTo>
                  <a:lnTo>
                    <a:pt x="8576" y="5598"/>
                  </a:lnTo>
                  <a:lnTo>
                    <a:pt x="8570" y="5574"/>
                  </a:lnTo>
                  <a:lnTo>
                    <a:pt x="8525" y="5523"/>
                  </a:lnTo>
                  <a:lnTo>
                    <a:pt x="8516" y="5520"/>
                  </a:lnTo>
                  <a:lnTo>
                    <a:pt x="8503" y="5527"/>
                  </a:lnTo>
                  <a:lnTo>
                    <a:pt x="8500" y="5515"/>
                  </a:lnTo>
                  <a:lnTo>
                    <a:pt x="8494" y="5505"/>
                  </a:lnTo>
                  <a:lnTo>
                    <a:pt x="8485" y="5498"/>
                  </a:lnTo>
                  <a:lnTo>
                    <a:pt x="8474" y="5496"/>
                  </a:lnTo>
                  <a:lnTo>
                    <a:pt x="8472" y="5493"/>
                  </a:lnTo>
                  <a:lnTo>
                    <a:pt x="8465" y="5481"/>
                  </a:lnTo>
                  <a:lnTo>
                    <a:pt x="8461" y="5478"/>
                  </a:lnTo>
                  <a:lnTo>
                    <a:pt x="8441" y="5470"/>
                  </a:lnTo>
                  <a:lnTo>
                    <a:pt x="8432" y="5475"/>
                  </a:lnTo>
                  <a:lnTo>
                    <a:pt x="8428" y="5483"/>
                  </a:lnTo>
                  <a:lnTo>
                    <a:pt x="8423" y="5500"/>
                  </a:lnTo>
                  <a:lnTo>
                    <a:pt x="8419" y="5500"/>
                  </a:lnTo>
                  <a:lnTo>
                    <a:pt x="8407" y="5467"/>
                  </a:lnTo>
                  <a:lnTo>
                    <a:pt x="8401" y="5460"/>
                  </a:lnTo>
                  <a:lnTo>
                    <a:pt x="8390" y="5456"/>
                  </a:lnTo>
                  <a:lnTo>
                    <a:pt x="8357" y="5450"/>
                  </a:lnTo>
                  <a:lnTo>
                    <a:pt x="8346" y="5453"/>
                  </a:lnTo>
                  <a:lnTo>
                    <a:pt x="8322" y="5450"/>
                  </a:lnTo>
                  <a:lnTo>
                    <a:pt x="8300" y="5441"/>
                  </a:lnTo>
                  <a:lnTo>
                    <a:pt x="8291" y="5425"/>
                  </a:lnTo>
                  <a:lnTo>
                    <a:pt x="8280" y="5429"/>
                  </a:lnTo>
                  <a:lnTo>
                    <a:pt x="8261" y="5443"/>
                  </a:lnTo>
                  <a:lnTo>
                    <a:pt x="8251" y="5448"/>
                  </a:lnTo>
                  <a:lnTo>
                    <a:pt x="8240" y="5448"/>
                  </a:lnTo>
                  <a:lnTo>
                    <a:pt x="8222" y="5443"/>
                  </a:lnTo>
                  <a:lnTo>
                    <a:pt x="8211" y="5443"/>
                  </a:lnTo>
                  <a:lnTo>
                    <a:pt x="8184" y="5448"/>
                  </a:lnTo>
                  <a:lnTo>
                    <a:pt x="8174" y="5463"/>
                  </a:lnTo>
                  <a:lnTo>
                    <a:pt x="8164" y="5528"/>
                  </a:lnTo>
                  <a:lnTo>
                    <a:pt x="8166" y="5569"/>
                  </a:lnTo>
                  <a:lnTo>
                    <a:pt x="8163" y="5575"/>
                  </a:lnTo>
                  <a:lnTo>
                    <a:pt x="8154" y="5583"/>
                  </a:lnTo>
                  <a:lnTo>
                    <a:pt x="8144" y="5589"/>
                  </a:lnTo>
                  <a:lnTo>
                    <a:pt x="8135" y="5593"/>
                  </a:lnTo>
                  <a:lnTo>
                    <a:pt x="8143" y="5609"/>
                  </a:lnTo>
                  <a:close/>
                  <a:moveTo>
                    <a:pt x="8390" y="1218"/>
                  </a:moveTo>
                  <a:lnTo>
                    <a:pt x="8390" y="1218"/>
                  </a:lnTo>
                  <a:lnTo>
                    <a:pt x="8388" y="1223"/>
                  </a:lnTo>
                  <a:lnTo>
                    <a:pt x="8390" y="1228"/>
                  </a:lnTo>
                  <a:lnTo>
                    <a:pt x="8395" y="1230"/>
                  </a:lnTo>
                  <a:lnTo>
                    <a:pt x="8399" y="1233"/>
                  </a:lnTo>
                  <a:lnTo>
                    <a:pt x="8401" y="1239"/>
                  </a:lnTo>
                  <a:lnTo>
                    <a:pt x="8400" y="1254"/>
                  </a:lnTo>
                  <a:lnTo>
                    <a:pt x="8401" y="1259"/>
                  </a:lnTo>
                  <a:lnTo>
                    <a:pt x="8404" y="1263"/>
                  </a:lnTo>
                  <a:lnTo>
                    <a:pt x="8409" y="1265"/>
                  </a:lnTo>
                  <a:lnTo>
                    <a:pt x="8413" y="1269"/>
                  </a:lnTo>
                  <a:lnTo>
                    <a:pt x="8415" y="1274"/>
                  </a:lnTo>
                  <a:lnTo>
                    <a:pt x="8416" y="1284"/>
                  </a:lnTo>
                  <a:lnTo>
                    <a:pt x="8417" y="1290"/>
                  </a:lnTo>
                  <a:lnTo>
                    <a:pt x="8427" y="1310"/>
                  </a:lnTo>
                  <a:lnTo>
                    <a:pt x="8432" y="1318"/>
                  </a:lnTo>
                  <a:lnTo>
                    <a:pt x="8438" y="1324"/>
                  </a:lnTo>
                  <a:lnTo>
                    <a:pt x="8444" y="1326"/>
                  </a:lnTo>
                  <a:lnTo>
                    <a:pt x="8465" y="1330"/>
                  </a:lnTo>
                  <a:lnTo>
                    <a:pt x="8514" y="1349"/>
                  </a:lnTo>
                  <a:lnTo>
                    <a:pt x="8532" y="1351"/>
                  </a:lnTo>
                  <a:lnTo>
                    <a:pt x="8551" y="1350"/>
                  </a:lnTo>
                  <a:lnTo>
                    <a:pt x="8556" y="1351"/>
                  </a:lnTo>
                  <a:lnTo>
                    <a:pt x="8559" y="1354"/>
                  </a:lnTo>
                  <a:lnTo>
                    <a:pt x="8564" y="1363"/>
                  </a:lnTo>
                  <a:lnTo>
                    <a:pt x="8567" y="1365"/>
                  </a:lnTo>
                  <a:lnTo>
                    <a:pt x="8577" y="1395"/>
                  </a:lnTo>
                  <a:lnTo>
                    <a:pt x="8579" y="1404"/>
                  </a:lnTo>
                  <a:lnTo>
                    <a:pt x="8570" y="1399"/>
                  </a:lnTo>
                  <a:lnTo>
                    <a:pt x="8552" y="1378"/>
                  </a:lnTo>
                  <a:lnTo>
                    <a:pt x="8543" y="1369"/>
                  </a:lnTo>
                  <a:lnTo>
                    <a:pt x="8536" y="1366"/>
                  </a:lnTo>
                  <a:lnTo>
                    <a:pt x="8529" y="1365"/>
                  </a:lnTo>
                  <a:lnTo>
                    <a:pt x="8519" y="1365"/>
                  </a:lnTo>
                  <a:lnTo>
                    <a:pt x="8511" y="1369"/>
                  </a:lnTo>
                  <a:lnTo>
                    <a:pt x="8508" y="1378"/>
                  </a:lnTo>
                  <a:lnTo>
                    <a:pt x="8504" y="1387"/>
                  </a:lnTo>
                  <a:lnTo>
                    <a:pt x="8492" y="1392"/>
                  </a:lnTo>
                  <a:lnTo>
                    <a:pt x="8488" y="1391"/>
                  </a:lnTo>
                  <a:lnTo>
                    <a:pt x="8483" y="1391"/>
                  </a:lnTo>
                  <a:lnTo>
                    <a:pt x="8478" y="1393"/>
                  </a:lnTo>
                  <a:lnTo>
                    <a:pt x="8476" y="1402"/>
                  </a:lnTo>
                  <a:lnTo>
                    <a:pt x="8474" y="1408"/>
                  </a:lnTo>
                  <a:lnTo>
                    <a:pt x="8459" y="1427"/>
                  </a:lnTo>
                  <a:lnTo>
                    <a:pt x="8465" y="1430"/>
                  </a:lnTo>
                  <a:lnTo>
                    <a:pt x="8490" y="1440"/>
                  </a:lnTo>
                  <a:lnTo>
                    <a:pt x="8510" y="1455"/>
                  </a:lnTo>
                  <a:lnTo>
                    <a:pt x="8517" y="1458"/>
                  </a:lnTo>
                  <a:lnTo>
                    <a:pt x="8524" y="1455"/>
                  </a:lnTo>
                  <a:lnTo>
                    <a:pt x="8542" y="1443"/>
                  </a:lnTo>
                  <a:lnTo>
                    <a:pt x="8552" y="1440"/>
                  </a:lnTo>
                  <a:lnTo>
                    <a:pt x="8562" y="1439"/>
                  </a:lnTo>
                  <a:lnTo>
                    <a:pt x="8582" y="1441"/>
                  </a:lnTo>
                  <a:lnTo>
                    <a:pt x="8592" y="1440"/>
                  </a:lnTo>
                  <a:lnTo>
                    <a:pt x="8603" y="1435"/>
                  </a:lnTo>
                  <a:lnTo>
                    <a:pt x="8607" y="1429"/>
                  </a:lnTo>
                  <a:lnTo>
                    <a:pt x="8610" y="1409"/>
                  </a:lnTo>
                  <a:lnTo>
                    <a:pt x="8613" y="1398"/>
                  </a:lnTo>
                  <a:lnTo>
                    <a:pt x="8618" y="1388"/>
                  </a:lnTo>
                  <a:lnTo>
                    <a:pt x="8645" y="1354"/>
                  </a:lnTo>
                  <a:lnTo>
                    <a:pt x="8649" y="1346"/>
                  </a:lnTo>
                  <a:lnTo>
                    <a:pt x="8660" y="1312"/>
                  </a:lnTo>
                  <a:lnTo>
                    <a:pt x="8660" y="1306"/>
                  </a:lnTo>
                  <a:lnTo>
                    <a:pt x="8654" y="1312"/>
                  </a:lnTo>
                  <a:lnTo>
                    <a:pt x="8643" y="1301"/>
                  </a:lnTo>
                  <a:lnTo>
                    <a:pt x="8638" y="1300"/>
                  </a:lnTo>
                  <a:lnTo>
                    <a:pt x="8632" y="1303"/>
                  </a:lnTo>
                  <a:lnTo>
                    <a:pt x="8634" y="1292"/>
                  </a:lnTo>
                  <a:lnTo>
                    <a:pt x="8642" y="1285"/>
                  </a:lnTo>
                  <a:lnTo>
                    <a:pt x="8652" y="1280"/>
                  </a:lnTo>
                  <a:lnTo>
                    <a:pt x="8659" y="1272"/>
                  </a:lnTo>
                  <a:lnTo>
                    <a:pt x="8655" y="1264"/>
                  </a:lnTo>
                  <a:lnTo>
                    <a:pt x="8655" y="1246"/>
                  </a:lnTo>
                  <a:lnTo>
                    <a:pt x="8654" y="1237"/>
                  </a:lnTo>
                  <a:lnTo>
                    <a:pt x="8651" y="1233"/>
                  </a:lnTo>
                  <a:lnTo>
                    <a:pt x="8634" y="1221"/>
                  </a:lnTo>
                  <a:lnTo>
                    <a:pt x="8596" y="1175"/>
                  </a:lnTo>
                  <a:lnTo>
                    <a:pt x="8573" y="1158"/>
                  </a:lnTo>
                  <a:lnTo>
                    <a:pt x="8564" y="1147"/>
                  </a:lnTo>
                  <a:lnTo>
                    <a:pt x="8561" y="1129"/>
                  </a:lnTo>
                  <a:lnTo>
                    <a:pt x="8559" y="1095"/>
                  </a:lnTo>
                  <a:lnTo>
                    <a:pt x="8554" y="1083"/>
                  </a:lnTo>
                  <a:lnTo>
                    <a:pt x="8543" y="1074"/>
                  </a:lnTo>
                  <a:lnTo>
                    <a:pt x="8534" y="1080"/>
                  </a:lnTo>
                  <a:lnTo>
                    <a:pt x="8524" y="1089"/>
                  </a:lnTo>
                  <a:lnTo>
                    <a:pt x="8515" y="1100"/>
                  </a:lnTo>
                  <a:lnTo>
                    <a:pt x="8508" y="1116"/>
                  </a:lnTo>
                  <a:lnTo>
                    <a:pt x="8459" y="1163"/>
                  </a:lnTo>
                  <a:lnTo>
                    <a:pt x="8452" y="1166"/>
                  </a:lnTo>
                  <a:lnTo>
                    <a:pt x="8450" y="1169"/>
                  </a:lnTo>
                  <a:lnTo>
                    <a:pt x="8441" y="1180"/>
                  </a:lnTo>
                  <a:lnTo>
                    <a:pt x="8437" y="1183"/>
                  </a:lnTo>
                  <a:lnTo>
                    <a:pt x="8430" y="1186"/>
                  </a:lnTo>
                  <a:lnTo>
                    <a:pt x="8424" y="1186"/>
                  </a:lnTo>
                  <a:lnTo>
                    <a:pt x="8419" y="1186"/>
                  </a:lnTo>
                  <a:lnTo>
                    <a:pt x="8412" y="1190"/>
                  </a:lnTo>
                  <a:lnTo>
                    <a:pt x="8396" y="1209"/>
                  </a:lnTo>
                  <a:lnTo>
                    <a:pt x="8390" y="1218"/>
                  </a:lnTo>
                  <a:close/>
                  <a:moveTo>
                    <a:pt x="13346" y="9165"/>
                  </a:moveTo>
                  <a:lnTo>
                    <a:pt x="13346" y="9165"/>
                  </a:lnTo>
                  <a:lnTo>
                    <a:pt x="13324" y="9145"/>
                  </a:lnTo>
                  <a:lnTo>
                    <a:pt x="13289" y="9102"/>
                  </a:lnTo>
                  <a:lnTo>
                    <a:pt x="13270" y="9084"/>
                  </a:lnTo>
                  <a:lnTo>
                    <a:pt x="13249" y="9070"/>
                  </a:lnTo>
                  <a:lnTo>
                    <a:pt x="13142" y="9025"/>
                  </a:lnTo>
                  <a:lnTo>
                    <a:pt x="13098" y="9016"/>
                  </a:lnTo>
                  <a:lnTo>
                    <a:pt x="13087" y="9009"/>
                  </a:lnTo>
                  <a:lnTo>
                    <a:pt x="13077" y="9002"/>
                  </a:lnTo>
                  <a:lnTo>
                    <a:pt x="13063" y="8997"/>
                  </a:lnTo>
                  <a:lnTo>
                    <a:pt x="13049" y="8994"/>
                  </a:lnTo>
                  <a:lnTo>
                    <a:pt x="13036" y="8994"/>
                  </a:lnTo>
                  <a:lnTo>
                    <a:pt x="13012" y="9005"/>
                  </a:lnTo>
                  <a:lnTo>
                    <a:pt x="12965" y="9051"/>
                  </a:lnTo>
                  <a:lnTo>
                    <a:pt x="12939" y="9070"/>
                  </a:lnTo>
                  <a:lnTo>
                    <a:pt x="12914" y="9075"/>
                  </a:lnTo>
                  <a:lnTo>
                    <a:pt x="12855" y="9075"/>
                  </a:lnTo>
                  <a:lnTo>
                    <a:pt x="12832" y="9083"/>
                  </a:lnTo>
                  <a:lnTo>
                    <a:pt x="12724" y="9046"/>
                  </a:lnTo>
                  <a:lnTo>
                    <a:pt x="12713" y="9043"/>
                  </a:lnTo>
                  <a:lnTo>
                    <a:pt x="12687" y="9041"/>
                  </a:lnTo>
                  <a:lnTo>
                    <a:pt x="12673" y="9037"/>
                  </a:lnTo>
                  <a:lnTo>
                    <a:pt x="12664" y="9030"/>
                  </a:lnTo>
                  <a:lnTo>
                    <a:pt x="12647" y="9042"/>
                  </a:lnTo>
                  <a:lnTo>
                    <a:pt x="12636" y="9045"/>
                  </a:lnTo>
                  <a:lnTo>
                    <a:pt x="12626" y="9041"/>
                  </a:lnTo>
                  <a:lnTo>
                    <a:pt x="12618" y="9032"/>
                  </a:lnTo>
                  <a:lnTo>
                    <a:pt x="12612" y="9023"/>
                  </a:lnTo>
                  <a:lnTo>
                    <a:pt x="12604" y="9017"/>
                  </a:lnTo>
                  <a:lnTo>
                    <a:pt x="12589" y="9016"/>
                  </a:lnTo>
                  <a:lnTo>
                    <a:pt x="12570" y="9020"/>
                  </a:lnTo>
                  <a:lnTo>
                    <a:pt x="12567" y="9037"/>
                  </a:lnTo>
                  <a:lnTo>
                    <a:pt x="12580" y="9100"/>
                  </a:lnTo>
                  <a:lnTo>
                    <a:pt x="12632" y="9175"/>
                  </a:lnTo>
                  <a:lnTo>
                    <a:pt x="12649" y="9193"/>
                  </a:lnTo>
                  <a:lnTo>
                    <a:pt x="12668" y="9209"/>
                  </a:lnTo>
                  <a:lnTo>
                    <a:pt x="12691" y="9217"/>
                  </a:lnTo>
                  <a:lnTo>
                    <a:pt x="12766" y="9216"/>
                  </a:lnTo>
                  <a:lnTo>
                    <a:pt x="12792" y="9221"/>
                  </a:lnTo>
                  <a:lnTo>
                    <a:pt x="12877" y="9261"/>
                  </a:lnTo>
                  <a:lnTo>
                    <a:pt x="12894" y="9273"/>
                  </a:lnTo>
                  <a:lnTo>
                    <a:pt x="12939" y="9314"/>
                  </a:lnTo>
                  <a:lnTo>
                    <a:pt x="12962" y="9328"/>
                  </a:lnTo>
                  <a:lnTo>
                    <a:pt x="12974" y="9338"/>
                  </a:lnTo>
                  <a:lnTo>
                    <a:pt x="12979" y="9348"/>
                  </a:lnTo>
                  <a:lnTo>
                    <a:pt x="12982" y="9357"/>
                  </a:lnTo>
                  <a:lnTo>
                    <a:pt x="12991" y="9367"/>
                  </a:lnTo>
                  <a:lnTo>
                    <a:pt x="13009" y="9381"/>
                  </a:lnTo>
                  <a:lnTo>
                    <a:pt x="13014" y="9383"/>
                  </a:lnTo>
                  <a:lnTo>
                    <a:pt x="13020" y="9385"/>
                  </a:lnTo>
                  <a:lnTo>
                    <a:pt x="13025" y="9388"/>
                  </a:lnTo>
                  <a:lnTo>
                    <a:pt x="13035" y="9410"/>
                  </a:lnTo>
                  <a:lnTo>
                    <a:pt x="13038" y="9415"/>
                  </a:lnTo>
                  <a:lnTo>
                    <a:pt x="13044" y="9427"/>
                  </a:lnTo>
                  <a:lnTo>
                    <a:pt x="13042" y="9443"/>
                  </a:lnTo>
                  <a:lnTo>
                    <a:pt x="13034" y="9457"/>
                  </a:lnTo>
                  <a:lnTo>
                    <a:pt x="13027" y="9466"/>
                  </a:lnTo>
                  <a:lnTo>
                    <a:pt x="12998" y="9479"/>
                  </a:lnTo>
                  <a:lnTo>
                    <a:pt x="12985" y="9489"/>
                  </a:lnTo>
                  <a:lnTo>
                    <a:pt x="12985" y="9499"/>
                  </a:lnTo>
                  <a:lnTo>
                    <a:pt x="12997" y="9507"/>
                  </a:lnTo>
                  <a:lnTo>
                    <a:pt x="13011" y="9510"/>
                  </a:lnTo>
                  <a:lnTo>
                    <a:pt x="13026" y="9511"/>
                  </a:lnTo>
                  <a:lnTo>
                    <a:pt x="13041" y="9510"/>
                  </a:lnTo>
                  <a:lnTo>
                    <a:pt x="13050" y="9508"/>
                  </a:lnTo>
                  <a:lnTo>
                    <a:pt x="13062" y="9503"/>
                  </a:lnTo>
                  <a:lnTo>
                    <a:pt x="13072" y="9497"/>
                  </a:lnTo>
                  <a:lnTo>
                    <a:pt x="13076" y="9490"/>
                  </a:lnTo>
                  <a:lnTo>
                    <a:pt x="13078" y="9459"/>
                  </a:lnTo>
                  <a:lnTo>
                    <a:pt x="13074" y="9447"/>
                  </a:lnTo>
                  <a:lnTo>
                    <a:pt x="13063" y="9453"/>
                  </a:lnTo>
                  <a:lnTo>
                    <a:pt x="13068" y="9463"/>
                  </a:lnTo>
                  <a:lnTo>
                    <a:pt x="13072" y="9466"/>
                  </a:lnTo>
                  <a:lnTo>
                    <a:pt x="13067" y="9470"/>
                  </a:lnTo>
                  <a:lnTo>
                    <a:pt x="13057" y="9458"/>
                  </a:lnTo>
                  <a:lnTo>
                    <a:pt x="13055" y="9443"/>
                  </a:lnTo>
                  <a:lnTo>
                    <a:pt x="13061" y="9431"/>
                  </a:lnTo>
                  <a:lnTo>
                    <a:pt x="13074" y="9426"/>
                  </a:lnTo>
                  <a:lnTo>
                    <a:pt x="13088" y="9422"/>
                  </a:lnTo>
                  <a:lnTo>
                    <a:pt x="13098" y="9412"/>
                  </a:lnTo>
                  <a:lnTo>
                    <a:pt x="13112" y="9386"/>
                  </a:lnTo>
                  <a:lnTo>
                    <a:pt x="13133" y="9363"/>
                  </a:lnTo>
                  <a:lnTo>
                    <a:pt x="13159" y="9346"/>
                  </a:lnTo>
                  <a:lnTo>
                    <a:pt x="13247" y="9314"/>
                  </a:lnTo>
                  <a:lnTo>
                    <a:pt x="13258" y="9305"/>
                  </a:lnTo>
                  <a:lnTo>
                    <a:pt x="13262" y="9290"/>
                  </a:lnTo>
                  <a:lnTo>
                    <a:pt x="13269" y="9287"/>
                  </a:lnTo>
                  <a:lnTo>
                    <a:pt x="13315" y="9283"/>
                  </a:lnTo>
                  <a:lnTo>
                    <a:pt x="13322" y="9278"/>
                  </a:lnTo>
                  <a:lnTo>
                    <a:pt x="13338" y="9261"/>
                  </a:lnTo>
                  <a:lnTo>
                    <a:pt x="13350" y="9254"/>
                  </a:lnTo>
                  <a:lnTo>
                    <a:pt x="13371" y="9237"/>
                  </a:lnTo>
                  <a:lnTo>
                    <a:pt x="13377" y="9230"/>
                  </a:lnTo>
                  <a:lnTo>
                    <a:pt x="13386" y="9201"/>
                  </a:lnTo>
                  <a:lnTo>
                    <a:pt x="13371" y="9181"/>
                  </a:lnTo>
                  <a:lnTo>
                    <a:pt x="13346" y="9165"/>
                  </a:lnTo>
                  <a:close/>
                  <a:moveTo>
                    <a:pt x="14046" y="9187"/>
                  </a:moveTo>
                  <a:lnTo>
                    <a:pt x="14046" y="9187"/>
                  </a:lnTo>
                  <a:lnTo>
                    <a:pt x="14027" y="9164"/>
                  </a:lnTo>
                  <a:lnTo>
                    <a:pt x="14003" y="9145"/>
                  </a:lnTo>
                  <a:lnTo>
                    <a:pt x="13980" y="9136"/>
                  </a:lnTo>
                  <a:lnTo>
                    <a:pt x="13953" y="9133"/>
                  </a:lnTo>
                  <a:lnTo>
                    <a:pt x="13941" y="9129"/>
                  </a:lnTo>
                  <a:lnTo>
                    <a:pt x="13929" y="9121"/>
                  </a:lnTo>
                  <a:lnTo>
                    <a:pt x="13919" y="9116"/>
                  </a:lnTo>
                  <a:lnTo>
                    <a:pt x="13892" y="9112"/>
                  </a:lnTo>
                  <a:lnTo>
                    <a:pt x="13845" y="9099"/>
                  </a:lnTo>
                  <a:lnTo>
                    <a:pt x="13825" y="9088"/>
                  </a:lnTo>
                  <a:lnTo>
                    <a:pt x="13814" y="9089"/>
                  </a:lnTo>
                  <a:lnTo>
                    <a:pt x="13756" y="9111"/>
                  </a:lnTo>
                  <a:lnTo>
                    <a:pt x="13745" y="9119"/>
                  </a:lnTo>
                  <a:lnTo>
                    <a:pt x="13688" y="9177"/>
                  </a:lnTo>
                  <a:lnTo>
                    <a:pt x="13679" y="9183"/>
                  </a:lnTo>
                  <a:lnTo>
                    <a:pt x="13660" y="9193"/>
                  </a:lnTo>
                  <a:lnTo>
                    <a:pt x="13650" y="9201"/>
                  </a:lnTo>
                  <a:lnTo>
                    <a:pt x="13647" y="9206"/>
                  </a:lnTo>
                  <a:lnTo>
                    <a:pt x="13642" y="9217"/>
                  </a:lnTo>
                  <a:lnTo>
                    <a:pt x="13639" y="9221"/>
                  </a:lnTo>
                  <a:lnTo>
                    <a:pt x="13634" y="9223"/>
                  </a:lnTo>
                  <a:lnTo>
                    <a:pt x="13621" y="9225"/>
                  </a:lnTo>
                  <a:lnTo>
                    <a:pt x="13617" y="9226"/>
                  </a:lnTo>
                  <a:lnTo>
                    <a:pt x="13604" y="9246"/>
                  </a:lnTo>
                  <a:lnTo>
                    <a:pt x="13607" y="9273"/>
                  </a:lnTo>
                  <a:lnTo>
                    <a:pt x="13626" y="9327"/>
                  </a:lnTo>
                  <a:lnTo>
                    <a:pt x="13628" y="9342"/>
                  </a:lnTo>
                  <a:lnTo>
                    <a:pt x="13626" y="9383"/>
                  </a:lnTo>
                  <a:lnTo>
                    <a:pt x="13619" y="9412"/>
                  </a:lnTo>
                  <a:lnTo>
                    <a:pt x="13619" y="9425"/>
                  </a:lnTo>
                  <a:lnTo>
                    <a:pt x="13630" y="9430"/>
                  </a:lnTo>
                  <a:lnTo>
                    <a:pt x="13627" y="9437"/>
                  </a:lnTo>
                  <a:lnTo>
                    <a:pt x="13617" y="9457"/>
                  </a:lnTo>
                  <a:lnTo>
                    <a:pt x="13612" y="9452"/>
                  </a:lnTo>
                  <a:lnTo>
                    <a:pt x="13608" y="9445"/>
                  </a:lnTo>
                  <a:lnTo>
                    <a:pt x="13605" y="9438"/>
                  </a:lnTo>
                  <a:lnTo>
                    <a:pt x="13603" y="9435"/>
                  </a:lnTo>
                  <a:lnTo>
                    <a:pt x="13597" y="9435"/>
                  </a:lnTo>
                  <a:lnTo>
                    <a:pt x="13593" y="9438"/>
                  </a:lnTo>
                  <a:lnTo>
                    <a:pt x="13589" y="9441"/>
                  </a:lnTo>
                  <a:lnTo>
                    <a:pt x="13586" y="9444"/>
                  </a:lnTo>
                  <a:lnTo>
                    <a:pt x="13580" y="9443"/>
                  </a:lnTo>
                  <a:lnTo>
                    <a:pt x="13572" y="9440"/>
                  </a:lnTo>
                  <a:lnTo>
                    <a:pt x="13566" y="9440"/>
                  </a:lnTo>
                  <a:lnTo>
                    <a:pt x="13564" y="9446"/>
                  </a:lnTo>
                  <a:lnTo>
                    <a:pt x="13562" y="9450"/>
                  </a:lnTo>
                  <a:lnTo>
                    <a:pt x="13559" y="9455"/>
                  </a:lnTo>
                  <a:lnTo>
                    <a:pt x="13556" y="9459"/>
                  </a:lnTo>
                  <a:lnTo>
                    <a:pt x="13552" y="9461"/>
                  </a:lnTo>
                  <a:lnTo>
                    <a:pt x="13538" y="9460"/>
                  </a:lnTo>
                  <a:lnTo>
                    <a:pt x="13524" y="9457"/>
                  </a:lnTo>
                  <a:lnTo>
                    <a:pt x="13501" y="9448"/>
                  </a:lnTo>
                  <a:lnTo>
                    <a:pt x="13498" y="9442"/>
                  </a:lnTo>
                  <a:lnTo>
                    <a:pt x="13496" y="9434"/>
                  </a:lnTo>
                  <a:lnTo>
                    <a:pt x="13493" y="9428"/>
                  </a:lnTo>
                  <a:lnTo>
                    <a:pt x="13486" y="9432"/>
                  </a:lnTo>
                  <a:lnTo>
                    <a:pt x="13475" y="9444"/>
                  </a:lnTo>
                  <a:lnTo>
                    <a:pt x="13471" y="9450"/>
                  </a:lnTo>
                  <a:lnTo>
                    <a:pt x="13470" y="9459"/>
                  </a:lnTo>
                  <a:lnTo>
                    <a:pt x="13472" y="9474"/>
                  </a:lnTo>
                  <a:lnTo>
                    <a:pt x="13477" y="9484"/>
                  </a:lnTo>
                  <a:lnTo>
                    <a:pt x="13485" y="9491"/>
                  </a:lnTo>
                  <a:lnTo>
                    <a:pt x="13524" y="9513"/>
                  </a:lnTo>
                  <a:lnTo>
                    <a:pt x="13535" y="9515"/>
                  </a:lnTo>
                  <a:lnTo>
                    <a:pt x="13544" y="9513"/>
                  </a:lnTo>
                  <a:lnTo>
                    <a:pt x="13547" y="9510"/>
                  </a:lnTo>
                  <a:lnTo>
                    <a:pt x="13551" y="9509"/>
                  </a:lnTo>
                  <a:lnTo>
                    <a:pt x="13559" y="9515"/>
                  </a:lnTo>
                  <a:lnTo>
                    <a:pt x="13563" y="9521"/>
                  </a:lnTo>
                  <a:lnTo>
                    <a:pt x="13568" y="9536"/>
                  </a:lnTo>
                  <a:lnTo>
                    <a:pt x="13572" y="9542"/>
                  </a:lnTo>
                  <a:lnTo>
                    <a:pt x="13577" y="9545"/>
                  </a:lnTo>
                  <a:lnTo>
                    <a:pt x="13583" y="9548"/>
                  </a:lnTo>
                  <a:lnTo>
                    <a:pt x="13590" y="9548"/>
                  </a:lnTo>
                  <a:lnTo>
                    <a:pt x="13597" y="9544"/>
                  </a:lnTo>
                  <a:lnTo>
                    <a:pt x="13594" y="9531"/>
                  </a:lnTo>
                  <a:lnTo>
                    <a:pt x="13594" y="9523"/>
                  </a:lnTo>
                  <a:lnTo>
                    <a:pt x="13597" y="9519"/>
                  </a:lnTo>
                  <a:lnTo>
                    <a:pt x="13603" y="9518"/>
                  </a:lnTo>
                  <a:lnTo>
                    <a:pt x="13609" y="9515"/>
                  </a:lnTo>
                  <a:lnTo>
                    <a:pt x="13615" y="9514"/>
                  </a:lnTo>
                  <a:lnTo>
                    <a:pt x="13621" y="9515"/>
                  </a:lnTo>
                  <a:lnTo>
                    <a:pt x="13625" y="9520"/>
                  </a:lnTo>
                  <a:lnTo>
                    <a:pt x="13624" y="9525"/>
                  </a:lnTo>
                  <a:lnTo>
                    <a:pt x="13619" y="9529"/>
                  </a:lnTo>
                  <a:lnTo>
                    <a:pt x="13612" y="9532"/>
                  </a:lnTo>
                  <a:lnTo>
                    <a:pt x="13621" y="9539"/>
                  </a:lnTo>
                  <a:lnTo>
                    <a:pt x="13629" y="9540"/>
                  </a:lnTo>
                  <a:lnTo>
                    <a:pt x="13636" y="9535"/>
                  </a:lnTo>
                  <a:lnTo>
                    <a:pt x="13639" y="9526"/>
                  </a:lnTo>
                  <a:lnTo>
                    <a:pt x="13669" y="9527"/>
                  </a:lnTo>
                  <a:lnTo>
                    <a:pt x="13679" y="9529"/>
                  </a:lnTo>
                  <a:lnTo>
                    <a:pt x="13686" y="9534"/>
                  </a:lnTo>
                  <a:lnTo>
                    <a:pt x="13698" y="9552"/>
                  </a:lnTo>
                  <a:lnTo>
                    <a:pt x="13703" y="9555"/>
                  </a:lnTo>
                  <a:lnTo>
                    <a:pt x="13708" y="9554"/>
                  </a:lnTo>
                  <a:lnTo>
                    <a:pt x="13716" y="9548"/>
                  </a:lnTo>
                  <a:lnTo>
                    <a:pt x="13723" y="9546"/>
                  </a:lnTo>
                  <a:lnTo>
                    <a:pt x="13728" y="9547"/>
                  </a:lnTo>
                  <a:lnTo>
                    <a:pt x="13732" y="9554"/>
                  </a:lnTo>
                  <a:lnTo>
                    <a:pt x="13736" y="9555"/>
                  </a:lnTo>
                  <a:lnTo>
                    <a:pt x="13747" y="9554"/>
                  </a:lnTo>
                  <a:lnTo>
                    <a:pt x="13771" y="9544"/>
                  </a:lnTo>
                  <a:lnTo>
                    <a:pt x="13783" y="9542"/>
                  </a:lnTo>
                  <a:lnTo>
                    <a:pt x="13789" y="9544"/>
                  </a:lnTo>
                  <a:lnTo>
                    <a:pt x="13792" y="9550"/>
                  </a:lnTo>
                  <a:lnTo>
                    <a:pt x="13795" y="9556"/>
                  </a:lnTo>
                  <a:lnTo>
                    <a:pt x="13798" y="9560"/>
                  </a:lnTo>
                  <a:lnTo>
                    <a:pt x="13804" y="9558"/>
                  </a:lnTo>
                  <a:lnTo>
                    <a:pt x="13810" y="9550"/>
                  </a:lnTo>
                  <a:lnTo>
                    <a:pt x="13816" y="9550"/>
                  </a:lnTo>
                  <a:lnTo>
                    <a:pt x="13822" y="9558"/>
                  </a:lnTo>
                  <a:lnTo>
                    <a:pt x="13822" y="9567"/>
                  </a:lnTo>
                  <a:lnTo>
                    <a:pt x="13822" y="9574"/>
                  </a:lnTo>
                  <a:lnTo>
                    <a:pt x="13831" y="9578"/>
                  </a:lnTo>
                  <a:lnTo>
                    <a:pt x="13835" y="9571"/>
                  </a:lnTo>
                  <a:lnTo>
                    <a:pt x="13847" y="9532"/>
                  </a:lnTo>
                  <a:lnTo>
                    <a:pt x="13842" y="9520"/>
                  </a:lnTo>
                  <a:lnTo>
                    <a:pt x="13851" y="9508"/>
                  </a:lnTo>
                  <a:lnTo>
                    <a:pt x="13865" y="9499"/>
                  </a:lnTo>
                  <a:lnTo>
                    <a:pt x="13880" y="9497"/>
                  </a:lnTo>
                  <a:lnTo>
                    <a:pt x="13886" y="9498"/>
                  </a:lnTo>
                  <a:lnTo>
                    <a:pt x="13889" y="9503"/>
                  </a:lnTo>
                  <a:lnTo>
                    <a:pt x="13880" y="9520"/>
                  </a:lnTo>
                  <a:lnTo>
                    <a:pt x="13874" y="9538"/>
                  </a:lnTo>
                  <a:lnTo>
                    <a:pt x="13869" y="9546"/>
                  </a:lnTo>
                  <a:lnTo>
                    <a:pt x="13873" y="9551"/>
                  </a:lnTo>
                  <a:lnTo>
                    <a:pt x="13878" y="9555"/>
                  </a:lnTo>
                  <a:lnTo>
                    <a:pt x="13902" y="9545"/>
                  </a:lnTo>
                  <a:lnTo>
                    <a:pt x="13927" y="9543"/>
                  </a:lnTo>
                  <a:lnTo>
                    <a:pt x="13948" y="9539"/>
                  </a:lnTo>
                  <a:lnTo>
                    <a:pt x="13962" y="9519"/>
                  </a:lnTo>
                  <a:lnTo>
                    <a:pt x="13951" y="9519"/>
                  </a:lnTo>
                  <a:lnTo>
                    <a:pt x="13940" y="9515"/>
                  </a:lnTo>
                  <a:lnTo>
                    <a:pt x="13933" y="9509"/>
                  </a:lnTo>
                  <a:lnTo>
                    <a:pt x="13932" y="9497"/>
                  </a:lnTo>
                  <a:lnTo>
                    <a:pt x="13923" y="9502"/>
                  </a:lnTo>
                  <a:lnTo>
                    <a:pt x="13915" y="9510"/>
                  </a:lnTo>
                  <a:lnTo>
                    <a:pt x="13907" y="9516"/>
                  </a:lnTo>
                  <a:lnTo>
                    <a:pt x="13900" y="9515"/>
                  </a:lnTo>
                  <a:lnTo>
                    <a:pt x="13898" y="9508"/>
                  </a:lnTo>
                  <a:lnTo>
                    <a:pt x="13899" y="9499"/>
                  </a:lnTo>
                  <a:lnTo>
                    <a:pt x="13905" y="9484"/>
                  </a:lnTo>
                  <a:lnTo>
                    <a:pt x="13915" y="9470"/>
                  </a:lnTo>
                  <a:lnTo>
                    <a:pt x="13940" y="9447"/>
                  </a:lnTo>
                  <a:lnTo>
                    <a:pt x="13949" y="9417"/>
                  </a:lnTo>
                  <a:lnTo>
                    <a:pt x="13967" y="9386"/>
                  </a:lnTo>
                  <a:lnTo>
                    <a:pt x="13971" y="9370"/>
                  </a:lnTo>
                  <a:lnTo>
                    <a:pt x="13977" y="9357"/>
                  </a:lnTo>
                  <a:lnTo>
                    <a:pt x="14003" y="9330"/>
                  </a:lnTo>
                  <a:lnTo>
                    <a:pt x="14011" y="9319"/>
                  </a:lnTo>
                  <a:lnTo>
                    <a:pt x="14014" y="9270"/>
                  </a:lnTo>
                  <a:lnTo>
                    <a:pt x="14018" y="9261"/>
                  </a:lnTo>
                  <a:lnTo>
                    <a:pt x="14025" y="9255"/>
                  </a:lnTo>
                  <a:lnTo>
                    <a:pt x="14046" y="9223"/>
                  </a:lnTo>
                  <a:lnTo>
                    <a:pt x="14051" y="9212"/>
                  </a:lnTo>
                  <a:lnTo>
                    <a:pt x="14046" y="9187"/>
                  </a:lnTo>
                  <a:close/>
                  <a:moveTo>
                    <a:pt x="19095" y="9112"/>
                  </a:moveTo>
                  <a:lnTo>
                    <a:pt x="19095" y="9112"/>
                  </a:lnTo>
                  <a:lnTo>
                    <a:pt x="19088" y="9116"/>
                  </a:lnTo>
                  <a:lnTo>
                    <a:pt x="19079" y="9125"/>
                  </a:lnTo>
                  <a:lnTo>
                    <a:pt x="19076" y="9128"/>
                  </a:lnTo>
                  <a:lnTo>
                    <a:pt x="19070" y="9129"/>
                  </a:lnTo>
                  <a:lnTo>
                    <a:pt x="19049" y="9132"/>
                  </a:lnTo>
                  <a:lnTo>
                    <a:pt x="19009" y="9157"/>
                  </a:lnTo>
                  <a:lnTo>
                    <a:pt x="19007" y="9166"/>
                  </a:lnTo>
                  <a:lnTo>
                    <a:pt x="18993" y="9190"/>
                  </a:lnTo>
                  <a:lnTo>
                    <a:pt x="18987" y="9199"/>
                  </a:lnTo>
                  <a:lnTo>
                    <a:pt x="18967" y="9215"/>
                  </a:lnTo>
                  <a:lnTo>
                    <a:pt x="18959" y="9226"/>
                  </a:lnTo>
                  <a:lnTo>
                    <a:pt x="18963" y="9236"/>
                  </a:lnTo>
                  <a:lnTo>
                    <a:pt x="18967" y="9243"/>
                  </a:lnTo>
                  <a:lnTo>
                    <a:pt x="18970" y="9249"/>
                  </a:lnTo>
                  <a:lnTo>
                    <a:pt x="18974" y="9254"/>
                  </a:lnTo>
                  <a:lnTo>
                    <a:pt x="18983" y="9257"/>
                  </a:lnTo>
                  <a:lnTo>
                    <a:pt x="18985" y="9255"/>
                  </a:lnTo>
                  <a:lnTo>
                    <a:pt x="18996" y="9249"/>
                  </a:lnTo>
                  <a:lnTo>
                    <a:pt x="19000" y="9248"/>
                  </a:lnTo>
                  <a:lnTo>
                    <a:pt x="19007" y="9251"/>
                  </a:lnTo>
                  <a:lnTo>
                    <a:pt x="19014" y="9260"/>
                  </a:lnTo>
                  <a:lnTo>
                    <a:pt x="19020" y="9261"/>
                  </a:lnTo>
                  <a:lnTo>
                    <a:pt x="19027" y="9259"/>
                  </a:lnTo>
                  <a:lnTo>
                    <a:pt x="19031" y="9255"/>
                  </a:lnTo>
                  <a:lnTo>
                    <a:pt x="19034" y="9250"/>
                  </a:lnTo>
                  <a:lnTo>
                    <a:pt x="19038" y="9248"/>
                  </a:lnTo>
                  <a:lnTo>
                    <a:pt x="19042" y="9247"/>
                  </a:lnTo>
                  <a:lnTo>
                    <a:pt x="19058" y="9239"/>
                  </a:lnTo>
                  <a:lnTo>
                    <a:pt x="19064" y="9237"/>
                  </a:lnTo>
                  <a:lnTo>
                    <a:pt x="19068" y="9237"/>
                  </a:lnTo>
                  <a:lnTo>
                    <a:pt x="19080" y="9239"/>
                  </a:lnTo>
                  <a:lnTo>
                    <a:pt x="19084" y="9241"/>
                  </a:lnTo>
                  <a:lnTo>
                    <a:pt x="19092" y="9247"/>
                  </a:lnTo>
                  <a:lnTo>
                    <a:pt x="19096" y="9248"/>
                  </a:lnTo>
                  <a:lnTo>
                    <a:pt x="19099" y="9247"/>
                  </a:lnTo>
                  <a:lnTo>
                    <a:pt x="19105" y="9244"/>
                  </a:lnTo>
                  <a:lnTo>
                    <a:pt x="19116" y="9242"/>
                  </a:lnTo>
                  <a:lnTo>
                    <a:pt x="19129" y="9236"/>
                  </a:lnTo>
                  <a:lnTo>
                    <a:pt x="19142" y="9233"/>
                  </a:lnTo>
                  <a:lnTo>
                    <a:pt x="19157" y="9224"/>
                  </a:lnTo>
                  <a:lnTo>
                    <a:pt x="19164" y="9221"/>
                  </a:lnTo>
                  <a:lnTo>
                    <a:pt x="19171" y="9220"/>
                  </a:lnTo>
                  <a:lnTo>
                    <a:pt x="19177" y="9220"/>
                  </a:lnTo>
                  <a:lnTo>
                    <a:pt x="19213" y="9224"/>
                  </a:lnTo>
                  <a:lnTo>
                    <a:pt x="19239" y="9223"/>
                  </a:lnTo>
                  <a:lnTo>
                    <a:pt x="19347" y="9203"/>
                  </a:lnTo>
                  <a:lnTo>
                    <a:pt x="19404" y="9199"/>
                  </a:lnTo>
                  <a:lnTo>
                    <a:pt x="19441" y="9191"/>
                  </a:lnTo>
                  <a:lnTo>
                    <a:pt x="19455" y="9190"/>
                  </a:lnTo>
                  <a:lnTo>
                    <a:pt x="19470" y="9187"/>
                  </a:lnTo>
                  <a:lnTo>
                    <a:pt x="19477" y="9178"/>
                  </a:lnTo>
                  <a:lnTo>
                    <a:pt x="19479" y="9166"/>
                  </a:lnTo>
                  <a:lnTo>
                    <a:pt x="19480" y="9109"/>
                  </a:lnTo>
                  <a:lnTo>
                    <a:pt x="19477" y="9099"/>
                  </a:lnTo>
                  <a:lnTo>
                    <a:pt x="19471" y="9091"/>
                  </a:lnTo>
                  <a:lnTo>
                    <a:pt x="19457" y="9070"/>
                  </a:lnTo>
                  <a:lnTo>
                    <a:pt x="19450" y="9063"/>
                  </a:lnTo>
                  <a:lnTo>
                    <a:pt x="19447" y="9061"/>
                  </a:lnTo>
                  <a:lnTo>
                    <a:pt x="19443" y="9061"/>
                  </a:lnTo>
                  <a:lnTo>
                    <a:pt x="19420" y="9060"/>
                  </a:lnTo>
                  <a:lnTo>
                    <a:pt x="19388" y="9065"/>
                  </a:lnTo>
                  <a:lnTo>
                    <a:pt x="19380" y="9064"/>
                  </a:lnTo>
                  <a:lnTo>
                    <a:pt x="19375" y="9061"/>
                  </a:lnTo>
                  <a:lnTo>
                    <a:pt x="19371" y="9058"/>
                  </a:lnTo>
                  <a:lnTo>
                    <a:pt x="19368" y="9056"/>
                  </a:lnTo>
                  <a:lnTo>
                    <a:pt x="19359" y="9055"/>
                  </a:lnTo>
                  <a:lnTo>
                    <a:pt x="19357" y="9056"/>
                  </a:lnTo>
                  <a:lnTo>
                    <a:pt x="19355" y="9058"/>
                  </a:lnTo>
                  <a:lnTo>
                    <a:pt x="19350" y="9061"/>
                  </a:lnTo>
                  <a:lnTo>
                    <a:pt x="19325" y="9067"/>
                  </a:lnTo>
                  <a:lnTo>
                    <a:pt x="19244" y="9061"/>
                  </a:lnTo>
                  <a:lnTo>
                    <a:pt x="19189" y="9065"/>
                  </a:lnTo>
                  <a:lnTo>
                    <a:pt x="19174" y="9068"/>
                  </a:lnTo>
                  <a:lnTo>
                    <a:pt x="19160" y="9075"/>
                  </a:lnTo>
                  <a:lnTo>
                    <a:pt x="19134" y="9092"/>
                  </a:lnTo>
                  <a:lnTo>
                    <a:pt x="19125" y="9081"/>
                  </a:lnTo>
                  <a:lnTo>
                    <a:pt x="19122" y="9053"/>
                  </a:lnTo>
                  <a:lnTo>
                    <a:pt x="19112" y="9043"/>
                  </a:lnTo>
                  <a:lnTo>
                    <a:pt x="19096" y="9042"/>
                  </a:lnTo>
                  <a:lnTo>
                    <a:pt x="19065" y="9048"/>
                  </a:lnTo>
                  <a:lnTo>
                    <a:pt x="19051" y="9044"/>
                  </a:lnTo>
                  <a:lnTo>
                    <a:pt x="19043" y="9048"/>
                  </a:lnTo>
                  <a:lnTo>
                    <a:pt x="19035" y="9055"/>
                  </a:lnTo>
                  <a:lnTo>
                    <a:pt x="19029" y="9063"/>
                  </a:lnTo>
                  <a:lnTo>
                    <a:pt x="19027" y="9072"/>
                  </a:lnTo>
                  <a:lnTo>
                    <a:pt x="19024" y="9082"/>
                  </a:lnTo>
                  <a:lnTo>
                    <a:pt x="19015" y="9089"/>
                  </a:lnTo>
                  <a:lnTo>
                    <a:pt x="19006" y="9095"/>
                  </a:lnTo>
                  <a:lnTo>
                    <a:pt x="19000" y="9101"/>
                  </a:lnTo>
                  <a:lnTo>
                    <a:pt x="18997" y="9130"/>
                  </a:lnTo>
                  <a:lnTo>
                    <a:pt x="19016" y="9132"/>
                  </a:lnTo>
                  <a:lnTo>
                    <a:pt x="19063" y="9109"/>
                  </a:lnTo>
                  <a:lnTo>
                    <a:pt x="19077" y="9104"/>
                  </a:lnTo>
                  <a:lnTo>
                    <a:pt x="19092" y="9101"/>
                  </a:lnTo>
                  <a:lnTo>
                    <a:pt x="19098" y="9103"/>
                  </a:lnTo>
                  <a:lnTo>
                    <a:pt x="19098" y="9108"/>
                  </a:lnTo>
                  <a:lnTo>
                    <a:pt x="19095" y="9112"/>
                  </a:lnTo>
                  <a:close/>
                  <a:moveTo>
                    <a:pt x="20576" y="8771"/>
                  </a:moveTo>
                  <a:lnTo>
                    <a:pt x="20576" y="8771"/>
                  </a:lnTo>
                  <a:lnTo>
                    <a:pt x="20573" y="8761"/>
                  </a:lnTo>
                  <a:lnTo>
                    <a:pt x="20568" y="8751"/>
                  </a:lnTo>
                  <a:lnTo>
                    <a:pt x="20563" y="8743"/>
                  </a:lnTo>
                  <a:lnTo>
                    <a:pt x="20554" y="8740"/>
                  </a:lnTo>
                  <a:lnTo>
                    <a:pt x="20514" y="8745"/>
                  </a:lnTo>
                  <a:lnTo>
                    <a:pt x="20504" y="8743"/>
                  </a:lnTo>
                  <a:lnTo>
                    <a:pt x="20497" y="8737"/>
                  </a:lnTo>
                  <a:lnTo>
                    <a:pt x="20492" y="8729"/>
                  </a:lnTo>
                  <a:lnTo>
                    <a:pt x="20485" y="8723"/>
                  </a:lnTo>
                  <a:lnTo>
                    <a:pt x="20455" y="8710"/>
                  </a:lnTo>
                  <a:lnTo>
                    <a:pt x="20447" y="8703"/>
                  </a:lnTo>
                  <a:lnTo>
                    <a:pt x="20445" y="8698"/>
                  </a:lnTo>
                  <a:lnTo>
                    <a:pt x="20444" y="8690"/>
                  </a:lnTo>
                  <a:lnTo>
                    <a:pt x="20445" y="8676"/>
                  </a:lnTo>
                  <a:lnTo>
                    <a:pt x="20442" y="8673"/>
                  </a:lnTo>
                  <a:lnTo>
                    <a:pt x="20436" y="8674"/>
                  </a:lnTo>
                  <a:lnTo>
                    <a:pt x="20427" y="8679"/>
                  </a:lnTo>
                  <a:lnTo>
                    <a:pt x="20363" y="8692"/>
                  </a:lnTo>
                  <a:lnTo>
                    <a:pt x="20350" y="8697"/>
                  </a:lnTo>
                  <a:lnTo>
                    <a:pt x="20329" y="8711"/>
                  </a:lnTo>
                  <a:lnTo>
                    <a:pt x="20294" y="8727"/>
                  </a:lnTo>
                  <a:lnTo>
                    <a:pt x="20261" y="8756"/>
                  </a:lnTo>
                  <a:lnTo>
                    <a:pt x="20249" y="8761"/>
                  </a:lnTo>
                  <a:lnTo>
                    <a:pt x="20234" y="8759"/>
                  </a:lnTo>
                  <a:lnTo>
                    <a:pt x="20218" y="8756"/>
                  </a:lnTo>
                  <a:lnTo>
                    <a:pt x="20206" y="8754"/>
                  </a:lnTo>
                  <a:lnTo>
                    <a:pt x="20196" y="8758"/>
                  </a:lnTo>
                  <a:lnTo>
                    <a:pt x="20176" y="8769"/>
                  </a:lnTo>
                  <a:lnTo>
                    <a:pt x="20168" y="8772"/>
                  </a:lnTo>
                  <a:lnTo>
                    <a:pt x="20067" y="8759"/>
                  </a:lnTo>
                  <a:lnTo>
                    <a:pt x="20059" y="8756"/>
                  </a:lnTo>
                  <a:lnTo>
                    <a:pt x="20057" y="8752"/>
                  </a:lnTo>
                  <a:lnTo>
                    <a:pt x="20052" y="8748"/>
                  </a:lnTo>
                  <a:lnTo>
                    <a:pt x="20032" y="8738"/>
                  </a:lnTo>
                  <a:lnTo>
                    <a:pt x="20024" y="8736"/>
                  </a:lnTo>
                  <a:lnTo>
                    <a:pt x="20017" y="8737"/>
                  </a:lnTo>
                  <a:lnTo>
                    <a:pt x="20009" y="8743"/>
                  </a:lnTo>
                  <a:lnTo>
                    <a:pt x="20003" y="8749"/>
                  </a:lnTo>
                  <a:lnTo>
                    <a:pt x="19986" y="8777"/>
                  </a:lnTo>
                  <a:lnTo>
                    <a:pt x="19982" y="8787"/>
                  </a:lnTo>
                  <a:lnTo>
                    <a:pt x="19978" y="8792"/>
                  </a:lnTo>
                  <a:lnTo>
                    <a:pt x="19974" y="8794"/>
                  </a:lnTo>
                  <a:lnTo>
                    <a:pt x="19965" y="8797"/>
                  </a:lnTo>
                  <a:lnTo>
                    <a:pt x="19962" y="8799"/>
                  </a:lnTo>
                  <a:lnTo>
                    <a:pt x="19959" y="8810"/>
                  </a:lnTo>
                  <a:lnTo>
                    <a:pt x="19957" y="8825"/>
                  </a:lnTo>
                  <a:lnTo>
                    <a:pt x="19953" y="8838"/>
                  </a:lnTo>
                  <a:lnTo>
                    <a:pt x="19942" y="8843"/>
                  </a:lnTo>
                  <a:lnTo>
                    <a:pt x="19933" y="8846"/>
                  </a:lnTo>
                  <a:lnTo>
                    <a:pt x="19924" y="8852"/>
                  </a:lnTo>
                  <a:lnTo>
                    <a:pt x="19917" y="8861"/>
                  </a:lnTo>
                  <a:lnTo>
                    <a:pt x="19913" y="8870"/>
                  </a:lnTo>
                  <a:lnTo>
                    <a:pt x="19913" y="8915"/>
                  </a:lnTo>
                  <a:lnTo>
                    <a:pt x="19911" y="8923"/>
                  </a:lnTo>
                  <a:lnTo>
                    <a:pt x="19907" y="8928"/>
                  </a:lnTo>
                  <a:lnTo>
                    <a:pt x="19899" y="8939"/>
                  </a:lnTo>
                  <a:lnTo>
                    <a:pt x="19892" y="8953"/>
                  </a:lnTo>
                  <a:lnTo>
                    <a:pt x="19891" y="8963"/>
                  </a:lnTo>
                  <a:lnTo>
                    <a:pt x="19901" y="8968"/>
                  </a:lnTo>
                  <a:lnTo>
                    <a:pt x="19915" y="8963"/>
                  </a:lnTo>
                  <a:lnTo>
                    <a:pt x="19971" y="8918"/>
                  </a:lnTo>
                  <a:lnTo>
                    <a:pt x="19974" y="8917"/>
                  </a:lnTo>
                  <a:lnTo>
                    <a:pt x="19981" y="8916"/>
                  </a:lnTo>
                  <a:lnTo>
                    <a:pt x="19984" y="8914"/>
                  </a:lnTo>
                  <a:lnTo>
                    <a:pt x="19986" y="8911"/>
                  </a:lnTo>
                  <a:lnTo>
                    <a:pt x="19988" y="8903"/>
                  </a:lnTo>
                  <a:lnTo>
                    <a:pt x="19988" y="8901"/>
                  </a:lnTo>
                  <a:lnTo>
                    <a:pt x="19995" y="8898"/>
                  </a:lnTo>
                  <a:lnTo>
                    <a:pt x="20002" y="8897"/>
                  </a:lnTo>
                  <a:lnTo>
                    <a:pt x="20017" y="8897"/>
                  </a:lnTo>
                  <a:lnTo>
                    <a:pt x="20024" y="8895"/>
                  </a:lnTo>
                  <a:lnTo>
                    <a:pt x="20036" y="8889"/>
                  </a:lnTo>
                  <a:lnTo>
                    <a:pt x="20072" y="8883"/>
                  </a:lnTo>
                  <a:lnTo>
                    <a:pt x="20085" y="8882"/>
                  </a:lnTo>
                  <a:lnTo>
                    <a:pt x="20095" y="8888"/>
                  </a:lnTo>
                  <a:lnTo>
                    <a:pt x="20111" y="8882"/>
                  </a:lnTo>
                  <a:lnTo>
                    <a:pt x="20125" y="8886"/>
                  </a:lnTo>
                  <a:lnTo>
                    <a:pt x="20137" y="8894"/>
                  </a:lnTo>
                  <a:lnTo>
                    <a:pt x="20146" y="8903"/>
                  </a:lnTo>
                  <a:lnTo>
                    <a:pt x="20160" y="8908"/>
                  </a:lnTo>
                  <a:lnTo>
                    <a:pt x="20214" y="8901"/>
                  </a:lnTo>
                  <a:lnTo>
                    <a:pt x="20231" y="8903"/>
                  </a:lnTo>
                  <a:lnTo>
                    <a:pt x="20263" y="8912"/>
                  </a:lnTo>
                  <a:lnTo>
                    <a:pt x="20279" y="8914"/>
                  </a:lnTo>
                  <a:lnTo>
                    <a:pt x="20310" y="8914"/>
                  </a:lnTo>
                  <a:lnTo>
                    <a:pt x="20317" y="8917"/>
                  </a:lnTo>
                  <a:lnTo>
                    <a:pt x="20331" y="8931"/>
                  </a:lnTo>
                  <a:lnTo>
                    <a:pt x="20338" y="8936"/>
                  </a:lnTo>
                  <a:lnTo>
                    <a:pt x="20344" y="8929"/>
                  </a:lnTo>
                  <a:lnTo>
                    <a:pt x="20353" y="8914"/>
                  </a:lnTo>
                  <a:lnTo>
                    <a:pt x="20358" y="8908"/>
                  </a:lnTo>
                  <a:lnTo>
                    <a:pt x="20363" y="8901"/>
                  </a:lnTo>
                  <a:lnTo>
                    <a:pt x="20363" y="8895"/>
                  </a:lnTo>
                  <a:lnTo>
                    <a:pt x="20362" y="8890"/>
                  </a:lnTo>
                  <a:lnTo>
                    <a:pt x="20363" y="8885"/>
                  </a:lnTo>
                  <a:lnTo>
                    <a:pt x="20399" y="8841"/>
                  </a:lnTo>
                  <a:lnTo>
                    <a:pt x="20404" y="8837"/>
                  </a:lnTo>
                  <a:lnTo>
                    <a:pt x="20418" y="8832"/>
                  </a:lnTo>
                  <a:lnTo>
                    <a:pt x="20423" y="8830"/>
                  </a:lnTo>
                  <a:lnTo>
                    <a:pt x="20438" y="8816"/>
                  </a:lnTo>
                  <a:lnTo>
                    <a:pt x="20445" y="8812"/>
                  </a:lnTo>
                  <a:lnTo>
                    <a:pt x="20498" y="8794"/>
                  </a:lnTo>
                  <a:lnTo>
                    <a:pt x="20508" y="8799"/>
                  </a:lnTo>
                  <a:lnTo>
                    <a:pt x="20521" y="8798"/>
                  </a:lnTo>
                  <a:lnTo>
                    <a:pt x="20549" y="8794"/>
                  </a:lnTo>
                  <a:lnTo>
                    <a:pt x="20556" y="8796"/>
                  </a:lnTo>
                  <a:lnTo>
                    <a:pt x="20563" y="8801"/>
                  </a:lnTo>
                  <a:lnTo>
                    <a:pt x="20569" y="8804"/>
                  </a:lnTo>
                  <a:lnTo>
                    <a:pt x="20576" y="8801"/>
                  </a:lnTo>
                  <a:lnTo>
                    <a:pt x="20580" y="8795"/>
                  </a:lnTo>
                  <a:lnTo>
                    <a:pt x="20580" y="8789"/>
                  </a:lnTo>
                  <a:lnTo>
                    <a:pt x="20578" y="8780"/>
                  </a:lnTo>
                  <a:lnTo>
                    <a:pt x="20576" y="8771"/>
                  </a:lnTo>
                  <a:close/>
                  <a:moveTo>
                    <a:pt x="19594" y="4945"/>
                  </a:moveTo>
                  <a:lnTo>
                    <a:pt x="19594" y="4945"/>
                  </a:lnTo>
                  <a:lnTo>
                    <a:pt x="19588" y="4945"/>
                  </a:lnTo>
                  <a:lnTo>
                    <a:pt x="19575" y="4950"/>
                  </a:lnTo>
                  <a:lnTo>
                    <a:pt x="19572" y="4947"/>
                  </a:lnTo>
                  <a:lnTo>
                    <a:pt x="19575" y="4940"/>
                  </a:lnTo>
                  <a:lnTo>
                    <a:pt x="19580" y="4934"/>
                  </a:lnTo>
                  <a:lnTo>
                    <a:pt x="19584" y="4927"/>
                  </a:lnTo>
                  <a:lnTo>
                    <a:pt x="19583" y="4921"/>
                  </a:lnTo>
                  <a:lnTo>
                    <a:pt x="19574" y="4915"/>
                  </a:lnTo>
                  <a:lnTo>
                    <a:pt x="19564" y="4913"/>
                  </a:lnTo>
                  <a:lnTo>
                    <a:pt x="19554" y="4916"/>
                  </a:lnTo>
                  <a:lnTo>
                    <a:pt x="19545" y="4923"/>
                  </a:lnTo>
                  <a:lnTo>
                    <a:pt x="19540" y="4934"/>
                  </a:lnTo>
                  <a:lnTo>
                    <a:pt x="19537" y="4942"/>
                  </a:lnTo>
                  <a:lnTo>
                    <a:pt x="19536" y="4947"/>
                  </a:lnTo>
                  <a:lnTo>
                    <a:pt x="19533" y="4952"/>
                  </a:lnTo>
                  <a:lnTo>
                    <a:pt x="19525" y="4953"/>
                  </a:lnTo>
                  <a:lnTo>
                    <a:pt x="19518" y="4952"/>
                  </a:lnTo>
                  <a:lnTo>
                    <a:pt x="19514" y="4947"/>
                  </a:lnTo>
                  <a:lnTo>
                    <a:pt x="19517" y="4923"/>
                  </a:lnTo>
                  <a:lnTo>
                    <a:pt x="19517" y="4909"/>
                  </a:lnTo>
                  <a:lnTo>
                    <a:pt x="19510" y="4897"/>
                  </a:lnTo>
                  <a:lnTo>
                    <a:pt x="19487" y="4893"/>
                  </a:lnTo>
                  <a:lnTo>
                    <a:pt x="19482" y="4891"/>
                  </a:lnTo>
                  <a:lnTo>
                    <a:pt x="19479" y="4888"/>
                  </a:lnTo>
                  <a:lnTo>
                    <a:pt x="19475" y="4885"/>
                  </a:lnTo>
                  <a:lnTo>
                    <a:pt x="19468" y="4883"/>
                  </a:lnTo>
                  <a:lnTo>
                    <a:pt x="19465" y="4890"/>
                  </a:lnTo>
                  <a:lnTo>
                    <a:pt x="19457" y="4918"/>
                  </a:lnTo>
                  <a:lnTo>
                    <a:pt x="19453" y="4928"/>
                  </a:lnTo>
                  <a:lnTo>
                    <a:pt x="19455" y="4929"/>
                  </a:lnTo>
                  <a:lnTo>
                    <a:pt x="19462" y="4932"/>
                  </a:lnTo>
                  <a:lnTo>
                    <a:pt x="19452" y="4936"/>
                  </a:lnTo>
                  <a:lnTo>
                    <a:pt x="19443" y="4936"/>
                  </a:lnTo>
                  <a:lnTo>
                    <a:pt x="19434" y="4933"/>
                  </a:lnTo>
                  <a:lnTo>
                    <a:pt x="19426" y="4928"/>
                  </a:lnTo>
                  <a:lnTo>
                    <a:pt x="19425" y="4931"/>
                  </a:lnTo>
                  <a:lnTo>
                    <a:pt x="19423" y="4934"/>
                  </a:lnTo>
                  <a:lnTo>
                    <a:pt x="19421" y="4936"/>
                  </a:lnTo>
                  <a:lnTo>
                    <a:pt x="19413" y="4928"/>
                  </a:lnTo>
                  <a:lnTo>
                    <a:pt x="19405" y="4910"/>
                  </a:lnTo>
                  <a:lnTo>
                    <a:pt x="19397" y="4906"/>
                  </a:lnTo>
                  <a:lnTo>
                    <a:pt x="19390" y="4905"/>
                  </a:lnTo>
                  <a:lnTo>
                    <a:pt x="19373" y="4901"/>
                  </a:lnTo>
                  <a:lnTo>
                    <a:pt x="19370" y="4899"/>
                  </a:lnTo>
                  <a:lnTo>
                    <a:pt x="19365" y="4894"/>
                  </a:lnTo>
                  <a:lnTo>
                    <a:pt x="19362" y="4892"/>
                  </a:lnTo>
                  <a:lnTo>
                    <a:pt x="19358" y="4893"/>
                  </a:lnTo>
                  <a:lnTo>
                    <a:pt x="19354" y="4896"/>
                  </a:lnTo>
                  <a:lnTo>
                    <a:pt x="19350" y="4897"/>
                  </a:lnTo>
                  <a:lnTo>
                    <a:pt x="19307" y="4890"/>
                  </a:lnTo>
                  <a:lnTo>
                    <a:pt x="19271" y="4875"/>
                  </a:lnTo>
                  <a:lnTo>
                    <a:pt x="19233" y="4872"/>
                  </a:lnTo>
                  <a:lnTo>
                    <a:pt x="19224" y="4868"/>
                  </a:lnTo>
                  <a:lnTo>
                    <a:pt x="19215" y="4863"/>
                  </a:lnTo>
                  <a:lnTo>
                    <a:pt x="19188" y="4855"/>
                  </a:lnTo>
                  <a:lnTo>
                    <a:pt x="19153" y="4850"/>
                  </a:lnTo>
                  <a:lnTo>
                    <a:pt x="19127" y="4852"/>
                  </a:lnTo>
                  <a:lnTo>
                    <a:pt x="19103" y="4857"/>
                  </a:lnTo>
                  <a:lnTo>
                    <a:pt x="19085" y="4866"/>
                  </a:lnTo>
                  <a:lnTo>
                    <a:pt x="19086" y="4853"/>
                  </a:lnTo>
                  <a:lnTo>
                    <a:pt x="19084" y="4847"/>
                  </a:lnTo>
                  <a:lnTo>
                    <a:pt x="19079" y="4847"/>
                  </a:lnTo>
                  <a:lnTo>
                    <a:pt x="19069" y="4855"/>
                  </a:lnTo>
                  <a:lnTo>
                    <a:pt x="19060" y="4860"/>
                  </a:lnTo>
                  <a:lnTo>
                    <a:pt x="19030" y="4865"/>
                  </a:lnTo>
                  <a:lnTo>
                    <a:pt x="19018" y="4866"/>
                  </a:lnTo>
                  <a:lnTo>
                    <a:pt x="18992" y="4874"/>
                  </a:lnTo>
                  <a:lnTo>
                    <a:pt x="18985" y="4898"/>
                  </a:lnTo>
                  <a:lnTo>
                    <a:pt x="18982" y="4927"/>
                  </a:lnTo>
                  <a:lnTo>
                    <a:pt x="18972" y="4952"/>
                  </a:lnTo>
                  <a:lnTo>
                    <a:pt x="18962" y="4964"/>
                  </a:lnTo>
                  <a:lnTo>
                    <a:pt x="18958" y="4976"/>
                  </a:lnTo>
                  <a:lnTo>
                    <a:pt x="18956" y="5004"/>
                  </a:lnTo>
                  <a:lnTo>
                    <a:pt x="18961" y="5016"/>
                  </a:lnTo>
                  <a:lnTo>
                    <a:pt x="18997" y="5071"/>
                  </a:lnTo>
                  <a:lnTo>
                    <a:pt x="19000" y="5082"/>
                  </a:lnTo>
                  <a:lnTo>
                    <a:pt x="19006" y="5090"/>
                  </a:lnTo>
                  <a:lnTo>
                    <a:pt x="19022" y="5095"/>
                  </a:lnTo>
                  <a:lnTo>
                    <a:pt x="19036" y="5095"/>
                  </a:lnTo>
                  <a:lnTo>
                    <a:pt x="19076" y="5091"/>
                  </a:lnTo>
                  <a:lnTo>
                    <a:pt x="19095" y="5091"/>
                  </a:lnTo>
                  <a:lnTo>
                    <a:pt x="19102" y="5091"/>
                  </a:lnTo>
                  <a:lnTo>
                    <a:pt x="19109" y="5088"/>
                  </a:lnTo>
                  <a:lnTo>
                    <a:pt x="19120" y="5084"/>
                  </a:lnTo>
                  <a:lnTo>
                    <a:pt x="19178" y="5068"/>
                  </a:lnTo>
                  <a:lnTo>
                    <a:pt x="19204" y="5057"/>
                  </a:lnTo>
                  <a:lnTo>
                    <a:pt x="19252" y="5028"/>
                  </a:lnTo>
                  <a:lnTo>
                    <a:pt x="19279" y="5020"/>
                  </a:lnTo>
                  <a:lnTo>
                    <a:pt x="19295" y="5021"/>
                  </a:lnTo>
                  <a:lnTo>
                    <a:pt x="19320" y="5034"/>
                  </a:lnTo>
                  <a:lnTo>
                    <a:pt x="19335" y="5038"/>
                  </a:lnTo>
                  <a:lnTo>
                    <a:pt x="19356" y="5036"/>
                  </a:lnTo>
                  <a:lnTo>
                    <a:pt x="19364" y="5038"/>
                  </a:lnTo>
                  <a:lnTo>
                    <a:pt x="19382" y="5051"/>
                  </a:lnTo>
                  <a:lnTo>
                    <a:pt x="19399" y="5052"/>
                  </a:lnTo>
                  <a:lnTo>
                    <a:pt x="19404" y="5045"/>
                  </a:lnTo>
                  <a:lnTo>
                    <a:pt x="19405" y="5034"/>
                  </a:lnTo>
                  <a:lnTo>
                    <a:pt x="19410" y="5022"/>
                  </a:lnTo>
                  <a:lnTo>
                    <a:pt x="19423" y="5015"/>
                  </a:lnTo>
                  <a:lnTo>
                    <a:pt x="19436" y="5016"/>
                  </a:lnTo>
                  <a:lnTo>
                    <a:pt x="19449" y="5019"/>
                  </a:lnTo>
                  <a:lnTo>
                    <a:pt x="19462" y="5020"/>
                  </a:lnTo>
                  <a:lnTo>
                    <a:pt x="19469" y="5017"/>
                  </a:lnTo>
                  <a:lnTo>
                    <a:pt x="19479" y="5008"/>
                  </a:lnTo>
                  <a:lnTo>
                    <a:pt x="19486" y="5006"/>
                  </a:lnTo>
                  <a:lnTo>
                    <a:pt x="19493" y="5007"/>
                  </a:lnTo>
                  <a:lnTo>
                    <a:pt x="19506" y="5010"/>
                  </a:lnTo>
                  <a:lnTo>
                    <a:pt x="19512" y="5011"/>
                  </a:lnTo>
                  <a:lnTo>
                    <a:pt x="19553" y="5006"/>
                  </a:lnTo>
                  <a:lnTo>
                    <a:pt x="19567" y="5006"/>
                  </a:lnTo>
                  <a:lnTo>
                    <a:pt x="19590" y="5013"/>
                  </a:lnTo>
                  <a:lnTo>
                    <a:pt x="19596" y="5012"/>
                  </a:lnTo>
                  <a:lnTo>
                    <a:pt x="19598" y="5000"/>
                  </a:lnTo>
                  <a:lnTo>
                    <a:pt x="19597" y="4954"/>
                  </a:lnTo>
                  <a:lnTo>
                    <a:pt x="19594" y="4945"/>
                  </a:lnTo>
                  <a:close/>
                  <a:moveTo>
                    <a:pt x="19944" y="5025"/>
                  </a:moveTo>
                  <a:lnTo>
                    <a:pt x="19944" y="5025"/>
                  </a:lnTo>
                  <a:lnTo>
                    <a:pt x="19954" y="5025"/>
                  </a:lnTo>
                  <a:lnTo>
                    <a:pt x="19964" y="5029"/>
                  </a:lnTo>
                  <a:lnTo>
                    <a:pt x="19978" y="5040"/>
                  </a:lnTo>
                  <a:lnTo>
                    <a:pt x="19990" y="5043"/>
                  </a:lnTo>
                  <a:lnTo>
                    <a:pt x="20004" y="5038"/>
                  </a:lnTo>
                  <a:lnTo>
                    <a:pt x="20024" y="5024"/>
                  </a:lnTo>
                  <a:lnTo>
                    <a:pt x="20031" y="5023"/>
                  </a:lnTo>
                  <a:lnTo>
                    <a:pt x="20053" y="5024"/>
                  </a:lnTo>
                  <a:lnTo>
                    <a:pt x="20069" y="5017"/>
                  </a:lnTo>
                  <a:lnTo>
                    <a:pt x="20075" y="5016"/>
                  </a:lnTo>
                  <a:lnTo>
                    <a:pt x="20130" y="5011"/>
                  </a:lnTo>
                  <a:lnTo>
                    <a:pt x="20145" y="5014"/>
                  </a:lnTo>
                  <a:lnTo>
                    <a:pt x="20153" y="5013"/>
                  </a:lnTo>
                  <a:lnTo>
                    <a:pt x="20157" y="5009"/>
                  </a:lnTo>
                  <a:lnTo>
                    <a:pt x="20160" y="5006"/>
                  </a:lnTo>
                  <a:lnTo>
                    <a:pt x="20167" y="5004"/>
                  </a:lnTo>
                  <a:lnTo>
                    <a:pt x="20182" y="5002"/>
                  </a:lnTo>
                  <a:lnTo>
                    <a:pt x="20204" y="5003"/>
                  </a:lnTo>
                  <a:lnTo>
                    <a:pt x="20213" y="5002"/>
                  </a:lnTo>
                  <a:lnTo>
                    <a:pt x="20254" y="4983"/>
                  </a:lnTo>
                  <a:lnTo>
                    <a:pt x="20259" y="4978"/>
                  </a:lnTo>
                  <a:lnTo>
                    <a:pt x="20260" y="4971"/>
                  </a:lnTo>
                  <a:lnTo>
                    <a:pt x="20260" y="4970"/>
                  </a:lnTo>
                  <a:lnTo>
                    <a:pt x="20258" y="4972"/>
                  </a:lnTo>
                  <a:lnTo>
                    <a:pt x="20250" y="4971"/>
                  </a:lnTo>
                  <a:lnTo>
                    <a:pt x="20224" y="4967"/>
                  </a:lnTo>
                  <a:lnTo>
                    <a:pt x="20112" y="4963"/>
                  </a:lnTo>
                  <a:lnTo>
                    <a:pt x="20033" y="4950"/>
                  </a:lnTo>
                  <a:lnTo>
                    <a:pt x="20002" y="4950"/>
                  </a:lnTo>
                  <a:lnTo>
                    <a:pt x="19926" y="4960"/>
                  </a:lnTo>
                  <a:lnTo>
                    <a:pt x="19900" y="4958"/>
                  </a:lnTo>
                  <a:lnTo>
                    <a:pt x="19885" y="4955"/>
                  </a:lnTo>
                  <a:lnTo>
                    <a:pt x="19879" y="4955"/>
                  </a:lnTo>
                  <a:lnTo>
                    <a:pt x="19865" y="4964"/>
                  </a:lnTo>
                  <a:lnTo>
                    <a:pt x="19858" y="4968"/>
                  </a:lnTo>
                  <a:lnTo>
                    <a:pt x="19851" y="4970"/>
                  </a:lnTo>
                  <a:lnTo>
                    <a:pt x="19845" y="4971"/>
                  </a:lnTo>
                  <a:lnTo>
                    <a:pt x="19795" y="4965"/>
                  </a:lnTo>
                  <a:lnTo>
                    <a:pt x="19785" y="4967"/>
                  </a:lnTo>
                  <a:lnTo>
                    <a:pt x="19772" y="4958"/>
                  </a:lnTo>
                  <a:lnTo>
                    <a:pt x="19752" y="4958"/>
                  </a:lnTo>
                  <a:lnTo>
                    <a:pt x="19712" y="4963"/>
                  </a:lnTo>
                  <a:lnTo>
                    <a:pt x="19708" y="4961"/>
                  </a:lnTo>
                  <a:lnTo>
                    <a:pt x="19707" y="4957"/>
                  </a:lnTo>
                  <a:lnTo>
                    <a:pt x="19706" y="4953"/>
                  </a:lnTo>
                  <a:lnTo>
                    <a:pt x="19706" y="4947"/>
                  </a:lnTo>
                  <a:lnTo>
                    <a:pt x="19703" y="4944"/>
                  </a:lnTo>
                  <a:lnTo>
                    <a:pt x="19697" y="4947"/>
                  </a:lnTo>
                  <a:lnTo>
                    <a:pt x="19687" y="4954"/>
                  </a:lnTo>
                  <a:lnTo>
                    <a:pt x="19675" y="4958"/>
                  </a:lnTo>
                  <a:lnTo>
                    <a:pt x="19669" y="4958"/>
                  </a:lnTo>
                  <a:lnTo>
                    <a:pt x="19663" y="4955"/>
                  </a:lnTo>
                  <a:lnTo>
                    <a:pt x="19655" y="4946"/>
                  </a:lnTo>
                  <a:lnTo>
                    <a:pt x="19650" y="4943"/>
                  </a:lnTo>
                  <a:lnTo>
                    <a:pt x="19643" y="4943"/>
                  </a:lnTo>
                  <a:lnTo>
                    <a:pt x="19638" y="4947"/>
                  </a:lnTo>
                  <a:lnTo>
                    <a:pt x="19635" y="4952"/>
                  </a:lnTo>
                  <a:lnTo>
                    <a:pt x="19635" y="4958"/>
                  </a:lnTo>
                  <a:lnTo>
                    <a:pt x="19624" y="4960"/>
                  </a:lnTo>
                  <a:lnTo>
                    <a:pt x="19615" y="4966"/>
                  </a:lnTo>
                  <a:lnTo>
                    <a:pt x="19609" y="4977"/>
                  </a:lnTo>
                  <a:lnTo>
                    <a:pt x="19607" y="4991"/>
                  </a:lnTo>
                  <a:lnTo>
                    <a:pt x="19608" y="4997"/>
                  </a:lnTo>
                  <a:lnTo>
                    <a:pt x="19611" y="5003"/>
                  </a:lnTo>
                  <a:lnTo>
                    <a:pt x="19616" y="5009"/>
                  </a:lnTo>
                  <a:lnTo>
                    <a:pt x="19621" y="5011"/>
                  </a:lnTo>
                  <a:lnTo>
                    <a:pt x="19627" y="5008"/>
                  </a:lnTo>
                  <a:lnTo>
                    <a:pt x="19631" y="4996"/>
                  </a:lnTo>
                  <a:lnTo>
                    <a:pt x="19637" y="4994"/>
                  </a:lnTo>
                  <a:lnTo>
                    <a:pt x="19664" y="5007"/>
                  </a:lnTo>
                  <a:lnTo>
                    <a:pt x="19670" y="5011"/>
                  </a:lnTo>
                  <a:lnTo>
                    <a:pt x="19673" y="5020"/>
                  </a:lnTo>
                  <a:lnTo>
                    <a:pt x="19674" y="5032"/>
                  </a:lnTo>
                  <a:lnTo>
                    <a:pt x="19674" y="5044"/>
                  </a:lnTo>
                  <a:lnTo>
                    <a:pt x="19670" y="5055"/>
                  </a:lnTo>
                  <a:lnTo>
                    <a:pt x="19693" y="5047"/>
                  </a:lnTo>
                  <a:lnTo>
                    <a:pt x="19703" y="5046"/>
                  </a:lnTo>
                  <a:lnTo>
                    <a:pt x="19734" y="5046"/>
                  </a:lnTo>
                  <a:lnTo>
                    <a:pt x="19748" y="5044"/>
                  </a:lnTo>
                  <a:lnTo>
                    <a:pt x="19778" y="5035"/>
                  </a:lnTo>
                  <a:lnTo>
                    <a:pt x="19792" y="5033"/>
                  </a:lnTo>
                  <a:lnTo>
                    <a:pt x="19900" y="5035"/>
                  </a:lnTo>
                  <a:lnTo>
                    <a:pt x="19944" y="5025"/>
                  </a:lnTo>
                  <a:close/>
                  <a:moveTo>
                    <a:pt x="20035" y="5123"/>
                  </a:moveTo>
                  <a:lnTo>
                    <a:pt x="20035" y="5123"/>
                  </a:lnTo>
                  <a:lnTo>
                    <a:pt x="20037" y="5106"/>
                  </a:lnTo>
                  <a:lnTo>
                    <a:pt x="20036" y="5097"/>
                  </a:lnTo>
                  <a:lnTo>
                    <a:pt x="20033" y="5090"/>
                  </a:lnTo>
                  <a:lnTo>
                    <a:pt x="20027" y="5083"/>
                  </a:lnTo>
                  <a:lnTo>
                    <a:pt x="20008" y="5069"/>
                  </a:lnTo>
                  <a:lnTo>
                    <a:pt x="20001" y="5065"/>
                  </a:lnTo>
                  <a:lnTo>
                    <a:pt x="19994" y="5065"/>
                  </a:lnTo>
                  <a:lnTo>
                    <a:pt x="19988" y="5067"/>
                  </a:lnTo>
                  <a:lnTo>
                    <a:pt x="19983" y="5071"/>
                  </a:lnTo>
                  <a:lnTo>
                    <a:pt x="19974" y="5080"/>
                  </a:lnTo>
                  <a:lnTo>
                    <a:pt x="19959" y="5099"/>
                  </a:lnTo>
                  <a:lnTo>
                    <a:pt x="19953" y="5110"/>
                  </a:lnTo>
                  <a:lnTo>
                    <a:pt x="19949" y="5122"/>
                  </a:lnTo>
                  <a:lnTo>
                    <a:pt x="19948" y="5143"/>
                  </a:lnTo>
                  <a:lnTo>
                    <a:pt x="19955" y="5162"/>
                  </a:lnTo>
                  <a:lnTo>
                    <a:pt x="19964" y="5179"/>
                  </a:lnTo>
                  <a:lnTo>
                    <a:pt x="19971" y="5196"/>
                  </a:lnTo>
                  <a:lnTo>
                    <a:pt x="19973" y="5227"/>
                  </a:lnTo>
                  <a:lnTo>
                    <a:pt x="19975" y="5236"/>
                  </a:lnTo>
                  <a:lnTo>
                    <a:pt x="19980" y="5241"/>
                  </a:lnTo>
                  <a:lnTo>
                    <a:pt x="19996" y="5255"/>
                  </a:lnTo>
                  <a:lnTo>
                    <a:pt x="20002" y="5262"/>
                  </a:lnTo>
                  <a:lnTo>
                    <a:pt x="20008" y="5282"/>
                  </a:lnTo>
                  <a:lnTo>
                    <a:pt x="20010" y="5325"/>
                  </a:lnTo>
                  <a:lnTo>
                    <a:pt x="20015" y="5346"/>
                  </a:lnTo>
                  <a:lnTo>
                    <a:pt x="20027" y="5365"/>
                  </a:lnTo>
                  <a:lnTo>
                    <a:pt x="20046" y="5383"/>
                  </a:lnTo>
                  <a:lnTo>
                    <a:pt x="20067" y="5392"/>
                  </a:lnTo>
                  <a:lnTo>
                    <a:pt x="20086" y="5385"/>
                  </a:lnTo>
                  <a:lnTo>
                    <a:pt x="20094" y="5371"/>
                  </a:lnTo>
                  <a:lnTo>
                    <a:pt x="20091" y="5360"/>
                  </a:lnTo>
                  <a:lnTo>
                    <a:pt x="20085" y="5349"/>
                  </a:lnTo>
                  <a:lnTo>
                    <a:pt x="20082" y="5335"/>
                  </a:lnTo>
                  <a:lnTo>
                    <a:pt x="20079" y="5321"/>
                  </a:lnTo>
                  <a:lnTo>
                    <a:pt x="20022" y="5203"/>
                  </a:lnTo>
                  <a:lnTo>
                    <a:pt x="20019" y="5174"/>
                  </a:lnTo>
                  <a:lnTo>
                    <a:pt x="20023" y="5157"/>
                  </a:lnTo>
                  <a:lnTo>
                    <a:pt x="20035" y="5123"/>
                  </a:lnTo>
                  <a:close/>
                  <a:moveTo>
                    <a:pt x="17823" y="7285"/>
                  </a:moveTo>
                  <a:lnTo>
                    <a:pt x="17823" y="7285"/>
                  </a:lnTo>
                  <a:lnTo>
                    <a:pt x="17828" y="7282"/>
                  </a:lnTo>
                  <a:lnTo>
                    <a:pt x="17831" y="7285"/>
                  </a:lnTo>
                  <a:lnTo>
                    <a:pt x="17833" y="7289"/>
                  </a:lnTo>
                  <a:lnTo>
                    <a:pt x="17837" y="7289"/>
                  </a:lnTo>
                  <a:lnTo>
                    <a:pt x="17842" y="7284"/>
                  </a:lnTo>
                  <a:lnTo>
                    <a:pt x="17844" y="7276"/>
                  </a:lnTo>
                  <a:lnTo>
                    <a:pt x="17845" y="7263"/>
                  </a:lnTo>
                  <a:lnTo>
                    <a:pt x="17849" y="7248"/>
                  </a:lnTo>
                  <a:lnTo>
                    <a:pt x="17854" y="7239"/>
                  </a:lnTo>
                  <a:lnTo>
                    <a:pt x="17862" y="7247"/>
                  </a:lnTo>
                  <a:lnTo>
                    <a:pt x="17869" y="7240"/>
                  </a:lnTo>
                  <a:lnTo>
                    <a:pt x="17874" y="7226"/>
                  </a:lnTo>
                  <a:lnTo>
                    <a:pt x="17876" y="7209"/>
                  </a:lnTo>
                  <a:lnTo>
                    <a:pt x="17875" y="7194"/>
                  </a:lnTo>
                  <a:lnTo>
                    <a:pt x="17872" y="7187"/>
                  </a:lnTo>
                  <a:lnTo>
                    <a:pt x="17869" y="7183"/>
                  </a:lnTo>
                  <a:lnTo>
                    <a:pt x="17857" y="7176"/>
                  </a:lnTo>
                  <a:lnTo>
                    <a:pt x="17843" y="7170"/>
                  </a:lnTo>
                  <a:lnTo>
                    <a:pt x="17837" y="7165"/>
                  </a:lnTo>
                  <a:lnTo>
                    <a:pt x="17853" y="7162"/>
                  </a:lnTo>
                  <a:lnTo>
                    <a:pt x="17858" y="7158"/>
                  </a:lnTo>
                  <a:lnTo>
                    <a:pt x="17861" y="7152"/>
                  </a:lnTo>
                  <a:lnTo>
                    <a:pt x="17862" y="7143"/>
                  </a:lnTo>
                  <a:lnTo>
                    <a:pt x="17858" y="7141"/>
                  </a:lnTo>
                  <a:lnTo>
                    <a:pt x="17850" y="7141"/>
                  </a:lnTo>
                  <a:lnTo>
                    <a:pt x="17843" y="7141"/>
                  </a:lnTo>
                  <a:lnTo>
                    <a:pt x="17839" y="7135"/>
                  </a:lnTo>
                  <a:lnTo>
                    <a:pt x="17841" y="7121"/>
                  </a:lnTo>
                  <a:lnTo>
                    <a:pt x="17866" y="7069"/>
                  </a:lnTo>
                  <a:lnTo>
                    <a:pt x="17878" y="7054"/>
                  </a:lnTo>
                  <a:lnTo>
                    <a:pt x="17919" y="7011"/>
                  </a:lnTo>
                  <a:lnTo>
                    <a:pt x="17926" y="7002"/>
                  </a:lnTo>
                  <a:lnTo>
                    <a:pt x="17928" y="6993"/>
                  </a:lnTo>
                  <a:lnTo>
                    <a:pt x="17931" y="6988"/>
                  </a:lnTo>
                  <a:lnTo>
                    <a:pt x="17938" y="6988"/>
                  </a:lnTo>
                  <a:lnTo>
                    <a:pt x="17945" y="6991"/>
                  </a:lnTo>
                  <a:lnTo>
                    <a:pt x="17950" y="6991"/>
                  </a:lnTo>
                  <a:lnTo>
                    <a:pt x="17954" y="6986"/>
                  </a:lnTo>
                  <a:lnTo>
                    <a:pt x="17955" y="6979"/>
                  </a:lnTo>
                  <a:lnTo>
                    <a:pt x="17955" y="6964"/>
                  </a:lnTo>
                  <a:lnTo>
                    <a:pt x="17954" y="6957"/>
                  </a:lnTo>
                  <a:lnTo>
                    <a:pt x="17951" y="6946"/>
                  </a:lnTo>
                  <a:lnTo>
                    <a:pt x="17950" y="6941"/>
                  </a:lnTo>
                  <a:lnTo>
                    <a:pt x="17948" y="6937"/>
                  </a:lnTo>
                  <a:lnTo>
                    <a:pt x="17939" y="6925"/>
                  </a:lnTo>
                  <a:lnTo>
                    <a:pt x="17937" y="6918"/>
                  </a:lnTo>
                  <a:lnTo>
                    <a:pt x="17937" y="6872"/>
                  </a:lnTo>
                  <a:lnTo>
                    <a:pt x="17926" y="6788"/>
                  </a:lnTo>
                  <a:lnTo>
                    <a:pt x="17921" y="6778"/>
                  </a:lnTo>
                  <a:lnTo>
                    <a:pt x="17910" y="6770"/>
                  </a:lnTo>
                  <a:lnTo>
                    <a:pt x="17897" y="6768"/>
                  </a:lnTo>
                  <a:lnTo>
                    <a:pt x="17875" y="6776"/>
                  </a:lnTo>
                  <a:lnTo>
                    <a:pt x="17839" y="6797"/>
                  </a:lnTo>
                  <a:lnTo>
                    <a:pt x="17793" y="6831"/>
                  </a:lnTo>
                  <a:lnTo>
                    <a:pt x="17773" y="6841"/>
                  </a:lnTo>
                  <a:lnTo>
                    <a:pt x="17755" y="6845"/>
                  </a:lnTo>
                  <a:lnTo>
                    <a:pt x="17712" y="6849"/>
                  </a:lnTo>
                  <a:lnTo>
                    <a:pt x="17698" y="6854"/>
                  </a:lnTo>
                  <a:lnTo>
                    <a:pt x="17687" y="6867"/>
                  </a:lnTo>
                  <a:lnTo>
                    <a:pt x="17673" y="6899"/>
                  </a:lnTo>
                  <a:lnTo>
                    <a:pt x="17662" y="6912"/>
                  </a:lnTo>
                  <a:lnTo>
                    <a:pt x="17662" y="6916"/>
                  </a:lnTo>
                  <a:lnTo>
                    <a:pt x="17671" y="6926"/>
                  </a:lnTo>
                  <a:lnTo>
                    <a:pt x="17680" y="6944"/>
                  </a:lnTo>
                  <a:lnTo>
                    <a:pt x="17686" y="6964"/>
                  </a:lnTo>
                  <a:lnTo>
                    <a:pt x="17691" y="6989"/>
                  </a:lnTo>
                  <a:lnTo>
                    <a:pt x="17700" y="7004"/>
                  </a:lnTo>
                  <a:lnTo>
                    <a:pt x="17704" y="7038"/>
                  </a:lnTo>
                  <a:lnTo>
                    <a:pt x="17706" y="7049"/>
                  </a:lnTo>
                  <a:lnTo>
                    <a:pt x="17711" y="7058"/>
                  </a:lnTo>
                  <a:lnTo>
                    <a:pt x="17699" y="7074"/>
                  </a:lnTo>
                  <a:lnTo>
                    <a:pt x="17698" y="7078"/>
                  </a:lnTo>
                  <a:lnTo>
                    <a:pt x="17694" y="7081"/>
                  </a:lnTo>
                  <a:lnTo>
                    <a:pt x="17677" y="7086"/>
                  </a:lnTo>
                  <a:lnTo>
                    <a:pt x="17672" y="7088"/>
                  </a:lnTo>
                  <a:lnTo>
                    <a:pt x="17665" y="7098"/>
                  </a:lnTo>
                  <a:lnTo>
                    <a:pt x="17661" y="7111"/>
                  </a:lnTo>
                  <a:lnTo>
                    <a:pt x="17657" y="7160"/>
                  </a:lnTo>
                  <a:lnTo>
                    <a:pt x="17654" y="7175"/>
                  </a:lnTo>
                  <a:lnTo>
                    <a:pt x="17649" y="7188"/>
                  </a:lnTo>
                  <a:lnTo>
                    <a:pt x="17632" y="7217"/>
                  </a:lnTo>
                  <a:lnTo>
                    <a:pt x="17628" y="7229"/>
                  </a:lnTo>
                  <a:lnTo>
                    <a:pt x="17629" y="7241"/>
                  </a:lnTo>
                  <a:lnTo>
                    <a:pt x="17636" y="7252"/>
                  </a:lnTo>
                  <a:lnTo>
                    <a:pt x="17631" y="7257"/>
                  </a:lnTo>
                  <a:lnTo>
                    <a:pt x="17638" y="7264"/>
                  </a:lnTo>
                  <a:lnTo>
                    <a:pt x="17645" y="7268"/>
                  </a:lnTo>
                  <a:lnTo>
                    <a:pt x="17653" y="7269"/>
                  </a:lnTo>
                  <a:lnTo>
                    <a:pt x="17686" y="7269"/>
                  </a:lnTo>
                  <a:lnTo>
                    <a:pt x="17694" y="7266"/>
                  </a:lnTo>
                  <a:lnTo>
                    <a:pt x="17698" y="7259"/>
                  </a:lnTo>
                  <a:lnTo>
                    <a:pt x="17699" y="7238"/>
                  </a:lnTo>
                  <a:lnTo>
                    <a:pt x="17701" y="7231"/>
                  </a:lnTo>
                  <a:lnTo>
                    <a:pt x="17706" y="7225"/>
                  </a:lnTo>
                  <a:lnTo>
                    <a:pt x="17716" y="7219"/>
                  </a:lnTo>
                  <a:lnTo>
                    <a:pt x="17723" y="7219"/>
                  </a:lnTo>
                  <a:lnTo>
                    <a:pt x="17731" y="7221"/>
                  </a:lnTo>
                  <a:lnTo>
                    <a:pt x="17742" y="7221"/>
                  </a:lnTo>
                  <a:lnTo>
                    <a:pt x="17742" y="7225"/>
                  </a:lnTo>
                  <a:lnTo>
                    <a:pt x="17719" y="7237"/>
                  </a:lnTo>
                  <a:lnTo>
                    <a:pt x="17714" y="7246"/>
                  </a:lnTo>
                  <a:lnTo>
                    <a:pt x="17719" y="7261"/>
                  </a:lnTo>
                  <a:lnTo>
                    <a:pt x="17730" y="7271"/>
                  </a:lnTo>
                  <a:lnTo>
                    <a:pt x="17742" y="7276"/>
                  </a:lnTo>
                  <a:lnTo>
                    <a:pt x="17753" y="7274"/>
                  </a:lnTo>
                  <a:lnTo>
                    <a:pt x="17764" y="7265"/>
                  </a:lnTo>
                  <a:lnTo>
                    <a:pt x="17773" y="7243"/>
                  </a:lnTo>
                  <a:lnTo>
                    <a:pt x="17773" y="7237"/>
                  </a:lnTo>
                  <a:lnTo>
                    <a:pt x="17772" y="7223"/>
                  </a:lnTo>
                  <a:lnTo>
                    <a:pt x="17773" y="7217"/>
                  </a:lnTo>
                  <a:lnTo>
                    <a:pt x="17781" y="7203"/>
                  </a:lnTo>
                  <a:lnTo>
                    <a:pt x="17787" y="7206"/>
                  </a:lnTo>
                  <a:lnTo>
                    <a:pt x="17792" y="7216"/>
                  </a:lnTo>
                  <a:lnTo>
                    <a:pt x="17797" y="7221"/>
                  </a:lnTo>
                  <a:lnTo>
                    <a:pt x="17802" y="7237"/>
                  </a:lnTo>
                  <a:lnTo>
                    <a:pt x="17800" y="7268"/>
                  </a:lnTo>
                  <a:lnTo>
                    <a:pt x="17802" y="7295"/>
                  </a:lnTo>
                  <a:lnTo>
                    <a:pt x="17815" y="7294"/>
                  </a:lnTo>
                  <a:lnTo>
                    <a:pt x="17823" y="7285"/>
                  </a:lnTo>
                  <a:close/>
                  <a:moveTo>
                    <a:pt x="18017" y="7314"/>
                  </a:moveTo>
                  <a:lnTo>
                    <a:pt x="18017" y="7314"/>
                  </a:lnTo>
                  <a:lnTo>
                    <a:pt x="18028" y="7305"/>
                  </a:lnTo>
                  <a:lnTo>
                    <a:pt x="18082" y="7272"/>
                  </a:lnTo>
                  <a:lnTo>
                    <a:pt x="18094" y="7270"/>
                  </a:lnTo>
                  <a:lnTo>
                    <a:pt x="18104" y="7273"/>
                  </a:lnTo>
                  <a:lnTo>
                    <a:pt x="18117" y="7289"/>
                  </a:lnTo>
                  <a:lnTo>
                    <a:pt x="18127" y="7292"/>
                  </a:lnTo>
                  <a:lnTo>
                    <a:pt x="18139" y="7288"/>
                  </a:lnTo>
                  <a:lnTo>
                    <a:pt x="18164" y="7273"/>
                  </a:lnTo>
                  <a:lnTo>
                    <a:pt x="18191" y="7267"/>
                  </a:lnTo>
                  <a:lnTo>
                    <a:pt x="18199" y="7259"/>
                  </a:lnTo>
                  <a:lnTo>
                    <a:pt x="18212" y="7239"/>
                  </a:lnTo>
                  <a:lnTo>
                    <a:pt x="18227" y="7223"/>
                  </a:lnTo>
                  <a:lnTo>
                    <a:pt x="18235" y="7213"/>
                  </a:lnTo>
                  <a:lnTo>
                    <a:pt x="18238" y="7201"/>
                  </a:lnTo>
                  <a:lnTo>
                    <a:pt x="18232" y="7189"/>
                  </a:lnTo>
                  <a:lnTo>
                    <a:pt x="18219" y="7178"/>
                  </a:lnTo>
                  <a:lnTo>
                    <a:pt x="18194" y="7163"/>
                  </a:lnTo>
                  <a:lnTo>
                    <a:pt x="18173" y="7153"/>
                  </a:lnTo>
                  <a:lnTo>
                    <a:pt x="18166" y="7146"/>
                  </a:lnTo>
                  <a:lnTo>
                    <a:pt x="18163" y="7135"/>
                  </a:lnTo>
                  <a:lnTo>
                    <a:pt x="18141" y="7128"/>
                  </a:lnTo>
                  <a:lnTo>
                    <a:pt x="18138" y="7123"/>
                  </a:lnTo>
                  <a:lnTo>
                    <a:pt x="18138" y="7117"/>
                  </a:lnTo>
                  <a:lnTo>
                    <a:pt x="18135" y="7111"/>
                  </a:lnTo>
                  <a:lnTo>
                    <a:pt x="18127" y="7107"/>
                  </a:lnTo>
                  <a:lnTo>
                    <a:pt x="18110" y="7110"/>
                  </a:lnTo>
                  <a:lnTo>
                    <a:pt x="18099" y="7123"/>
                  </a:lnTo>
                  <a:lnTo>
                    <a:pt x="18090" y="7139"/>
                  </a:lnTo>
                  <a:lnTo>
                    <a:pt x="18076" y="7146"/>
                  </a:lnTo>
                  <a:lnTo>
                    <a:pt x="18064" y="7141"/>
                  </a:lnTo>
                  <a:lnTo>
                    <a:pt x="18063" y="7129"/>
                  </a:lnTo>
                  <a:lnTo>
                    <a:pt x="18068" y="7115"/>
                  </a:lnTo>
                  <a:lnTo>
                    <a:pt x="18083" y="7085"/>
                  </a:lnTo>
                  <a:lnTo>
                    <a:pt x="18086" y="7075"/>
                  </a:lnTo>
                  <a:lnTo>
                    <a:pt x="18088" y="7060"/>
                  </a:lnTo>
                  <a:lnTo>
                    <a:pt x="18087" y="7052"/>
                  </a:lnTo>
                  <a:lnTo>
                    <a:pt x="18083" y="7035"/>
                  </a:lnTo>
                  <a:lnTo>
                    <a:pt x="18081" y="7030"/>
                  </a:lnTo>
                  <a:lnTo>
                    <a:pt x="18078" y="7026"/>
                  </a:lnTo>
                  <a:lnTo>
                    <a:pt x="18075" y="7021"/>
                  </a:lnTo>
                  <a:lnTo>
                    <a:pt x="18074" y="7014"/>
                  </a:lnTo>
                  <a:lnTo>
                    <a:pt x="18076" y="7006"/>
                  </a:lnTo>
                  <a:lnTo>
                    <a:pt x="18082" y="6994"/>
                  </a:lnTo>
                  <a:lnTo>
                    <a:pt x="18090" y="6983"/>
                  </a:lnTo>
                  <a:lnTo>
                    <a:pt x="18107" y="6972"/>
                  </a:lnTo>
                  <a:lnTo>
                    <a:pt x="18108" y="6960"/>
                  </a:lnTo>
                  <a:lnTo>
                    <a:pt x="18105" y="6934"/>
                  </a:lnTo>
                  <a:lnTo>
                    <a:pt x="18105" y="6926"/>
                  </a:lnTo>
                  <a:lnTo>
                    <a:pt x="18110" y="6905"/>
                  </a:lnTo>
                  <a:lnTo>
                    <a:pt x="18112" y="6899"/>
                  </a:lnTo>
                  <a:lnTo>
                    <a:pt x="18124" y="6891"/>
                  </a:lnTo>
                  <a:lnTo>
                    <a:pt x="18127" y="6887"/>
                  </a:lnTo>
                  <a:lnTo>
                    <a:pt x="18127" y="6859"/>
                  </a:lnTo>
                  <a:lnTo>
                    <a:pt x="18131" y="6851"/>
                  </a:lnTo>
                  <a:lnTo>
                    <a:pt x="18141" y="6859"/>
                  </a:lnTo>
                  <a:lnTo>
                    <a:pt x="18143" y="6856"/>
                  </a:lnTo>
                  <a:lnTo>
                    <a:pt x="18147" y="6853"/>
                  </a:lnTo>
                  <a:lnTo>
                    <a:pt x="18150" y="6850"/>
                  </a:lnTo>
                  <a:lnTo>
                    <a:pt x="18165" y="6868"/>
                  </a:lnTo>
                  <a:lnTo>
                    <a:pt x="18177" y="6831"/>
                  </a:lnTo>
                  <a:lnTo>
                    <a:pt x="18194" y="6836"/>
                  </a:lnTo>
                  <a:lnTo>
                    <a:pt x="18196" y="6842"/>
                  </a:lnTo>
                  <a:lnTo>
                    <a:pt x="18197" y="6850"/>
                  </a:lnTo>
                  <a:lnTo>
                    <a:pt x="18199" y="6856"/>
                  </a:lnTo>
                  <a:lnTo>
                    <a:pt x="18205" y="6859"/>
                  </a:lnTo>
                  <a:lnTo>
                    <a:pt x="18208" y="6861"/>
                  </a:lnTo>
                  <a:lnTo>
                    <a:pt x="18215" y="6871"/>
                  </a:lnTo>
                  <a:lnTo>
                    <a:pt x="18216" y="6874"/>
                  </a:lnTo>
                  <a:lnTo>
                    <a:pt x="18219" y="6900"/>
                  </a:lnTo>
                  <a:lnTo>
                    <a:pt x="18225" y="6913"/>
                  </a:lnTo>
                  <a:lnTo>
                    <a:pt x="18234" y="6916"/>
                  </a:lnTo>
                  <a:lnTo>
                    <a:pt x="18239" y="6900"/>
                  </a:lnTo>
                  <a:lnTo>
                    <a:pt x="18237" y="6832"/>
                  </a:lnTo>
                  <a:lnTo>
                    <a:pt x="18234" y="6810"/>
                  </a:lnTo>
                  <a:lnTo>
                    <a:pt x="18230" y="6806"/>
                  </a:lnTo>
                  <a:lnTo>
                    <a:pt x="18226" y="6804"/>
                  </a:lnTo>
                  <a:lnTo>
                    <a:pt x="18222" y="6801"/>
                  </a:lnTo>
                  <a:lnTo>
                    <a:pt x="18220" y="6794"/>
                  </a:lnTo>
                  <a:lnTo>
                    <a:pt x="18222" y="6787"/>
                  </a:lnTo>
                  <a:lnTo>
                    <a:pt x="18228" y="6774"/>
                  </a:lnTo>
                  <a:lnTo>
                    <a:pt x="18229" y="6768"/>
                  </a:lnTo>
                  <a:lnTo>
                    <a:pt x="18227" y="6753"/>
                  </a:lnTo>
                  <a:lnTo>
                    <a:pt x="18220" y="6739"/>
                  </a:lnTo>
                  <a:lnTo>
                    <a:pt x="18203" y="6713"/>
                  </a:lnTo>
                  <a:lnTo>
                    <a:pt x="18193" y="6701"/>
                  </a:lnTo>
                  <a:lnTo>
                    <a:pt x="18152" y="6668"/>
                  </a:lnTo>
                  <a:lnTo>
                    <a:pt x="18141" y="6657"/>
                  </a:lnTo>
                  <a:lnTo>
                    <a:pt x="18137" y="6645"/>
                  </a:lnTo>
                  <a:lnTo>
                    <a:pt x="18152" y="6624"/>
                  </a:lnTo>
                  <a:lnTo>
                    <a:pt x="18142" y="6621"/>
                  </a:lnTo>
                  <a:lnTo>
                    <a:pt x="18124" y="6621"/>
                  </a:lnTo>
                  <a:lnTo>
                    <a:pt x="18110" y="6625"/>
                  </a:lnTo>
                  <a:lnTo>
                    <a:pt x="18047" y="6671"/>
                  </a:lnTo>
                  <a:lnTo>
                    <a:pt x="18038" y="6680"/>
                  </a:lnTo>
                  <a:lnTo>
                    <a:pt x="18035" y="6689"/>
                  </a:lnTo>
                  <a:lnTo>
                    <a:pt x="18032" y="6702"/>
                  </a:lnTo>
                  <a:lnTo>
                    <a:pt x="18013" y="6740"/>
                  </a:lnTo>
                  <a:lnTo>
                    <a:pt x="18003" y="6766"/>
                  </a:lnTo>
                  <a:lnTo>
                    <a:pt x="17999" y="6792"/>
                  </a:lnTo>
                  <a:lnTo>
                    <a:pt x="18003" y="6901"/>
                  </a:lnTo>
                  <a:lnTo>
                    <a:pt x="18000" y="6909"/>
                  </a:lnTo>
                  <a:lnTo>
                    <a:pt x="17994" y="6912"/>
                  </a:lnTo>
                  <a:lnTo>
                    <a:pt x="17986" y="6912"/>
                  </a:lnTo>
                  <a:lnTo>
                    <a:pt x="17981" y="6916"/>
                  </a:lnTo>
                  <a:lnTo>
                    <a:pt x="17981" y="6923"/>
                  </a:lnTo>
                  <a:lnTo>
                    <a:pt x="17984" y="6930"/>
                  </a:lnTo>
                  <a:lnTo>
                    <a:pt x="17988" y="6936"/>
                  </a:lnTo>
                  <a:lnTo>
                    <a:pt x="17990" y="6943"/>
                  </a:lnTo>
                  <a:lnTo>
                    <a:pt x="17991" y="6956"/>
                  </a:lnTo>
                  <a:lnTo>
                    <a:pt x="17989" y="6972"/>
                  </a:lnTo>
                  <a:lnTo>
                    <a:pt x="17985" y="6987"/>
                  </a:lnTo>
                  <a:lnTo>
                    <a:pt x="17979" y="6998"/>
                  </a:lnTo>
                  <a:lnTo>
                    <a:pt x="17943" y="7028"/>
                  </a:lnTo>
                  <a:lnTo>
                    <a:pt x="17937" y="7040"/>
                  </a:lnTo>
                  <a:lnTo>
                    <a:pt x="17946" y="7038"/>
                  </a:lnTo>
                  <a:lnTo>
                    <a:pt x="17955" y="7034"/>
                  </a:lnTo>
                  <a:lnTo>
                    <a:pt x="17962" y="7032"/>
                  </a:lnTo>
                  <a:lnTo>
                    <a:pt x="17968" y="7035"/>
                  </a:lnTo>
                  <a:lnTo>
                    <a:pt x="17971" y="7046"/>
                  </a:lnTo>
                  <a:lnTo>
                    <a:pt x="17966" y="7057"/>
                  </a:lnTo>
                  <a:lnTo>
                    <a:pt x="17955" y="7076"/>
                  </a:lnTo>
                  <a:lnTo>
                    <a:pt x="17953" y="7086"/>
                  </a:lnTo>
                  <a:lnTo>
                    <a:pt x="17954" y="7102"/>
                  </a:lnTo>
                  <a:lnTo>
                    <a:pt x="17950" y="7111"/>
                  </a:lnTo>
                  <a:lnTo>
                    <a:pt x="17940" y="7124"/>
                  </a:lnTo>
                  <a:lnTo>
                    <a:pt x="17938" y="7133"/>
                  </a:lnTo>
                  <a:lnTo>
                    <a:pt x="17946" y="7141"/>
                  </a:lnTo>
                  <a:lnTo>
                    <a:pt x="17940" y="7151"/>
                  </a:lnTo>
                  <a:lnTo>
                    <a:pt x="17944" y="7152"/>
                  </a:lnTo>
                  <a:lnTo>
                    <a:pt x="17973" y="7140"/>
                  </a:lnTo>
                  <a:lnTo>
                    <a:pt x="17977" y="7143"/>
                  </a:lnTo>
                  <a:lnTo>
                    <a:pt x="17977" y="7154"/>
                  </a:lnTo>
                  <a:lnTo>
                    <a:pt x="17970" y="7168"/>
                  </a:lnTo>
                  <a:lnTo>
                    <a:pt x="17954" y="7174"/>
                  </a:lnTo>
                  <a:lnTo>
                    <a:pt x="17937" y="7177"/>
                  </a:lnTo>
                  <a:lnTo>
                    <a:pt x="17924" y="7181"/>
                  </a:lnTo>
                  <a:lnTo>
                    <a:pt x="17917" y="7190"/>
                  </a:lnTo>
                  <a:lnTo>
                    <a:pt x="17906" y="7213"/>
                  </a:lnTo>
                  <a:lnTo>
                    <a:pt x="17897" y="7225"/>
                  </a:lnTo>
                  <a:lnTo>
                    <a:pt x="17893" y="7226"/>
                  </a:lnTo>
                  <a:lnTo>
                    <a:pt x="17889" y="7226"/>
                  </a:lnTo>
                  <a:lnTo>
                    <a:pt x="17885" y="7227"/>
                  </a:lnTo>
                  <a:lnTo>
                    <a:pt x="17879" y="7247"/>
                  </a:lnTo>
                  <a:lnTo>
                    <a:pt x="17861" y="7270"/>
                  </a:lnTo>
                  <a:lnTo>
                    <a:pt x="17857" y="7279"/>
                  </a:lnTo>
                  <a:lnTo>
                    <a:pt x="17872" y="7283"/>
                  </a:lnTo>
                  <a:lnTo>
                    <a:pt x="17874" y="7292"/>
                  </a:lnTo>
                  <a:lnTo>
                    <a:pt x="17867" y="7302"/>
                  </a:lnTo>
                  <a:lnTo>
                    <a:pt x="17817" y="7345"/>
                  </a:lnTo>
                  <a:lnTo>
                    <a:pt x="17863" y="7445"/>
                  </a:lnTo>
                  <a:lnTo>
                    <a:pt x="17874" y="7456"/>
                  </a:lnTo>
                  <a:lnTo>
                    <a:pt x="17888" y="7456"/>
                  </a:lnTo>
                  <a:lnTo>
                    <a:pt x="17897" y="7448"/>
                  </a:lnTo>
                  <a:lnTo>
                    <a:pt x="17917" y="7423"/>
                  </a:lnTo>
                  <a:lnTo>
                    <a:pt x="17926" y="7423"/>
                  </a:lnTo>
                  <a:lnTo>
                    <a:pt x="17929" y="7429"/>
                  </a:lnTo>
                  <a:lnTo>
                    <a:pt x="17927" y="7445"/>
                  </a:lnTo>
                  <a:lnTo>
                    <a:pt x="17928" y="7451"/>
                  </a:lnTo>
                  <a:lnTo>
                    <a:pt x="17933" y="7456"/>
                  </a:lnTo>
                  <a:lnTo>
                    <a:pt x="17936" y="7454"/>
                  </a:lnTo>
                  <a:lnTo>
                    <a:pt x="17938" y="7448"/>
                  </a:lnTo>
                  <a:lnTo>
                    <a:pt x="17946" y="7436"/>
                  </a:lnTo>
                  <a:lnTo>
                    <a:pt x="17947" y="7432"/>
                  </a:lnTo>
                  <a:lnTo>
                    <a:pt x="17949" y="7432"/>
                  </a:lnTo>
                  <a:lnTo>
                    <a:pt x="17957" y="7440"/>
                  </a:lnTo>
                  <a:lnTo>
                    <a:pt x="17959" y="7446"/>
                  </a:lnTo>
                  <a:lnTo>
                    <a:pt x="17960" y="7461"/>
                  </a:lnTo>
                  <a:lnTo>
                    <a:pt x="17961" y="7465"/>
                  </a:lnTo>
                  <a:lnTo>
                    <a:pt x="17976" y="7462"/>
                  </a:lnTo>
                  <a:lnTo>
                    <a:pt x="17985" y="7454"/>
                  </a:lnTo>
                  <a:lnTo>
                    <a:pt x="17999" y="7429"/>
                  </a:lnTo>
                  <a:lnTo>
                    <a:pt x="18030" y="7387"/>
                  </a:lnTo>
                  <a:lnTo>
                    <a:pt x="18044" y="7358"/>
                  </a:lnTo>
                  <a:lnTo>
                    <a:pt x="18039" y="7340"/>
                  </a:lnTo>
                  <a:lnTo>
                    <a:pt x="18034" y="7341"/>
                  </a:lnTo>
                  <a:lnTo>
                    <a:pt x="18017" y="7348"/>
                  </a:lnTo>
                  <a:lnTo>
                    <a:pt x="18010" y="7349"/>
                  </a:lnTo>
                  <a:lnTo>
                    <a:pt x="18007" y="7346"/>
                  </a:lnTo>
                  <a:lnTo>
                    <a:pt x="18008" y="7338"/>
                  </a:lnTo>
                  <a:lnTo>
                    <a:pt x="18017" y="7314"/>
                  </a:lnTo>
                  <a:close/>
                  <a:moveTo>
                    <a:pt x="21389" y="4901"/>
                  </a:moveTo>
                  <a:lnTo>
                    <a:pt x="21389" y="4901"/>
                  </a:lnTo>
                  <a:lnTo>
                    <a:pt x="21412" y="4890"/>
                  </a:lnTo>
                  <a:lnTo>
                    <a:pt x="21428" y="4875"/>
                  </a:lnTo>
                  <a:lnTo>
                    <a:pt x="21433" y="4854"/>
                  </a:lnTo>
                  <a:lnTo>
                    <a:pt x="21424" y="4827"/>
                  </a:lnTo>
                  <a:lnTo>
                    <a:pt x="21417" y="4813"/>
                  </a:lnTo>
                  <a:lnTo>
                    <a:pt x="21412" y="4807"/>
                  </a:lnTo>
                  <a:lnTo>
                    <a:pt x="21404" y="4805"/>
                  </a:lnTo>
                  <a:lnTo>
                    <a:pt x="21399" y="4806"/>
                  </a:lnTo>
                  <a:lnTo>
                    <a:pt x="21394" y="4808"/>
                  </a:lnTo>
                  <a:lnTo>
                    <a:pt x="21388" y="4809"/>
                  </a:lnTo>
                  <a:lnTo>
                    <a:pt x="21382" y="4807"/>
                  </a:lnTo>
                  <a:lnTo>
                    <a:pt x="21376" y="4803"/>
                  </a:lnTo>
                  <a:lnTo>
                    <a:pt x="21360" y="4796"/>
                  </a:lnTo>
                  <a:lnTo>
                    <a:pt x="21353" y="4791"/>
                  </a:lnTo>
                  <a:lnTo>
                    <a:pt x="21347" y="4785"/>
                  </a:lnTo>
                  <a:lnTo>
                    <a:pt x="21335" y="4769"/>
                  </a:lnTo>
                  <a:lnTo>
                    <a:pt x="21285" y="4734"/>
                  </a:lnTo>
                  <a:lnTo>
                    <a:pt x="21278" y="4731"/>
                  </a:lnTo>
                  <a:lnTo>
                    <a:pt x="21265" y="4719"/>
                  </a:lnTo>
                  <a:lnTo>
                    <a:pt x="21256" y="4716"/>
                  </a:lnTo>
                  <a:lnTo>
                    <a:pt x="21250" y="4717"/>
                  </a:lnTo>
                  <a:lnTo>
                    <a:pt x="21239" y="4724"/>
                  </a:lnTo>
                  <a:lnTo>
                    <a:pt x="21234" y="4725"/>
                  </a:lnTo>
                  <a:lnTo>
                    <a:pt x="21221" y="4722"/>
                  </a:lnTo>
                  <a:lnTo>
                    <a:pt x="21205" y="4714"/>
                  </a:lnTo>
                  <a:lnTo>
                    <a:pt x="21191" y="4703"/>
                  </a:lnTo>
                  <a:lnTo>
                    <a:pt x="21185" y="4692"/>
                  </a:lnTo>
                  <a:lnTo>
                    <a:pt x="21178" y="4682"/>
                  </a:lnTo>
                  <a:lnTo>
                    <a:pt x="21163" y="4673"/>
                  </a:lnTo>
                  <a:lnTo>
                    <a:pt x="21145" y="4666"/>
                  </a:lnTo>
                  <a:lnTo>
                    <a:pt x="21094" y="4656"/>
                  </a:lnTo>
                  <a:lnTo>
                    <a:pt x="21087" y="4657"/>
                  </a:lnTo>
                  <a:lnTo>
                    <a:pt x="21021" y="4703"/>
                  </a:lnTo>
                  <a:lnTo>
                    <a:pt x="21016" y="4710"/>
                  </a:lnTo>
                  <a:lnTo>
                    <a:pt x="21014" y="4716"/>
                  </a:lnTo>
                  <a:lnTo>
                    <a:pt x="21003" y="4731"/>
                  </a:lnTo>
                  <a:lnTo>
                    <a:pt x="20999" y="4734"/>
                  </a:lnTo>
                  <a:lnTo>
                    <a:pt x="20995" y="4733"/>
                  </a:lnTo>
                  <a:lnTo>
                    <a:pt x="20981" y="4720"/>
                  </a:lnTo>
                  <a:lnTo>
                    <a:pt x="20965" y="4710"/>
                  </a:lnTo>
                  <a:lnTo>
                    <a:pt x="20960" y="4711"/>
                  </a:lnTo>
                  <a:lnTo>
                    <a:pt x="20959" y="4727"/>
                  </a:lnTo>
                  <a:lnTo>
                    <a:pt x="20955" y="4738"/>
                  </a:lnTo>
                  <a:lnTo>
                    <a:pt x="20948" y="4749"/>
                  </a:lnTo>
                  <a:lnTo>
                    <a:pt x="20945" y="4761"/>
                  </a:lnTo>
                  <a:lnTo>
                    <a:pt x="20951" y="4773"/>
                  </a:lnTo>
                  <a:lnTo>
                    <a:pt x="20942" y="4784"/>
                  </a:lnTo>
                  <a:lnTo>
                    <a:pt x="20940" y="4792"/>
                  </a:lnTo>
                  <a:lnTo>
                    <a:pt x="20941" y="4801"/>
                  </a:lnTo>
                  <a:lnTo>
                    <a:pt x="20941" y="4813"/>
                  </a:lnTo>
                  <a:lnTo>
                    <a:pt x="20931" y="4837"/>
                  </a:lnTo>
                  <a:lnTo>
                    <a:pt x="20928" y="4851"/>
                  </a:lnTo>
                  <a:lnTo>
                    <a:pt x="20963" y="4886"/>
                  </a:lnTo>
                  <a:lnTo>
                    <a:pt x="21003" y="4906"/>
                  </a:lnTo>
                  <a:lnTo>
                    <a:pt x="21028" y="4915"/>
                  </a:lnTo>
                  <a:lnTo>
                    <a:pt x="21051" y="4915"/>
                  </a:lnTo>
                  <a:lnTo>
                    <a:pt x="21103" y="4910"/>
                  </a:lnTo>
                  <a:lnTo>
                    <a:pt x="21109" y="4907"/>
                  </a:lnTo>
                  <a:lnTo>
                    <a:pt x="21117" y="4899"/>
                  </a:lnTo>
                  <a:lnTo>
                    <a:pt x="21126" y="4892"/>
                  </a:lnTo>
                  <a:lnTo>
                    <a:pt x="21138" y="4888"/>
                  </a:lnTo>
                  <a:lnTo>
                    <a:pt x="21236" y="4892"/>
                  </a:lnTo>
                  <a:lnTo>
                    <a:pt x="21251" y="4890"/>
                  </a:lnTo>
                  <a:lnTo>
                    <a:pt x="21274" y="4883"/>
                  </a:lnTo>
                  <a:lnTo>
                    <a:pt x="21287" y="4883"/>
                  </a:lnTo>
                  <a:lnTo>
                    <a:pt x="21363" y="4904"/>
                  </a:lnTo>
                  <a:lnTo>
                    <a:pt x="21389" y="4901"/>
                  </a:lnTo>
                  <a:close/>
                  <a:moveTo>
                    <a:pt x="21480" y="2359"/>
                  </a:moveTo>
                  <a:lnTo>
                    <a:pt x="21480" y="2359"/>
                  </a:lnTo>
                  <a:lnTo>
                    <a:pt x="21486" y="2375"/>
                  </a:lnTo>
                  <a:lnTo>
                    <a:pt x="21491" y="2405"/>
                  </a:lnTo>
                  <a:lnTo>
                    <a:pt x="21489" y="2449"/>
                  </a:lnTo>
                  <a:lnTo>
                    <a:pt x="21493" y="2460"/>
                  </a:lnTo>
                  <a:lnTo>
                    <a:pt x="21514" y="2480"/>
                  </a:lnTo>
                  <a:lnTo>
                    <a:pt x="21517" y="2492"/>
                  </a:lnTo>
                  <a:lnTo>
                    <a:pt x="21508" y="2507"/>
                  </a:lnTo>
                  <a:lnTo>
                    <a:pt x="21504" y="2521"/>
                  </a:lnTo>
                  <a:lnTo>
                    <a:pt x="21517" y="2517"/>
                  </a:lnTo>
                  <a:lnTo>
                    <a:pt x="21535" y="2505"/>
                  </a:lnTo>
                  <a:lnTo>
                    <a:pt x="21544" y="2495"/>
                  </a:lnTo>
                  <a:lnTo>
                    <a:pt x="21553" y="2492"/>
                  </a:lnTo>
                  <a:lnTo>
                    <a:pt x="21647" y="2483"/>
                  </a:lnTo>
                  <a:lnTo>
                    <a:pt x="21660" y="2477"/>
                  </a:lnTo>
                  <a:lnTo>
                    <a:pt x="21697" y="2447"/>
                  </a:lnTo>
                  <a:lnTo>
                    <a:pt x="21701" y="2440"/>
                  </a:lnTo>
                  <a:lnTo>
                    <a:pt x="21709" y="2418"/>
                  </a:lnTo>
                  <a:lnTo>
                    <a:pt x="21745" y="2350"/>
                  </a:lnTo>
                  <a:lnTo>
                    <a:pt x="21748" y="2308"/>
                  </a:lnTo>
                  <a:lnTo>
                    <a:pt x="21757" y="2285"/>
                  </a:lnTo>
                  <a:lnTo>
                    <a:pt x="21771" y="2261"/>
                  </a:lnTo>
                  <a:lnTo>
                    <a:pt x="21779" y="2236"/>
                  </a:lnTo>
                  <a:lnTo>
                    <a:pt x="21774" y="2207"/>
                  </a:lnTo>
                  <a:lnTo>
                    <a:pt x="21745" y="2172"/>
                  </a:lnTo>
                  <a:lnTo>
                    <a:pt x="21738" y="2168"/>
                  </a:lnTo>
                  <a:lnTo>
                    <a:pt x="21731" y="2157"/>
                  </a:lnTo>
                  <a:lnTo>
                    <a:pt x="21716" y="2126"/>
                  </a:lnTo>
                  <a:lnTo>
                    <a:pt x="21707" y="2116"/>
                  </a:lnTo>
                  <a:lnTo>
                    <a:pt x="21696" y="2110"/>
                  </a:lnTo>
                  <a:lnTo>
                    <a:pt x="21683" y="2117"/>
                  </a:lnTo>
                  <a:lnTo>
                    <a:pt x="21674" y="2131"/>
                  </a:lnTo>
                  <a:lnTo>
                    <a:pt x="21670" y="2143"/>
                  </a:lnTo>
                  <a:lnTo>
                    <a:pt x="21663" y="2149"/>
                  </a:lnTo>
                  <a:lnTo>
                    <a:pt x="21646" y="2145"/>
                  </a:lnTo>
                  <a:lnTo>
                    <a:pt x="21637" y="2138"/>
                  </a:lnTo>
                  <a:lnTo>
                    <a:pt x="21632" y="2135"/>
                  </a:lnTo>
                  <a:lnTo>
                    <a:pt x="21626" y="2138"/>
                  </a:lnTo>
                  <a:lnTo>
                    <a:pt x="21613" y="2148"/>
                  </a:lnTo>
                  <a:lnTo>
                    <a:pt x="21608" y="2153"/>
                  </a:lnTo>
                  <a:lnTo>
                    <a:pt x="21601" y="2175"/>
                  </a:lnTo>
                  <a:lnTo>
                    <a:pt x="21589" y="2184"/>
                  </a:lnTo>
                  <a:lnTo>
                    <a:pt x="21562" y="2198"/>
                  </a:lnTo>
                  <a:lnTo>
                    <a:pt x="21538" y="2223"/>
                  </a:lnTo>
                  <a:lnTo>
                    <a:pt x="21509" y="2281"/>
                  </a:lnTo>
                  <a:lnTo>
                    <a:pt x="21491" y="2308"/>
                  </a:lnTo>
                  <a:lnTo>
                    <a:pt x="21465" y="2334"/>
                  </a:lnTo>
                  <a:lnTo>
                    <a:pt x="21458" y="2347"/>
                  </a:lnTo>
                  <a:lnTo>
                    <a:pt x="21471" y="2352"/>
                  </a:lnTo>
                  <a:lnTo>
                    <a:pt x="21480" y="2359"/>
                  </a:lnTo>
                  <a:close/>
                  <a:moveTo>
                    <a:pt x="22795" y="3947"/>
                  </a:moveTo>
                  <a:lnTo>
                    <a:pt x="22795" y="3947"/>
                  </a:lnTo>
                  <a:lnTo>
                    <a:pt x="22813" y="3950"/>
                  </a:lnTo>
                  <a:lnTo>
                    <a:pt x="22818" y="3953"/>
                  </a:lnTo>
                  <a:lnTo>
                    <a:pt x="22820" y="3958"/>
                  </a:lnTo>
                  <a:lnTo>
                    <a:pt x="22822" y="3964"/>
                  </a:lnTo>
                  <a:lnTo>
                    <a:pt x="22824" y="3968"/>
                  </a:lnTo>
                  <a:lnTo>
                    <a:pt x="22828" y="3969"/>
                  </a:lnTo>
                  <a:lnTo>
                    <a:pt x="22842" y="3972"/>
                  </a:lnTo>
                  <a:lnTo>
                    <a:pt x="22843" y="3971"/>
                  </a:lnTo>
                  <a:lnTo>
                    <a:pt x="22860" y="3972"/>
                  </a:lnTo>
                  <a:lnTo>
                    <a:pt x="22863" y="3975"/>
                  </a:lnTo>
                  <a:lnTo>
                    <a:pt x="22866" y="3979"/>
                  </a:lnTo>
                  <a:lnTo>
                    <a:pt x="22871" y="3980"/>
                  </a:lnTo>
                  <a:lnTo>
                    <a:pt x="22877" y="3972"/>
                  </a:lnTo>
                  <a:lnTo>
                    <a:pt x="22882" y="3974"/>
                  </a:lnTo>
                  <a:lnTo>
                    <a:pt x="22888" y="3976"/>
                  </a:lnTo>
                  <a:lnTo>
                    <a:pt x="22900" y="3977"/>
                  </a:lnTo>
                  <a:lnTo>
                    <a:pt x="22903" y="3978"/>
                  </a:lnTo>
                  <a:lnTo>
                    <a:pt x="22905" y="3984"/>
                  </a:lnTo>
                  <a:lnTo>
                    <a:pt x="22909" y="3986"/>
                  </a:lnTo>
                  <a:lnTo>
                    <a:pt x="22911" y="3984"/>
                  </a:lnTo>
                  <a:lnTo>
                    <a:pt x="22915" y="3979"/>
                  </a:lnTo>
                  <a:lnTo>
                    <a:pt x="22918" y="3977"/>
                  </a:lnTo>
                  <a:lnTo>
                    <a:pt x="22938" y="3967"/>
                  </a:lnTo>
                  <a:lnTo>
                    <a:pt x="22951" y="3963"/>
                  </a:lnTo>
                  <a:lnTo>
                    <a:pt x="22962" y="3968"/>
                  </a:lnTo>
                  <a:lnTo>
                    <a:pt x="22964" y="3974"/>
                  </a:lnTo>
                  <a:lnTo>
                    <a:pt x="22961" y="3979"/>
                  </a:lnTo>
                  <a:lnTo>
                    <a:pt x="22958" y="3984"/>
                  </a:lnTo>
                  <a:lnTo>
                    <a:pt x="22957" y="3990"/>
                  </a:lnTo>
                  <a:lnTo>
                    <a:pt x="22961" y="3996"/>
                  </a:lnTo>
                  <a:lnTo>
                    <a:pt x="22971" y="4006"/>
                  </a:lnTo>
                  <a:lnTo>
                    <a:pt x="22975" y="4012"/>
                  </a:lnTo>
                  <a:lnTo>
                    <a:pt x="22976" y="4026"/>
                  </a:lnTo>
                  <a:lnTo>
                    <a:pt x="22973" y="4039"/>
                  </a:lnTo>
                  <a:lnTo>
                    <a:pt x="22973" y="4048"/>
                  </a:lnTo>
                  <a:lnTo>
                    <a:pt x="22985" y="4051"/>
                  </a:lnTo>
                  <a:lnTo>
                    <a:pt x="22976" y="4072"/>
                  </a:lnTo>
                  <a:lnTo>
                    <a:pt x="22975" y="4080"/>
                  </a:lnTo>
                  <a:lnTo>
                    <a:pt x="22977" y="4082"/>
                  </a:lnTo>
                  <a:lnTo>
                    <a:pt x="22982" y="4081"/>
                  </a:lnTo>
                  <a:lnTo>
                    <a:pt x="22987" y="4077"/>
                  </a:lnTo>
                  <a:lnTo>
                    <a:pt x="22998" y="4049"/>
                  </a:lnTo>
                  <a:lnTo>
                    <a:pt x="23000" y="4038"/>
                  </a:lnTo>
                  <a:lnTo>
                    <a:pt x="22993" y="4043"/>
                  </a:lnTo>
                  <a:lnTo>
                    <a:pt x="22989" y="4043"/>
                  </a:lnTo>
                  <a:lnTo>
                    <a:pt x="22998" y="4017"/>
                  </a:lnTo>
                  <a:lnTo>
                    <a:pt x="23017" y="4004"/>
                  </a:lnTo>
                  <a:lnTo>
                    <a:pt x="23068" y="3990"/>
                  </a:lnTo>
                  <a:lnTo>
                    <a:pt x="23071" y="3998"/>
                  </a:lnTo>
                  <a:lnTo>
                    <a:pt x="23074" y="4007"/>
                  </a:lnTo>
                  <a:lnTo>
                    <a:pt x="23072" y="4015"/>
                  </a:lnTo>
                  <a:lnTo>
                    <a:pt x="23064" y="4021"/>
                  </a:lnTo>
                  <a:lnTo>
                    <a:pt x="23080" y="4066"/>
                  </a:lnTo>
                  <a:lnTo>
                    <a:pt x="23086" y="4078"/>
                  </a:lnTo>
                  <a:lnTo>
                    <a:pt x="23097" y="4086"/>
                  </a:lnTo>
                  <a:lnTo>
                    <a:pt x="23112" y="4089"/>
                  </a:lnTo>
                  <a:lnTo>
                    <a:pt x="23127" y="4088"/>
                  </a:lnTo>
                  <a:lnTo>
                    <a:pt x="23183" y="4078"/>
                  </a:lnTo>
                  <a:lnTo>
                    <a:pt x="23209" y="4068"/>
                  </a:lnTo>
                  <a:lnTo>
                    <a:pt x="23216" y="4063"/>
                  </a:lnTo>
                  <a:lnTo>
                    <a:pt x="23219" y="4058"/>
                  </a:lnTo>
                  <a:lnTo>
                    <a:pt x="23221" y="4052"/>
                  </a:lnTo>
                  <a:lnTo>
                    <a:pt x="23226" y="4046"/>
                  </a:lnTo>
                  <a:lnTo>
                    <a:pt x="23231" y="4041"/>
                  </a:lnTo>
                  <a:lnTo>
                    <a:pt x="23237" y="4038"/>
                  </a:lnTo>
                  <a:lnTo>
                    <a:pt x="23231" y="4031"/>
                  </a:lnTo>
                  <a:lnTo>
                    <a:pt x="23225" y="4018"/>
                  </a:lnTo>
                  <a:lnTo>
                    <a:pt x="23219" y="4012"/>
                  </a:lnTo>
                  <a:lnTo>
                    <a:pt x="23214" y="4009"/>
                  </a:lnTo>
                  <a:lnTo>
                    <a:pt x="23208" y="4006"/>
                  </a:lnTo>
                  <a:lnTo>
                    <a:pt x="23203" y="4003"/>
                  </a:lnTo>
                  <a:lnTo>
                    <a:pt x="23201" y="3997"/>
                  </a:lnTo>
                  <a:lnTo>
                    <a:pt x="23197" y="3993"/>
                  </a:lnTo>
                  <a:lnTo>
                    <a:pt x="23187" y="3991"/>
                  </a:lnTo>
                  <a:lnTo>
                    <a:pt x="23159" y="3990"/>
                  </a:lnTo>
                  <a:lnTo>
                    <a:pt x="23154" y="3991"/>
                  </a:lnTo>
                  <a:lnTo>
                    <a:pt x="23151" y="3997"/>
                  </a:lnTo>
                  <a:lnTo>
                    <a:pt x="23148" y="4007"/>
                  </a:lnTo>
                  <a:lnTo>
                    <a:pt x="23136" y="4000"/>
                  </a:lnTo>
                  <a:lnTo>
                    <a:pt x="23109" y="3987"/>
                  </a:lnTo>
                  <a:lnTo>
                    <a:pt x="23104" y="3979"/>
                  </a:lnTo>
                  <a:lnTo>
                    <a:pt x="23101" y="3967"/>
                  </a:lnTo>
                  <a:lnTo>
                    <a:pt x="23088" y="3942"/>
                  </a:lnTo>
                  <a:lnTo>
                    <a:pt x="23065" y="3912"/>
                  </a:lnTo>
                  <a:lnTo>
                    <a:pt x="23054" y="3902"/>
                  </a:lnTo>
                  <a:lnTo>
                    <a:pt x="23030" y="3893"/>
                  </a:lnTo>
                  <a:lnTo>
                    <a:pt x="23028" y="3883"/>
                  </a:lnTo>
                  <a:lnTo>
                    <a:pt x="23035" y="3875"/>
                  </a:lnTo>
                  <a:lnTo>
                    <a:pt x="23047" y="3875"/>
                  </a:lnTo>
                  <a:lnTo>
                    <a:pt x="23042" y="3869"/>
                  </a:lnTo>
                  <a:lnTo>
                    <a:pt x="23036" y="3866"/>
                  </a:lnTo>
                  <a:lnTo>
                    <a:pt x="23020" y="3862"/>
                  </a:lnTo>
                  <a:lnTo>
                    <a:pt x="23028" y="3857"/>
                  </a:lnTo>
                  <a:lnTo>
                    <a:pt x="23044" y="3854"/>
                  </a:lnTo>
                  <a:lnTo>
                    <a:pt x="23061" y="3853"/>
                  </a:lnTo>
                  <a:lnTo>
                    <a:pt x="23073" y="3854"/>
                  </a:lnTo>
                  <a:lnTo>
                    <a:pt x="23071" y="3858"/>
                  </a:lnTo>
                  <a:lnTo>
                    <a:pt x="23068" y="3862"/>
                  </a:lnTo>
                  <a:lnTo>
                    <a:pt x="23077" y="3865"/>
                  </a:lnTo>
                  <a:lnTo>
                    <a:pt x="23081" y="3864"/>
                  </a:lnTo>
                  <a:lnTo>
                    <a:pt x="23086" y="3862"/>
                  </a:lnTo>
                  <a:lnTo>
                    <a:pt x="23089" y="3876"/>
                  </a:lnTo>
                  <a:lnTo>
                    <a:pt x="23096" y="3886"/>
                  </a:lnTo>
                  <a:lnTo>
                    <a:pt x="23131" y="3918"/>
                  </a:lnTo>
                  <a:lnTo>
                    <a:pt x="23136" y="3924"/>
                  </a:lnTo>
                  <a:lnTo>
                    <a:pt x="23139" y="3937"/>
                  </a:lnTo>
                  <a:lnTo>
                    <a:pt x="23137" y="3949"/>
                  </a:lnTo>
                  <a:lnTo>
                    <a:pt x="23139" y="3956"/>
                  </a:lnTo>
                  <a:lnTo>
                    <a:pt x="23146" y="3959"/>
                  </a:lnTo>
                  <a:lnTo>
                    <a:pt x="23152" y="3960"/>
                  </a:lnTo>
                  <a:lnTo>
                    <a:pt x="23163" y="3963"/>
                  </a:lnTo>
                  <a:lnTo>
                    <a:pt x="23182" y="3964"/>
                  </a:lnTo>
                  <a:lnTo>
                    <a:pt x="23192" y="3966"/>
                  </a:lnTo>
                  <a:lnTo>
                    <a:pt x="23201" y="3972"/>
                  </a:lnTo>
                  <a:lnTo>
                    <a:pt x="23210" y="3986"/>
                  </a:lnTo>
                  <a:lnTo>
                    <a:pt x="23205" y="3990"/>
                  </a:lnTo>
                  <a:lnTo>
                    <a:pt x="23209" y="3994"/>
                  </a:lnTo>
                  <a:lnTo>
                    <a:pt x="23225" y="4005"/>
                  </a:lnTo>
                  <a:lnTo>
                    <a:pt x="23239" y="4025"/>
                  </a:lnTo>
                  <a:lnTo>
                    <a:pt x="23243" y="4027"/>
                  </a:lnTo>
                  <a:lnTo>
                    <a:pt x="23251" y="4032"/>
                  </a:lnTo>
                  <a:lnTo>
                    <a:pt x="23256" y="4034"/>
                  </a:lnTo>
                  <a:lnTo>
                    <a:pt x="23260" y="4033"/>
                  </a:lnTo>
                  <a:lnTo>
                    <a:pt x="23264" y="4032"/>
                  </a:lnTo>
                  <a:lnTo>
                    <a:pt x="23267" y="4030"/>
                  </a:lnTo>
                  <a:lnTo>
                    <a:pt x="23267" y="4030"/>
                  </a:lnTo>
                  <a:lnTo>
                    <a:pt x="23280" y="4027"/>
                  </a:lnTo>
                  <a:lnTo>
                    <a:pt x="23284" y="4029"/>
                  </a:lnTo>
                  <a:lnTo>
                    <a:pt x="23285" y="4038"/>
                  </a:lnTo>
                  <a:lnTo>
                    <a:pt x="23315" y="4016"/>
                  </a:lnTo>
                  <a:lnTo>
                    <a:pt x="23325" y="4012"/>
                  </a:lnTo>
                  <a:lnTo>
                    <a:pt x="23334" y="4010"/>
                  </a:lnTo>
                  <a:lnTo>
                    <a:pt x="23336" y="4011"/>
                  </a:lnTo>
                  <a:lnTo>
                    <a:pt x="23337" y="4013"/>
                  </a:lnTo>
                  <a:lnTo>
                    <a:pt x="23343" y="4016"/>
                  </a:lnTo>
                  <a:lnTo>
                    <a:pt x="23363" y="4016"/>
                  </a:lnTo>
                  <a:lnTo>
                    <a:pt x="23365" y="4018"/>
                  </a:lnTo>
                  <a:lnTo>
                    <a:pt x="23372" y="4016"/>
                  </a:lnTo>
                  <a:lnTo>
                    <a:pt x="23387" y="4025"/>
                  </a:lnTo>
                  <a:lnTo>
                    <a:pt x="23412" y="4045"/>
                  </a:lnTo>
                  <a:lnTo>
                    <a:pt x="23424" y="4053"/>
                  </a:lnTo>
                  <a:lnTo>
                    <a:pt x="23434" y="4049"/>
                  </a:lnTo>
                  <a:lnTo>
                    <a:pt x="23440" y="4039"/>
                  </a:lnTo>
                  <a:lnTo>
                    <a:pt x="23440" y="4025"/>
                  </a:lnTo>
                  <a:lnTo>
                    <a:pt x="23443" y="4026"/>
                  </a:lnTo>
                  <a:lnTo>
                    <a:pt x="23451" y="4028"/>
                  </a:lnTo>
                  <a:lnTo>
                    <a:pt x="23454" y="4030"/>
                  </a:lnTo>
                  <a:lnTo>
                    <a:pt x="23456" y="4019"/>
                  </a:lnTo>
                  <a:lnTo>
                    <a:pt x="23462" y="4013"/>
                  </a:lnTo>
                  <a:lnTo>
                    <a:pt x="23468" y="4009"/>
                  </a:lnTo>
                  <a:lnTo>
                    <a:pt x="23471" y="4001"/>
                  </a:lnTo>
                  <a:lnTo>
                    <a:pt x="23475" y="3995"/>
                  </a:lnTo>
                  <a:lnTo>
                    <a:pt x="23490" y="3993"/>
                  </a:lnTo>
                  <a:lnTo>
                    <a:pt x="23493" y="3988"/>
                  </a:lnTo>
                  <a:lnTo>
                    <a:pt x="23489" y="3981"/>
                  </a:lnTo>
                  <a:lnTo>
                    <a:pt x="23468" y="3964"/>
                  </a:lnTo>
                  <a:lnTo>
                    <a:pt x="23463" y="3955"/>
                  </a:lnTo>
                  <a:lnTo>
                    <a:pt x="23463" y="3948"/>
                  </a:lnTo>
                  <a:lnTo>
                    <a:pt x="23467" y="3942"/>
                  </a:lnTo>
                  <a:lnTo>
                    <a:pt x="23476" y="3933"/>
                  </a:lnTo>
                  <a:lnTo>
                    <a:pt x="23468" y="3912"/>
                  </a:lnTo>
                  <a:lnTo>
                    <a:pt x="23462" y="3905"/>
                  </a:lnTo>
                  <a:lnTo>
                    <a:pt x="23447" y="3900"/>
                  </a:lnTo>
                  <a:lnTo>
                    <a:pt x="23444" y="3897"/>
                  </a:lnTo>
                  <a:lnTo>
                    <a:pt x="23441" y="3894"/>
                  </a:lnTo>
                  <a:lnTo>
                    <a:pt x="23434" y="3893"/>
                  </a:lnTo>
                  <a:lnTo>
                    <a:pt x="23424" y="3892"/>
                  </a:lnTo>
                  <a:lnTo>
                    <a:pt x="23421" y="3891"/>
                  </a:lnTo>
                  <a:lnTo>
                    <a:pt x="23419" y="3889"/>
                  </a:lnTo>
                  <a:lnTo>
                    <a:pt x="23407" y="3891"/>
                  </a:lnTo>
                  <a:lnTo>
                    <a:pt x="23401" y="3886"/>
                  </a:lnTo>
                  <a:lnTo>
                    <a:pt x="23397" y="3879"/>
                  </a:lnTo>
                  <a:lnTo>
                    <a:pt x="23394" y="3875"/>
                  </a:lnTo>
                  <a:lnTo>
                    <a:pt x="23386" y="3873"/>
                  </a:lnTo>
                  <a:lnTo>
                    <a:pt x="23380" y="3868"/>
                  </a:lnTo>
                  <a:lnTo>
                    <a:pt x="23375" y="3862"/>
                  </a:lnTo>
                  <a:lnTo>
                    <a:pt x="23369" y="3858"/>
                  </a:lnTo>
                  <a:lnTo>
                    <a:pt x="23352" y="3852"/>
                  </a:lnTo>
                  <a:lnTo>
                    <a:pt x="23343" y="3850"/>
                  </a:lnTo>
                  <a:lnTo>
                    <a:pt x="23326" y="3848"/>
                  </a:lnTo>
                  <a:lnTo>
                    <a:pt x="23309" y="3845"/>
                  </a:lnTo>
                  <a:lnTo>
                    <a:pt x="23298" y="3844"/>
                  </a:lnTo>
                  <a:lnTo>
                    <a:pt x="23307" y="3834"/>
                  </a:lnTo>
                  <a:lnTo>
                    <a:pt x="23307" y="3829"/>
                  </a:lnTo>
                  <a:lnTo>
                    <a:pt x="23299" y="3827"/>
                  </a:lnTo>
                  <a:lnTo>
                    <a:pt x="23287" y="3827"/>
                  </a:lnTo>
                  <a:lnTo>
                    <a:pt x="23283" y="3827"/>
                  </a:lnTo>
                  <a:lnTo>
                    <a:pt x="23264" y="3832"/>
                  </a:lnTo>
                  <a:lnTo>
                    <a:pt x="23261" y="3833"/>
                  </a:lnTo>
                  <a:lnTo>
                    <a:pt x="23256" y="3838"/>
                  </a:lnTo>
                  <a:lnTo>
                    <a:pt x="23253" y="3839"/>
                  </a:lnTo>
                  <a:lnTo>
                    <a:pt x="23251" y="3837"/>
                  </a:lnTo>
                  <a:lnTo>
                    <a:pt x="23248" y="3833"/>
                  </a:lnTo>
                  <a:lnTo>
                    <a:pt x="23245" y="3831"/>
                  </a:lnTo>
                  <a:lnTo>
                    <a:pt x="23157" y="3805"/>
                  </a:lnTo>
                  <a:lnTo>
                    <a:pt x="23141" y="3805"/>
                  </a:lnTo>
                  <a:lnTo>
                    <a:pt x="23127" y="3808"/>
                  </a:lnTo>
                  <a:lnTo>
                    <a:pt x="23116" y="3814"/>
                  </a:lnTo>
                  <a:lnTo>
                    <a:pt x="23108" y="3822"/>
                  </a:lnTo>
                  <a:lnTo>
                    <a:pt x="23115" y="3822"/>
                  </a:lnTo>
                  <a:lnTo>
                    <a:pt x="23121" y="3823"/>
                  </a:lnTo>
                  <a:lnTo>
                    <a:pt x="23126" y="3827"/>
                  </a:lnTo>
                  <a:lnTo>
                    <a:pt x="23130" y="3831"/>
                  </a:lnTo>
                  <a:lnTo>
                    <a:pt x="23119" y="3835"/>
                  </a:lnTo>
                  <a:lnTo>
                    <a:pt x="23100" y="3833"/>
                  </a:lnTo>
                  <a:lnTo>
                    <a:pt x="23091" y="3836"/>
                  </a:lnTo>
                  <a:lnTo>
                    <a:pt x="23087" y="3824"/>
                  </a:lnTo>
                  <a:lnTo>
                    <a:pt x="23070" y="3826"/>
                  </a:lnTo>
                  <a:lnTo>
                    <a:pt x="23051" y="3831"/>
                  </a:lnTo>
                  <a:lnTo>
                    <a:pt x="23038" y="3831"/>
                  </a:lnTo>
                  <a:lnTo>
                    <a:pt x="23026" y="3836"/>
                  </a:lnTo>
                  <a:lnTo>
                    <a:pt x="23008" y="3833"/>
                  </a:lnTo>
                  <a:lnTo>
                    <a:pt x="23003" y="3840"/>
                  </a:lnTo>
                  <a:lnTo>
                    <a:pt x="22995" y="3834"/>
                  </a:lnTo>
                  <a:lnTo>
                    <a:pt x="22993" y="3831"/>
                  </a:lnTo>
                  <a:lnTo>
                    <a:pt x="22986" y="3845"/>
                  </a:lnTo>
                  <a:lnTo>
                    <a:pt x="22985" y="3849"/>
                  </a:lnTo>
                  <a:lnTo>
                    <a:pt x="22983" y="3846"/>
                  </a:lnTo>
                  <a:lnTo>
                    <a:pt x="22981" y="3843"/>
                  </a:lnTo>
                  <a:lnTo>
                    <a:pt x="22979" y="3840"/>
                  </a:lnTo>
                  <a:lnTo>
                    <a:pt x="22976" y="3847"/>
                  </a:lnTo>
                  <a:lnTo>
                    <a:pt x="22975" y="3849"/>
                  </a:lnTo>
                  <a:lnTo>
                    <a:pt x="22965" y="3839"/>
                  </a:lnTo>
                  <a:lnTo>
                    <a:pt x="22959" y="3834"/>
                  </a:lnTo>
                  <a:lnTo>
                    <a:pt x="22953" y="3831"/>
                  </a:lnTo>
                  <a:lnTo>
                    <a:pt x="22946" y="3843"/>
                  </a:lnTo>
                  <a:lnTo>
                    <a:pt x="22932" y="3851"/>
                  </a:lnTo>
                  <a:lnTo>
                    <a:pt x="22904" y="3862"/>
                  </a:lnTo>
                  <a:lnTo>
                    <a:pt x="22901" y="3858"/>
                  </a:lnTo>
                  <a:lnTo>
                    <a:pt x="22900" y="3854"/>
                  </a:lnTo>
                  <a:lnTo>
                    <a:pt x="22895" y="3854"/>
                  </a:lnTo>
                  <a:lnTo>
                    <a:pt x="22897" y="3858"/>
                  </a:lnTo>
                  <a:lnTo>
                    <a:pt x="22900" y="3871"/>
                  </a:lnTo>
                  <a:lnTo>
                    <a:pt x="22887" y="3865"/>
                  </a:lnTo>
                  <a:lnTo>
                    <a:pt x="22878" y="3856"/>
                  </a:lnTo>
                  <a:lnTo>
                    <a:pt x="22870" y="3850"/>
                  </a:lnTo>
                  <a:lnTo>
                    <a:pt x="22855" y="3854"/>
                  </a:lnTo>
                  <a:lnTo>
                    <a:pt x="22859" y="3862"/>
                  </a:lnTo>
                  <a:lnTo>
                    <a:pt x="22862" y="3872"/>
                  </a:lnTo>
                  <a:lnTo>
                    <a:pt x="22862" y="3881"/>
                  </a:lnTo>
                  <a:lnTo>
                    <a:pt x="22855" y="3884"/>
                  </a:lnTo>
                  <a:lnTo>
                    <a:pt x="22849" y="3881"/>
                  </a:lnTo>
                  <a:lnTo>
                    <a:pt x="22847" y="3873"/>
                  </a:lnTo>
                  <a:lnTo>
                    <a:pt x="22846" y="3863"/>
                  </a:lnTo>
                  <a:lnTo>
                    <a:pt x="22842" y="3854"/>
                  </a:lnTo>
                  <a:lnTo>
                    <a:pt x="22840" y="3860"/>
                  </a:lnTo>
                  <a:lnTo>
                    <a:pt x="22836" y="3865"/>
                  </a:lnTo>
                  <a:lnTo>
                    <a:pt x="22833" y="3868"/>
                  </a:lnTo>
                  <a:lnTo>
                    <a:pt x="22829" y="3871"/>
                  </a:lnTo>
                  <a:lnTo>
                    <a:pt x="22820" y="3867"/>
                  </a:lnTo>
                  <a:lnTo>
                    <a:pt x="22811" y="3866"/>
                  </a:lnTo>
                  <a:lnTo>
                    <a:pt x="22805" y="3870"/>
                  </a:lnTo>
                  <a:lnTo>
                    <a:pt x="22802" y="3878"/>
                  </a:lnTo>
                  <a:lnTo>
                    <a:pt x="22804" y="3887"/>
                  </a:lnTo>
                  <a:lnTo>
                    <a:pt x="22813" y="3900"/>
                  </a:lnTo>
                  <a:lnTo>
                    <a:pt x="22816" y="3909"/>
                  </a:lnTo>
                  <a:lnTo>
                    <a:pt x="22819" y="3913"/>
                  </a:lnTo>
                  <a:lnTo>
                    <a:pt x="22828" y="3919"/>
                  </a:lnTo>
                  <a:lnTo>
                    <a:pt x="22839" y="3923"/>
                  </a:lnTo>
                  <a:lnTo>
                    <a:pt x="22847" y="3924"/>
                  </a:lnTo>
                  <a:lnTo>
                    <a:pt x="22850" y="3918"/>
                  </a:lnTo>
                  <a:lnTo>
                    <a:pt x="22848" y="3911"/>
                  </a:lnTo>
                  <a:lnTo>
                    <a:pt x="22844" y="3902"/>
                  </a:lnTo>
                  <a:lnTo>
                    <a:pt x="22842" y="3893"/>
                  </a:lnTo>
                  <a:lnTo>
                    <a:pt x="22848" y="3896"/>
                  </a:lnTo>
                  <a:lnTo>
                    <a:pt x="22853" y="3897"/>
                  </a:lnTo>
                  <a:lnTo>
                    <a:pt x="22857" y="3894"/>
                  </a:lnTo>
                  <a:lnTo>
                    <a:pt x="22860" y="3889"/>
                  </a:lnTo>
                  <a:lnTo>
                    <a:pt x="22864" y="3889"/>
                  </a:lnTo>
                  <a:lnTo>
                    <a:pt x="22865" y="3903"/>
                  </a:lnTo>
                  <a:lnTo>
                    <a:pt x="22872" y="3904"/>
                  </a:lnTo>
                  <a:lnTo>
                    <a:pt x="22881" y="3896"/>
                  </a:lnTo>
                  <a:lnTo>
                    <a:pt x="22886" y="3884"/>
                  </a:lnTo>
                  <a:lnTo>
                    <a:pt x="22891" y="3893"/>
                  </a:lnTo>
                  <a:lnTo>
                    <a:pt x="22890" y="3904"/>
                  </a:lnTo>
                  <a:lnTo>
                    <a:pt x="22884" y="3912"/>
                  </a:lnTo>
                  <a:lnTo>
                    <a:pt x="22873" y="3915"/>
                  </a:lnTo>
                  <a:lnTo>
                    <a:pt x="22881" y="3920"/>
                  </a:lnTo>
                  <a:lnTo>
                    <a:pt x="22893" y="3921"/>
                  </a:lnTo>
                  <a:lnTo>
                    <a:pt x="22901" y="3922"/>
                  </a:lnTo>
                  <a:lnTo>
                    <a:pt x="22898" y="3930"/>
                  </a:lnTo>
                  <a:lnTo>
                    <a:pt x="22890" y="3936"/>
                  </a:lnTo>
                  <a:lnTo>
                    <a:pt x="22881" y="3940"/>
                  </a:lnTo>
                  <a:lnTo>
                    <a:pt x="22871" y="3940"/>
                  </a:lnTo>
                  <a:lnTo>
                    <a:pt x="22862" y="3935"/>
                  </a:lnTo>
                  <a:lnTo>
                    <a:pt x="22854" y="3932"/>
                  </a:lnTo>
                  <a:lnTo>
                    <a:pt x="22842" y="3933"/>
                  </a:lnTo>
                  <a:lnTo>
                    <a:pt x="22820" y="3937"/>
                  </a:lnTo>
                  <a:lnTo>
                    <a:pt x="22820" y="3936"/>
                  </a:lnTo>
                  <a:lnTo>
                    <a:pt x="22804" y="3936"/>
                  </a:lnTo>
                  <a:lnTo>
                    <a:pt x="22802" y="3937"/>
                  </a:lnTo>
                  <a:lnTo>
                    <a:pt x="22796" y="3935"/>
                  </a:lnTo>
                  <a:lnTo>
                    <a:pt x="22785" y="3929"/>
                  </a:lnTo>
                  <a:lnTo>
                    <a:pt x="22780" y="3928"/>
                  </a:lnTo>
                  <a:lnTo>
                    <a:pt x="22764" y="3931"/>
                  </a:lnTo>
                  <a:lnTo>
                    <a:pt x="22774" y="3939"/>
                  </a:lnTo>
                  <a:lnTo>
                    <a:pt x="22795" y="3947"/>
                  </a:lnTo>
                  <a:close/>
                  <a:moveTo>
                    <a:pt x="23319" y="4428"/>
                  </a:moveTo>
                  <a:lnTo>
                    <a:pt x="23319" y="4428"/>
                  </a:lnTo>
                  <a:lnTo>
                    <a:pt x="23319" y="4424"/>
                  </a:lnTo>
                  <a:lnTo>
                    <a:pt x="23304" y="4401"/>
                  </a:lnTo>
                  <a:lnTo>
                    <a:pt x="23298" y="4395"/>
                  </a:lnTo>
                  <a:lnTo>
                    <a:pt x="23293" y="4390"/>
                  </a:lnTo>
                  <a:lnTo>
                    <a:pt x="23290" y="4389"/>
                  </a:lnTo>
                  <a:lnTo>
                    <a:pt x="23287" y="4390"/>
                  </a:lnTo>
                  <a:lnTo>
                    <a:pt x="23257" y="4392"/>
                  </a:lnTo>
                  <a:lnTo>
                    <a:pt x="23245" y="4395"/>
                  </a:lnTo>
                  <a:lnTo>
                    <a:pt x="23234" y="4401"/>
                  </a:lnTo>
                  <a:lnTo>
                    <a:pt x="23231" y="4401"/>
                  </a:lnTo>
                  <a:lnTo>
                    <a:pt x="23228" y="4397"/>
                  </a:lnTo>
                  <a:lnTo>
                    <a:pt x="23224" y="4388"/>
                  </a:lnTo>
                  <a:lnTo>
                    <a:pt x="23214" y="4377"/>
                  </a:lnTo>
                  <a:lnTo>
                    <a:pt x="23200" y="4374"/>
                  </a:lnTo>
                  <a:lnTo>
                    <a:pt x="23185" y="4377"/>
                  </a:lnTo>
                  <a:lnTo>
                    <a:pt x="23161" y="4385"/>
                  </a:lnTo>
                  <a:lnTo>
                    <a:pt x="23134" y="4399"/>
                  </a:lnTo>
                  <a:lnTo>
                    <a:pt x="23064" y="4417"/>
                  </a:lnTo>
                  <a:lnTo>
                    <a:pt x="23044" y="4428"/>
                  </a:lnTo>
                  <a:lnTo>
                    <a:pt x="23043" y="4437"/>
                  </a:lnTo>
                  <a:lnTo>
                    <a:pt x="23068" y="4461"/>
                  </a:lnTo>
                  <a:lnTo>
                    <a:pt x="23077" y="4474"/>
                  </a:lnTo>
                  <a:lnTo>
                    <a:pt x="23084" y="4490"/>
                  </a:lnTo>
                  <a:lnTo>
                    <a:pt x="23083" y="4504"/>
                  </a:lnTo>
                  <a:lnTo>
                    <a:pt x="23068" y="4514"/>
                  </a:lnTo>
                  <a:lnTo>
                    <a:pt x="23074" y="4522"/>
                  </a:lnTo>
                  <a:lnTo>
                    <a:pt x="23078" y="4527"/>
                  </a:lnTo>
                  <a:lnTo>
                    <a:pt x="23084" y="4530"/>
                  </a:lnTo>
                  <a:lnTo>
                    <a:pt x="23091" y="4536"/>
                  </a:lnTo>
                  <a:lnTo>
                    <a:pt x="23095" y="4542"/>
                  </a:lnTo>
                  <a:lnTo>
                    <a:pt x="23096" y="4547"/>
                  </a:lnTo>
                  <a:lnTo>
                    <a:pt x="23097" y="4553"/>
                  </a:lnTo>
                  <a:lnTo>
                    <a:pt x="23099" y="4562"/>
                  </a:lnTo>
                  <a:lnTo>
                    <a:pt x="23101" y="4563"/>
                  </a:lnTo>
                  <a:lnTo>
                    <a:pt x="23103" y="4565"/>
                  </a:lnTo>
                  <a:lnTo>
                    <a:pt x="23106" y="4567"/>
                  </a:lnTo>
                  <a:lnTo>
                    <a:pt x="23108" y="4571"/>
                  </a:lnTo>
                  <a:lnTo>
                    <a:pt x="23109" y="4575"/>
                  </a:lnTo>
                  <a:lnTo>
                    <a:pt x="23108" y="4584"/>
                  </a:lnTo>
                  <a:lnTo>
                    <a:pt x="23108" y="4588"/>
                  </a:lnTo>
                  <a:lnTo>
                    <a:pt x="23114" y="4598"/>
                  </a:lnTo>
                  <a:lnTo>
                    <a:pt x="23121" y="4604"/>
                  </a:lnTo>
                  <a:lnTo>
                    <a:pt x="23139" y="4615"/>
                  </a:lnTo>
                  <a:lnTo>
                    <a:pt x="23154" y="4626"/>
                  </a:lnTo>
                  <a:lnTo>
                    <a:pt x="23159" y="4632"/>
                  </a:lnTo>
                  <a:lnTo>
                    <a:pt x="23175" y="4657"/>
                  </a:lnTo>
                  <a:lnTo>
                    <a:pt x="23181" y="4662"/>
                  </a:lnTo>
                  <a:lnTo>
                    <a:pt x="23192" y="4663"/>
                  </a:lnTo>
                  <a:lnTo>
                    <a:pt x="23202" y="4656"/>
                  </a:lnTo>
                  <a:lnTo>
                    <a:pt x="23211" y="4651"/>
                  </a:lnTo>
                  <a:lnTo>
                    <a:pt x="23219" y="4650"/>
                  </a:lnTo>
                  <a:lnTo>
                    <a:pt x="23226" y="4655"/>
                  </a:lnTo>
                  <a:lnTo>
                    <a:pt x="23237" y="4669"/>
                  </a:lnTo>
                  <a:lnTo>
                    <a:pt x="23245" y="4672"/>
                  </a:lnTo>
                  <a:lnTo>
                    <a:pt x="23259" y="4669"/>
                  </a:lnTo>
                  <a:lnTo>
                    <a:pt x="23268" y="4658"/>
                  </a:lnTo>
                  <a:lnTo>
                    <a:pt x="23274" y="4644"/>
                  </a:lnTo>
                  <a:lnTo>
                    <a:pt x="23276" y="4630"/>
                  </a:lnTo>
                  <a:lnTo>
                    <a:pt x="23280" y="4618"/>
                  </a:lnTo>
                  <a:lnTo>
                    <a:pt x="23294" y="4590"/>
                  </a:lnTo>
                  <a:lnTo>
                    <a:pt x="23317" y="4495"/>
                  </a:lnTo>
                  <a:lnTo>
                    <a:pt x="23317" y="4465"/>
                  </a:lnTo>
                  <a:lnTo>
                    <a:pt x="23314" y="4459"/>
                  </a:lnTo>
                  <a:lnTo>
                    <a:pt x="23309" y="4448"/>
                  </a:lnTo>
                  <a:lnTo>
                    <a:pt x="23307" y="4445"/>
                  </a:lnTo>
                  <a:lnTo>
                    <a:pt x="23310" y="4438"/>
                  </a:lnTo>
                  <a:lnTo>
                    <a:pt x="23319" y="4428"/>
                  </a:lnTo>
                  <a:close/>
                  <a:moveTo>
                    <a:pt x="26718" y="4901"/>
                  </a:moveTo>
                  <a:lnTo>
                    <a:pt x="26718" y="4901"/>
                  </a:lnTo>
                  <a:lnTo>
                    <a:pt x="26705" y="4893"/>
                  </a:lnTo>
                  <a:lnTo>
                    <a:pt x="26695" y="4886"/>
                  </a:lnTo>
                  <a:lnTo>
                    <a:pt x="26689" y="4883"/>
                  </a:lnTo>
                  <a:lnTo>
                    <a:pt x="26674" y="4884"/>
                  </a:lnTo>
                  <a:lnTo>
                    <a:pt x="26667" y="4883"/>
                  </a:lnTo>
                  <a:lnTo>
                    <a:pt x="26662" y="4881"/>
                  </a:lnTo>
                  <a:lnTo>
                    <a:pt x="26656" y="4873"/>
                  </a:lnTo>
                  <a:lnTo>
                    <a:pt x="26653" y="4870"/>
                  </a:lnTo>
                  <a:lnTo>
                    <a:pt x="26627" y="4865"/>
                  </a:lnTo>
                  <a:lnTo>
                    <a:pt x="26567" y="4865"/>
                  </a:lnTo>
                  <a:lnTo>
                    <a:pt x="26542" y="4857"/>
                  </a:lnTo>
                  <a:lnTo>
                    <a:pt x="26524" y="4864"/>
                  </a:lnTo>
                  <a:lnTo>
                    <a:pt x="26476" y="4851"/>
                  </a:lnTo>
                  <a:lnTo>
                    <a:pt x="26437" y="4861"/>
                  </a:lnTo>
                  <a:lnTo>
                    <a:pt x="26410" y="4859"/>
                  </a:lnTo>
                  <a:lnTo>
                    <a:pt x="26365" y="4848"/>
                  </a:lnTo>
                  <a:lnTo>
                    <a:pt x="26234" y="4839"/>
                  </a:lnTo>
                  <a:lnTo>
                    <a:pt x="26165" y="4824"/>
                  </a:lnTo>
                  <a:lnTo>
                    <a:pt x="26156" y="4824"/>
                  </a:lnTo>
                  <a:lnTo>
                    <a:pt x="26153" y="4829"/>
                  </a:lnTo>
                  <a:lnTo>
                    <a:pt x="26147" y="4828"/>
                  </a:lnTo>
                  <a:lnTo>
                    <a:pt x="26137" y="4832"/>
                  </a:lnTo>
                  <a:lnTo>
                    <a:pt x="26130" y="4837"/>
                  </a:lnTo>
                  <a:lnTo>
                    <a:pt x="26132" y="4840"/>
                  </a:lnTo>
                  <a:lnTo>
                    <a:pt x="26139" y="4842"/>
                  </a:lnTo>
                  <a:lnTo>
                    <a:pt x="26141" y="4847"/>
                  </a:lnTo>
                  <a:lnTo>
                    <a:pt x="26142" y="4853"/>
                  </a:lnTo>
                  <a:lnTo>
                    <a:pt x="26143" y="4857"/>
                  </a:lnTo>
                  <a:lnTo>
                    <a:pt x="26147" y="4858"/>
                  </a:lnTo>
                  <a:lnTo>
                    <a:pt x="26158" y="4856"/>
                  </a:lnTo>
                  <a:lnTo>
                    <a:pt x="26161" y="4857"/>
                  </a:lnTo>
                  <a:lnTo>
                    <a:pt x="26166" y="4866"/>
                  </a:lnTo>
                  <a:lnTo>
                    <a:pt x="26167" y="4873"/>
                  </a:lnTo>
                  <a:lnTo>
                    <a:pt x="26169" y="4879"/>
                  </a:lnTo>
                  <a:lnTo>
                    <a:pt x="26179" y="4883"/>
                  </a:lnTo>
                  <a:lnTo>
                    <a:pt x="26197" y="4886"/>
                  </a:lnTo>
                  <a:lnTo>
                    <a:pt x="26215" y="4884"/>
                  </a:lnTo>
                  <a:lnTo>
                    <a:pt x="26232" y="4884"/>
                  </a:lnTo>
                  <a:lnTo>
                    <a:pt x="26248" y="4895"/>
                  </a:lnTo>
                  <a:lnTo>
                    <a:pt x="26255" y="4897"/>
                  </a:lnTo>
                  <a:lnTo>
                    <a:pt x="26265" y="4894"/>
                  </a:lnTo>
                  <a:lnTo>
                    <a:pt x="26274" y="4890"/>
                  </a:lnTo>
                  <a:lnTo>
                    <a:pt x="26281" y="4888"/>
                  </a:lnTo>
                  <a:lnTo>
                    <a:pt x="26289" y="4891"/>
                  </a:lnTo>
                  <a:lnTo>
                    <a:pt x="26296" y="4898"/>
                  </a:lnTo>
                  <a:lnTo>
                    <a:pt x="26303" y="4901"/>
                  </a:lnTo>
                  <a:lnTo>
                    <a:pt x="26313" y="4898"/>
                  </a:lnTo>
                  <a:lnTo>
                    <a:pt x="26321" y="4897"/>
                  </a:lnTo>
                  <a:lnTo>
                    <a:pt x="26328" y="4899"/>
                  </a:lnTo>
                  <a:lnTo>
                    <a:pt x="26336" y="4908"/>
                  </a:lnTo>
                  <a:lnTo>
                    <a:pt x="26341" y="4910"/>
                  </a:lnTo>
                  <a:lnTo>
                    <a:pt x="26364" y="4912"/>
                  </a:lnTo>
                  <a:lnTo>
                    <a:pt x="26384" y="4923"/>
                  </a:lnTo>
                  <a:lnTo>
                    <a:pt x="26396" y="4928"/>
                  </a:lnTo>
                  <a:lnTo>
                    <a:pt x="26423" y="4929"/>
                  </a:lnTo>
                  <a:lnTo>
                    <a:pt x="26435" y="4932"/>
                  </a:lnTo>
                  <a:lnTo>
                    <a:pt x="26440" y="4939"/>
                  </a:lnTo>
                  <a:lnTo>
                    <a:pt x="26447" y="4941"/>
                  </a:lnTo>
                  <a:lnTo>
                    <a:pt x="26476" y="4954"/>
                  </a:lnTo>
                  <a:lnTo>
                    <a:pt x="26493" y="4964"/>
                  </a:lnTo>
                  <a:lnTo>
                    <a:pt x="26502" y="4968"/>
                  </a:lnTo>
                  <a:lnTo>
                    <a:pt x="26512" y="4971"/>
                  </a:lnTo>
                  <a:lnTo>
                    <a:pt x="26527" y="4971"/>
                  </a:lnTo>
                  <a:lnTo>
                    <a:pt x="26531" y="4973"/>
                  </a:lnTo>
                  <a:lnTo>
                    <a:pt x="26541" y="4982"/>
                  </a:lnTo>
                  <a:lnTo>
                    <a:pt x="26547" y="4984"/>
                  </a:lnTo>
                  <a:lnTo>
                    <a:pt x="26553" y="4985"/>
                  </a:lnTo>
                  <a:lnTo>
                    <a:pt x="26567" y="4984"/>
                  </a:lnTo>
                  <a:lnTo>
                    <a:pt x="26574" y="4984"/>
                  </a:lnTo>
                  <a:lnTo>
                    <a:pt x="26623" y="4995"/>
                  </a:lnTo>
                  <a:lnTo>
                    <a:pt x="26643" y="5006"/>
                  </a:lnTo>
                  <a:lnTo>
                    <a:pt x="26653" y="5024"/>
                  </a:lnTo>
                  <a:lnTo>
                    <a:pt x="26660" y="5019"/>
                  </a:lnTo>
                  <a:lnTo>
                    <a:pt x="26667" y="5018"/>
                  </a:lnTo>
                  <a:lnTo>
                    <a:pt x="26672" y="5021"/>
                  </a:lnTo>
                  <a:lnTo>
                    <a:pt x="26675" y="5029"/>
                  </a:lnTo>
                  <a:lnTo>
                    <a:pt x="26680" y="5029"/>
                  </a:lnTo>
                  <a:lnTo>
                    <a:pt x="26683" y="5020"/>
                  </a:lnTo>
                  <a:lnTo>
                    <a:pt x="26687" y="5015"/>
                  </a:lnTo>
                  <a:lnTo>
                    <a:pt x="26691" y="5011"/>
                  </a:lnTo>
                  <a:lnTo>
                    <a:pt x="26698" y="5006"/>
                  </a:lnTo>
                  <a:lnTo>
                    <a:pt x="26697" y="5008"/>
                  </a:lnTo>
                  <a:lnTo>
                    <a:pt x="26703" y="5008"/>
                  </a:lnTo>
                  <a:lnTo>
                    <a:pt x="26708" y="5007"/>
                  </a:lnTo>
                  <a:lnTo>
                    <a:pt x="26708" y="5006"/>
                  </a:lnTo>
                  <a:lnTo>
                    <a:pt x="26712" y="5005"/>
                  </a:lnTo>
                  <a:lnTo>
                    <a:pt x="26718" y="4999"/>
                  </a:lnTo>
                  <a:lnTo>
                    <a:pt x="26722" y="4998"/>
                  </a:lnTo>
                  <a:lnTo>
                    <a:pt x="26734" y="5000"/>
                  </a:lnTo>
                  <a:lnTo>
                    <a:pt x="26760" y="5009"/>
                  </a:lnTo>
                  <a:lnTo>
                    <a:pt x="26770" y="5011"/>
                  </a:lnTo>
                  <a:lnTo>
                    <a:pt x="26790" y="5018"/>
                  </a:lnTo>
                  <a:lnTo>
                    <a:pt x="26797" y="5020"/>
                  </a:lnTo>
                  <a:lnTo>
                    <a:pt x="26805" y="5019"/>
                  </a:lnTo>
                  <a:lnTo>
                    <a:pt x="26818" y="5016"/>
                  </a:lnTo>
                  <a:lnTo>
                    <a:pt x="26826" y="5016"/>
                  </a:lnTo>
                  <a:lnTo>
                    <a:pt x="26831" y="5017"/>
                  </a:lnTo>
                  <a:lnTo>
                    <a:pt x="26843" y="5023"/>
                  </a:lnTo>
                  <a:lnTo>
                    <a:pt x="26850" y="5024"/>
                  </a:lnTo>
                  <a:lnTo>
                    <a:pt x="26856" y="5022"/>
                  </a:lnTo>
                  <a:lnTo>
                    <a:pt x="26856" y="5016"/>
                  </a:lnTo>
                  <a:lnTo>
                    <a:pt x="26852" y="5010"/>
                  </a:lnTo>
                  <a:lnTo>
                    <a:pt x="26848" y="5006"/>
                  </a:lnTo>
                  <a:lnTo>
                    <a:pt x="26848" y="5002"/>
                  </a:lnTo>
                  <a:lnTo>
                    <a:pt x="26861" y="5002"/>
                  </a:lnTo>
                  <a:lnTo>
                    <a:pt x="26920" y="5008"/>
                  </a:lnTo>
                  <a:lnTo>
                    <a:pt x="26928" y="5006"/>
                  </a:lnTo>
                  <a:lnTo>
                    <a:pt x="26934" y="5003"/>
                  </a:lnTo>
                  <a:lnTo>
                    <a:pt x="26939" y="4999"/>
                  </a:lnTo>
                  <a:lnTo>
                    <a:pt x="26945" y="4995"/>
                  </a:lnTo>
                  <a:lnTo>
                    <a:pt x="26959" y="4992"/>
                  </a:lnTo>
                  <a:lnTo>
                    <a:pt x="26966" y="4989"/>
                  </a:lnTo>
                  <a:lnTo>
                    <a:pt x="26970" y="4984"/>
                  </a:lnTo>
                  <a:lnTo>
                    <a:pt x="26973" y="4978"/>
                  </a:lnTo>
                  <a:lnTo>
                    <a:pt x="26975" y="4976"/>
                  </a:lnTo>
                  <a:lnTo>
                    <a:pt x="26994" y="4976"/>
                  </a:lnTo>
                  <a:lnTo>
                    <a:pt x="27017" y="4972"/>
                  </a:lnTo>
                  <a:lnTo>
                    <a:pt x="27067" y="4971"/>
                  </a:lnTo>
                  <a:lnTo>
                    <a:pt x="27073" y="4969"/>
                  </a:lnTo>
                  <a:lnTo>
                    <a:pt x="27078" y="4961"/>
                  </a:lnTo>
                  <a:lnTo>
                    <a:pt x="27085" y="4958"/>
                  </a:lnTo>
                  <a:lnTo>
                    <a:pt x="27085" y="4955"/>
                  </a:lnTo>
                  <a:lnTo>
                    <a:pt x="27052" y="4936"/>
                  </a:lnTo>
                  <a:lnTo>
                    <a:pt x="27040" y="4932"/>
                  </a:lnTo>
                  <a:lnTo>
                    <a:pt x="27030" y="4929"/>
                  </a:lnTo>
                  <a:lnTo>
                    <a:pt x="27006" y="4928"/>
                  </a:lnTo>
                  <a:lnTo>
                    <a:pt x="26995" y="4926"/>
                  </a:lnTo>
                  <a:lnTo>
                    <a:pt x="26971" y="4917"/>
                  </a:lnTo>
                  <a:lnTo>
                    <a:pt x="26959" y="4914"/>
                  </a:lnTo>
                  <a:lnTo>
                    <a:pt x="26903" y="4919"/>
                  </a:lnTo>
                  <a:lnTo>
                    <a:pt x="26797" y="4906"/>
                  </a:lnTo>
                  <a:lnTo>
                    <a:pt x="26756" y="4911"/>
                  </a:lnTo>
                  <a:lnTo>
                    <a:pt x="26741" y="4910"/>
                  </a:lnTo>
                  <a:lnTo>
                    <a:pt x="26718" y="4901"/>
                  </a:lnTo>
                  <a:close/>
                  <a:moveTo>
                    <a:pt x="26130" y="4292"/>
                  </a:moveTo>
                  <a:lnTo>
                    <a:pt x="26130" y="4292"/>
                  </a:lnTo>
                  <a:lnTo>
                    <a:pt x="26153" y="4312"/>
                  </a:lnTo>
                  <a:lnTo>
                    <a:pt x="26175" y="4320"/>
                  </a:lnTo>
                  <a:lnTo>
                    <a:pt x="26167" y="4304"/>
                  </a:lnTo>
                  <a:lnTo>
                    <a:pt x="26166" y="4296"/>
                  </a:lnTo>
                  <a:lnTo>
                    <a:pt x="26170" y="4289"/>
                  </a:lnTo>
                  <a:lnTo>
                    <a:pt x="26271" y="4369"/>
                  </a:lnTo>
                  <a:lnTo>
                    <a:pt x="26284" y="4372"/>
                  </a:lnTo>
                  <a:lnTo>
                    <a:pt x="26299" y="4360"/>
                  </a:lnTo>
                  <a:lnTo>
                    <a:pt x="26309" y="4345"/>
                  </a:lnTo>
                  <a:lnTo>
                    <a:pt x="26321" y="4332"/>
                  </a:lnTo>
                  <a:lnTo>
                    <a:pt x="26336" y="4329"/>
                  </a:lnTo>
                  <a:lnTo>
                    <a:pt x="26352" y="4342"/>
                  </a:lnTo>
                  <a:lnTo>
                    <a:pt x="26362" y="4363"/>
                  </a:lnTo>
                  <a:lnTo>
                    <a:pt x="26374" y="4426"/>
                  </a:lnTo>
                  <a:lnTo>
                    <a:pt x="26382" y="4447"/>
                  </a:lnTo>
                  <a:lnTo>
                    <a:pt x="26383" y="4454"/>
                  </a:lnTo>
                  <a:lnTo>
                    <a:pt x="26385" y="4458"/>
                  </a:lnTo>
                  <a:lnTo>
                    <a:pt x="26394" y="4470"/>
                  </a:lnTo>
                  <a:lnTo>
                    <a:pt x="26396" y="4476"/>
                  </a:lnTo>
                  <a:lnTo>
                    <a:pt x="26392" y="4514"/>
                  </a:lnTo>
                  <a:lnTo>
                    <a:pt x="26396" y="4527"/>
                  </a:lnTo>
                  <a:lnTo>
                    <a:pt x="26404" y="4540"/>
                  </a:lnTo>
                  <a:lnTo>
                    <a:pt x="26415" y="4552"/>
                  </a:lnTo>
                  <a:lnTo>
                    <a:pt x="26429" y="4562"/>
                  </a:lnTo>
                  <a:lnTo>
                    <a:pt x="26442" y="4566"/>
                  </a:lnTo>
                  <a:lnTo>
                    <a:pt x="26458" y="4565"/>
                  </a:lnTo>
                  <a:lnTo>
                    <a:pt x="26483" y="4556"/>
                  </a:lnTo>
                  <a:lnTo>
                    <a:pt x="26498" y="4553"/>
                  </a:lnTo>
                  <a:lnTo>
                    <a:pt x="26527" y="4558"/>
                  </a:lnTo>
                  <a:lnTo>
                    <a:pt x="26568" y="4584"/>
                  </a:lnTo>
                  <a:lnTo>
                    <a:pt x="26596" y="4588"/>
                  </a:lnTo>
                  <a:lnTo>
                    <a:pt x="26607" y="4587"/>
                  </a:lnTo>
                  <a:lnTo>
                    <a:pt x="26621" y="4583"/>
                  </a:lnTo>
                  <a:lnTo>
                    <a:pt x="26633" y="4578"/>
                  </a:lnTo>
                  <a:lnTo>
                    <a:pt x="26642" y="4573"/>
                  </a:lnTo>
                  <a:lnTo>
                    <a:pt x="26652" y="4569"/>
                  </a:lnTo>
                  <a:lnTo>
                    <a:pt x="26693" y="4562"/>
                  </a:lnTo>
                  <a:lnTo>
                    <a:pt x="26724" y="4540"/>
                  </a:lnTo>
                  <a:lnTo>
                    <a:pt x="26730" y="4536"/>
                  </a:lnTo>
                  <a:lnTo>
                    <a:pt x="26741" y="4532"/>
                  </a:lnTo>
                  <a:lnTo>
                    <a:pt x="26750" y="4524"/>
                  </a:lnTo>
                  <a:lnTo>
                    <a:pt x="26752" y="4514"/>
                  </a:lnTo>
                  <a:lnTo>
                    <a:pt x="26746" y="4505"/>
                  </a:lnTo>
                  <a:lnTo>
                    <a:pt x="26708" y="4500"/>
                  </a:lnTo>
                  <a:lnTo>
                    <a:pt x="26702" y="4494"/>
                  </a:lnTo>
                  <a:lnTo>
                    <a:pt x="26695" y="4480"/>
                  </a:lnTo>
                  <a:lnTo>
                    <a:pt x="26680" y="4475"/>
                  </a:lnTo>
                  <a:lnTo>
                    <a:pt x="26662" y="4476"/>
                  </a:lnTo>
                  <a:lnTo>
                    <a:pt x="26648" y="4479"/>
                  </a:lnTo>
                  <a:lnTo>
                    <a:pt x="26646" y="4481"/>
                  </a:lnTo>
                  <a:lnTo>
                    <a:pt x="26638" y="4486"/>
                  </a:lnTo>
                  <a:lnTo>
                    <a:pt x="26630" y="4488"/>
                  </a:lnTo>
                  <a:lnTo>
                    <a:pt x="26624" y="4477"/>
                  </a:lnTo>
                  <a:lnTo>
                    <a:pt x="26615" y="4465"/>
                  </a:lnTo>
                  <a:lnTo>
                    <a:pt x="26609" y="4448"/>
                  </a:lnTo>
                  <a:lnTo>
                    <a:pt x="26599" y="4439"/>
                  </a:lnTo>
                  <a:lnTo>
                    <a:pt x="26587" y="4431"/>
                  </a:lnTo>
                  <a:lnTo>
                    <a:pt x="26577" y="4421"/>
                  </a:lnTo>
                  <a:lnTo>
                    <a:pt x="26575" y="4415"/>
                  </a:lnTo>
                  <a:lnTo>
                    <a:pt x="26574" y="4406"/>
                  </a:lnTo>
                  <a:lnTo>
                    <a:pt x="26571" y="4399"/>
                  </a:lnTo>
                  <a:lnTo>
                    <a:pt x="26563" y="4393"/>
                  </a:lnTo>
                  <a:lnTo>
                    <a:pt x="26558" y="4387"/>
                  </a:lnTo>
                  <a:lnTo>
                    <a:pt x="26553" y="4381"/>
                  </a:lnTo>
                  <a:lnTo>
                    <a:pt x="26546" y="4362"/>
                  </a:lnTo>
                  <a:lnTo>
                    <a:pt x="26533" y="4351"/>
                  </a:lnTo>
                  <a:lnTo>
                    <a:pt x="26482" y="4314"/>
                  </a:lnTo>
                  <a:lnTo>
                    <a:pt x="26435" y="4266"/>
                  </a:lnTo>
                  <a:lnTo>
                    <a:pt x="26419" y="4255"/>
                  </a:lnTo>
                  <a:lnTo>
                    <a:pt x="26405" y="4249"/>
                  </a:lnTo>
                  <a:lnTo>
                    <a:pt x="26392" y="4253"/>
                  </a:lnTo>
                  <a:lnTo>
                    <a:pt x="26379" y="4261"/>
                  </a:lnTo>
                  <a:lnTo>
                    <a:pt x="26369" y="4271"/>
                  </a:lnTo>
                  <a:lnTo>
                    <a:pt x="26365" y="4278"/>
                  </a:lnTo>
                  <a:lnTo>
                    <a:pt x="26359" y="4283"/>
                  </a:lnTo>
                  <a:lnTo>
                    <a:pt x="26346" y="4277"/>
                  </a:lnTo>
                  <a:lnTo>
                    <a:pt x="26326" y="4263"/>
                  </a:lnTo>
                  <a:lnTo>
                    <a:pt x="26320" y="4265"/>
                  </a:lnTo>
                  <a:lnTo>
                    <a:pt x="26312" y="4269"/>
                  </a:lnTo>
                  <a:lnTo>
                    <a:pt x="26306" y="4271"/>
                  </a:lnTo>
                  <a:lnTo>
                    <a:pt x="26303" y="4265"/>
                  </a:lnTo>
                  <a:lnTo>
                    <a:pt x="26302" y="4258"/>
                  </a:lnTo>
                  <a:lnTo>
                    <a:pt x="26296" y="4246"/>
                  </a:lnTo>
                  <a:lnTo>
                    <a:pt x="26295" y="4243"/>
                  </a:lnTo>
                  <a:lnTo>
                    <a:pt x="26288" y="4241"/>
                  </a:lnTo>
                  <a:lnTo>
                    <a:pt x="26245" y="4249"/>
                  </a:lnTo>
                  <a:lnTo>
                    <a:pt x="26240" y="4236"/>
                  </a:lnTo>
                  <a:lnTo>
                    <a:pt x="26234" y="4231"/>
                  </a:lnTo>
                  <a:lnTo>
                    <a:pt x="26220" y="4237"/>
                  </a:lnTo>
                  <a:lnTo>
                    <a:pt x="26213" y="4237"/>
                  </a:lnTo>
                  <a:lnTo>
                    <a:pt x="26179" y="4234"/>
                  </a:lnTo>
                  <a:lnTo>
                    <a:pt x="26160" y="4229"/>
                  </a:lnTo>
                  <a:lnTo>
                    <a:pt x="26156" y="4227"/>
                  </a:lnTo>
                  <a:lnTo>
                    <a:pt x="26149" y="4223"/>
                  </a:lnTo>
                  <a:lnTo>
                    <a:pt x="26146" y="4221"/>
                  </a:lnTo>
                  <a:lnTo>
                    <a:pt x="26142" y="4222"/>
                  </a:lnTo>
                  <a:lnTo>
                    <a:pt x="26134" y="4224"/>
                  </a:lnTo>
                  <a:lnTo>
                    <a:pt x="26130" y="4223"/>
                  </a:lnTo>
                  <a:lnTo>
                    <a:pt x="26125" y="4219"/>
                  </a:lnTo>
                  <a:lnTo>
                    <a:pt x="26115" y="4208"/>
                  </a:lnTo>
                  <a:lnTo>
                    <a:pt x="26108" y="4206"/>
                  </a:lnTo>
                  <a:lnTo>
                    <a:pt x="26096" y="4211"/>
                  </a:lnTo>
                  <a:lnTo>
                    <a:pt x="26096" y="4222"/>
                  </a:lnTo>
                  <a:lnTo>
                    <a:pt x="26111" y="4267"/>
                  </a:lnTo>
                  <a:lnTo>
                    <a:pt x="26130" y="4292"/>
                  </a:lnTo>
                  <a:close/>
                  <a:moveTo>
                    <a:pt x="23732" y="8407"/>
                  </a:moveTo>
                  <a:lnTo>
                    <a:pt x="23732" y="8407"/>
                  </a:lnTo>
                  <a:lnTo>
                    <a:pt x="23729" y="8399"/>
                  </a:lnTo>
                  <a:lnTo>
                    <a:pt x="23725" y="8395"/>
                  </a:lnTo>
                  <a:lnTo>
                    <a:pt x="23718" y="8401"/>
                  </a:lnTo>
                  <a:lnTo>
                    <a:pt x="23708" y="8414"/>
                  </a:lnTo>
                  <a:lnTo>
                    <a:pt x="23702" y="8418"/>
                  </a:lnTo>
                  <a:lnTo>
                    <a:pt x="23693" y="8421"/>
                  </a:lnTo>
                  <a:lnTo>
                    <a:pt x="23693" y="8417"/>
                  </a:lnTo>
                  <a:lnTo>
                    <a:pt x="23698" y="8393"/>
                  </a:lnTo>
                  <a:lnTo>
                    <a:pt x="23693" y="8383"/>
                  </a:lnTo>
                  <a:lnTo>
                    <a:pt x="23682" y="8381"/>
                  </a:lnTo>
                  <a:lnTo>
                    <a:pt x="23669" y="8383"/>
                  </a:lnTo>
                  <a:lnTo>
                    <a:pt x="23651" y="8388"/>
                  </a:lnTo>
                  <a:lnTo>
                    <a:pt x="23638" y="8395"/>
                  </a:lnTo>
                  <a:lnTo>
                    <a:pt x="23617" y="8410"/>
                  </a:lnTo>
                  <a:lnTo>
                    <a:pt x="23612" y="8420"/>
                  </a:lnTo>
                  <a:lnTo>
                    <a:pt x="23614" y="8433"/>
                  </a:lnTo>
                  <a:lnTo>
                    <a:pt x="23622" y="8452"/>
                  </a:lnTo>
                  <a:lnTo>
                    <a:pt x="23617" y="8455"/>
                  </a:lnTo>
                  <a:lnTo>
                    <a:pt x="23611" y="8456"/>
                  </a:lnTo>
                  <a:lnTo>
                    <a:pt x="23598" y="8457"/>
                  </a:lnTo>
                  <a:lnTo>
                    <a:pt x="23590" y="8459"/>
                  </a:lnTo>
                  <a:lnTo>
                    <a:pt x="23586" y="8463"/>
                  </a:lnTo>
                  <a:lnTo>
                    <a:pt x="23585" y="8469"/>
                  </a:lnTo>
                  <a:lnTo>
                    <a:pt x="23582" y="8475"/>
                  </a:lnTo>
                  <a:lnTo>
                    <a:pt x="23569" y="8490"/>
                  </a:lnTo>
                  <a:lnTo>
                    <a:pt x="23565" y="8499"/>
                  </a:lnTo>
                  <a:lnTo>
                    <a:pt x="23560" y="8510"/>
                  </a:lnTo>
                  <a:lnTo>
                    <a:pt x="23561" y="8517"/>
                  </a:lnTo>
                  <a:lnTo>
                    <a:pt x="23564" y="8523"/>
                  </a:lnTo>
                  <a:lnTo>
                    <a:pt x="23563" y="8527"/>
                  </a:lnTo>
                  <a:lnTo>
                    <a:pt x="23527" y="8532"/>
                  </a:lnTo>
                  <a:lnTo>
                    <a:pt x="23523" y="8535"/>
                  </a:lnTo>
                  <a:lnTo>
                    <a:pt x="23522" y="8542"/>
                  </a:lnTo>
                  <a:lnTo>
                    <a:pt x="23523" y="8548"/>
                  </a:lnTo>
                  <a:lnTo>
                    <a:pt x="23524" y="8550"/>
                  </a:lnTo>
                  <a:lnTo>
                    <a:pt x="23521" y="8557"/>
                  </a:lnTo>
                  <a:lnTo>
                    <a:pt x="23519" y="8560"/>
                  </a:lnTo>
                  <a:lnTo>
                    <a:pt x="23516" y="8562"/>
                  </a:lnTo>
                  <a:lnTo>
                    <a:pt x="23511" y="8568"/>
                  </a:lnTo>
                  <a:lnTo>
                    <a:pt x="23503" y="8587"/>
                  </a:lnTo>
                  <a:lnTo>
                    <a:pt x="23500" y="8592"/>
                  </a:lnTo>
                  <a:lnTo>
                    <a:pt x="23494" y="8594"/>
                  </a:lnTo>
                  <a:lnTo>
                    <a:pt x="23491" y="8589"/>
                  </a:lnTo>
                  <a:lnTo>
                    <a:pt x="23487" y="8583"/>
                  </a:lnTo>
                  <a:lnTo>
                    <a:pt x="23482" y="8581"/>
                  </a:lnTo>
                  <a:lnTo>
                    <a:pt x="23474" y="8584"/>
                  </a:lnTo>
                  <a:lnTo>
                    <a:pt x="23435" y="8616"/>
                  </a:lnTo>
                  <a:lnTo>
                    <a:pt x="23426" y="8626"/>
                  </a:lnTo>
                  <a:lnTo>
                    <a:pt x="23421" y="8638"/>
                  </a:lnTo>
                  <a:lnTo>
                    <a:pt x="23419" y="8654"/>
                  </a:lnTo>
                  <a:lnTo>
                    <a:pt x="23415" y="8664"/>
                  </a:lnTo>
                  <a:lnTo>
                    <a:pt x="23401" y="8685"/>
                  </a:lnTo>
                  <a:lnTo>
                    <a:pt x="23396" y="8696"/>
                  </a:lnTo>
                  <a:lnTo>
                    <a:pt x="23393" y="8720"/>
                  </a:lnTo>
                  <a:lnTo>
                    <a:pt x="23394" y="8723"/>
                  </a:lnTo>
                  <a:lnTo>
                    <a:pt x="23387" y="8725"/>
                  </a:lnTo>
                  <a:lnTo>
                    <a:pt x="23387" y="8731"/>
                  </a:lnTo>
                  <a:lnTo>
                    <a:pt x="23396" y="8753"/>
                  </a:lnTo>
                  <a:lnTo>
                    <a:pt x="23407" y="8760"/>
                  </a:lnTo>
                  <a:lnTo>
                    <a:pt x="23420" y="8765"/>
                  </a:lnTo>
                  <a:lnTo>
                    <a:pt x="23432" y="8768"/>
                  </a:lnTo>
                  <a:lnTo>
                    <a:pt x="23414" y="8773"/>
                  </a:lnTo>
                  <a:lnTo>
                    <a:pt x="23402" y="8772"/>
                  </a:lnTo>
                  <a:lnTo>
                    <a:pt x="23374" y="8758"/>
                  </a:lnTo>
                  <a:lnTo>
                    <a:pt x="23360" y="8754"/>
                  </a:lnTo>
                  <a:lnTo>
                    <a:pt x="23349" y="8757"/>
                  </a:lnTo>
                  <a:lnTo>
                    <a:pt x="23344" y="8768"/>
                  </a:lnTo>
                  <a:lnTo>
                    <a:pt x="23347" y="8785"/>
                  </a:lnTo>
                  <a:lnTo>
                    <a:pt x="23352" y="8785"/>
                  </a:lnTo>
                  <a:lnTo>
                    <a:pt x="23352" y="8780"/>
                  </a:lnTo>
                  <a:lnTo>
                    <a:pt x="23356" y="8780"/>
                  </a:lnTo>
                  <a:lnTo>
                    <a:pt x="23356" y="8788"/>
                  </a:lnTo>
                  <a:lnTo>
                    <a:pt x="23359" y="8791"/>
                  </a:lnTo>
                  <a:lnTo>
                    <a:pt x="23363" y="8792"/>
                  </a:lnTo>
                  <a:lnTo>
                    <a:pt x="23369" y="8790"/>
                  </a:lnTo>
                  <a:lnTo>
                    <a:pt x="23368" y="8798"/>
                  </a:lnTo>
                  <a:lnTo>
                    <a:pt x="23371" y="8806"/>
                  </a:lnTo>
                  <a:lnTo>
                    <a:pt x="23372" y="8812"/>
                  </a:lnTo>
                  <a:lnTo>
                    <a:pt x="23361" y="8812"/>
                  </a:lnTo>
                  <a:lnTo>
                    <a:pt x="23361" y="8816"/>
                  </a:lnTo>
                  <a:lnTo>
                    <a:pt x="23365" y="8819"/>
                  </a:lnTo>
                  <a:lnTo>
                    <a:pt x="23370" y="8823"/>
                  </a:lnTo>
                  <a:lnTo>
                    <a:pt x="23374" y="8828"/>
                  </a:lnTo>
                  <a:lnTo>
                    <a:pt x="23374" y="8834"/>
                  </a:lnTo>
                  <a:lnTo>
                    <a:pt x="23369" y="8842"/>
                  </a:lnTo>
                  <a:lnTo>
                    <a:pt x="23363" y="8842"/>
                  </a:lnTo>
                  <a:lnTo>
                    <a:pt x="23356" y="8839"/>
                  </a:lnTo>
                  <a:lnTo>
                    <a:pt x="23347" y="8839"/>
                  </a:lnTo>
                  <a:lnTo>
                    <a:pt x="23337" y="8847"/>
                  </a:lnTo>
                  <a:lnTo>
                    <a:pt x="23329" y="8860"/>
                  </a:lnTo>
                  <a:lnTo>
                    <a:pt x="23325" y="8875"/>
                  </a:lnTo>
                  <a:lnTo>
                    <a:pt x="23330" y="8888"/>
                  </a:lnTo>
                  <a:lnTo>
                    <a:pt x="23338" y="8886"/>
                  </a:lnTo>
                  <a:lnTo>
                    <a:pt x="23345" y="8892"/>
                  </a:lnTo>
                  <a:lnTo>
                    <a:pt x="23350" y="8902"/>
                  </a:lnTo>
                  <a:lnTo>
                    <a:pt x="23352" y="8912"/>
                  </a:lnTo>
                  <a:lnTo>
                    <a:pt x="23342" y="8938"/>
                  </a:lnTo>
                  <a:lnTo>
                    <a:pt x="23339" y="8952"/>
                  </a:lnTo>
                  <a:lnTo>
                    <a:pt x="23345" y="8958"/>
                  </a:lnTo>
                  <a:lnTo>
                    <a:pt x="23393" y="8962"/>
                  </a:lnTo>
                  <a:lnTo>
                    <a:pt x="23419" y="8960"/>
                  </a:lnTo>
                  <a:lnTo>
                    <a:pt x="23437" y="8950"/>
                  </a:lnTo>
                  <a:lnTo>
                    <a:pt x="23439" y="8943"/>
                  </a:lnTo>
                  <a:lnTo>
                    <a:pt x="23442" y="8928"/>
                  </a:lnTo>
                  <a:lnTo>
                    <a:pt x="23445" y="8923"/>
                  </a:lnTo>
                  <a:lnTo>
                    <a:pt x="23453" y="8917"/>
                  </a:lnTo>
                  <a:lnTo>
                    <a:pt x="23457" y="8917"/>
                  </a:lnTo>
                  <a:lnTo>
                    <a:pt x="23460" y="8921"/>
                  </a:lnTo>
                  <a:lnTo>
                    <a:pt x="23465" y="8923"/>
                  </a:lnTo>
                  <a:lnTo>
                    <a:pt x="23471" y="8928"/>
                  </a:lnTo>
                  <a:lnTo>
                    <a:pt x="23468" y="8941"/>
                  </a:lnTo>
                  <a:lnTo>
                    <a:pt x="23459" y="8965"/>
                  </a:lnTo>
                  <a:lnTo>
                    <a:pt x="23464" y="8974"/>
                  </a:lnTo>
                  <a:lnTo>
                    <a:pt x="23475" y="8970"/>
                  </a:lnTo>
                  <a:lnTo>
                    <a:pt x="23487" y="8959"/>
                  </a:lnTo>
                  <a:lnTo>
                    <a:pt x="23493" y="8950"/>
                  </a:lnTo>
                  <a:lnTo>
                    <a:pt x="23495" y="8943"/>
                  </a:lnTo>
                  <a:lnTo>
                    <a:pt x="23495" y="8938"/>
                  </a:lnTo>
                  <a:lnTo>
                    <a:pt x="23496" y="8935"/>
                  </a:lnTo>
                  <a:lnTo>
                    <a:pt x="23500" y="8930"/>
                  </a:lnTo>
                  <a:lnTo>
                    <a:pt x="23503" y="8924"/>
                  </a:lnTo>
                  <a:lnTo>
                    <a:pt x="23501" y="8920"/>
                  </a:lnTo>
                  <a:lnTo>
                    <a:pt x="23495" y="8918"/>
                  </a:lnTo>
                  <a:lnTo>
                    <a:pt x="23489" y="8918"/>
                  </a:lnTo>
                  <a:lnTo>
                    <a:pt x="23495" y="8908"/>
                  </a:lnTo>
                  <a:lnTo>
                    <a:pt x="23502" y="8901"/>
                  </a:lnTo>
                  <a:lnTo>
                    <a:pt x="23508" y="8896"/>
                  </a:lnTo>
                  <a:lnTo>
                    <a:pt x="23516" y="8888"/>
                  </a:lnTo>
                  <a:lnTo>
                    <a:pt x="23516" y="8876"/>
                  </a:lnTo>
                  <a:lnTo>
                    <a:pt x="23518" y="8867"/>
                  </a:lnTo>
                  <a:lnTo>
                    <a:pt x="23522" y="8859"/>
                  </a:lnTo>
                  <a:lnTo>
                    <a:pt x="23551" y="8837"/>
                  </a:lnTo>
                  <a:lnTo>
                    <a:pt x="23555" y="8832"/>
                  </a:lnTo>
                  <a:lnTo>
                    <a:pt x="23560" y="8828"/>
                  </a:lnTo>
                  <a:lnTo>
                    <a:pt x="23570" y="8825"/>
                  </a:lnTo>
                  <a:lnTo>
                    <a:pt x="23577" y="8817"/>
                  </a:lnTo>
                  <a:lnTo>
                    <a:pt x="23573" y="8803"/>
                  </a:lnTo>
                  <a:lnTo>
                    <a:pt x="23581" y="8806"/>
                  </a:lnTo>
                  <a:lnTo>
                    <a:pt x="23587" y="8804"/>
                  </a:lnTo>
                  <a:lnTo>
                    <a:pt x="23592" y="8800"/>
                  </a:lnTo>
                  <a:lnTo>
                    <a:pt x="23595" y="8794"/>
                  </a:lnTo>
                  <a:lnTo>
                    <a:pt x="23591" y="8780"/>
                  </a:lnTo>
                  <a:lnTo>
                    <a:pt x="23602" y="8774"/>
                  </a:lnTo>
                  <a:lnTo>
                    <a:pt x="23618" y="8771"/>
                  </a:lnTo>
                  <a:lnTo>
                    <a:pt x="23631" y="8768"/>
                  </a:lnTo>
                  <a:lnTo>
                    <a:pt x="23641" y="8760"/>
                  </a:lnTo>
                  <a:lnTo>
                    <a:pt x="23645" y="8756"/>
                  </a:lnTo>
                  <a:lnTo>
                    <a:pt x="23657" y="8730"/>
                  </a:lnTo>
                  <a:lnTo>
                    <a:pt x="23660" y="8727"/>
                  </a:lnTo>
                  <a:lnTo>
                    <a:pt x="23670" y="8723"/>
                  </a:lnTo>
                  <a:lnTo>
                    <a:pt x="23679" y="8712"/>
                  </a:lnTo>
                  <a:lnTo>
                    <a:pt x="23686" y="8698"/>
                  </a:lnTo>
                  <a:lnTo>
                    <a:pt x="23692" y="8669"/>
                  </a:lnTo>
                  <a:lnTo>
                    <a:pt x="23699" y="8654"/>
                  </a:lnTo>
                  <a:lnTo>
                    <a:pt x="23702" y="8640"/>
                  </a:lnTo>
                  <a:lnTo>
                    <a:pt x="23697" y="8625"/>
                  </a:lnTo>
                  <a:lnTo>
                    <a:pt x="23703" y="8624"/>
                  </a:lnTo>
                  <a:lnTo>
                    <a:pt x="23707" y="8621"/>
                  </a:lnTo>
                  <a:lnTo>
                    <a:pt x="23710" y="8616"/>
                  </a:lnTo>
                  <a:lnTo>
                    <a:pt x="23712" y="8602"/>
                  </a:lnTo>
                  <a:lnTo>
                    <a:pt x="23720" y="8588"/>
                  </a:lnTo>
                  <a:lnTo>
                    <a:pt x="23721" y="8585"/>
                  </a:lnTo>
                  <a:lnTo>
                    <a:pt x="23725" y="8585"/>
                  </a:lnTo>
                  <a:lnTo>
                    <a:pt x="23728" y="8585"/>
                  </a:lnTo>
                  <a:lnTo>
                    <a:pt x="23729" y="8581"/>
                  </a:lnTo>
                  <a:lnTo>
                    <a:pt x="23727" y="8577"/>
                  </a:lnTo>
                  <a:lnTo>
                    <a:pt x="23725" y="8577"/>
                  </a:lnTo>
                  <a:lnTo>
                    <a:pt x="23722" y="8578"/>
                  </a:lnTo>
                  <a:lnTo>
                    <a:pt x="23720" y="8577"/>
                  </a:lnTo>
                  <a:lnTo>
                    <a:pt x="23714" y="8573"/>
                  </a:lnTo>
                  <a:lnTo>
                    <a:pt x="23708" y="8569"/>
                  </a:lnTo>
                  <a:lnTo>
                    <a:pt x="23702" y="8565"/>
                  </a:lnTo>
                  <a:lnTo>
                    <a:pt x="23697" y="8558"/>
                  </a:lnTo>
                  <a:lnTo>
                    <a:pt x="23705" y="8551"/>
                  </a:lnTo>
                  <a:lnTo>
                    <a:pt x="23707" y="8542"/>
                  </a:lnTo>
                  <a:lnTo>
                    <a:pt x="23703" y="8533"/>
                  </a:lnTo>
                  <a:lnTo>
                    <a:pt x="23690" y="8511"/>
                  </a:lnTo>
                  <a:lnTo>
                    <a:pt x="23689" y="8510"/>
                  </a:lnTo>
                  <a:lnTo>
                    <a:pt x="23688" y="8506"/>
                  </a:lnTo>
                  <a:lnTo>
                    <a:pt x="23689" y="8493"/>
                  </a:lnTo>
                  <a:lnTo>
                    <a:pt x="23686" y="8475"/>
                  </a:lnTo>
                  <a:lnTo>
                    <a:pt x="23688" y="8468"/>
                  </a:lnTo>
                  <a:lnTo>
                    <a:pt x="23693" y="8461"/>
                  </a:lnTo>
                  <a:lnTo>
                    <a:pt x="23701" y="8455"/>
                  </a:lnTo>
                  <a:lnTo>
                    <a:pt x="23706" y="8454"/>
                  </a:lnTo>
                  <a:lnTo>
                    <a:pt x="23712" y="8456"/>
                  </a:lnTo>
                  <a:lnTo>
                    <a:pt x="23722" y="8457"/>
                  </a:lnTo>
                  <a:lnTo>
                    <a:pt x="23730" y="8455"/>
                  </a:lnTo>
                  <a:lnTo>
                    <a:pt x="23739" y="8450"/>
                  </a:lnTo>
                  <a:lnTo>
                    <a:pt x="23748" y="8444"/>
                  </a:lnTo>
                  <a:lnTo>
                    <a:pt x="23751" y="8437"/>
                  </a:lnTo>
                  <a:lnTo>
                    <a:pt x="23748" y="8437"/>
                  </a:lnTo>
                  <a:lnTo>
                    <a:pt x="23732" y="8407"/>
                  </a:lnTo>
                  <a:close/>
                  <a:moveTo>
                    <a:pt x="8997" y="3070"/>
                  </a:moveTo>
                  <a:lnTo>
                    <a:pt x="8997" y="3070"/>
                  </a:lnTo>
                  <a:lnTo>
                    <a:pt x="9031" y="3163"/>
                  </a:lnTo>
                  <a:lnTo>
                    <a:pt x="9032" y="3188"/>
                  </a:lnTo>
                  <a:lnTo>
                    <a:pt x="9022" y="3215"/>
                  </a:lnTo>
                  <a:lnTo>
                    <a:pt x="9014" y="3226"/>
                  </a:lnTo>
                  <a:lnTo>
                    <a:pt x="9006" y="3235"/>
                  </a:lnTo>
                  <a:lnTo>
                    <a:pt x="8996" y="3240"/>
                  </a:lnTo>
                  <a:lnTo>
                    <a:pt x="8984" y="3242"/>
                  </a:lnTo>
                  <a:lnTo>
                    <a:pt x="8975" y="3245"/>
                  </a:lnTo>
                  <a:lnTo>
                    <a:pt x="8965" y="3253"/>
                  </a:lnTo>
                  <a:lnTo>
                    <a:pt x="8955" y="3262"/>
                  </a:lnTo>
                  <a:lnTo>
                    <a:pt x="8951" y="3268"/>
                  </a:lnTo>
                  <a:lnTo>
                    <a:pt x="8951" y="3281"/>
                  </a:lnTo>
                  <a:lnTo>
                    <a:pt x="8968" y="3303"/>
                  </a:lnTo>
                  <a:lnTo>
                    <a:pt x="8973" y="3318"/>
                  </a:lnTo>
                  <a:lnTo>
                    <a:pt x="8970" y="3331"/>
                  </a:lnTo>
                  <a:lnTo>
                    <a:pt x="8965" y="3337"/>
                  </a:lnTo>
                  <a:lnTo>
                    <a:pt x="8964" y="3344"/>
                  </a:lnTo>
                  <a:lnTo>
                    <a:pt x="8991" y="3378"/>
                  </a:lnTo>
                  <a:lnTo>
                    <a:pt x="8997" y="3391"/>
                  </a:lnTo>
                  <a:lnTo>
                    <a:pt x="9000" y="3406"/>
                  </a:lnTo>
                  <a:lnTo>
                    <a:pt x="9000" y="3433"/>
                  </a:lnTo>
                  <a:lnTo>
                    <a:pt x="8998" y="3440"/>
                  </a:lnTo>
                  <a:lnTo>
                    <a:pt x="8989" y="3455"/>
                  </a:lnTo>
                  <a:lnTo>
                    <a:pt x="8986" y="3462"/>
                  </a:lnTo>
                  <a:lnTo>
                    <a:pt x="8988" y="3479"/>
                  </a:lnTo>
                  <a:lnTo>
                    <a:pt x="9004" y="3504"/>
                  </a:lnTo>
                  <a:lnTo>
                    <a:pt x="9009" y="3517"/>
                  </a:lnTo>
                  <a:lnTo>
                    <a:pt x="9008" y="3531"/>
                  </a:lnTo>
                  <a:lnTo>
                    <a:pt x="9007" y="3540"/>
                  </a:lnTo>
                  <a:lnTo>
                    <a:pt x="9000" y="3559"/>
                  </a:lnTo>
                  <a:lnTo>
                    <a:pt x="8993" y="3584"/>
                  </a:lnTo>
                  <a:lnTo>
                    <a:pt x="8998" y="3600"/>
                  </a:lnTo>
                  <a:lnTo>
                    <a:pt x="9014" y="3609"/>
                  </a:lnTo>
                  <a:lnTo>
                    <a:pt x="9055" y="3612"/>
                  </a:lnTo>
                  <a:lnTo>
                    <a:pt x="9066" y="3614"/>
                  </a:lnTo>
                  <a:lnTo>
                    <a:pt x="9074" y="3618"/>
                  </a:lnTo>
                  <a:lnTo>
                    <a:pt x="9111" y="3646"/>
                  </a:lnTo>
                  <a:lnTo>
                    <a:pt x="9152" y="3730"/>
                  </a:lnTo>
                  <a:lnTo>
                    <a:pt x="9158" y="3733"/>
                  </a:lnTo>
                  <a:lnTo>
                    <a:pt x="9197" y="3766"/>
                  </a:lnTo>
                  <a:lnTo>
                    <a:pt x="9226" y="3785"/>
                  </a:lnTo>
                  <a:lnTo>
                    <a:pt x="9239" y="3796"/>
                  </a:lnTo>
                  <a:lnTo>
                    <a:pt x="9172" y="3787"/>
                  </a:lnTo>
                  <a:lnTo>
                    <a:pt x="9156" y="3781"/>
                  </a:lnTo>
                  <a:lnTo>
                    <a:pt x="9148" y="3781"/>
                  </a:lnTo>
                  <a:lnTo>
                    <a:pt x="9146" y="3790"/>
                  </a:lnTo>
                  <a:lnTo>
                    <a:pt x="9146" y="3808"/>
                  </a:lnTo>
                  <a:lnTo>
                    <a:pt x="9148" y="3818"/>
                  </a:lnTo>
                  <a:lnTo>
                    <a:pt x="9160" y="3838"/>
                  </a:lnTo>
                  <a:lnTo>
                    <a:pt x="9165" y="3855"/>
                  </a:lnTo>
                  <a:lnTo>
                    <a:pt x="9167" y="3891"/>
                  </a:lnTo>
                  <a:lnTo>
                    <a:pt x="9166" y="3916"/>
                  </a:lnTo>
                  <a:lnTo>
                    <a:pt x="9167" y="3924"/>
                  </a:lnTo>
                  <a:lnTo>
                    <a:pt x="9173" y="3931"/>
                  </a:lnTo>
                  <a:lnTo>
                    <a:pt x="9186" y="3945"/>
                  </a:lnTo>
                  <a:lnTo>
                    <a:pt x="9190" y="3955"/>
                  </a:lnTo>
                  <a:lnTo>
                    <a:pt x="9185" y="3955"/>
                  </a:lnTo>
                  <a:lnTo>
                    <a:pt x="9175" y="3945"/>
                  </a:lnTo>
                  <a:lnTo>
                    <a:pt x="9158" y="3939"/>
                  </a:lnTo>
                  <a:lnTo>
                    <a:pt x="9139" y="3934"/>
                  </a:lnTo>
                  <a:lnTo>
                    <a:pt x="9121" y="3933"/>
                  </a:lnTo>
                  <a:lnTo>
                    <a:pt x="9100" y="3936"/>
                  </a:lnTo>
                  <a:lnTo>
                    <a:pt x="9090" y="3939"/>
                  </a:lnTo>
                  <a:lnTo>
                    <a:pt x="9083" y="3942"/>
                  </a:lnTo>
                  <a:lnTo>
                    <a:pt x="9077" y="3950"/>
                  </a:lnTo>
                  <a:lnTo>
                    <a:pt x="9074" y="3960"/>
                  </a:lnTo>
                  <a:lnTo>
                    <a:pt x="9077" y="3971"/>
                  </a:lnTo>
                  <a:lnTo>
                    <a:pt x="9088" y="3977"/>
                  </a:lnTo>
                  <a:lnTo>
                    <a:pt x="9088" y="3966"/>
                  </a:lnTo>
                  <a:lnTo>
                    <a:pt x="9094" y="3964"/>
                  </a:lnTo>
                  <a:lnTo>
                    <a:pt x="9102" y="3965"/>
                  </a:lnTo>
                  <a:lnTo>
                    <a:pt x="9110" y="3968"/>
                  </a:lnTo>
                  <a:lnTo>
                    <a:pt x="9110" y="3972"/>
                  </a:lnTo>
                  <a:lnTo>
                    <a:pt x="9103" y="3987"/>
                  </a:lnTo>
                  <a:lnTo>
                    <a:pt x="9111" y="4004"/>
                  </a:lnTo>
                  <a:lnTo>
                    <a:pt x="9132" y="4034"/>
                  </a:lnTo>
                  <a:lnTo>
                    <a:pt x="9117" y="4034"/>
                  </a:lnTo>
                  <a:lnTo>
                    <a:pt x="9111" y="4035"/>
                  </a:lnTo>
                  <a:lnTo>
                    <a:pt x="9109" y="4040"/>
                  </a:lnTo>
                  <a:lnTo>
                    <a:pt x="9111" y="4066"/>
                  </a:lnTo>
                  <a:lnTo>
                    <a:pt x="9124" y="4123"/>
                  </a:lnTo>
                  <a:lnTo>
                    <a:pt x="9128" y="4134"/>
                  </a:lnTo>
                  <a:lnTo>
                    <a:pt x="9134" y="4142"/>
                  </a:lnTo>
                  <a:lnTo>
                    <a:pt x="9148" y="4155"/>
                  </a:lnTo>
                  <a:lnTo>
                    <a:pt x="9155" y="4160"/>
                  </a:lnTo>
                  <a:lnTo>
                    <a:pt x="9160" y="4160"/>
                  </a:lnTo>
                  <a:lnTo>
                    <a:pt x="9165" y="4158"/>
                  </a:lnTo>
                  <a:lnTo>
                    <a:pt x="9172" y="4157"/>
                  </a:lnTo>
                  <a:lnTo>
                    <a:pt x="9179" y="4157"/>
                  </a:lnTo>
                  <a:lnTo>
                    <a:pt x="9181" y="4157"/>
                  </a:lnTo>
                  <a:lnTo>
                    <a:pt x="9183" y="4158"/>
                  </a:lnTo>
                  <a:lnTo>
                    <a:pt x="9190" y="4161"/>
                  </a:lnTo>
                  <a:lnTo>
                    <a:pt x="9192" y="4164"/>
                  </a:lnTo>
                  <a:lnTo>
                    <a:pt x="9194" y="4169"/>
                  </a:lnTo>
                  <a:lnTo>
                    <a:pt x="9196" y="4173"/>
                  </a:lnTo>
                  <a:lnTo>
                    <a:pt x="9206" y="4177"/>
                  </a:lnTo>
                  <a:lnTo>
                    <a:pt x="9210" y="4181"/>
                  </a:lnTo>
                  <a:lnTo>
                    <a:pt x="9214" y="4183"/>
                  </a:lnTo>
                  <a:lnTo>
                    <a:pt x="9224" y="4179"/>
                  </a:lnTo>
                  <a:lnTo>
                    <a:pt x="9267" y="4178"/>
                  </a:lnTo>
                  <a:lnTo>
                    <a:pt x="9286" y="4180"/>
                  </a:lnTo>
                  <a:lnTo>
                    <a:pt x="9303" y="4186"/>
                  </a:lnTo>
                  <a:lnTo>
                    <a:pt x="9318" y="4197"/>
                  </a:lnTo>
                  <a:lnTo>
                    <a:pt x="9318" y="4201"/>
                  </a:lnTo>
                  <a:lnTo>
                    <a:pt x="9307" y="4201"/>
                  </a:lnTo>
                  <a:lnTo>
                    <a:pt x="9285" y="4197"/>
                  </a:lnTo>
                  <a:lnTo>
                    <a:pt x="9274" y="4197"/>
                  </a:lnTo>
                  <a:lnTo>
                    <a:pt x="9274" y="4201"/>
                  </a:lnTo>
                  <a:lnTo>
                    <a:pt x="9277" y="4203"/>
                  </a:lnTo>
                  <a:lnTo>
                    <a:pt x="9280" y="4207"/>
                  </a:lnTo>
                  <a:lnTo>
                    <a:pt x="9283" y="4210"/>
                  </a:lnTo>
                  <a:lnTo>
                    <a:pt x="9277" y="4213"/>
                  </a:lnTo>
                  <a:lnTo>
                    <a:pt x="9274" y="4214"/>
                  </a:lnTo>
                  <a:lnTo>
                    <a:pt x="9274" y="4219"/>
                  </a:lnTo>
                  <a:lnTo>
                    <a:pt x="9279" y="4221"/>
                  </a:lnTo>
                  <a:lnTo>
                    <a:pt x="9289" y="4222"/>
                  </a:lnTo>
                  <a:lnTo>
                    <a:pt x="9296" y="4223"/>
                  </a:lnTo>
                  <a:lnTo>
                    <a:pt x="9311" y="4229"/>
                  </a:lnTo>
                  <a:lnTo>
                    <a:pt x="9325" y="4238"/>
                  </a:lnTo>
                  <a:lnTo>
                    <a:pt x="9331" y="4244"/>
                  </a:lnTo>
                  <a:lnTo>
                    <a:pt x="9343" y="4260"/>
                  </a:lnTo>
                  <a:lnTo>
                    <a:pt x="9349" y="4263"/>
                  </a:lnTo>
                  <a:lnTo>
                    <a:pt x="9366" y="4261"/>
                  </a:lnTo>
                  <a:lnTo>
                    <a:pt x="9372" y="4263"/>
                  </a:lnTo>
                  <a:lnTo>
                    <a:pt x="9374" y="4268"/>
                  </a:lnTo>
                  <a:lnTo>
                    <a:pt x="9369" y="4272"/>
                  </a:lnTo>
                  <a:lnTo>
                    <a:pt x="9354" y="4276"/>
                  </a:lnTo>
                  <a:lnTo>
                    <a:pt x="9347" y="4276"/>
                  </a:lnTo>
                  <a:lnTo>
                    <a:pt x="9343" y="4274"/>
                  </a:lnTo>
                  <a:lnTo>
                    <a:pt x="9339" y="4273"/>
                  </a:lnTo>
                  <a:lnTo>
                    <a:pt x="9322" y="4269"/>
                  </a:lnTo>
                  <a:lnTo>
                    <a:pt x="9302" y="4254"/>
                  </a:lnTo>
                  <a:lnTo>
                    <a:pt x="9292" y="4249"/>
                  </a:lnTo>
                  <a:lnTo>
                    <a:pt x="9247" y="4249"/>
                  </a:lnTo>
                  <a:lnTo>
                    <a:pt x="9237" y="4243"/>
                  </a:lnTo>
                  <a:lnTo>
                    <a:pt x="9224" y="4232"/>
                  </a:lnTo>
                  <a:lnTo>
                    <a:pt x="9214" y="4231"/>
                  </a:lnTo>
                  <a:lnTo>
                    <a:pt x="9206" y="4238"/>
                  </a:lnTo>
                  <a:lnTo>
                    <a:pt x="9203" y="4249"/>
                  </a:lnTo>
                  <a:lnTo>
                    <a:pt x="9221" y="4351"/>
                  </a:lnTo>
                  <a:lnTo>
                    <a:pt x="9228" y="4357"/>
                  </a:lnTo>
                  <a:lnTo>
                    <a:pt x="9251" y="4370"/>
                  </a:lnTo>
                  <a:lnTo>
                    <a:pt x="9257" y="4371"/>
                  </a:lnTo>
                  <a:lnTo>
                    <a:pt x="9261" y="4374"/>
                  </a:lnTo>
                  <a:lnTo>
                    <a:pt x="9287" y="4386"/>
                  </a:lnTo>
                  <a:lnTo>
                    <a:pt x="9297" y="4388"/>
                  </a:lnTo>
                  <a:lnTo>
                    <a:pt x="9307" y="4388"/>
                  </a:lnTo>
                  <a:lnTo>
                    <a:pt x="9315" y="4383"/>
                  </a:lnTo>
                  <a:lnTo>
                    <a:pt x="9318" y="4371"/>
                  </a:lnTo>
                  <a:lnTo>
                    <a:pt x="9317" y="4364"/>
                  </a:lnTo>
                  <a:lnTo>
                    <a:pt x="9313" y="4359"/>
                  </a:lnTo>
                  <a:lnTo>
                    <a:pt x="9312" y="4355"/>
                  </a:lnTo>
                  <a:lnTo>
                    <a:pt x="9316" y="4349"/>
                  </a:lnTo>
                  <a:lnTo>
                    <a:pt x="9321" y="4346"/>
                  </a:lnTo>
                  <a:lnTo>
                    <a:pt x="9327" y="4346"/>
                  </a:lnTo>
                  <a:lnTo>
                    <a:pt x="9360" y="4349"/>
                  </a:lnTo>
                  <a:lnTo>
                    <a:pt x="9384" y="4356"/>
                  </a:lnTo>
                  <a:lnTo>
                    <a:pt x="9406" y="4366"/>
                  </a:lnTo>
                  <a:lnTo>
                    <a:pt x="9420" y="4377"/>
                  </a:lnTo>
                  <a:lnTo>
                    <a:pt x="9431" y="4411"/>
                  </a:lnTo>
                  <a:lnTo>
                    <a:pt x="9436" y="4417"/>
                  </a:lnTo>
                  <a:lnTo>
                    <a:pt x="9443" y="4416"/>
                  </a:lnTo>
                  <a:lnTo>
                    <a:pt x="9447" y="4414"/>
                  </a:lnTo>
                  <a:lnTo>
                    <a:pt x="9451" y="4414"/>
                  </a:lnTo>
                  <a:lnTo>
                    <a:pt x="9463" y="4424"/>
                  </a:lnTo>
                  <a:lnTo>
                    <a:pt x="9482" y="4434"/>
                  </a:lnTo>
                  <a:lnTo>
                    <a:pt x="9499" y="4419"/>
                  </a:lnTo>
                  <a:lnTo>
                    <a:pt x="9506" y="4411"/>
                  </a:lnTo>
                  <a:lnTo>
                    <a:pt x="9509" y="4397"/>
                  </a:lnTo>
                  <a:lnTo>
                    <a:pt x="9509" y="4383"/>
                  </a:lnTo>
                  <a:lnTo>
                    <a:pt x="9513" y="4373"/>
                  </a:lnTo>
                  <a:lnTo>
                    <a:pt x="9519" y="4367"/>
                  </a:lnTo>
                  <a:lnTo>
                    <a:pt x="9538" y="4362"/>
                  </a:lnTo>
                  <a:lnTo>
                    <a:pt x="9539" y="4364"/>
                  </a:lnTo>
                  <a:lnTo>
                    <a:pt x="9536" y="4373"/>
                  </a:lnTo>
                  <a:lnTo>
                    <a:pt x="9530" y="4380"/>
                  </a:lnTo>
                  <a:lnTo>
                    <a:pt x="9524" y="4386"/>
                  </a:lnTo>
                  <a:lnTo>
                    <a:pt x="9519" y="4392"/>
                  </a:lnTo>
                  <a:lnTo>
                    <a:pt x="9518" y="4401"/>
                  </a:lnTo>
                  <a:lnTo>
                    <a:pt x="9519" y="4415"/>
                  </a:lnTo>
                  <a:lnTo>
                    <a:pt x="9523" y="4424"/>
                  </a:lnTo>
                  <a:lnTo>
                    <a:pt x="9536" y="4439"/>
                  </a:lnTo>
                  <a:lnTo>
                    <a:pt x="9546" y="4457"/>
                  </a:lnTo>
                  <a:lnTo>
                    <a:pt x="9552" y="4466"/>
                  </a:lnTo>
                  <a:lnTo>
                    <a:pt x="9568" y="4474"/>
                  </a:lnTo>
                  <a:lnTo>
                    <a:pt x="9576" y="4493"/>
                  </a:lnTo>
                  <a:lnTo>
                    <a:pt x="9585" y="4500"/>
                  </a:lnTo>
                  <a:lnTo>
                    <a:pt x="9600" y="4499"/>
                  </a:lnTo>
                  <a:lnTo>
                    <a:pt x="9607" y="4500"/>
                  </a:lnTo>
                  <a:lnTo>
                    <a:pt x="9622" y="4508"/>
                  </a:lnTo>
                  <a:lnTo>
                    <a:pt x="9626" y="4509"/>
                  </a:lnTo>
                  <a:lnTo>
                    <a:pt x="9641" y="4511"/>
                  </a:lnTo>
                  <a:lnTo>
                    <a:pt x="9649" y="4517"/>
                  </a:lnTo>
                  <a:lnTo>
                    <a:pt x="9650" y="4527"/>
                  </a:lnTo>
                  <a:lnTo>
                    <a:pt x="9641" y="4557"/>
                  </a:lnTo>
                  <a:lnTo>
                    <a:pt x="9640" y="4574"/>
                  </a:lnTo>
                  <a:lnTo>
                    <a:pt x="9646" y="4588"/>
                  </a:lnTo>
                  <a:lnTo>
                    <a:pt x="9659" y="4593"/>
                  </a:lnTo>
                  <a:lnTo>
                    <a:pt x="9657" y="4606"/>
                  </a:lnTo>
                  <a:lnTo>
                    <a:pt x="9668" y="4616"/>
                  </a:lnTo>
                  <a:lnTo>
                    <a:pt x="9683" y="4621"/>
                  </a:lnTo>
                  <a:lnTo>
                    <a:pt x="9697" y="4623"/>
                  </a:lnTo>
                  <a:lnTo>
                    <a:pt x="9710" y="4629"/>
                  </a:lnTo>
                  <a:lnTo>
                    <a:pt x="9719" y="4641"/>
                  </a:lnTo>
                  <a:lnTo>
                    <a:pt x="9730" y="4667"/>
                  </a:lnTo>
                  <a:lnTo>
                    <a:pt x="9737" y="4695"/>
                  </a:lnTo>
                  <a:lnTo>
                    <a:pt x="9735" y="4723"/>
                  </a:lnTo>
                  <a:lnTo>
                    <a:pt x="9718" y="4805"/>
                  </a:lnTo>
                  <a:lnTo>
                    <a:pt x="9716" y="4848"/>
                  </a:lnTo>
                  <a:lnTo>
                    <a:pt x="9713" y="4860"/>
                  </a:lnTo>
                  <a:lnTo>
                    <a:pt x="9694" y="4902"/>
                  </a:lnTo>
                  <a:lnTo>
                    <a:pt x="9687" y="4914"/>
                  </a:lnTo>
                  <a:lnTo>
                    <a:pt x="9680" y="4919"/>
                  </a:lnTo>
                  <a:lnTo>
                    <a:pt x="9670" y="4923"/>
                  </a:lnTo>
                  <a:lnTo>
                    <a:pt x="9640" y="4939"/>
                  </a:lnTo>
                  <a:lnTo>
                    <a:pt x="9633" y="4945"/>
                  </a:lnTo>
                  <a:lnTo>
                    <a:pt x="9632" y="4953"/>
                  </a:lnTo>
                  <a:lnTo>
                    <a:pt x="9633" y="4959"/>
                  </a:lnTo>
                  <a:lnTo>
                    <a:pt x="9637" y="4964"/>
                  </a:lnTo>
                  <a:lnTo>
                    <a:pt x="9642" y="4967"/>
                  </a:lnTo>
                  <a:lnTo>
                    <a:pt x="9639" y="4969"/>
                  </a:lnTo>
                  <a:lnTo>
                    <a:pt x="9632" y="4974"/>
                  </a:lnTo>
                  <a:lnTo>
                    <a:pt x="9629" y="4976"/>
                  </a:lnTo>
                  <a:lnTo>
                    <a:pt x="9661" y="5007"/>
                  </a:lnTo>
                  <a:lnTo>
                    <a:pt x="9671" y="5011"/>
                  </a:lnTo>
                  <a:lnTo>
                    <a:pt x="9683" y="5013"/>
                  </a:lnTo>
                  <a:lnTo>
                    <a:pt x="9713" y="5029"/>
                  </a:lnTo>
                  <a:lnTo>
                    <a:pt x="9733" y="5034"/>
                  </a:lnTo>
                  <a:lnTo>
                    <a:pt x="9739" y="5038"/>
                  </a:lnTo>
                  <a:lnTo>
                    <a:pt x="9751" y="5055"/>
                  </a:lnTo>
                  <a:lnTo>
                    <a:pt x="9753" y="5062"/>
                  </a:lnTo>
                  <a:lnTo>
                    <a:pt x="9771" y="5104"/>
                  </a:lnTo>
                  <a:lnTo>
                    <a:pt x="9775" y="5132"/>
                  </a:lnTo>
                  <a:lnTo>
                    <a:pt x="9768" y="5159"/>
                  </a:lnTo>
                  <a:lnTo>
                    <a:pt x="9759" y="5187"/>
                  </a:lnTo>
                  <a:lnTo>
                    <a:pt x="9753" y="5214"/>
                  </a:lnTo>
                  <a:lnTo>
                    <a:pt x="9752" y="5226"/>
                  </a:lnTo>
                  <a:lnTo>
                    <a:pt x="9754" y="5239"/>
                  </a:lnTo>
                  <a:lnTo>
                    <a:pt x="9758" y="5249"/>
                  </a:lnTo>
                  <a:lnTo>
                    <a:pt x="9768" y="5254"/>
                  </a:lnTo>
                  <a:lnTo>
                    <a:pt x="9776" y="5260"/>
                  </a:lnTo>
                  <a:lnTo>
                    <a:pt x="9782" y="5273"/>
                  </a:lnTo>
                  <a:lnTo>
                    <a:pt x="9791" y="5329"/>
                  </a:lnTo>
                  <a:lnTo>
                    <a:pt x="9792" y="5357"/>
                  </a:lnTo>
                  <a:lnTo>
                    <a:pt x="9794" y="5368"/>
                  </a:lnTo>
                  <a:lnTo>
                    <a:pt x="9821" y="5414"/>
                  </a:lnTo>
                  <a:lnTo>
                    <a:pt x="9834" y="5430"/>
                  </a:lnTo>
                  <a:lnTo>
                    <a:pt x="9850" y="5434"/>
                  </a:lnTo>
                  <a:lnTo>
                    <a:pt x="9872" y="5420"/>
                  </a:lnTo>
                  <a:lnTo>
                    <a:pt x="9862" y="5445"/>
                  </a:lnTo>
                  <a:lnTo>
                    <a:pt x="9841" y="5445"/>
                  </a:lnTo>
                  <a:lnTo>
                    <a:pt x="9820" y="5442"/>
                  </a:lnTo>
                  <a:lnTo>
                    <a:pt x="9810" y="5458"/>
                  </a:lnTo>
                  <a:lnTo>
                    <a:pt x="9807" y="5467"/>
                  </a:lnTo>
                  <a:lnTo>
                    <a:pt x="9794" y="5481"/>
                  </a:lnTo>
                  <a:lnTo>
                    <a:pt x="9792" y="5487"/>
                  </a:lnTo>
                  <a:lnTo>
                    <a:pt x="9799" y="5494"/>
                  </a:lnTo>
                  <a:lnTo>
                    <a:pt x="9823" y="5499"/>
                  </a:lnTo>
                  <a:lnTo>
                    <a:pt x="9828" y="5507"/>
                  </a:lnTo>
                  <a:lnTo>
                    <a:pt x="9829" y="5517"/>
                  </a:lnTo>
                  <a:lnTo>
                    <a:pt x="9835" y="5539"/>
                  </a:lnTo>
                  <a:lnTo>
                    <a:pt x="9838" y="5564"/>
                  </a:lnTo>
                  <a:lnTo>
                    <a:pt x="9850" y="5593"/>
                  </a:lnTo>
                  <a:lnTo>
                    <a:pt x="9851" y="5611"/>
                  </a:lnTo>
                  <a:lnTo>
                    <a:pt x="9845" y="5632"/>
                  </a:lnTo>
                  <a:lnTo>
                    <a:pt x="9834" y="5651"/>
                  </a:lnTo>
                  <a:lnTo>
                    <a:pt x="9823" y="5663"/>
                  </a:lnTo>
                  <a:lnTo>
                    <a:pt x="9835" y="5686"/>
                  </a:lnTo>
                  <a:lnTo>
                    <a:pt x="9846" y="5713"/>
                  </a:lnTo>
                  <a:lnTo>
                    <a:pt x="9861" y="5732"/>
                  </a:lnTo>
                  <a:lnTo>
                    <a:pt x="9885" y="5729"/>
                  </a:lnTo>
                  <a:lnTo>
                    <a:pt x="9952" y="5679"/>
                  </a:lnTo>
                  <a:lnTo>
                    <a:pt x="10019" y="5650"/>
                  </a:lnTo>
                  <a:lnTo>
                    <a:pt x="10046" y="5645"/>
                  </a:lnTo>
                  <a:lnTo>
                    <a:pt x="10071" y="5651"/>
                  </a:lnTo>
                  <a:lnTo>
                    <a:pt x="10090" y="5672"/>
                  </a:lnTo>
                  <a:lnTo>
                    <a:pt x="10098" y="5699"/>
                  </a:lnTo>
                  <a:lnTo>
                    <a:pt x="10101" y="5714"/>
                  </a:lnTo>
                  <a:lnTo>
                    <a:pt x="10103" y="5727"/>
                  </a:lnTo>
                  <a:lnTo>
                    <a:pt x="10106" y="5742"/>
                  </a:lnTo>
                  <a:lnTo>
                    <a:pt x="10107" y="5749"/>
                  </a:lnTo>
                  <a:lnTo>
                    <a:pt x="10105" y="5754"/>
                  </a:lnTo>
                  <a:lnTo>
                    <a:pt x="10100" y="5756"/>
                  </a:lnTo>
                  <a:lnTo>
                    <a:pt x="10097" y="5758"/>
                  </a:lnTo>
                  <a:lnTo>
                    <a:pt x="10099" y="5764"/>
                  </a:lnTo>
                  <a:lnTo>
                    <a:pt x="10119" y="5782"/>
                  </a:lnTo>
                  <a:lnTo>
                    <a:pt x="10142" y="5771"/>
                  </a:lnTo>
                  <a:lnTo>
                    <a:pt x="10193" y="5704"/>
                  </a:lnTo>
                  <a:lnTo>
                    <a:pt x="10204" y="5694"/>
                  </a:lnTo>
                  <a:lnTo>
                    <a:pt x="10216" y="5690"/>
                  </a:lnTo>
                  <a:lnTo>
                    <a:pt x="10228" y="5688"/>
                  </a:lnTo>
                  <a:lnTo>
                    <a:pt x="10259" y="5678"/>
                  </a:lnTo>
                  <a:lnTo>
                    <a:pt x="10271" y="5672"/>
                  </a:lnTo>
                  <a:lnTo>
                    <a:pt x="10295" y="5656"/>
                  </a:lnTo>
                  <a:lnTo>
                    <a:pt x="10309" y="5652"/>
                  </a:lnTo>
                  <a:lnTo>
                    <a:pt x="10315" y="5666"/>
                  </a:lnTo>
                  <a:lnTo>
                    <a:pt x="10309" y="5666"/>
                  </a:lnTo>
                  <a:lnTo>
                    <a:pt x="10255" y="5689"/>
                  </a:lnTo>
                  <a:lnTo>
                    <a:pt x="10233" y="5695"/>
                  </a:lnTo>
                  <a:lnTo>
                    <a:pt x="10211" y="5704"/>
                  </a:lnTo>
                  <a:lnTo>
                    <a:pt x="10191" y="5720"/>
                  </a:lnTo>
                  <a:lnTo>
                    <a:pt x="10185" y="5728"/>
                  </a:lnTo>
                  <a:lnTo>
                    <a:pt x="10179" y="5738"/>
                  </a:lnTo>
                  <a:lnTo>
                    <a:pt x="10179" y="5747"/>
                  </a:lnTo>
                  <a:lnTo>
                    <a:pt x="10189" y="5751"/>
                  </a:lnTo>
                  <a:lnTo>
                    <a:pt x="10212" y="5752"/>
                  </a:lnTo>
                  <a:lnTo>
                    <a:pt x="10223" y="5754"/>
                  </a:lnTo>
                  <a:lnTo>
                    <a:pt x="10277" y="5784"/>
                  </a:lnTo>
                  <a:lnTo>
                    <a:pt x="10300" y="5789"/>
                  </a:lnTo>
                  <a:lnTo>
                    <a:pt x="10329" y="5786"/>
                  </a:lnTo>
                  <a:lnTo>
                    <a:pt x="10377" y="5770"/>
                  </a:lnTo>
                  <a:lnTo>
                    <a:pt x="10529" y="5690"/>
                  </a:lnTo>
                  <a:lnTo>
                    <a:pt x="10547" y="5683"/>
                  </a:lnTo>
                  <a:lnTo>
                    <a:pt x="10572" y="5681"/>
                  </a:lnTo>
                  <a:lnTo>
                    <a:pt x="10627" y="5685"/>
                  </a:lnTo>
                  <a:lnTo>
                    <a:pt x="10651" y="5693"/>
                  </a:lnTo>
                  <a:lnTo>
                    <a:pt x="10670" y="5707"/>
                  </a:lnTo>
                  <a:lnTo>
                    <a:pt x="10674" y="5717"/>
                  </a:lnTo>
                  <a:lnTo>
                    <a:pt x="10677" y="5728"/>
                  </a:lnTo>
                  <a:lnTo>
                    <a:pt x="10683" y="5738"/>
                  </a:lnTo>
                  <a:lnTo>
                    <a:pt x="10694" y="5742"/>
                  </a:lnTo>
                  <a:lnTo>
                    <a:pt x="10706" y="5740"/>
                  </a:lnTo>
                  <a:lnTo>
                    <a:pt x="10715" y="5736"/>
                  </a:lnTo>
                  <a:lnTo>
                    <a:pt x="10757" y="5706"/>
                  </a:lnTo>
                  <a:lnTo>
                    <a:pt x="10785" y="5696"/>
                  </a:lnTo>
                  <a:lnTo>
                    <a:pt x="10786" y="5694"/>
                  </a:lnTo>
                  <a:lnTo>
                    <a:pt x="10792" y="5694"/>
                  </a:lnTo>
                  <a:lnTo>
                    <a:pt x="10794" y="5692"/>
                  </a:lnTo>
                  <a:lnTo>
                    <a:pt x="10793" y="5686"/>
                  </a:lnTo>
                  <a:lnTo>
                    <a:pt x="10790" y="5684"/>
                  </a:lnTo>
                  <a:lnTo>
                    <a:pt x="10787" y="5683"/>
                  </a:lnTo>
                  <a:lnTo>
                    <a:pt x="10782" y="5677"/>
                  </a:lnTo>
                  <a:lnTo>
                    <a:pt x="10778" y="5675"/>
                  </a:lnTo>
                  <a:lnTo>
                    <a:pt x="10774" y="5673"/>
                  </a:lnTo>
                  <a:lnTo>
                    <a:pt x="10772" y="5668"/>
                  </a:lnTo>
                  <a:lnTo>
                    <a:pt x="10772" y="5662"/>
                  </a:lnTo>
                  <a:lnTo>
                    <a:pt x="10775" y="5658"/>
                  </a:lnTo>
                  <a:lnTo>
                    <a:pt x="10779" y="5655"/>
                  </a:lnTo>
                  <a:lnTo>
                    <a:pt x="10781" y="5652"/>
                  </a:lnTo>
                  <a:lnTo>
                    <a:pt x="10784" y="5649"/>
                  </a:lnTo>
                  <a:lnTo>
                    <a:pt x="10789" y="5646"/>
                  </a:lnTo>
                  <a:lnTo>
                    <a:pt x="10795" y="5640"/>
                  </a:lnTo>
                  <a:lnTo>
                    <a:pt x="10799" y="5633"/>
                  </a:lnTo>
                  <a:lnTo>
                    <a:pt x="10798" y="5624"/>
                  </a:lnTo>
                  <a:lnTo>
                    <a:pt x="10794" y="5595"/>
                  </a:lnTo>
                  <a:lnTo>
                    <a:pt x="10797" y="5585"/>
                  </a:lnTo>
                  <a:lnTo>
                    <a:pt x="10805" y="5575"/>
                  </a:lnTo>
                  <a:lnTo>
                    <a:pt x="10816" y="5567"/>
                  </a:lnTo>
                  <a:lnTo>
                    <a:pt x="10825" y="5562"/>
                  </a:lnTo>
                  <a:lnTo>
                    <a:pt x="10824" y="5574"/>
                  </a:lnTo>
                  <a:lnTo>
                    <a:pt x="10814" y="5591"/>
                  </a:lnTo>
                  <a:lnTo>
                    <a:pt x="10812" y="5604"/>
                  </a:lnTo>
                  <a:lnTo>
                    <a:pt x="10814" y="5610"/>
                  </a:lnTo>
                  <a:lnTo>
                    <a:pt x="10818" y="5613"/>
                  </a:lnTo>
                  <a:lnTo>
                    <a:pt x="10823" y="5615"/>
                  </a:lnTo>
                  <a:lnTo>
                    <a:pt x="10825" y="5617"/>
                  </a:lnTo>
                  <a:lnTo>
                    <a:pt x="10825" y="5646"/>
                  </a:lnTo>
                  <a:lnTo>
                    <a:pt x="10829" y="5671"/>
                  </a:lnTo>
                  <a:lnTo>
                    <a:pt x="10869" y="5742"/>
                  </a:lnTo>
                  <a:lnTo>
                    <a:pt x="10876" y="5770"/>
                  </a:lnTo>
                  <a:lnTo>
                    <a:pt x="10866" y="5823"/>
                  </a:lnTo>
                  <a:lnTo>
                    <a:pt x="10864" y="5853"/>
                  </a:lnTo>
                  <a:lnTo>
                    <a:pt x="10883" y="5963"/>
                  </a:lnTo>
                  <a:lnTo>
                    <a:pt x="10883" y="5978"/>
                  </a:lnTo>
                  <a:lnTo>
                    <a:pt x="10878" y="6018"/>
                  </a:lnTo>
                  <a:lnTo>
                    <a:pt x="10874" y="6032"/>
                  </a:lnTo>
                  <a:lnTo>
                    <a:pt x="10860" y="6060"/>
                  </a:lnTo>
                  <a:lnTo>
                    <a:pt x="10860" y="6073"/>
                  </a:lnTo>
                  <a:lnTo>
                    <a:pt x="10869" y="6081"/>
                  </a:lnTo>
                  <a:lnTo>
                    <a:pt x="10900" y="6091"/>
                  </a:lnTo>
                  <a:lnTo>
                    <a:pt x="10911" y="6097"/>
                  </a:lnTo>
                  <a:lnTo>
                    <a:pt x="10923" y="6098"/>
                  </a:lnTo>
                  <a:lnTo>
                    <a:pt x="10939" y="6090"/>
                  </a:lnTo>
                  <a:lnTo>
                    <a:pt x="10967" y="6068"/>
                  </a:lnTo>
                  <a:lnTo>
                    <a:pt x="11060" y="5976"/>
                  </a:lnTo>
                  <a:lnTo>
                    <a:pt x="11115" y="5942"/>
                  </a:lnTo>
                  <a:lnTo>
                    <a:pt x="11180" y="5932"/>
                  </a:lnTo>
                  <a:lnTo>
                    <a:pt x="11210" y="5938"/>
                  </a:lnTo>
                  <a:lnTo>
                    <a:pt x="11237" y="5949"/>
                  </a:lnTo>
                  <a:lnTo>
                    <a:pt x="11323" y="6012"/>
                  </a:lnTo>
                  <a:lnTo>
                    <a:pt x="11337" y="6016"/>
                  </a:lnTo>
                  <a:lnTo>
                    <a:pt x="11344" y="6015"/>
                  </a:lnTo>
                  <a:lnTo>
                    <a:pt x="11350" y="6012"/>
                  </a:lnTo>
                  <a:lnTo>
                    <a:pt x="11355" y="6007"/>
                  </a:lnTo>
                  <a:lnTo>
                    <a:pt x="11357" y="6000"/>
                  </a:lnTo>
                  <a:lnTo>
                    <a:pt x="11360" y="5998"/>
                  </a:lnTo>
                  <a:lnTo>
                    <a:pt x="11384" y="6003"/>
                  </a:lnTo>
                  <a:lnTo>
                    <a:pt x="11397" y="5999"/>
                  </a:lnTo>
                  <a:lnTo>
                    <a:pt x="11417" y="5980"/>
                  </a:lnTo>
                  <a:lnTo>
                    <a:pt x="11645" y="5835"/>
                  </a:lnTo>
                  <a:lnTo>
                    <a:pt x="11645" y="5831"/>
                  </a:lnTo>
                  <a:lnTo>
                    <a:pt x="11638" y="5829"/>
                  </a:lnTo>
                  <a:lnTo>
                    <a:pt x="11624" y="5828"/>
                  </a:lnTo>
                  <a:lnTo>
                    <a:pt x="11618" y="5827"/>
                  </a:lnTo>
                  <a:lnTo>
                    <a:pt x="11610" y="5823"/>
                  </a:lnTo>
                  <a:lnTo>
                    <a:pt x="11606" y="5819"/>
                  </a:lnTo>
                  <a:lnTo>
                    <a:pt x="11598" y="5811"/>
                  </a:lnTo>
                  <a:lnTo>
                    <a:pt x="11593" y="5799"/>
                  </a:lnTo>
                  <a:lnTo>
                    <a:pt x="11598" y="5786"/>
                  </a:lnTo>
                  <a:lnTo>
                    <a:pt x="11607" y="5775"/>
                  </a:lnTo>
                  <a:lnTo>
                    <a:pt x="11615" y="5767"/>
                  </a:lnTo>
                  <a:lnTo>
                    <a:pt x="11620" y="5762"/>
                  </a:lnTo>
                  <a:lnTo>
                    <a:pt x="11623" y="5760"/>
                  </a:lnTo>
                  <a:lnTo>
                    <a:pt x="11626" y="5760"/>
                  </a:lnTo>
                  <a:lnTo>
                    <a:pt x="11633" y="5761"/>
                  </a:lnTo>
                  <a:lnTo>
                    <a:pt x="11636" y="5760"/>
                  </a:lnTo>
                  <a:lnTo>
                    <a:pt x="11642" y="5754"/>
                  </a:lnTo>
                  <a:lnTo>
                    <a:pt x="11647" y="5742"/>
                  </a:lnTo>
                  <a:lnTo>
                    <a:pt x="11651" y="5736"/>
                  </a:lnTo>
                  <a:lnTo>
                    <a:pt x="11655" y="5726"/>
                  </a:lnTo>
                  <a:lnTo>
                    <a:pt x="11654" y="5681"/>
                  </a:lnTo>
                  <a:lnTo>
                    <a:pt x="11696" y="5758"/>
                  </a:lnTo>
                  <a:lnTo>
                    <a:pt x="11714" y="5766"/>
                  </a:lnTo>
                  <a:lnTo>
                    <a:pt x="11734" y="5772"/>
                  </a:lnTo>
                  <a:lnTo>
                    <a:pt x="11749" y="5780"/>
                  </a:lnTo>
                  <a:lnTo>
                    <a:pt x="11761" y="5790"/>
                  </a:lnTo>
                  <a:lnTo>
                    <a:pt x="11767" y="5797"/>
                  </a:lnTo>
                  <a:lnTo>
                    <a:pt x="11770" y="5817"/>
                  </a:lnTo>
                  <a:lnTo>
                    <a:pt x="11774" y="5827"/>
                  </a:lnTo>
                  <a:lnTo>
                    <a:pt x="11780" y="5836"/>
                  </a:lnTo>
                  <a:lnTo>
                    <a:pt x="11787" y="5844"/>
                  </a:lnTo>
                  <a:lnTo>
                    <a:pt x="11795" y="5851"/>
                  </a:lnTo>
                  <a:lnTo>
                    <a:pt x="11815" y="5862"/>
                  </a:lnTo>
                  <a:lnTo>
                    <a:pt x="11824" y="5868"/>
                  </a:lnTo>
                  <a:lnTo>
                    <a:pt x="11858" y="5906"/>
                  </a:lnTo>
                  <a:lnTo>
                    <a:pt x="11854" y="5889"/>
                  </a:lnTo>
                  <a:lnTo>
                    <a:pt x="11826" y="5835"/>
                  </a:lnTo>
                  <a:lnTo>
                    <a:pt x="11835" y="5838"/>
                  </a:lnTo>
                  <a:lnTo>
                    <a:pt x="11844" y="5848"/>
                  </a:lnTo>
                  <a:lnTo>
                    <a:pt x="11850" y="5859"/>
                  </a:lnTo>
                  <a:lnTo>
                    <a:pt x="11853" y="5868"/>
                  </a:lnTo>
                  <a:lnTo>
                    <a:pt x="11854" y="5883"/>
                  </a:lnTo>
                  <a:lnTo>
                    <a:pt x="11859" y="5891"/>
                  </a:lnTo>
                  <a:lnTo>
                    <a:pt x="11867" y="5893"/>
                  </a:lnTo>
                  <a:lnTo>
                    <a:pt x="11904" y="5889"/>
                  </a:lnTo>
                  <a:lnTo>
                    <a:pt x="11915" y="5884"/>
                  </a:lnTo>
                  <a:lnTo>
                    <a:pt x="11920" y="5872"/>
                  </a:lnTo>
                  <a:lnTo>
                    <a:pt x="11923" y="5859"/>
                  </a:lnTo>
                  <a:lnTo>
                    <a:pt x="11932" y="5849"/>
                  </a:lnTo>
                  <a:lnTo>
                    <a:pt x="11945" y="5843"/>
                  </a:lnTo>
                  <a:lnTo>
                    <a:pt x="11959" y="5840"/>
                  </a:lnTo>
                  <a:lnTo>
                    <a:pt x="12014" y="5840"/>
                  </a:lnTo>
                  <a:lnTo>
                    <a:pt x="12026" y="5842"/>
                  </a:lnTo>
                  <a:lnTo>
                    <a:pt x="12032" y="5850"/>
                  </a:lnTo>
                  <a:lnTo>
                    <a:pt x="12046" y="5895"/>
                  </a:lnTo>
                  <a:lnTo>
                    <a:pt x="12047" y="5922"/>
                  </a:lnTo>
                  <a:lnTo>
                    <a:pt x="12043" y="5950"/>
                  </a:lnTo>
                  <a:lnTo>
                    <a:pt x="12035" y="5976"/>
                  </a:lnTo>
                  <a:lnTo>
                    <a:pt x="12040" y="6024"/>
                  </a:lnTo>
                  <a:lnTo>
                    <a:pt x="12092" y="6034"/>
                  </a:lnTo>
                  <a:lnTo>
                    <a:pt x="12158" y="6023"/>
                  </a:lnTo>
                  <a:lnTo>
                    <a:pt x="12203" y="6007"/>
                  </a:lnTo>
                  <a:lnTo>
                    <a:pt x="12244" y="5984"/>
                  </a:lnTo>
                  <a:lnTo>
                    <a:pt x="12265" y="5978"/>
                  </a:lnTo>
                  <a:lnTo>
                    <a:pt x="12304" y="5959"/>
                  </a:lnTo>
                  <a:lnTo>
                    <a:pt x="12329" y="5918"/>
                  </a:lnTo>
                  <a:lnTo>
                    <a:pt x="12338" y="5911"/>
                  </a:lnTo>
                  <a:lnTo>
                    <a:pt x="12340" y="5908"/>
                  </a:lnTo>
                  <a:lnTo>
                    <a:pt x="12341" y="5893"/>
                  </a:lnTo>
                  <a:lnTo>
                    <a:pt x="12348" y="5864"/>
                  </a:lnTo>
                  <a:lnTo>
                    <a:pt x="12350" y="5858"/>
                  </a:lnTo>
                  <a:lnTo>
                    <a:pt x="12354" y="5853"/>
                  </a:lnTo>
                  <a:lnTo>
                    <a:pt x="12357" y="5869"/>
                  </a:lnTo>
                  <a:lnTo>
                    <a:pt x="12345" y="5932"/>
                  </a:lnTo>
                  <a:lnTo>
                    <a:pt x="12347" y="5954"/>
                  </a:lnTo>
                  <a:lnTo>
                    <a:pt x="12359" y="5967"/>
                  </a:lnTo>
                  <a:lnTo>
                    <a:pt x="12376" y="5974"/>
                  </a:lnTo>
                  <a:lnTo>
                    <a:pt x="12398" y="5976"/>
                  </a:lnTo>
                  <a:lnTo>
                    <a:pt x="12438" y="5962"/>
                  </a:lnTo>
                  <a:lnTo>
                    <a:pt x="12465" y="5927"/>
                  </a:lnTo>
                  <a:lnTo>
                    <a:pt x="12487" y="5890"/>
                  </a:lnTo>
                  <a:lnTo>
                    <a:pt x="12513" y="5866"/>
                  </a:lnTo>
                  <a:lnTo>
                    <a:pt x="12510" y="5881"/>
                  </a:lnTo>
                  <a:lnTo>
                    <a:pt x="12504" y="5890"/>
                  </a:lnTo>
                  <a:lnTo>
                    <a:pt x="12487" y="5910"/>
                  </a:lnTo>
                  <a:lnTo>
                    <a:pt x="12473" y="5953"/>
                  </a:lnTo>
                  <a:lnTo>
                    <a:pt x="12467" y="5959"/>
                  </a:lnTo>
                  <a:lnTo>
                    <a:pt x="12455" y="5964"/>
                  </a:lnTo>
                  <a:lnTo>
                    <a:pt x="12449" y="5974"/>
                  </a:lnTo>
                  <a:lnTo>
                    <a:pt x="12448" y="5986"/>
                  </a:lnTo>
                  <a:lnTo>
                    <a:pt x="12453" y="5996"/>
                  </a:lnTo>
                  <a:lnTo>
                    <a:pt x="12464" y="6003"/>
                  </a:lnTo>
                  <a:lnTo>
                    <a:pt x="12515" y="6025"/>
                  </a:lnTo>
                  <a:lnTo>
                    <a:pt x="12544" y="6043"/>
                  </a:lnTo>
                  <a:lnTo>
                    <a:pt x="12569" y="6051"/>
                  </a:lnTo>
                  <a:lnTo>
                    <a:pt x="12586" y="6052"/>
                  </a:lnTo>
                  <a:lnTo>
                    <a:pt x="12593" y="6045"/>
                  </a:lnTo>
                  <a:lnTo>
                    <a:pt x="12601" y="5976"/>
                  </a:lnTo>
                  <a:lnTo>
                    <a:pt x="12608" y="5967"/>
                  </a:lnTo>
                  <a:lnTo>
                    <a:pt x="12620" y="5960"/>
                  </a:lnTo>
                  <a:lnTo>
                    <a:pt x="12633" y="5954"/>
                  </a:lnTo>
                  <a:lnTo>
                    <a:pt x="12616" y="6036"/>
                  </a:lnTo>
                  <a:lnTo>
                    <a:pt x="12615" y="6065"/>
                  </a:lnTo>
                  <a:lnTo>
                    <a:pt x="12624" y="6093"/>
                  </a:lnTo>
                  <a:lnTo>
                    <a:pt x="12663" y="6141"/>
                  </a:lnTo>
                  <a:lnTo>
                    <a:pt x="12673" y="6170"/>
                  </a:lnTo>
                  <a:lnTo>
                    <a:pt x="12668" y="6281"/>
                  </a:lnTo>
                  <a:lnTo>
                    <a:pt x="12673" y="6327"/>
                  </a:lnTo>
                  <a:lnTo>
                    <a:pt x="12686" y="6382"/>
                  </a:lnTo>
                  <a:lnTo>
                    <a:pt x="12672" y="6431"/>
                  </a:lnTo>
                  <a:lnTo>
                    <a:pt x="12670" y="6459"/>
                  </a:lnTo>
                  <a:lnTo>
                    <a:pt x="12681" y="6484"/>
                  </a:lnTo>
                  <a:lnTo>
                    <a:pt x="12707" y="6492"/>
                  </a:lnTo>
                  <a:lnTo>
                    <a:pt x="12738" y="6484"/>
                  </a:lnTo>
                  <a:lnTo>
                    <a:pt x="12844" y="6419"/>
                  </a:lnTo>
                  <a:lnTo>
                    <a:pt x="12963" y="6365"/>
                  </a:lnTo>
                  <a:lnTo>
                    <a:pt x="13127" y="6299"/>
                  </a:lnTo>
                  <a:lnTo>
                    <a:pt x="13301" y="6233"/>
                  </a:lnTo>
                  <a:lnTo>
                    <a:pt x="13415" y="6179"/>
                  </a:lnTo>
                  <a:lnTo>
                    <a:pt x="13439" y="6161"/>
                  </a:lnTo>
                  <a:lnTo>
                    <a:pt x="13465" y="6138"/>
                  </a:lnTo>
                  <a:lnTo>
                    <a:pt x="13479" y="6129"/>
                  </a:lnTo>
                  <a:lnTo>
                    <a:pt x="13495" y="6126"/>
                  </a:lnTo>
                  <a:lnTo>
                    <a:pt x="13538" y="6125"/>
                  </a:lnTo>
                  <a:lnTo>
                    <a:pt x="13550" y="6122"/>
                  </a:lnTo>
                  <a:lnTo>
                    <a:pt x="13564" y="6105"/>
                  </a:lnTo>
                  <a:lnTo>
                    <a:pt x="13570" y="6078"/>
                  </a:lnTo>
                  <a:lnTo>
                    <a:pt x="13577" y="6021"/>
                  </a:lnTo>
                  <a:lnTo>
                    <a:pt x="13586" y="5995"/>
                  </a:lnTo>
                  <a:lnTo>
                    <a:pt x="13626" y="5928"/>
                  </a:lnTo>
                  <a:lnTo>
                    <a:pt x="13635" y="5901"/>
                  </a:lnTo>
                  <a:lnTo>
                    <a:pt x="13642" y="5889"/>
                  </a:lnTo>
                  <a:lnTo>
                    <a:pt x="13650" y="5884"/>
                  </a:lnTo>
                  <a:lnTo>
                    <a:pt x="13672" y="5875"/>
                  </a:lnTo>
                  <a:lnTo>
                    <a:pt x="13682" y="5876"/>
                  </a:lnTo>
                  <a:lnTo>
                    <a:pt x="13679" y="5888"/>
                  </a:lnTo>
                  <a:lnTo>
                    <a:pt x="13675" y="5893"/>
                  </a:lnTo>
                  <a:lnTo>
                    <a:pt x="13670" y="5897"/>
                  </a:lnTo>
                  <a:lnTo>
                    <a:pt x="13664" y="5892"/>
                  </a:lnTo>
                  <a:lnTo>
                    <a:pt x="13657" y="5894"/>
                  </a:lnTo>
                  <a:lnTo>
                    <a:pt x="13653" y="5901"/>
                  </a:lnTo>
                  <a:lnTo>
                    <a:pt x="13652" y="5910"/>
                  </a:lnTo>
                  <a:lnTo>
                    <a:pt x="13667" y="5904"/>
                  </a:lnTo>
                  <a:lnTo>
                    <a:pt x="13680" y="5901"/>
                  </a:lnTo>
                  <a:lnTo>
                    <a:pt x="13688" y="5895"/>
                  </a:lnTo>
                  <a:lnTo>
                    <a:pt x="13692" y="5880"/>
                  </a:lnTo>
                  <a:lnTo>
                    <a:pt x="13689" y="5864"/>
                  </a:lnTo>
                  <a:lnTo>
                    <a:pt x="13676" y="5841"/>
                  </a:lnTo>
                  <a:lnTo>
                    <a:pt x="13679" y="5831"/>
                  </a:lnTo>
                  <a:lnTo>
                    <a:pt x="13687" y="5834"/>
                  </a:lnTo>
                  <a:lnTo>
                    <a:pt x="13712" y="5825"/>
                  </a:lnTo>
                  <a:lnTo>
                    <a:pt x="13742" y="5818"/>
                  </a:lnTo>
                  <a:lnTo>
                    <a:pt x="13744" y="5810"/>
                  </a:lnTo>
                  <a:lnTo>
                    <a:pt x="13735" y="5800"/>
                  </a:lnTo>
                  <a:lnTo>
                    <a:pt x="13695" y="5771"/>
                  </a:lnTo>
                  <a:lnTo>
                    <a:pt x="13685" y="5762"/>
                  </a:lnTo>
                  <a:lnTo>
                    <a:pt x="13679" y="5750"/>
                  </a:lnTo>
                  <a:lnTo>
                    <a:pt x="13679" y="5740"/>
                  </a:lnTo>
                  <a:lnTo>
                    <a:pt x="13675" y="5732"/>
                  </a:lnTo>
                  <a:lnTo>
                    <a:pt x="13657" y="5729"/>
                  </a:lnTo>
                  <a:lnTo>
                    <a:pt x="13647" y="5734"/>
                  </a:lnTo>
                  <a:lnTo>
                    <a:pt x="13642" y="5734"/>
                  </a:lnTo>
                  <a:lnTo>
                    <a:pt x="13639" y="5729"/>
                  </a:lnTo>
                  <a:lnTo>
                    <a:pt x="13642" y="5722"/>
                  </a:lnTo>
                  <a:lnTo>
                    <a:pt x="13648" y="5715"/>
                  </a:lnTo>
                  <a:lnTo>
                    <a:pt x="13653" y="5708"/>
                  </a:lnTo>
                  <a:lnTo>
                    <a:pt x="13650" y="5701"/>
                  </a:lnTo>
                  <a:lnTo>
                    <a:pt x="13643" y="5685"/>
                  </a:lnTo>
                  <a:lnTo>
                    <a:pt x="13647" y="5672"/>
                  </a:lnTo>
                  <a:lnTo>
                    <a:pt x="13655" y="5660"/>
                  </a:lnTo>
                  <a:lnTo>
                    <a:pt x="13661" y="5646"/>
                  </a:lnTo>
                  <a:lnTo>
                    <a:pt x="13661" y="5639"/>
                  </a:lnTo>
                  <a:lnTo>
                    <a:pt x="13657" y="5627"/>
                  </a:lnTo>
                  <a:lnTo>
                    <a:pt x="13657" y="5624"/>
                  </a:lnTo>
                  <a:lnTo>
                    <a:pt x="13660" y="5617"/>
                  </a:lnTo>
                  <a:lnTo>
                    <a:pt x="13664" y="5613"/>
                  </a:lnTo>
                  <a:lnTo>
                    <a:pt x="13668" y="5612"/>
                  </a:lnTo>
                  <a:lnTo>
                    <a:pt x="13670" y="5617"/>
                  </a:lnTo>
                  <a:lnTo>
                    <a:pt x="13671" y="5630"/>
                  </a:lnTo>
                  <a:lnTo>
                    <a:pt x="13674" y="5645"/>
                  </a:lnTo>
                  <a:lnTo>
                    <a:pt x="13678" y="5659"/>
                  </a:lnTo>
                  <a:lnTo>
                    <a:pt x="13683" y="5668"/>
                  </a:lnTo>
                  <a:lnTo>
                    <a:pt x="13689" y="5672"/>
                  </a:lnTo>
                  <a:lnTo>
                    <a:pt x="13700" y="5676"/>
                  </a:lnTo>
                  <a:lnTo>
                    <a:pt x="13705" y="5681"/>
                  </a:lnTo>
                  <a:lnTo>
                    <a:pt x="13708" y="5686"/>
                  </a:lnTo>
                  <a:lnTo>
                    <a:pt x="13709" y="5691"/>
                  </a:lnTo>
                  <a:lnTo>
                    <a:pt x="13712" y="5721"/>
                  </a:lnTo>
                  <a:lnTo>
                    <a:pt x="13719" y="5731"/>
                  </a:lnTo>
                  <a:lnTo>
                    <a:pt x="13728" y="5736"/>
                  </a:lnTo>
                  <a:lnTo>
                    <a:pt x="13741" y="5734"/>
                  </a:lnTo>
                  <a:lnTo>
                    <a:pt x="13757" y="5722"/>
                  </a:lnTo>
                  <a:lnTo>
                    <a:pt x="13787" y="5682"/>
                  </a:lnTo>
                  <a:lnTo>
                    <a:pt x="13798" y="5663"/>
                  </a:lnTo>
                  <a:lnTo>
                    <a:pt x="13807" y="5641"/>
                  </a:lnTo>
                  <a:lnTo>
                    <a:pt x="13810" y="5617"/>
                  </a:lnTo>
                  <a:lnTo>
                    <a:pt x="13807" y="5507"/>
                  </a:lnTo>
                  <a:lnTo>
                    <a:pt x="13810" y="5494"/>
                  </a:lnTo>
                  <a:lnTo>
                    <a:pt x="13823" y="5466"/>
                  </a:lnTo>
                  <a:lnTo>
                    <a:pt x="13825" y="5456"/>
                  </a:lnTo>
                  <a:lnTo>
                    <a:pt x="13818" y="5446"/>
                  </a:lnTo>
                  <a:lnTo>
                    <a:pt x="13808" y="5445"/>
                  </a:lnTo>
                  <a:lnTo>
                    <a:pt x="13792" y="5452"/>
                  </a:lnTo>
                  <a:lnTo>
                    <a:pt x="13772" y="5483"/>
                  </a:lnTo>
                  <a:lnTo>
                    <a:pt x="13763" y="5478"/>
                  </a:lnTo>
                  <a:lnTo>
                    <a:pt x="13778" y="5452"/>
                  </a:lnTo>
                  <a:lnTo>
                    <a:pt x="13780" y="5439"/>
                  </a:lnTo>
                  <a:lnTo>
                    <a:pt x="13769" y="5434"/>
                  </a:lnTo>
                  <a:lnTo>
                    <a:pt x="13767" y="5431"/>
                  </a:lnTo>
                  <a:lnTo>
                    <a:pt x="13767" y="5425"/>
                  </a:lnTo>
                  <a:lnTo>
                    <a:pt x="13771" y="5419"/>
                  </a:lnTo>
                  <a:lnTo>
                    <a:pt x="13778" y="5417"/>
                  </a:lnTo>
                  <a:lnTo>
                    <a:pt x="13786" y="5416"/>
                  </a:lnTo>
                  <a:lnTo>
                    <a:pt x="13807" y="5412"/>
                  </a:lnTo>
                  <a:lnTo>
                    <a:pt x="13810" y="5413"/>
                  </a:lnTo>
                  <a:lnTo>
                    <a:pt x="13813" y="5415"/>
                  </a:lnTo>
                  <a:lnTo>
                    <a:pt x="13816" y="5417"/>
                  </a:lnTo>
                  <a:lnTo>
                    <a:pt x="13820" y="5417"/>
                  </a:lnTo>
                  <a:lnTo>
                    <a:pt x="13824" y="5415"/>
                  </a:lnTo>
                  <a:lnTo>
                    <a:pt x="13830" y="5409"/>
                  </a:lnTo>
                  <a:lnTo>
                    <a:pt x="13834" y="5408"/>
                  </a:lnTo>
                  <a:lnTo>
                    <a:pt x="13842" y="5407"/>
                  </a:lnTo>
                  <a:lnTo>
                    <a:pt x="13858" y="5408"/>
                  </a:lnTo>
                  <a:lnTo>
                    <a:pt x="13869" y="5413"/>
                  </a:lnTo>
                  <a:lnTo>
                    <a:pt x="13874" y="5426"/>
                  </a:lnTo>
                  <a:lnTo>
                    <a:pt x="13877" y="5439"/>
                  </a:lnTo>
                  <a:lnTo>
                    <a:pt x="13883" y="5448"/>
                  </a:lnTo>
                  <a:lnTo>
                    <a:pt x="13906" y="5443"/>
                  </a:lnTo>
                  <a:lnTo>
                    <a:pt x="13920" y="5417"/>
                  </a:lnTo>
                  <a:lnTo>
                    <a:pt x="13961" y="5231"/>
                  </a:lnTo>
                  <a:lnTo>
                    <a:pt x="13962" y="5212"/>
                  </a:lnTo>
                  <a:lnTo>
                    <a:pt x="13958" y="5206"/>
                  </a:lnTo>
                  <a:lnTo>
                    <a:pt x="13948" y="5208"/>
                  </a:lnTo>
                  <a:lnTo>
                    <a:pt x="13937" y="5214"/>
                  </a:lnTo>
                  <a:lnTo>
                    <a:pt x="13929" y="5221"/>
                  </a:lnTo>
                  <a:lnTo>
                    <a:pt x="13921" y="5222"/>
                  </a:lnTo>
                  <a:lnTo>
                    <a:pt x="13917" y="5213"/>
                  </a:lnTo>
                  <a:lnTo>
                    <a:pt x="13914" y="5202"/>
                  </a:lnTo>
                  <a:lnTo>
                    <a:pt x="13914" y="5196"/>
                  </a:lnTo>
                  <a:lnTo>
                    <a:pt x="13905" y="5194"/>
                  </a:lnTo>
                  <a:lnTo>
                    <a:pt x="13894" y="5196"/>
                  </a:lnTo>
                  <a:lnTo>
                    <a:pt x="13853" y="5215"/>
                  </a:lnTo>
                  <a:lnTo>
                    <a:pt x="13836" y="5218"/>
                  </a:lnTo>
                  <a:lnTo>
                    <a:pt x="13825" y="5210"/>
                  </a:lnTo>
                  <a:lnTo>
                    <a:pt x="13820" y="5185"/>
                  </a:lnTo>
                  <a:lnTo>
                    <a:pt x="13810" y="5176"/>
                  </a:lnTo>
                  <a:lnTo>
                    <a:pt x="13789" y="5181"/>
                  </a:lnTo>
                  <a:lnTo>
                    <a:pt x="13758" y="5196"/>
                  </a:lnTo>
                  <a:lnTo>
                    <a:pt x="13754" y="5196"/>
                  </a:lnTo>
                  <a:lnTo>
                    <a:pt x="13760" y="5184"/>
                  </a:lnTo>
                  <a:lnTo>
                    <a:pt x="13773" y="5170"/>
                  </a:lnTo>
                  <a:lnTo>
                    <a:pt x="13788" y="5157"/>
                  </a:lnTo>
                  <a:lnTo>
                    <a:pt x="13803" y="5148"/>
                  </a:lnTo>
                  <a:lnTo>
                    <a:pt x="13847" y="5136"/>
                  </a:lnTo>
                  <a:lnTo>
                    <a:pt x="13854" y="5130"/>
                  </a:lnTo>
                  <a:lnTo>
                    <a:pt x="13867" y="5115"/>
                  </a:lnTo>
                  <a:lnTo>
                    <a:pt x="13870" y="5100"/>
                  </a:lnTo>
                  <a:lnTo>
                    <a:pt x="13862" y="5060"/>
                  </a:lnTo>
                  <a:lnTo>
                    <a:pt x="13872" y="5028"/>
                  </a:lnTo>
                  <a:lnTo>
                    <a:pt x="13863" y="5013"/>
                  </a:lnTo>
                  <a:lnTo>
                    <a:pt x="13838" y="4989"/>
                  </a:lnTo>
                  <a:lnTo>
                    <a:pt x="13851" y="4973"/>
                  </a:lnTo>
                  <a:lnTo>
                    <a:pt x="13861" y="4956"/>
                  </a:lnTo>
                  <a:lnTo>
                    <a:pt x="13856" y="4943"/>
                  </a:lnTo>
                  <a:lnTo>
                    <a:pt x="13845" y="4937"/>
                  </a:lnTo>
                  <a:lnTo>
                    <a:pt x="13831" y="4936"/>
                  </a:lnTo>
                  <a:lnTo>
                    <a:pt x="13816" y="4936"/>
                  </a:lnTo>
                  <a:lnTo>
                    <a:pt x="13816" y="4938"/>
                  </a:lnTo>
                  <a:lnTo>
                    <a:pt x="13812" y="4944"/>
                  </a:lnTo>
                  <a:lnTo>
                    <a:pt x="13812" y="4945"/>
                  </a:lnTo>
                  <a:lnTo>
                    <a:pt x="13808" y="4945"/>
                  </a:lnTo>
                  <a:lnTo>
                    <a:pt x="13802" y="4941"/>
                  </a:lnTo>
                  <a:lnTo>
                    <a:pt x="13798" y="4941"/>
                  </a:lnTo>
                  <a:lnTo>
                    <a:pt x="13784" y="4945"/>
                  </a:lnTo>
                  <a:lnTo>
                    <a:pt x="13778" y="4948"/>
                  </a:lnTo>
                  <a:lnTo>
                    <a:pt x="13776" y="4952"/>
                  </a:lnTo>
                  <a:lnTo>
                    <a:pt x="13770" y="4959"/>
                  </a:lnTo>
                  <a:lnTo>
                    <a:pt x="13756" y="4963"/>
                  </a:lnTo>
                  <a:lnTo>
                    <a:pt x="13739" y="4964"/>
                  </a:lnTo>
                  <a:lnTo>
                    <a:pt x="13728" y="4963"/>
                  </a:lnTo>
                  <a:lnTo>
                    <a:pt x="13714" y="4952"/>
                  </a:lnTo>
                  <a:lnTo>
                    <a:pt x="13721" y="4944"/>
                  </a:lnTo>
                  <a:lnTo>
                    <a:pt x="13741" y="4934"/>
                  </a:lnTo>
                  <a:lnTo>
                    <a:pt x="13746" y="4926"/>
                  </a:lnTo>
                  <a:lnTo>
                    <a:pt x="13781" y="4897"/>
                  </a:lnTo>
                  <a:lnTo>
                    <a:pt x="13794" y="4892"/>
                  </a:lnTo>
                  <a:lnTo>
                    <a:pt x="13823" y="4885"/>
                  </a:lnTo>
                  <a:lnTo>
                    <a:pt x="13849" y="4868"/>
                  </a:lnTo>
                  <a:lnTo>
                    <a:pt x="13905" y="4852"/>
                  </a:lnTo>
                  <a:lnTo>
                    <a:pt x="13920" y="4845"/>
                  </a:lnTo>
                  <a:lnTo>
                    <a:pt x="13931" y="4834"/>
                  </a:lnTo>
                  <a:lnTo>
                    <a:pt x="13936" y="4820"/>
                  </a:lnTo>
                  <a:lnTo>
                    <a:pt x="13934" y="4807"/>
                  </a:lnTo>
                  <a:lnTo>
                    <a:pt x="13928" y="4799"/>
                  </a:lnTo>
                  <a:lnTo>
                    <a:pt x="13923" y="4792"/>
                  </a:lnTo>
                  <a:lnTo>
                    <a:pt x="13918" y="4782"/>
                  </a:lnTo>
                  <a:lnTo>
                    <a:pt x="13919" y="4754"/>
                  </a:lnTo>
                  <a:lnTo>
                    <a:pt x="13938" y="4732"/>
                  </a:lnTo>
                  <a:lnTo>
                    <a:pt x="13965" y="4715"/>
                  </a:lnTo>
                  <a:lnTo>
                    <a:pt x="14036" y="4687"/>
                  </a:lnTo>
                  <a:lnTo>
                    <a:pt x="14049" y="4685"/>
                  </a:lnTo>
                  <a:lnTo>
                    <a:pt x="14064" y="4680"/>
                  </a:lnTo>
                  <a:lnTo>
                    <a:pt x="14067" y="4666"/>
                  </a:lnTo>
                  <a:lnTo>
                    <a:pt x="14064" y="4637"/>
                  </a:lnTo>
                  <a:lnTo>
                    <a:pt x="14066" y="4630"/>
                  </a:lnTo>
                  <a:lnTo>
                    <a:pt x="14074" y="4621"/>
                  </a:lnTo>
                  <a:lnTo>
                    <a:pt x="14081" y="4608"/>
                  </a:lnTo>
                  <a:lnTo>
                    <a:pt x="14082" y="4605"/>
                  </a:lnTo>
                  <a:lnTo>
                    <a:pt x="14082" y="4601"/>
                  </a:lnTo>
                  <a:lnTo>
                    <a:pt x="14080" y="4599"/>
                  </a:lnTo>
                  <a:lnTo>
                    <a:pt x="14077" y="4597"/>
                  </a:lnTo>
                  <a:lnTo>
                    <a:pt x="14074" y="4597"/>
                  </a:lnTo>
                  <a:lnTo>
                    <a:pt x="14073" y="4595"/>
                  </a:lnTo>
                  <a:lnTo>
                    <a:pt x="14046" y="4587"/>
                  </a:lnTo>
                  <a:lnTo>
                    <a:pt x="14048" y="4583"/>
                  </a:lnTo>
                  <a:lnTo>
                    <a:pt x="14055" y="4575"/>
                  </a:lnTo>
                  <a:lnTo>
                    <a:pt x="14058" y="4569"/>
                  </a:lnTo>
                  <a:lnTo>
                    <a:pt x="14061" y="4566"/>
                  </a:lnTo>
                  <a:lnTo>
                    <a:pt x="14060" y="4562"/>
                  </a:lnTo>
                  <a:lnTo>
                    <a:pt x="14055" y="4553"/>
                  </a:lnTo>
                  <a:lnTo>
                    <a:pt x="14036" y="4532"/>
                  </a:lnTo>
                  <a:lnTo>
                    <a:pt x="14033" y="4525"/>
                  </a:lnTo>
                  <a:lnTo>
                    <a:pt x="14037" y="4490"/>
                  </a:lnTo>
                  <a:lnTo>
                    <a:pt x="14042" y="4473"/>
                  </a:lnTo>
                  <a:lnTo>
                    <a:pt x="14051" y="4461"/>
                  </a:lnTo>
                  <a:lnTo>
                    <a:pt x="14060" y="4460"/>
                  </a:lnTo>
                  <a:lnTo>
                    <a:pt x="14051" y="4500"/>
                  </a:lnTo>
                  <a:lnTo>
                    <a:pt x="14053" y="4516"/>
                  </a:lnTo>
                  <a:lnTo>
                    <a:pt x="14080" y="4547"/>
                  </a:lnTo>
                  <a:lnTo>
                    <a:pt x="14083" y="4555"/>
                  </a:lnTo>
                  <a:lnTo>
                    <a:pt x="14084" y="4575"/>
                  </a:lnTo>
                  <a:lnTo>
                    <a:pt x="14086" y="4584"/>
                  </a:lnTo>
                  <a:lnTo>
                    <a:pt x="14091" y="4574"/>
                  </a:lnTo>
                  <a:lnTo>
                    <a:pt x="14095" y="4569"/>
                  </a:lnTo>
                  <a:lnTo>
                    <a:pt x="14099" y="4566"/>
                  </a:lnTo>
                  <a:lnTo>
                    <a:pt x="14108" y="4570"/>
                  </a:lnTo>
                  <a:lnTo>
                    <a:pt x="14107" y="4576"/>
                  </a:lnTo>
                  <a:lnTo>
                    <a:pt x="14099" y="4586"/>
                  </a:lnTo>
                  <a:lnTo>
                    <a:pt x="14099" y="4604"/>
                  </a:lnTo>
                  <a:lnTo>
                    <a:pt x="14101" y="4613"/>
                  </a:lnTo>
                  <a:lnTo>
                    <a:pt x="14107" y="4616"/>
                  </a:lnTo>
                  <a:lnTo>
                    <a:pt x="14121" y="4615"/>
                  </a:lnTo>
                  <a:lnTo>
                    <a:pt x="14190" y="4599"/>
                  </a:lnTo>
                  <a:lnTo>
                    <a:pt x="14207" y="4592"/>
                  </a:lnTo>
                  <a:lnTo>
                    <a:pt x="14222" y="4584"/>
                  </a:lnTo>
                  <a:lnTo>
                    <a:pt x="14233" y="4575"/>
                  </a:lnTo>
                  <a:lnTo>
                    <a:pt x="14237" y="4563"/>
                  </a:lnTo>
                  <a:lnTo>
                    <a:pt x="14238" y="4547"/>
                  </a:lnTo>
                  <a:lnTo>
                    <a:pt x="14243" y="4533"/>
                  </a:lnTo>
                  <a:lnTo>
                    <a:pt x="14259" y="4523"/>
                  </a:lnTo>
                  <a:lnTo>
                    <a:pt x="14323" y="4433"/>
                  </a:lnTo>
                  <a:lnTo>
                    <a:pt x="14343" y="4412"/>
                  </a:lnTo>
                  <a:lnTo>
                    <a:pt x="14369" y="4396"/>
                  </a:lnTo>
                  <a:lnTo>
                    <a:pt x="14379" y="4387"/>
                  </a:lnTo>
                  <a:lnTo>
                    <a:pt x="14383" y="4371"/>
                  </a:lnTo>
                  <a:lnTo>
                    <a:pt x="14385" y="4354"/>
                  </a:lnTo>
                  <a:lnTo>
                    <a:pt x="14390" y="4335"/>
                  </a:lnTo>
                  <a:lnTo>
                    <a:pt x="14399" y="4322"/>
                  </a:lnTo>
                  <a:lnTo>
                    <a:pt x="14412" y="4327"/>
                  </a:lnTo>
                  <a:lnTo>
                    <a:pt x="14429" y="4343"/>
                  </a:lnTo>
                  <a:lnTo>
                    <a:pt x="14432" y="4349"/>
                  </a:lnTo>
                  <a:lnTo>
                    <a:pt x="14431" y="4366"/>
                  </a:lnTo>
                  <a:lnTo>
                    <a:pt x="14432" y="4375"/>
                  </a:lnTo>
                  <a:lnTo>
                    <a:pt x="14437" y="4381"/>
                  </a:lnTo>
                  <a:lnTo>
                    <a:pt x="14444" y="4379"/>
                  </a:lnTo>
                  <a:lnTo>
                    <a:pt x="14453" y="4367"/>
                  </a:lnTo>
                  <a:lnTo>
                    <a:pt x="14460" y="4352"/>
                  </a:lnTo>
                  <a:lnTo>
                    <a:pt x="14463" y="4342"/>
                  </a:lnTo>
                  <a:lnTo>
                    <a:pt x="14470" y="4348"/>
                  </a:lnTo>
                  <a:lnTo>
                    <a:pt x="14484" y="4364"/>
                  </a:lnTo>
                  <a:lnTo>
                    <a:pt x="14494" y="4368"/>
                  </a:lnTo>
                  <a:lnTo>
                    <a:pt x="14506" y="4366"/>
                  </a:lnTo>
                  <a:lnTo>
                    <a:pt x="14510" y="4359"/>
                  </a:lnTo>
                  <a:lnTo>
                    <a:pt x="14507" y="4344"/>
                  </a:lnTo>
                  <a:lnTo>
                    <a:pt x="14514" y="4329"/>
                  </a:lnTo>
                  <a:lnTo>
                    <a:pt x="14536" y="4334"/>
                  </a:lnTo>
                  <a:lnTo>
                    <a:pt x="14534" y="4316"/>
                  </a:lnTo>
                  <a:lnTo>
                    <a:pt x="14565" y="4324"/>
                  </a:lnTo>
                  <a:lnTo>
                    <a:pt x="14569" y="4322"/>
                  </a:lnTo>
                  <a:lnTo>
                    <a:pt x="14578" y="4314"/>
                  </a:lnTo>
                  <a:lnTo>
                    <a:pt x="14583" y="4311"/>
                  </a:lnTo>
                  <a:lnTo>
                    <a:pt x="14587" y="4310"/>
                  </a:lnTo>
                  <a:lnTo>
                    <a:pt x="14596" y="4311"/>
                  </a:lnTo>
                  <a:lnTo>
                    <a:pt x="14615" y="4308"/>
                  </a:lnTo>
                  <a:lnTo>
                    <a:pt x="14620" y="4305"/>
                  </a:lnTo>
                  <a:lnTo>
                    <a:pt x="14623" y="4298"/>
                  </a:lnTo>
                  <a:lnTo>
                    <a:pt x="14623" y="4288"/>
                  </a:lnTo>
                  <a:lnTo>
                    <a:pt x="14620" y="4280"/>
                  </a:lnTo>
                  <a:lnTo>
                    <a:pt x="14614" y="4274"/>
                  </a:lnTo>
                  <a:lnTo>
                    <a:pt x="14607" y="4272"/>
                  </a:lnTo>
                  <a:lnTo>
                    <a:pt x="14589" y="4270"/>
                  </a:lnTo>
                  <a:lnTo>
                    <a:pt x="14554" y="4260"/>
                  </a:lnTo>
                  <a:lnTo>
                    <a:pt x="14540" y="4258"/>
                  </a:lnTo>
                  <a:lnTo>
                    <a:pt x="14533" y="4256"/>
                  </a:lnTo>
                  <a:lnTo>
                    <a:pt x="14529" y="4252"/>
                  </a:lnTo>
                  <a:lnTo>
                    <a:pt x="14531" y="4247"/>
                  </a:lnTo>
                  <a:lnTo>
                    <a:pt x="14540" y="4246"/>
                  </a:lnTo>
                  <a:lnTo>
                    <a:pt x="14558" y="4248"/>
                  </a:lnTo>
                  <a:lnTo>
                    <a:pt x="14566" y="4249"/>
                  </a:lnTo>
                  <a:lnTo>
                    <a:pt x="14574" y="4246"/>
                  </a:lnTo>
                  <a:lnTo>
                    <a:pt x="14566" y="4236"/>
                  </a:lnTo>
                  <a:lnTo>
                    <a:pt x="14570" y="4230"/>
                  </a:lnTo>
                  <a:lnTo>
                    <a:pt x="14579" y="4225"/>
                  </a:lnTo>
                  <a:lnTo>
                    <a:pt x="14587" y="4219"/>
                  </a:lnTo>
                  <a:lnTo>
                    <a:pt x="14590" y="4207"/>
                  </a:lnTo>
                  <a:lnTo>
                    <a:pt x="14583" y="4202"/>
                  </a:lnTo>
                  <a:lnTo>
                    <a:pt x="14571" y="4200"/>
                  </a:lnTo>
                  <a:lnTo>
                    <a:pt x="14560" y="4197"/>
                  </a:lnTo>
                  <a:lnTo>
                    <a:pt x="14560" y="4192"/>
                  </a:lnTo>
                  <a:lnTo>
                    <a:pt x="14564" y="4190"/>
                  </a:lnTo>
                  <a:lnTo>
                    <a:pt x="14568" y="4188"/>
                  </a:lnTo>
                  <a:lnTo>
                    <a:pt x="14588" y="4187"/>
                  </a:lnTo>
                  <a:lnTo>
                    <a:pt x="14591" y="4186"/>
                  </a:lnTo>
                  <a:lnTo>
                    <a:pt x="14593" y="4183"/>
                  </a:lnTo>
                  <a:lnTo>
                    <a:pt x="14601" y="4171"/>
                  </a:lnTo>
                  <a:lnTo>
                    <a:pt x="14604" y="4162"/>
                  </a:lnTo>
                  <a:lnTo>
                    <a:pt x="14605" y="4138"/>
                  </a:lnTo>
                  <a:lnTo>
                    <a:pt x="14598" y="4131"/>
                  </a:lnTo>
                  <a:lnTo>
                    <a:pt x="14576" y="4126"/>
                  </a:lnTo>
                  <a:lnTo>
                    <a:pt x="14578" y="4118"/>
                  </a:lnTo>
                  <a:lnTo>
                    <a:pt x="14586" y="4114"/>
                  </a:lnTo>
                  <a:lnTo>
                    <a:pt x="14609" y="4108"/>
                  </a:lnTo>
                  <a:lnTo>
                    <a:pt x="14613" y="4102"/>
                  </a:lnTo>
                  <a:lnTo>
                    <a:pt x="14618" y="4096"/>
                  </a:lnTo>
                  <a:lnTo>
                    <a:pt x="14626" y="4090"/>
                  </a:lnTo>
                  <a:lnTo>
                    <a:pt x="14630" y="4083"/>
                  </a:lnTo>
                  <a:lnTo>
                    <a:pt x="14625" y="4072"/>
                  </a:lnTo>
                  <a:lnTo>
                    <a:pt x="14615" y="4069"/>
                  </a:lnTo>
                  <a:lnTo>
                    <a:pt x="14603" y="4074"/>
                  </a:lnTo>
                  <a:lnTo>
                    <a:pt x="14524" y="4129"/>
                  </a:lnTo>
                  <a:lnTo>
                    <a:pt x="14503" y="4140"/>
                  </a:lnTo>
                  <a:lnTo>
                    <a:pt x="14503" y="4135"/>
                  </a:lnTo>
                  <a:lnTo>
                    <a:pt x="14510" y="4125"/>
                  </a:lnTo>
                  <a:lnTo>
                    <a:pt x="14516" y="4111"/>
                  </a:lnTo>
                  <a:lnTo>
                    <a:pt x="14519" y="4096"/>
                  </a:lnTo>
                  <a:lnTo>
                    <a:pt x="14514" y="4084"/>
                  </a:lnTo>
                  <a:lnTo>
                    <a:pt x="14513" y="4077"/>
                  </a:lnTo>
                  <a:lnTo>
                    <a:pt x="14520" y="4067"/>
                  </a:lnTo>
                  <a:lnTo>
                    <a:pt x="14534" y="4051"/>
                  </a:lnTo>
                  <a:lnTo>
                    <a:pt x="14537" y="4042"/>
                  </a:lnTo>
                  <a:lnTo>
                    <a:pt x="14539" y="4027"/>
                  </a:lnTo>
                  <a:lnTo>
                    <a:pt x="14538" y="4017"/>
                  </a:lnTo>
                  <a:lnTo>
                    <a:pt x="14531" y="4018"/>
                  </a:lnTo>
                  <a:lnTo>
                    <a:pt x="14524" y="4015"/>
                  </a:lnTo>
                  <a:lnTo>
                    <a:pt x="14513" y="4000"/>
                  </a:lnTo>
                  <a:lnTo>
                    <a:pt x="14503" y="3984"/>
                  </a:lnTo>
                  <a:lnTo>
                    <a:pt x="14498" y="3972"/>
                  </a:lnTo>
                  <a:lnTo>
                    <a:pt x="14499" y="3956"/>
                  </a:lnTo>
                  <a:lnTo>
                    <a:pt x="14512" y="3935"/>
                  </a:lnTo>
                  <a:lnTo>
                    <a:pt x="14516" y="3922"/>
                  </a:lnTo>
                  <a:lnTo>
                    <a:pt x="14518" y="3895"/>
                  </a:lnTo>
                  <a:lnTo>
                    <a:pt x="14521" y="3885"/>
                  </a:lnTo>
                  <a:lnTo>
                    <a:pt x="14531" y="3862"/>
                  </a:lnTo>
                  <a:lnTo>
                    <a:pt x="14534" y="3858"/>
                  </a:lnTo>
                  <a:lnTo>
                    <a:pt x="14537" y="3854"/>
                  </a:lnTo>
                  <a:lnTo>
                    <a:pt x="14545" y="3847"/>
                  </a:lnTo>
                  <a:lnTo>
                    <a:pt x="14549" y="3840"/>
                  </a:lnTo>
                  <a:lnTo>
                    <a:pt x="14557" y="3829"/>
                  </a:lnTo>
                  <a:lnTo>
                    <a:pt x="14558" y="3827"/>
                  </a:lnTo>
                  <a:lnTo>
                    <a:pt x="14560" y="3823"/>
                  </a:lnTo>
                  <a:lnTo>
                    <a:pt x="14559" y="3815"/>
                  </a:lnTo>
                  <a:lnTo>
                    <a:pt x="14556" y="3800"/>
                  </a:lnTo>
                  <a:lnTo>
                    <a:pt x="14551" y="3792"/>
                  </a:lnTo>
                  <a:lnTo>
                    <a:pt x="14547" y="3786"/>
                  </a:lnTo>
                  <a:lnTo>
                    <a:pt x="14540" y="3781"/>
                  </a:lnTo>
                  <a:lnTo>
                    <a:pt x="14534" y="3779"/>
                  </a:lnTo>
                  <a:lnTo>
                    <a:pt x="14539" y="3770"/>
                  </a:lnTo>
                  <a:lnTo>
                    <a:pt x="14536" y="3767"/>
                  </a:lnTo>
                  <a:lnTo>
                    <a:pt x="14529" y="3767"/>
                  </a:lnTo>
                  <a:lnTo>
                    <a:pt x="14525" y="3765"/>
                  </a:lnTo>
                  <a:lnTo>
                    <a:pt x="14523" y="3761"/>
                  </a:lnTo>
                  <a:lnTo>
                    <a:pt x="14524" y="3758"/>
                  </a:lnTo>
                  <a:lnTo>
                    <a:pt x="14524" y="3754"/>
                  </a:lnTo>
                  <a:lnTo>
                    <a:pt x="14525" y="3747"/>
                  </a:lnTo>
                  <a:lnTo>
                    <a:pt x="14524" y="3741"/>
                  </a:lnTo>
                  <a:lnTo>
                    <a:pt x="14522" y="3737"/>
                  </a:lnTo>
                  <a:lnTo>
                    <a:pt x="14521" y="3733"/>
                  </a:lnTo>
                  <a:lnTo>
                    <a:pt x="14525" y="3726"/>
                  </a:lnTo>
                  <a:lnTo>
                    <a:pt x="14530" y="3722"/>
                  </a:lnTo>
                  <a:lnTo>
                    <a:pt x="14545" y="3717"/>
                  </a:lnTo>
                  <a:lnTo>
                    <a:pt x="14552" y="3712"/>
                  </a:lnTo>
                  <a:lnTo>
                    <a:pt x="14547" y="3707"/>
                  </a:lnTo>
                  <a:lnTo>
                    <a:pt x="14539" y="3706"/>
                  </a:lnTo>
                  <a:lnTo>
                    <a:pt x="14533" y="3705"/>
                  </a:lnTo>
                  <a:lnTo>
                    <a:pt x="14529" y="3704"/>
                  </a:lnTo>
                  <a:lnTo>
                    <a:pt x="14528" y="3696"/>
                  </a:lnTo>
                  <a:lnTo>
                    <a:pt x="14530" y="3688"/>
                  </a:lnTo>
                  <a:lnTo>
                    <a:pt x="14535" y="3681"/>
                  </a:lnTo>
                  <a:lnTo>
                    <a:pt x="14550" y="3666"/>
                  </a:lnTo>
                  <a:lnTo>
                    <a:pt x="14556" y="3657"/>
                  </a:lnTo>
                  <a:lnTo>
                    <a:pt x="14558" y="3647"/>
                  </a:lnTo>
                  <a:lnTo>
                    <a:pt x="14556" y="3634"/>
                  </a:lnTo>
                  <a:lnTo>
                    <a:pt x="14553" y="3628"/>
                  </a:lnTo>
                  <a:lnTo>
                    <a:pt x="14551" y="3626"/>
                  </a:lnTo>
                  <a:lnTo>
                    <a:pt x="14550" y="3622"/>
                  </a:lnTo>
                  <a:lnTo>
                    <a:pt x="14552" y="3616"/>
                  </a:lnTo>
                  <a:lnTo>
                    <a:pt x="14575" y="3578"/>
                  </a:lnTo>
                  <a:lnTo>
                    <a:pt x="14585" y="3553"/>
                  </a:lnTo>
                  <a:lnTo>
                    <a:pt x="14596" y="3541"/>
                  </a:lnTo>
                  <a:lnTo>
                    <a:pt x="14602" y="3538"/>
                  </a:lnTo>
                  <a:lnTo>
                    <a:pt x="14610" y="3534"/>
                  </a:lnTo>
                  <a:lnTo>
                    <a:pt x="14618" y="3530"/>
                  </a:lnTo>
                  <a:lnTo>
                    <a:pt x="14623" y="3524"/>
                  </a:lnTo>
                  <a:lnTo>
                    <a:pt x="14622" y="3517"/>
                  </a:lnTo>
                  <a:lnTo>
                    <a:pt x="14615" y="3501"/>
                  </a:lnTo>
                  <a:lnTo>
                    <a:pt x="14613" y="3495"/>
                  </a:lnTo>
                  <a:lnTo>
                    <a:pt x="14619" y="3480"/>
                  </a:lnTo>
                  <a:lnTo>
                    <a:pt x="14654" y="3440"/>
                  </a:lnTo>
                  <a:lnTo>
                    <a:pt x="14656" y="3433"/>
                  </a:lnTo>
                  <a:lnTo>
                    <a:pt x="14660" y="3419"/>
                  </a:lnTo>
                  <a:lnTo>
                    <a:pt x="14663" y="3413"/>
                  </a:lnTo>
                  <a:lnTo>
                    <a:pt x="14667" y="3406"/>
                  </a:lnTo>
                  <a:lnTo>
                    <a:pt x="14682" y="3393"/>
                  </a:lnTo>
                  <a:lnTo>
                    <a:pt x="14686" y="3383"/>
                  </a:lnTo>
                  <a:lnTo>
                    <a:pt x="14689" y="3343"/>
                  </a:lnTo>
                  <a:lnTo>
                    <a:pt x="14698" y="3327"/>
                  </a:lnTo>
                  <a:lnTo>
                    <a:pt x="14727" y="3294"/>
                  </a:lnTo>
                  <a:lnTo>
                    <a:pt x="14742" y="3281"/>
                  </a:lnTo>
                  <a:lnTo>
                    <a:pt x="14754" y="3276"/>
                  </a:lnTo>
                  <a:lnTo>
                    <a:pt x="14767" y="3273"/>
                  </a:lnTo>
                  <a:lnTo>
                    <a:pt x="14789" y="3272"/>
                  </a:lnTo>
                  <a:lnTo>
                    <a:pt x="14792" y="3271"/>
                  </a:lnTo>
                  <a:lnTo>
                    <a:pt x="14796" y="3268"/>
                  </a:lnTo>
                  <a:lnTo>
                    <a:pt x="14801" y="3265"/>
                  </a:lnTo>
                  <a:lnTo>
                    <a:pt x="14808" y="3263"/>
                  </a:lnTo>
                  <a:lnTo>
                    <a:pt x="14817" y="3264"/>
                  </a:lnTo>
                  <a:lnTo>
                    <a:pt x="14824" y="3266"/>
                  </a:lnTo>
                  <a:lnTo>
                    <a:pt x="14830" y="3269"/>
                  </a:lnTo>
                  <a:lnTo>
                    <a:pt x="14835" y="3272"/>
                  </a:lnTo>
                  <a:lnTo>
                    <a:pt x="14839" y="3278"/>
                  </a:lnTo>
                  <a:lnTo>
                    <a:pt x="14847" y="3290"/>
                  </a:lnTo>
                  <a:lnTo>
                    <a:pt x="14853" y="3294"/>
                  </a:lnTo>
                  <a:lnTo>
                    <a:pt x="14860" y="3296"/>
                  </a:lnTo>
                  <a:lnTo>
                    <a:pt x="14867" y="3296"/>
                  </a:lnTo>
                  <a:lnTo>
                    <a:pt x="14877" y="3294"/>
                  </a:lnTo>
                  <a:lnTo>
                    <a:pt x="14885" y="3289"/>
                  </a:lnTo>
                  <a:lnTo>
                    <a:pt x="14887" y="3275"/>
                  </a:lnTo>
                  <a:lnTo>
                    <a:pt x="14886" y="3261"/>
                  </a:lnTo>
                  <a:lnTo>
                    <a:pt x="14884" y="3251"/>
                  </a:lnTo>
                  <a:lnTo>
                    <a:pt x="14880" y="3242"/>
                  </a:lnTo>
                  <a:lnTo>
                    <a:pt x="14875" y="3233"/>
                  </a:lnTo>
                  <a:lnTo>
                    <a:pt x="14873" y="3232"/>
                  </a:lnTo>
                  <a:lnTo>
                    <a:pt x="14867" y="3230"/>
                  </a:lnTo>
                  <a:lnTo>
                    <a:pt x="14866" y="3228"/>
                  </a:lnTo>
                  <a:lnTo>
                    <a:pt x="14861" y="3220"/>
                  </a:lnTo>
                  <a:lnTo>
                    <a:pt x="14859" y="3218"/>
                  </a:lnTo>
                  <a:lnTo>
                    <a:pt x="14854" y="3208"/>
                  </a:lnTo>
                  <a:lnTo>
                    <a:pt x="14851" y="3182"/>
                  </a:lnTo>
                  <a:lnTo>
                    <a:pt x="14848" y="3171"/>
                  </a:lnTo>
                  <a:lnTo>
                    <a:pt x="14824" y="3140"/>
                  </a:lnTo>
                  <a:lnTo>
                    <a:pt x="14821" y="3135"/>
                  </a:lnTo>
                  <a:lnTo>
                    <a:pt x="14800" y="3110"/>
                  </a:lnTo>
                  <a:lnTo>
                    <a:pt x="14795" y="3099"/>
                  </a:lnTo>
                  <a:lnTo>
                    <a:pt x="14793" y="3093"/>
                  </a:lnTo>
                  <a:lnTo>
                    <a:pt x="14795" y="3087"/>
                  </a:lnTo>
                  <a:lnTo>
                    <a:pt x="14800" y="3083"/>
                  </a:lnTo>
                  <a:lnTo>
                    <a:pt x="14808" y="3080"/>
                  </a:lnTo>
                  <a:lnTo>
                    <a:pt x="14815" y="3080"/>
                  </a:lnTo>
                  <a:lnTo>
                    <a:pt x="14818" y="3085"/>
                  </a:lnTo>
                  <a:lnTo>
                    <a:pt x="14823" y="3091"/>
                  </a:lnTo>
                  <a:lnTo>
                    <a:pt x="14848" y="3104"/>
                  </a:lnTo>
                  <a:lnTo>
                    <a:pt x="14857" y="3110"/>
                  </a:lnTo>
                  <a:lnTo>
                    <a:pt x="14867" y="3127"/>
                  </a:lnTo>
                  <a:lnTo>
                    <a:pt x="14882" y="3170"/>
                  </a:lnTo>
                  <a:lnTo>
                    <a:pt x="14893" y="3189"/>
                  </a:lnTo>
                  <a:lnTo>
                    <a:pt x="14909" y="3206"/>
                  </a:lnTo>
                  <a:lnTo>
                    <a:pt x="14926" y="3219"/>
                  </a:lnTo>
                  <a:lnTo>
                    <a:pt x="14947" y="3229"/>
                  </a:lnTo>
                  <a:lnTo>
                    <a:pt x="14985" y="3240"/>
                  </a:lnTo>
                  <a:lnTo>
                    <a:pt x="15069" y="3251"/>
                  </a:lnTo>
                  <a:lnTo>
                    <a:pt x="15079" y="3255"/>
                  </a:lnTo>
                  <a:lnTo>
                    <a:pt x="15088" y="3264"/>
                  </a:lnTo>
                  <a:lnTo>
                    <a:pt x="15094" y="3274"/>
                  </a:lnTo>
                  <a:lnTo>
                    <a:pt x="15101" y="3282"/>
                  </a:lnTo>
                  <a:lnTo>
                    <a:pt x="15112" y="3285"/>
                  </a:lnTo>
                  <a:lnTo>
                    <a:pt x="15117" y="3284"/>
                  </a:lnTo>
                  <a:lnTo>
                    <a:pt x="15124" y="3280"/>
                  </a:lnTo>
                  <a:lnTo>
                    <a:pt x="15130" y="3275"/>
                  </a:lnTo>
                  <a:lnTo>
                    <a:pt x="15135" y="3265"/>
                  </a:lnTo>
                  <a:lnTo>
                    <a:pt x="15141" y="3263"/>
                  </a:lnTo>
                  <a:lnTo>
                    <a:pt x="15170" y="3264"/>
                  </a:lnTo>
                  <a:lnTo>
                    <a:pt x="15196" y="3274"/>
                  </a:lnTo>
                  <a:lnTo>
                    <a:pt x="15209" y="3277"/>
                  </a:lnTo>
                  <a:lnTo>
                    <a:pt x="15216" y="3279"/>
                  </a:lnTo>
                  <a:lnTo>
                    <a:pt x="15222" y="3283"/>
                  </a:lnTo>
                  <a:lnTo>
                    <a:pt x="15230" y="3286"/>
                  </a:lnTo>
                  <a:lnTo>
                    <a:pt x="15236" y="3283"/>
                  </a:lnTo>
                  <a:lnTo>
                    <a:pt x="15241" y="3280"/>
                  </a:lnTo>
                  <a:lnTo>
                    <a:pt x="15277" y="3263"/>
                  </a:lnTo>
                  <a:lnTo>
                    <a:pt x="15292" y="3259"/>
                  </a:lnTo>
                  <a:lnTo>
                    <a:pt x="15308" y="3259"/>
                  </a:lnTo>
                  <a:lnTo>
                    <a:pt x="15320" y="3265"/>
                  </a:lnTo>
                  <a:lnTo>
                    <a:pt x="15328" y="3271"/>
                  </a:lnTo>
                  <a:lnTo>
                    <a:pt x="15343" y="3274"/>
                  </a:lnTo>
                  <a:lnTo>
                    <a:pt x="15357" y="3283"/>
                  </a:lnTo>
                  <a:lnTo>
                    <a:pt x="15365" y="3285"/>
                  </a:lnTo>
                  <a:lnTo>
                    <a:pt x="15372" y="3286"/>
                  </a:lnTo>
                  <a:lnTo>
                    <a:pt x="15380" y="3285"/>
                  </a:lnTo>
                  <a:lnTo>
                    <a:pt x="15389" y="3283"/>
                  </a:lnTo>
                  <a:lnTo>
                    <a:pt x="15400" y="3277"/>
                  </a:lnTo>
                  <a:lnTo>
                    <a:pt x="15408" y="3269"/>
                  </a:lnTo>
                  <a:lnTo>
                    <a:pt x="15414" y="3252"/>
                  </a:lnTo>
                  <a:lnTo>
                    <a:pt x="15423" y="3245"/>
                  </a:lnTo>
                  <a:lnTo>
                    <a:pt x="15472" y="3223"/>
                  </a:lnTo>
                  <a:lnTo>
                    <a:pt x="15482" y="3216"/>
                  </a:lnTo>
                  <a:lnTo>
                    <a:pt x="15491" y="3202"/>
                  </a:lnTo>
                  <a:lnTo>
                    <a:pt x="15512" y="3184"/>
                  </a:lnTo>
                  <a:lnTo>
                    <a:pt x="15518" y="3175"/>
                  </a:lnTo>
                  <a:lnTo>
                    <a:pt x="15518" y="3168"/>
                  </a:lnTo>
                  <a:lnTo>
                    <a:pt x="15514" y="3163"/>
                  </a:lnTo>
                  <a:lnTo>
                    <a:pt x="15511" y="3161"/>
                  </a:lnTo>
                  <a:lnTo>
                    <a:pt x="15509" y="3158"/>
                  </a:lnTo>
                  <a:lnTo>
                    <a:pt x="15510" y="3151"/>
                  </a:lnTo>
                  <a:lnTo>
                    <a:pt x="15513" y="3143"/>
                  </a:lnTo>
                  <a:lnTo>
                    <a:pt x="15514" y="3136"/>
                  </a:lnTo>
                  <a:lnTo>
                    <a:pt x="15511" y="3129"/>
                  </a:lnTo>
                  <a:lnTo>
                    <a:pt x="15501" y="3123"/>
                  </a:lnTo>
                  <a:lnTo>
                    <a:pt x="15468" y="3111"/>
                  </a:lnTo>
                  <a:lnTo>
                    <a:pt x="15456" y="3110"/>
                  </a:lnTo>
                  <a:lnTo>
                    <a:pt x="15450" y="3112"/>
                  </a:lnTo>
                  <a:lnTo>
                    <a:pt x="15442" y="3120"/>
                  </a:lnTo>
                  <a:lnTo>
                    <a:pt x="15438" y="3123"/>
                  </a:lnTo>
                  <a:lnTo>
                    <a:pt x="15432" y="3124"/>
                  </a:lnTo>
                  <a:lnTo>
                    <a:pt x="15427" y="3124"/>
                  </a:lnTo>
                  <a:lnTo>
                    <a:pt x="15418" y="3123"/>
                  </a:lnTo>
                  <a:lnTo>
                    <a:pt x="15398" y="3083"/>
                  </a:lnTo>
                  <a:lnTo>
                    <a:pt x="15387" y="3070"/>
                  </a:lnTo>
                  <a:lnTo>
                    <a:pt x="15380" y="3064"/>
                  </a:lnTo>
                  <a:lnTo>
                    <a:pt x="15358" y="3055"/>
                  </a:lnTo>
                  <a:lnTo>
                    <a:pt x="15360" y="3049"/>
                  </a:lnTo>
                  <a:lnTo>
                    <a:pt x="15364" y="3047"/>
                  </a:lnTo>
                  <a:lnTo>
                    <a:pt x="15369" y="3046"/>
                  </a:lnTo>
                  <a:lnTo>
                    <a:pt x="15371" y="3043"/>
                  </a:lnTo>
                  <a:lnTo>
                    <a:pt x="15366" y="3030"/>
                  </a:lnTo>
                  <a:lnTo>
                    <a:pt x="15352" y="3013"/>
                  </a:lnTo>
                  <a:lnTo>
                    <a:pt x="15336" y="2997"/>
                  </a:lnTo>
                  <a:lnTo>
                    <a:pt x="15325" y="2990"/>
                  </a:lnTo>
                  <a:lnTo>
                    <a:pt x="15301" y="2980"/>
                  </a:lnTo>
                  <a:lnTo>
                    <a:pt x="15260" y="2935"/>
                  </a:lnTo>
                  <a:lnTo>
                    <a:pt x="15240" y="2924"/>
                  </a:lnTo>
                  <a:lnTo>
                    <a:pt x="15210" y="2922"/>
                  </a:lnTo>
                  <a:lnTo>
                    <a:pt x="15203" y="2920"/>
                  </a:lnTo>
                  <a:lnTo>
                    <a:pt x="15182" y="2906"/>
                  </a:lnTo>
                  <a:lnTo>
                    <a:pt x="15172" y="2902"/>
                  </a:lnTo>
                  <a:lnTo>
                    <a:pt x="15163" y="2907"/>
                  </a:lnTo>
                  <a:lnTo>
                    <a:pt x="15159" y="2907"/>
                  </a:lnTo>
                  <a:lnTo>
                    <a:pt x="15158" y="2901"/>
                  </a:lnTo>
                  <a:lnTo>
                    <a:pt x="15156" y="2885"/>
                  </a:lnTo>
                  <a:lnTo>
                    <a:pt x="15154" y="2880"/>
                  </a:lnTo>
                  <a:lnTo>
                    <a:pt x="15147" y="2877"/>
                  </a:lnTo>
                  <a:lnTo>
                    <a:pt x="15132" y="2877"/>
                  </a:lnTo>
                  <a:lnTo>
                    <a:pt x="15126" y="2874"/>
                  </a:lnTo>
                  <a:lnTo>
                    <a:pt x="15122" y="2868"/>
                  </a:lnTo>
                  <a:lnTo>
                    <a:pt x="15125" y="2864"/>
                  </a:lnTo>
                  <a:lnTo>
                    <a:pt x="15135" y="2856"/>
                  </a:lnTo>
                  <a:lnTo>
                    <a:pt x="15139" y="2848"/>
                  </a:lnTo>
                  <a:lnTo>
                    <a:pt x="15134" y="2844"/>
                  </a:lnTo>
                  <a:lnTo>
                    <a:pt x="15119" y="2841"/>
                  </a:lnTo>
                  <a:lnTo>
                    <a:pt x="15103" y="2824"/>
                  </a:lnTo>
                  <a:lnTo>
                    <a:pt x="15092" y="2817"/>
                  </a:lnTo>
                  <a:lnTo>
                    <a:pt x="15065" y="2812"/>
                  </a:lnTo>
                  <a:lnTo>
                    <a:pt x="15039" y="2799"/>
                  </a:lnTo>
                  <a:lnTo>
                    <a:pt x="14984" y="2754"/>
                  </a:lnTo>
                  <a:lnTo>
                    <a:pt x="14946" y="2740"/>
                  </a:lnTo>
                  <a:lnTo>
                    <a:pt x="14899" y="2689"/>
                  </a:lnTo>
                  <a:lnTo>
                    <a:pt x="14895" y="2683"/>
                  </a:lnTo>
                  <a:lnTo>
                    <a:pt x="14894" y="2677"/>
                  </a:lnTo>
                  <a:lnTo>
                    <a:pt x="14896" y="2671"/>
                  </a:lnTo>
                  <a:lnTo>
                    <a:pt x="14897" y="2663"/>
                  </a:lnTo>
                  <a:lnTo>
                    <a:pt x="14894" y="2657"/>
                  </a:lnTo>
                  <a:lnTo>
                    <a:pt x="14886" y="2656"/>
                  </a:lnTo>
                  <a:lnTo>
                    <a:pt x="14871" y="2656"/>
                  </a:lnTo>
                  <a:lnTo>
                    <a:pt x="14861" y="2652"/>
                  </a:lnTo>
                  <a:lnTo>
                    <a:pt x="14851" y="2646"/>
                  </a:lnTo>
                  <a:lnTo>
                    <a:pt x="14841" y="2641"/>
                  </a:lnTo>
                  <a:lnTo>
                    <a:pt x="14828" y="2639"/>
                  </a:lnTo>
                  <a:lnTo>
                    <a:pt x="14815" y="2634"/>
                  </a:lnTo>
                  <a:lnTo>
                    <a:pt x="14807" y="2623"/>
                  </a:lnTo>
                  <a:lnTo>
                    <a:pt x="14801" y="2609"/>
                  </a:lnTo>
                  <a:lnTo>
                    <a:pt x="14795" y="2599"/>
                  </a:lnTo>
                  <a:lnTo>
                    <a:pt x="14790" y="2593"/>
                  </a:lnTo>
                  <a:lnTo>
                    <a:pt x="14789" y="2592"/>
                  </a:lnTo>
                  <a:lnTo>
                    <a:pt x="14787" y="2593"/>
                  </a:lnTo>
                  <a:lnTo>
                    <a:pt x="14780" y="2594"/>
                  </a:lnTo>
                  <a:lnTo>
                    <a:pt x="14775" y="2591"/>
                  </a:lnTo>
                  <a:lnTo>
                    <a:pt x="14772" y="2583"/>
                  </a:lnTo>
                  <a:lnTo>
                    <a:pt x="14771" y="2576"/>
                  </a:lnTo>
                  <a:lnTo>
                    <a:pt x="14776" y="2572"/>
                  </a:lnTo>
                  <a:lnTo>
                    <a:pt x="14781" y="2566"/>
                  </a:lnTo>
                  <a:lnTo>
                    <a:pt x="14783" y="2551"/>
                  </a:lnTo>
                  <a:lnTo>
                    <a:pt x="14782" y="2524"/>
                  </a:lnTo>
                  <a:lnTo>
                    <a:pt x="14778" y="2524"/>
                  </a:lnTo>
                  <a:lnTo>
                    <a:pt x="14771" y="2528"/>
                  </a:lnTo>
                  <a:lnTo>
                    <a:pt x="14763" y="2523"/>
                  </a:lnTo>
                  <a:lnTo>
                    <a:pt x="14755" y="2514"/>
                  </a:lnTo>
                  <a:lnTo>
                    <a:pt x="14747" y="2507"/>
                  </a:lnTo>
                  <a:lnTo>
                    <a:pt x="14736" y="2504"/>
                  </a:lnTo>
                  <a:lnTo>
                    <a:pt x="14712" y="2502"/>
                  </a:lnTo>
                  <a:lnTo>
                    <a:pt x="14702" y="2497"/>
                  </a:lnTo>
                  <a:lnTo>
                    <a:pt x="14696" y="2489"/>
                  </a:lnTo>
                  <a:lnTo>
                    <a:pt x="14705" y="2488"/>
                  </a:lnTo>
                  <a:lnTo>
                    <a:pt x="14729" y="2493"/>
                  </a:lnTo>
                  <a:lnTo>
                    <a:pt x="14751" y="2494"/>
                  </a:lnTo>
                  <a:lnTo>
                    <a:pt x="14773" y="2493"/>
                  </a:lnTo>
                  <a:lnTo>
                    <a:pt x="14799" y="2485"/>
                  </a:lnTo>
                  <a:lnTo>
                    <a:pt x="14788" y="2474"/>
                  </a:lnTo>
                  <a:lnTo>
                    <a:pt x="14763" y="2461"/>
                  </a:lnTo>
                  <a:lnTo>
                    <a:pt x="14752" y="2449"/>
                  </a:lnTo>
                  <a:lnTo>
                    <a:pt x="14788" y="2456"/>
                  </a:lnTo>
                  <a:lnTo>
                    <a:pt x="14809" y="2458"/>
                  </a:lnTo>
                  <a:lnTo>
                    <a:pt x="14809" y="2449"/>
                  </a:lnTo>
                  <a:lnTo>
                    <a:pt x="14822" y="2438"/>
                  </a:lnTo>
                  <a:lnTo>
                    <a:pt x="14825" y="2426"/>
                  </a:lnTo>
                  <a:lnTo>
                    <a:pt x="14826" y="2413"/>
                  </a:lnTo>
                  <a:lnTo>
                    <a:pt x="14835" y="2400"/>
                  </a:lnTo>
                  <a:lnTo>
                    <a:pt x="14848" y="2394"/>
                  </a:lnTo>
                  <a:lnTo>
                    <a:pt x="14893" y="2383"/>
                  </a:lnTo>
                  <a:lnTo>
                    <a:pt x="14901" y="2376"/>
                  </a:lnTo>
                  <a:lnTo>
                    <a:pt x="14923" y="2349"/>
                  </a:lnTo>
                  <a:lnTo>
                    <a:pt x="14928" y="2339"/>
                  </a:lnTo>
                  <a:lnTo>
                    <a:pt x="14926" y="2322"/>
                  </a:lnTo>
                  <a:lnTo>
                    <a:pt x="14917" y="2301"/>
                  </a:lnTo>
                  <a:lnTo>
                    <a:pt x="14905" y="2282"/>
                  </a:lnTo>
                  <a:lnTo>
                    <a:pt x="14893" y="2273"/>
                  </a:lnTo>
                  <a:lnTo>
                    <a:pt x="14888" y="2284"/>
                  </a:lnTo>
                  <a:lnTo>
                    <a:pt x="14879" y="2272"/>
                  </a:lnTo>
                  <a:lnTo>
                    <a:pt x="14868" y="2244"/>
                  </a:lnTo>
                  <a:lnTo>
                    <a:pt x="14864" y="2238"/>
                  </a:lnTo>
                  <a:lnTo>
                    <a:pt x="14856" y="2224"/>
                  </a:lnTo>
                  <a:lnTo>
                    <a:pt x="14850" y="2218"/>
                  </a:lnTo>
                  <a:lnTo>
                    <a:pt x="14787" y="2163"/>
                  </a:lnTo>
                  <a:lnTo>
                    <a:pt x="14778" y="2149"/>
                  </a:lnTo>
                  <a:lnTo>
                    <a:pt x="14752" y="2127"/>
                  </a:lnTo>
                  <a:lnTo>
                    <a:pt x="14745" y="2118"/>
                  </a:lnTo>
                  <a:lnTo>
                    <a:pt x="14739" y="2108"/>
                  </a:lnTo>
                  <a:lnTo>
                    <a:pt x="14735" y="2095"/>
                  </a:lnTo>
                  <a:lnTo>
                    <a:pt x="14732" y="2053"/>
                  </a:lnTo>
                  <a:lnTo>
                    <a:pt x="14729" y="2040"/>
                  </a:lnTo>
                  <a:lnTo>
                    <a:pt x="14724" y="2030"/>
                  </a:lnTo>
                  <a:lnTo>
                    <a:pt x="14704" y="2013"/>
                  </a:lnTo>
                  <a:lnTo>
                    <a:pt x="14679" y="2007"/>
                  </a:lnTo>
                  <a:lnTo>
                    <a:pt x="14653" y="2004"/>
                  </a:lnTo>
                  <a:lnTo>
                    <a:pt x="14627" y="1995"/>
                  </a:lnTo>
                  <a:lnTo>
                    <a:pt x="14618" y="1987"/>
                  </a:lnTo>
                  <a:lnTo>
                    <a:pt x="14623" y="1980"/>
                  </a:lnTo>
                  <a:lnTo>
                    <a:pt x="14647" y="1962"/>
                  </a:lnTo>
                  <a:lnTo>
                    <a:pt x="14658" y="1956"/>
                  </a:lnTo>
                  <a:lnTo>
                    <a:pt x="14673" y="1953"/>
                  </a:lnTo>
                  <a:lnTo>
                    <a:pt x="14686" y="1948"/>
                  </a:lnTo>
                  <a:lnTo>
                    <a:pt x="14693" y="1938"/>
                  </a:lnTo>
                  <a:lnTo>
                    <a:pt x="14631" y="1934"/>
                  </a:lnTo>
                  <a:lnTo>
                    <a:pt x="14584" y="1925"/>
                  </a:lnTo>
                  <a:lnTo>
                    <a:pt x="14569" y="1925"/>
                  </a:lnTo>
                  <a:lnTo>
                    <a:pt x="14569" y="1921"/>
                  </a:lnTo>
                  <a:lnTo>
                    <a:pt x="14613" y="1916"/>
                  </a:lnTo>
                  <a:lnTo>
                    <a:pt x="14625" y="1912"/>
                  </a:lnTo>
                  <a:lnTo>
                    <a:pt x="14649" y="1901"/>
                  </a:lnTo>
                  <a:lnTo>
                    <a:pt x="14660" y="1899"/>
                  </a:lnTo>
                  <a:lnTo>
                    <a:pt x="14662" y="1894"/>
                  </a:lnTo>
                  <a:lnTo>
                    <a:pt x="14654" y="1884"/>
                  </a:lnTo>
                  <a:lnTo>
                    <a:pt x="14641" y="1876"/>
                  </a:lnTo>
                  <a:lnTo>
                    <a:pt x="14629" y="1879"/>
                  </a:lnTo>
                  <a:lnTo>
                    <a:pt x="14620" y="1883"/>
                  </a:lnTo>
                  <a:lnTo>
                    <a:pt x="14606" y="1887"/>
                  </a:lnTo>
                  <a:lnTo>
                    <a:pt x="14593" y="1888"/>
                  </a:lnTo>
                  <a:lnTo>
                    <a:pt x="14583" y="1885"/>
                  </a:lnTo>
                  <a:lnTo>
                    <a:pt x="14589" y="1879"/>
                  </a:lnTo>
                  <a:lnTo>
                    <a:pt x="14606" y="1859"/>
                  </a:lnTo>
                  <a:lnTo>
                    <a:pt x="14611" y="1854"/>
                  </a:lnTo>
                  <a:lnTo>
                    <a:pt x="14618" y="1852"/>
                  </a:lnTo>
                  <a:lnTo>
                    <a:pt x="14624" y="1847"/>
                  </a:lnTo>
                  <a:lnTo>
                    <a:pt x="14628" y="1841"/>
                  </a:lnTo>
                  <a:lnTo>
                    <a:pt x="14625" y="1834"/>
                  </a:lnTo>
                  <a:lnTo>
                    <a:pt x="14620" y="1828"/>
                  </a:lnTo>
                  <a:lnTo>
                    <a:pt x="14619" y="1824"/>
                  </a:lnTo>
                  <a:lnTo>
                    <a:pt x="14616" y="1819"/>
                  </a:lnTo>
                  <a:lnTo>
                    <a:pt x="14609" y="1815"/>
                  </a:lnTo>
                  <a:lnTo>
                    <a:pt x="14582" y="1809"/>
                  </a:lnTo>
                  <a:lnTo>
                    <a:pt x="14554" y="1811"/>
                  </a:lnTo>
                  <a:lnTo>
                    <a:pt x="14529" y="1810"/>
                  </a:lnTo>
                  <a:lnTo>
                    <a:pt x="14512" y="1792"/>
                  </a:lnTo>
                  <a:lnTo>
                    <a:pt x="14511" y="1781"/>
                  </a:lnTo>
                  <a:lnTo>
                    <a:pt x="14513" y="1772"/>
                  </a:lnTo>
                  <a:lnTo>
                    <a:pt x="14511" y="1765"/>
                  </a:lnTo>
                  <a:lnTo>
                    <a:pt x="14496" y="1762"/>
                  </a:lnTo>
                  <a:lnTo>
                    <a:pt x="14469" y="1762"/>
                  </a:lnTo>
                  <a:lnTo>
                    <a:pt x="14457" y="1761"/>
                  </a:lnTo>
                  <a:lnTo>
                    <a:pt x="14445" y="1757"/>
                  </a:lnTo>
                  <a:lnTo>
                    <a:pt x="14399" y="1731"/>
                  </a:lnTo>
                  <a:lnTo>
                    <a:pt x="14392" y="1724"/>
                  </a:lnTo>
                  <a:lnTo>
                    <a:pt x="14391" y="1718"/>
                  </a:lnTo>
                  <a:lnTo>
                    <a:pt x="14388" y="1711"/>
                  </a:lnTo>
                  <a:lnTo>
                    <a:pt x="14389" y="1706"/>
                  </a:lnTo>
                  <a:lnTo>
                    <a:pt x="14394" y="1704"/>
                  </a:lnTo>
                  <a:lnTo>
                    <a:pt x="14399" y="1705"/>
                  </a:lnTo>
                  <a:lnTo>
                    <a:pt x="14419" y="1713"/>
                  </a:lnTo>
                  <a:lnTo>
                    <a:pt x="14433" y="1725"/>
                  </a:lnTo>
                  <a:lnTo>
                    <a:pt x="14440" y="1727"/>
                  </a:lnTo>
                  <a:lnTo>
                    <a:pt x="14450" y="1718"/>
                  </a:lnTo>
                  <a:lnTo>
                    <a:pt x="14452" y="1711"/>
                  </a:lnTo>
                  <a:lnTo>
                    <a:pt x="14454" y="1684"/>
                  </a:lnTo>
                  <a:lnTo>
                    <a:pt x="14456" y="1678"/>
                  </a:lnTo>
                  <a:lnTo>
                    <a:pt x="14462" y="1673"/>
                  </a:lnTo>
                  <a:lnTo>
                    <a:pt x="14467" y="1669"/>
                  </a:lnTo>
                  <a:lnTo>
                    <a:pt x="14472" y="1665"/>
                  </a:lnTo>
                  <a:lnTo>
                    <a:pt x="14479" y="1652"/>
                  </a:lnTo>
                  <a:lnTo>
                    <a:pt x="14485" y="1645"/>
                  </a:lnTo>
                  <a:lnTo>
                    <a:pt x="14492" y="1643"/>
                  </a:lnTo>
                  <a:lnTo>
                    <a:pt x="14498" y="1640"/>
                  </a:lnTo>
                  <a:lnTo>
                    <a:pt x="14503" y="1635"/>
                  </a:lnTo>
                  <a:lnTo>
                    <a:pt x="14506" y="1627"/>
                  </a:lnTo>
                  <a:lnTo>
                    <a:pt x="14507" y="1618"/>
                  </a:lnTo>
                  <a:lnTo>
                    <a:pt x="14507" y="1600"/>
                  </a:lnTo>
                  <a:lnTo>
                    <a:pt x="14506" y="1595"/>
                  </a:lnTo>
                  <a:lnTo>
                    <a:pt x="14503" y="1594"/>
                  </a:lnTo>
                  <a:lnTo>
                    <a:pt x="14499" y="1595"/>
                  </a:lnTo>
                  <a:lnTo>
                    <a:pt x="14494" y="1594"/>
                  </a:lnTo>
                  <a:lnTo>
                    <a:pt x="14479" y="1589"/>
                  </a:lnTo>
                  <a:lnTo>
                    <a:pt x="14459" y="1586"/>
                  </a:lnTo>
                  <a:lnTo>
                    <a:pt x="14440" y="1587"/>
                  </a:lnTo>
                  <a:lnTo>
                    <a:pt x="14428" y="1594"/>
                  </a:lnTo>
                  <a:lnTo>
                    <a:pt x="14419" y="1578"/>
                  </a:lnTo>
                  <a:lnTo>
                    <a:pt x="14414" y="1573"/>
                  </a:lnTo>
                  <a:lnTo>
                    <a:pt x="14405" y="1568"/>
                  </a:lnTo>
                  <a:lnTo>
                    <a:pt x="14381" y="1562"/>
                  </a:lnTo>
                  <a:lnTo>
                    <a:pt x="14374" y="1559"/>
                  </a:lnTo>
                  <a:lnTo>
                    <a:pt x="14365" y="1550"/>
                  </a:lnTo>
                  <a:lnTo>
                    <a:pt x="14353" y="1534"/>
                  </a:lnTo>
                  <a:lnTo>
                    <a:pt x="14347" y="1518"/>
                  </a:lnTo>
                  <a:lnTo>
                    <a:pt x="14350" y="1504"/>
                  </a:lnTo>
                  <a:lnTo>
                    <a:pt x="14357" y="1487"/>
                  </a:lnTo>
                  <a:lnTo>
                    <a:pt x="14346" y="1478"/>
                  </a:lnTo>
                  <a:lnTo>
                    <a:pt x="14327" y="1475"/>
                  </a:lnTo>
                  <a:lnTo>
                    <a:pt x="14291" y="1475"/>
                  </a:lnTo>
                  <a:lnTo>
                    <a:pt x="14271" y="1478"/>
                  </a:lnTo>
                  <a:lnTo>
                    <a:pt x="14252" y="1483"/>
                  </a:lnTo>
                  <a:lnTo>
                    <a:pt x="14237" y="1492"/>
                  </a:lnTo>
                  <a:lnTo>
                    <a:pt x="14253" y="1468"/>
                  </a:lnTo>
                  <a:lnTo>
                    <a:pt x="14276" y="1459"/>
                  </a:lnTo>
                  <a:lnTo>
                    <a:pt x="14359" y="1458"/>
                  </a:lnTo>
                  <a:lnTo>
                    <a:pt x="14413" y="1467"/>
                  </a:lnTo>
                  <a:lnTo>
                    <a:pt x="14496" y="1466"/>
                  </a:lnTo>
                  <a:lnTo>
                    <a:pt x="14509" y="1470"/>
                  </a:lnTo>
                  <a:lnTo>
                    <a:pt x="14537" y="1483"/>
                  </a:lnTo>
                  <a:lnTo>
                    <a:pt x="14547" y="1484"/>
                  </a:lnTo>
                  <a:lnTo>
                    <a:pt x="14556" y="1472"/>
                  </a:lnTo>
                  <a:lnTo>
                    <a:pt x="14556" y="1456"/>
                  </a:lnTo>
                  <a:lnTo>
                    <a:pt x="14549" y="1440"/>
                  </a:lnTo>
                  <a:lnTo>
                    <a:pt x="14540" y="1429"/>
                  </a:lnTo>
                  <a:lnTo>
                    <a:pt x="14535" y="1420"/>
                  </a:lnTo>
                  <a:lnTo>
                    <a:pt x="14529" y="1383"/>
                  </a:lnTo>
                  <a:lnTo>
                    <a:pt x="14528" y="1379"/>
                  </a:lnTo>
                  <a:lnTo>
                    <a:pt x="14521" y="1365"/>
                  </a:lnTo>
                  <a:lnTo>
                    <a:pt x="14533" y="1372"/>
                  </a:lnTo>
                  <a:lnTo>
                    <a:pt x="14540" y="1376"/>
                  </a:lnTo>
                  <a:lnTo>
                    <a:pt x="14543" y="1380"/>
                  </a:lnTo>
                  <a:lnTo>
                    <a:pt x="14544" y="1394"/>
                  </a:lnTo>
                  <a:lnTo>
                    <a:pt x="14546" y="1401"/>
                  </a:lnTo>
                  <a:lnTo>
                    <a:pt x="14556" y="1418"/>
                  </a:lnTo>
                  <a:lnTo>
                    <a:pt x="14562" y="1434"/>
                  </a:lnTo>
                  <a:lnTo>
                    <a:pt x="14571" y="1447"/>
                  </a:lnTo>
                  <a:lnTo>
                    <a:pt x="14585" y="1453"/>
                  </a:lnTo>
                  <a:lnTo>
                    <a:pt x="14597" y="1456"/>
                  </a:lnTo>
                  <a:lnTo>
                    <a:pt x="14624" y="1468"/>
                  </a:lnTo>
                  <a:lnTo>
                    <a:pt x="14638" y="1471"/>
                  </a:lnTo>
                  <a:lnTo>
                    <a:pt x="14701" y="1465"/>
                  </a:lnTo>
                  <a:lnTo>
                    <a:pt x="14709" y="1461"/>
                  </a:lnTo>
                  <a:lnTo>
                    <a:pt x="14720" y="1444"/>
                  </a:lnTo>
                  <a:lnTo>
                    <a:pt x="14727" y="1438"/>
                  </a:lnTo>
                  <a:lnTo>
                    <a:pt x="14746" y="1428"/>
                  </a:lnTo>
                  <a:lnTo>
                    <a:pt x="14752" y="1422"/>
                  </a:lnTo>
                  <a:lnTo>
                    <a:pt x="14754" y="1410"/>
                  </a:lnTo>
                  <a:lnTo>
                    <a:pt x="14746" y="1405"/>
                  </a:lnTo>
                  <a:lnTo>
                    <a:pt x="14720" y="1400"/>
                  </a:lnTo>
                  <a:lnTo>
                    <a:pt x="14692" y="1391"/>
                  </a:lnTo>
                  <a:lnTo>
                    <a:pt x="14680" y="1383"/>
                  </a:lnTo>
                  <a:lnTo>
                    <a:pt x="14671" y="1374"/>
                  </a:lnTo>
                  <a:lnTo>
                    <a:pt x="14709" y="1378"/>
                  </a:lnTo>
                  <a:lnTo>
                    <a:pt x="14720" y="1377"/>
                  </a:lnTo>
                  <a:lnTo>
                    <a:pt x="14724" y="1373"/>
                  </a:lnTo>
                  <a:lnTo>
                    <a:pt x="14723" y="1368"/>
                  </a:lnTo>
                  <a:lnTo>
                    <a:pt x="14720" y="1361"/>
                  </a:lnTo>
                  <a:lnTo>
                    <a:pt x="14686" y="1327"/>
                  </a:lnTo>
                  <a:lnTo>
                    <a:pt x="14682" y="1321"/>
                  </a:lnTo>
                  <a:lnTo>
                    <a:pt x="14663" y="1309"/>
                  </a:lnTo>
                  <a:lnTo>
                    <a:pt x="14658" y="1307"/>
                  </a:lnTo>
                  <a:lnTo>
                    <a:pt x="14649" y="1309"/>
                  </a:lnTo>
                  <a:lnTo>
                    <a:pt x="14639" y="1312"/>
                  </a:lnTo>
                  <a:lnTo>
                    <a:pt x="14629" y="1313"/>
                  </a:lnTo>
                  <a:lnTo>
                    <a:pt x="14620" y="1309"/>
                  </a:lnTo>
                  <a:lnTo>
                    <a:pt x="14608" y="1298"/>
                  </a:lnTo>
                  <a:lnTo>
                    <a:pt x="14592" y="1286"/>
                  </a:lnTo>
                  <a:lnTo>
                    <a:pt x="14574" y="1278"/>
                  </a:lnTo>
                  <a:lnTo>
                    <a:pt x="14556" y="1277"/>
                  </a:lnTo>
                  <a:lnTo>
                    <a:pt x="14556" y="1272"/>
                  </a:lnTo>
                  <a:lnTo>
                    <a:pt x="14586" y="1274"/>
                  </a:lnTo>
                  <a:lnTo>
                    <a:pt x="14599" y="1279"/>
                  </a:lnTo>
                  <a:lnTo>
                    <a:pt x="14623" y="1295"/>
                  </a:lnTo>
                  <a:lnTo>
                    <a:pt x="14638" y="1299"/>
                  </a:lnTo>
                  <a:lnTo>
                    <a:pt x="14652" y="1297"/>
                  </a:lnTo>
                  <a:lnTo>
                    <a:pt x="14663" y="1290"/>
                  </a:lnTo>
                  <a:lnTo>
                    <a:pt x="14663" y="1282"/>
                  </a:lnTo>
                  <a:lnTo>
                    <a:pt x="14656" y="1275"/>
                  </a:lnTo>
                  <a:lnTo>
                    <a:pt x="14645" y="1270"/>
                  </a:lnTo>
                  <a:lnTo>
                    <a:pt x="14623" y="1265"/>
                  </a:lnTo>
                  <a:lnTo>
                    <a:pt x="14614" y="1259"/>
                  </a:lnTo>
                  <a:lnTo>
                    <a:pt x="14554" y="1199"/>
                  </a:lnTo>
                  <a:lnTo>
                    <a:pt x="14547" y="1196"/>
                  </a:lnTo>
                  <a:lnTo>
                    <a:pt x="14540" y="1199"/>
                  </a:lnTo>
                  <a:lnTo>
                    <a:pt x="14533" y="1204"/>
                  </a:lnTo>
                  <a:lnTo>
                    <a:pt x="14527" y="1206"/>
                  </a:lnTo>
                  <a:lnTo>
                    <a:pt x="14520" y="1203"/>
                  </a:lnTo>
                  <a:lnTo>
                    <a:pt x="14520" y="1197"/>
                  </a:lnTo>
                  <a:lnTo>
                    <a:pt x="14525" y="1188"/>
                  </a:lnTo>
                  <a:lnTo>
                    <a:pt x="14519" y="1180"/>
                  </a:lnTo>
                  <a:lnTo>
                    <a:pt x="14509" y="1174"/>
                  </a:lnTo>
                  <a:lnTo>
                    <a:pt x="14496" y="1172"/>
                  </a:lnTo>
                  <a:lnTo>
                    <a:pt x="14483" y="1171"/>
                  </a:lnTo>
                  <a:lnTo>
                    <a:pt x="14473" y="1167"/>
                  </a:lnTo>
                  <a:lnTo>
                    <a:pt x="14473" y="1161"/>
                  </a:lnTo>
                  <a:lnTo>
                    <a:pt x="14478" y="1154"/>
                  </a:lnTo>
                  <a:lnTo>
                    <a:pt x="14481" y="1151"/>
                  </a:lnTo>
                  <a:lnTo>
                    <a:pt x="14478" y="1144"/>
                  </a:lnTo>
                  <a:lnTo>
                    <a:pt x="14473" y="1141"/>
                  </a:lnTo>
                  <a:lnTo>
                    <a:pt x="14467" y="1139"/>
                  </a:lnTo>
                  <a:lnTo>
                    <a:pt x="14463" y="1135"/>
                  </a:lnTo>
                  <a:lnTo>
                    <a:pt x="14461" y="1132"/>
                  </a:lnTo>
                  <a:lnTo>
                    <a:pt x="14459" y="1125"/>
                  </a:lnTo>
                  <a:lnTo>
                    <a:pt x="14459" y="1122"/>
                  </a:lnTo>
                  <a:lnTo>
                    <a:pt x="14546" y="1152"/>
                  </a:lnTo>
                  <a:lnTo>
                    <a:pt x="14553" y="1153"/>
                  </a:lnTo>
                  <a:lnTo>
                    <a:pt x="14559" y="1149"/>
                  </a:lnTo>
                  <a:lnTo>
                    <a:pt x="14576" y="1133"/>
                  </a:lnTo>
                  <a:lnTo>
                    <a:pt x="14584" y="1128"/>
                  </a:lnTo>
                  <a:lnTo>
                    <a:pt x="14578" y="1123"/>
                  </a:lnTo>
                  <a:lnTo>
                    <a:pt x="14568" y="1119"/>
                  </a:lnTo>
                  <a:lnTo>
                    <a:pt x="14550" y="1120"/>
                  </a:lnTo>
                  <a:lnTo>
                    <a:pt x="14539" y="1120"/>
                  </a:lnTo>
                  <a:lnTo>
                    <a:pt x="14517" y="1117"/>
                  </a:lnTo>
                  <a:lnTo>
                    <a:pt x="14499" y="1112"/>
                  </a:lnTo>
                  <a:lnTo>
                    <a:pt x="14484" y="1102"/>
                  </a:lnTo>
                  <a:lnTo>
                    <a:pt x="14448" y="1064"/>
                  </a:lnTo>
                  <a:lnTo>
                    <a:pt x="14395" y="1037"/>
                  </a:lnTo>
                  <a:lnTo>
                    <a:pt x="14371" y="1021"/>
                  </a:lnTo>
                  <a:lnTo>
                    <a:pt x="14366" y="1014"/>
                  </a:lnTo>
                  <a:lnTo>
                    <a:pt x="14362" y="1008"/>
                  </a:lnTo>
                  <a:lnTo>
                    <a:pt x="14357" y="1003"/>
                  </a:lnTo>
                  <a:lnTo>
                    <a:pt x="14348" y="1002"/>
                  </a:lnTo>
                  <a:lnTo>
                    <a:pt x="14340" y="1004"/>
                  </a:lnTo>
                  <a:lnTo>
                    <a:pt x="14330" y="1013"/>
                  </a:lnTo>
                  <a:lnTo>
                    <a:pt x="14324" y="1017"/>
                  </a:lnTo>
                  <a:lnTo>
                    <a:pt x="14204" y="1019"/>
                  </a:lnTo>
                  <a:lnTo>
                    <a:pt x="14168" y="1009"/>
                  </a:lnTo>
                  <a:lnTo>
                    <a:pt x="14141" y="1009"/>
                  </a:lnTo>
                  <a:lnTo>
                    <a:pt x="14091" y="1018"/>
                  </a:lnTo>
                  <a:lnTo>
                    <a:pt x="14066" y="1013"/>
                  </a:lnTo>
                  <a:lnTo>
                    <a:pt x="14042" y="996"/>
                  </a:lnTo>
                  <a:lnTo>
                    <a:pt x="14031" y="995"/>
                  </a:lnTo>
                  <a:lnTo>
                    <a:pt x="14010" y="1012"/>
                  </a:lnTo>
                  <a:lnTo>
                    <a:pt x="13998" y="1016"/>
                  </a:lnTo>
                  <a:lnTo>
                    <a:pt x="13985" y="1016"/>
                  </a:lnTo>
                  <a:lnTo>
                    <a:pt x="13968" y="1009"/>
                  </a:lnTo>
                  <a:lnTo>
                    <a:pt x="13952" y="1018"/>
                  </a:lnTo>
                  <a:lnTo>
                    <a:pt x="13943" y="1017"/>
                  </a:lnTo>
                  <a:lnTo>
                    <a:pt x="13915" y="976"/>
                  </a:lnTo>
                  <a:lnTo>
                    <a:pt x="13908" y="975"/>
                  </a:lnTo>
                  <a:lnTo>
                    <a:pt x="13904" y="984"/>
                  </a:lnTo>
                  <a:lnTo>
                    <a:pt x="13890" y="997"/>
                  </a:lnTo>
                  <a:lnTo>
                    <a:pt x="13885" y="1006"/>
                  </a:lnTo>
                  <a:lnTo>
                    <a:pt x="13885" y="1013"/>
                  </a:lnTo>
                  <a:lnTo>
                    <a:pt x="13889" y="1018"/>
                  </a:lnTo>
                  <a:lnTo>
                    <a:pt x="13890" y="1022"/>
                  </a:lnTo>
                  <a:lnTo>
                    <a:pt x="13885" y="1027"/>
                  </a:lnTo>
                  <a:lnTo>
                    <a:pt x="13873" y="1030"/>
                  </a:lnTo>
                  <a:lnTo>
                    <a:pt x="13866" y="1027"/>
                  </a:lnTo>
                  <a:lnTo>
                    <a:pt x="13859" y="1027"/>
                  </a:lnTo>
                  <a:lnTo>
                    <a:pt x="13843" y="1043"/>
                  </a:lnTo>
                  <a:lnTo>
                    <a:pt x="13836" y="1045"/>
                  </a:lnTo>
                  <a:lnTo>
                    <a:pt x="13830" y="1044"/>
                  </a:lnTo>
                  <a:lnTo>
                    <a:pt x="13823" y="1041"/>
                  </a:lnTo>
                  <a:lnTo>
                    <a:pt x="13807" y="1014"/>
                  </a:lnTo>
                  <a:lnTo>
                    <a:pt x="13804" y="1005"/>
                  </a:lnTo>
                  <a:lnTo>
                    <a:pt x="13802" y="1002"/>
                  </a:lnTo>
                  <a:lnTo>
                    <a:pt x="13798" y="1000"/>
                  </a:lnTo>
                  <a:lnTo>
                    <a:pt x="13793" y="1001"/>
                  </a:lnTo>
                  <a:lnTo>
                    <a:pt x="13789" y="1001"/>
                  </a:lnTo>
                  <a:lnTo>
                    <a:pt x="13771" y="984"/>
                  </a:lnTo>
                  <a:lnTo>
                    <a:pt x="13755" y="987"/>
                  </a:lnTo>
                  <a:lnTo>
                    <a:pt x="13737" y="997"/>
                  </a:lnTo>
                  <a:lnTo>
                    <a:pt x="13718" y="1002"/>
                  </a:lnTo>
                  <a:lnTo>
                    <a:pt x="13710" y="1001"/>
                  </a:lnTo>
                  <a:lnTo>
                    <a:pt x="13680" y="993"/>
                  </a:lnTo>
                  <a:lnTo>
                    <a:pt x="13665" y="992"/>
                  </a:lnTo>
                  <a:lnTo>
                    <a:pt x="13659" y="991"/>
                  </a:lnTo>
                  <a:lnTo>
                    <a:pt x="13652" y="987"/>
                  </a:lnTo>
                  <a:lnTo>
                    <a:pt x="13646" y="1001"/>
                  </a:lnTo>
                  <a:lnTo>
                    <a:pt x="13641" y="1009"/>
                  </a:lnTo>
                  <a:lnTo>
                    <a:pt x="13635" y="1014"/>
                  </a:lnTo>
                  <a:lnTo>
                    <a:pt x="13623" y="1021"/>
                  </a:lnTo>
                  <a:lnTo>
                    <a:pt x="13592" y="1052"/>
                  </a:lnTo>
                  <a:lnTo>
                    <a:pt x="13584" y="1057"/>
                  </a:lnTo>
                  <a:lnTo>
                    <a:pt x="13573" y="1053"/>
                  </a:lnTo>
                  <a:lnTo>
                    <a:pt x="13566" y="1045"/>
                  </a:lnTo>
                  <a:lnTo>
                    <a:pt x="13562" y="1035"/>
                  </a:lnTo>
                  <a:lnTo>
                    <a:pt x="13560" y="1024"/>
                  </a:lnTo>
                  <a:lnTo>
                    <a:pt x="13556" y="1019"/>
                  </a:lnTo>
                  <a:lnTo>
                    <a:pt x="13548" y="1015"/>
                  </a:lnTo>
                  <a:lnTo>
                    <a:pt x="13532" y="1009"/>
                  </a:lnTo>
                  <a:lnTo>
                    <a:pt x="13505" y="1008"/>
                  </a:lnTo>
                  <a:lnTo>
                    <a:pt x="13492" y="1004"/>
                  </a:lnTo>
                  <a:lnTo>
                    <a:pt x="13486" y="995"/>
                  </a:lnTo>
                  <a:lnTo>
                    <a:pt x="13483" y="985"/>
                  </a:lnTo>
                  <a:lnTo>
                    <a:pt x="13477" y="979"/>
                  </a:lnTo>
                  <a:lnTo>
                    <a:pt x="13470" y="980"/>
                  </a:lnTo>
                  <a:lnTo>
                    <a:pt x="13461" y="989"/>
                  </a:lnTo>
                  <a:lnTo>
                    <a:pt x="13455" y="1009"/>
                  </a:lnTo>
                  <a:lnTo>
                    <a:pt x="13455" y="1031"/>
                  </a:lnTo>
                  <a:lnTo>
                    <a:pt x="13452" y="1050"/>
                  </a:lnTo>
                  <a:lnTo>
                    <a:pt x="13428" y="1071"/>
                  </a:lnTo>
                  <a:lnTo>
                    <a:pt x="13425" y="1079"/>
                  </a:lnTo>
                  <a:lnTo>
                    <a:pt x="13422" y="1086"/>
                  </a:lnTo>
                  <a:lnTo>
                    <a:pt x="13413" y="1088"/>
                  </a:lnTo>
                  <a:lnTo>
                    <a:pt x="13407" y="1084"/>
                  </a:lnTo>
                  <a:lnTo>
                    <a:pt x="13402" y="1079"/>
                  </a:lnTo>
                  <a:lnTo>
                    <a:pt x="13398" y="1077"/>
                  </a:lnTo>
                  <a:lnTo>
                    <a:pt x="13370" y="1102"/>
                  </a:lnTo>
                  <a:lnTo>
                    <a:pt x="13365" y="1108"/>
                  </a:lnTo>
                  <a:lnTo>
                    <a:pt x="13361" y="1112"/>
                  </a:lnTo>
                  <a:lnTo>
                    <a:pt x="13348" y="1116"/>
                  </a:lnTo>
                  <a:lnTo>
                    <a:pt x="13342" y="1122"/>
                  </a:lnTo>
                  <a:lnTo>
                    <a:pt x="13333" y="1148"/>
                  </a:lnTo>
                  <a:lnTo>
                    <a:pt x="13326" y="1205"/>
                  </a:lnTo>
                  <a:lnTo>
                    <a:pt x="13318" y="1233"/>
                  </a:lnTo>
                  <a:lnTo>
                    <a:pt x="13305" y="1258"/>
                  </a:lnTo>
                  <a:lnTo>
                    <a:pt x="13300" y="1265"/>
                  </a:lnTo>
                  <a:lnTo>
                    <a:pt x="13277" y="1278"/>
                  </a:lnTo>
                  <a:lnTo>
                    <a:pt x="13272" y="1282"/>
                  </a:lnTo>
                  <a:lnTo>
                    <a:pt x="13272" y="1297"/>
                  </a:lnTo>
                  <a:lnTo>
                    <a:pt x="13282" y="1306"/>
                  </a:lnTo>
                  <a:lnTo>
                    <a:pt x="13295" y="1313"/>
                  </a:lnTo>
                  <a:lnTo>
                    <a:pt x="13304" y="1323"/>
                  </a:lnTo>
                  <a:lnTo>
                    <a:pt x="13305" y="1344"/>
                  </a:lnTo>
                  <a:lnTo>
                    <a:pt x="13280" y="1419"/>
                  </a:lnTo>
                  <a:lnTo>
                    <a:pt x="13276" y="1444"/>
                  </a:lnTo>
                  <a:lnTo>
                    <a:pt x="13276" y="1470"/>
                  </a:lnTo>
                  <a:lnTo>
                    <a:pt x="13278" y="1485"/>
                  </a:lnTo>
                  <a:lnTo>
                    <a:pt x="13294" y="1524"/>
                  </a:lnTo>
                  <a:lnTo>
                    <a:pt x="13295" y="1531"/>
                  </a:lnTo>
                  <a:lnTo>
                    <a:pt x="13294" y="1544"/>
                  </a:lnTo>
                  <a:lnTo>
                    <a:pt x="13294" y="1550"/>
                  </a:lnTo>
                  <a:lnTo>
                    <a:pt x="13296" y="1558"/>
                  </a:lnTo>
                  <a:lnTo>
                    <a:pt x="13307" y="1577"/>
                  </a:lnTo>
                  <a:lnTo>
                    <a:pt x="13312" y="1591"/>
                  </a:lnTo>
                  <a:lnTo>
                    <a:pt x="13313" y="1598"/>
                  </a:lnTo>
                  <a:lnTo>
                    <a:pt x="13309" y="1604"/>
                  </a:lnTo>
                  <a:lnTo>
                    <a:pt x="13302" y="1606"/>
                  </a:lnTo>
                  <a:lnTo>
                    <a:pt x="13296" y="1605"/>
                  </a:lnTo>
                  <a:lnTo>
                    <a:pt x="13291" y="1602"/>
                  </a:lnTo>
                  <a:lnTo>
                    <a:pt x="13284" y="1601"/>
                  </a:lnTo>
                  <a:lnTo>
                    <a:pt x="13270" y="1615"/>
                  </a:lnTo>
                  <a:lnTo>
                    <a:pt x="13258" y="1645"/>
                  </a:lnTo>
                  <a:lnTo>
                    <a:pt x="13236" y="1742"/>
                  </a:lnTo>
                  <a:lnTo>
                    <a:pt x="13237" y="1753"/>
                  </a:lnTo>
                  <a:lnTo>
                    <a:pt x="13247" y="1765"/>
                  </a:lnTo>
                  <a:lnTo>
                    <a:pt x="13256" y="1769"/>
                  </a:lnTo>
                  <a:lnTo>
                    <a:pt x="13258" y="1773"/>
                  </a:lnTo>
                  <a:lnTo>
                    <a:pt x="13236" y="1803"/>
                  </a:lnTo>
                  <a:lnTo>
                    <a:pt x="13232" y="1815"/>
                  </a:lnTo>
                  <a:lnTo>
                    <a:pt x="13229" y="1842"/>
                  </a:lnTo>
                  <a:lnTo>
                    <a:pt x="13224" y="1855"/>
                  </a:lnTo>
                  <a:lnTo>
                    <a:pt x="13213" y="1859"/>
                  </a:lnTo>
                  <a:lnTo>
                    <a:pt x="13187" y="1862"/>
                  </a:lnTo>
                  <a:lnTo>
                    <a:pt x="13145" y="1880"/>
                  </a:lnTo>
                  <a:lnTo>
                    <a:pt x="13124" y="1884"/>
                  </a:lnTo>
                  <a:lnTo>
                    <a:pt x="13106" y="1875"/>
                  </a:lnTo>
                  <a:lnTo>
                    <a:pt x="13089" y="1851"/>
                  </a:lnTo>
                  <a:lnTo>
                    <a:pt x="13080" y="1848"/>
                  </a:lnTo>
                  <a:lnTo>
                    <a:pt x="13069" y="1865"/>
                  </a:lnTo>
                  <a:lnTo>
                    <a:pt x="13058" y="1887"/>
                  </a:lnTo>
                  <a:lnTo>
                    <a:pt x="13051" y="1895"/>
                  </a:lnTo>
                  <a:lnTo>
                    <a:pt x="13014" y="1921"/>
                  </a:lnTo>
                  <a:lnTo>
                    <a:pt x="13003" y="1931"/>
                  </a:lnTo>
                  <a:lnTo>
                    <a:pt x="12995" y="1944"/>
                  </a:lnTo>
                  <a:lnTo>
                    <a:pt x="12992" y="1952"/>
                  </a:lnTo>
                  <a:lnTo>
                    <a:pt x="12990" y="1958"/>
                  </a:lnTo>
                  <a:lnTo>
                    <a:pt x="12988" y="1965"/>
                  </a:lnTo>
                  <a:lnTo>
                    <a:pt x="12983" y="1972"/>
                  </a:lnTo>
                  <a:lnTo>
                    <a:pt x="12974" y="1980"/>
                  </a:lnTo>
                  <a:lnTo>
                    <a:pt x="12968" y="1982"/>
                  </a:lnTo>
                  <a:lnTo>
                    <a:pt x="12967" y="1985"/>
                  </a:lnTo>
                  <a:lnTo>
                    <a:pt x="12970" y="1994"/>
                  </a:lnTo>
                  <a:lnTo>
                    <a:pt x="12987" y="2015"/>
                  </a:lnTo>
                  <a:lnTo>
                    <a:pt x="12992" y="2028"/>
                  </a:lnTo>
                  <a:lnTo>
                    <a:pt x="12984" y="2044"/>
                  </a:lnTo>
                  <a:lnTo>
                    <a:pt x="12977" y="2049"/>
                  </a:lnTo>
                  <a:lnTo>
                    <a:pt x="12970" y="2050"/>
                  </a:lnTo>
                  <a:lnTo>
                    <a:pt x="12965" y="2052"/>
                  </a:lnTo>
                  <a:lnTo>
                    <a:pt x="12961" y="2060"/>
                  </a:lnTo>
                  <a:lnTo>
                    <a:pt x="12961" y="2067"/>
                  </a:lnTo>
                  <a:lnTo>
                    <a:pt x="12968" y="2079"/>
                  </a:lnTo>
                  <a:lnTo>
                    <a:pt x="12970" y="2086"/>
                  </a:lnTo>
                  <a:lnTo>
                    <a:pt x="12967" y="2099"/>
                  </a:lnTo>
                  <a:lnTo>
                    <a:pt x="12962" y="2113"/>
                  </a:lnTo>
                  <a:lnTo>
                    <a:pt x="12960" y="2126"/>
                  </a:lnTo>
                  <a:lnTo>
                    <a:pt x="12970" y="2135"/>
                  </a:lnTo>
                  <a:lnTo>
                    <a:pt x="12977" y="2135"/>
                  </a:lnTo>
                  <a:lnTo>
                    <a:pt x="12991" y="2129"/>
                  </a:lnTo>
                  <a:lnTo>
                    <a:pt x="12998" y="2127"/>
                  </a:lnTo>
                  <a:lnTo>
                    <a:pt x="13006" y="2128"/>
                  </a:lnTo>
                  <a:lnTo>
                    <a:pt x="13014" y="2130"/>
                  </a:lnTo>
                  <a:lnTo>
                    <a:pt x="13022" y="2134"/>
                  </a:lnTo>
                  <a:lnTo>
                    <a:pt x="13028" y="2138"/>
                  </a:lnTo>
                  <a:lnTo>
                    <a:pt x="13038" y="2148"/>
                  </a:lnTo>
                  <a:lnTo>
                    <a:pt x="13048" y="2163"/>
                  </a:lnTo>
                  <a:lnTo>
                    <a:pt x="13056" y="2178"/>
                  </a:lnTo>
                  <a:lnTo>
                    <a:pt x="13057" y="2190"/>
                  </a:lnTo>
                  <a:lnTo>
                    <a:pt x="13048" y="2202"/>
                  </a:lnTo>
                  <a:lnTo>
                    <a:pt x="13035" y="2207"/>
                  </a:lnTo>
                  <a:lnTo>
                    <a:pt x="13006" y="2210"/>
                  </a:lnTo>
                  <a:lnTo>
                    <a:pt x="12992" y="2218"/>
                  </a:lnTo>
                  <a:lnTo>
                    <a:pt x="12967" y="2246"/>
                  </a:lnTo>
                  <a:lnTo>
                    <a:pt x="12957" y="2251"/>
                  </a:lnTo>
                  <a:lnTo>
                    <a:pt x="12946" y="2256"/>
                  </a:lnTo>
                  <a:lnTo>
                    <a:pt x="12919" y="2280"/>
                  </a:lnTo>
                  <a:lnTo>
                    <a:pt x="12906" y="2288"/>
                  </a:lnTo>
                  <a:lnTo>
                    <a:pt x="12882" y="2286"/>
                  </a:lnTo>
                  <a:lnTo>
                    <a:pt x="12874" y="2290"/>
                  </a:lnTo>
                  <a:lnTo>
                    <a:pt x="12869" y="2304"/>
                  </a:lnTo>
                  <a:lnTo>
                    <a:pt x="12870" y="2318"/>
                  </a:lnTo>
                  <a:lnTo>
                    <a:pt x="12872" y="2328"/>
                  </a:lnTo>
                  <a:lnTo>
                    <a:pt x="12868" y="2335"/>
                  </a:lnTo>
                  <a:lnTo>
                    <a:pt x="12850" y="2341"/>
                  </a:lnTo>
                  <a:lnTo>
                    <a:pt x="12800" y="2347"/>
                  </a:lnTo>
                  <a:lnTo>
                    <a:pt x="12781" y="2359"/>
                  </a:lnTo>
                  <a:lnTo>
                    <a:pt x="12771" y="2384"/>
                  </a:lnTo>
                  <a:lnTo>
                    <a:pt x="12764" y="2419"/>
                  </a:lnTo>
                  <a:lnTo>
                    <a:pt x="12764" y="2431"/>
                  </a:lnTo>
                  <a:lnTo>
                    <a:pt x="12767" y="2437"/>
                  </a:lnTo>
                  <a:lnTo>
                    <a:pt x="12774" y="2447"/>
                  </a:lnTo>
                  <a:lnTo>
                    <a:pt x="12775" y="2453"/>
                  </a:lnTo>
                  <a:lnTo>
                    <a:pt x="12774" y="2475"/>
                  </a:lnTo>
                  <a:lnTo>
                    <a:pt x="12775" y="2480"/>
                  </a:lnTo>
                  <a:lnTo>
                    <a:pt x="12782" y="2494"/>
                  </a:lnTo>
                  <a:lnTo>
                    <a:pt x="12789" y="2495"/>
                  </a:lnTo>
                  <a:lnTo>
                    <a:pt x="12800" y="2490"/>
                  </a:lnTo>
                  <a:lnTo>
                    <a:pt x="12815" y="2489"/>
                  </a:lnTo>
                  <a:lnTo>
                    <a:pt x="12821" y="2493"/>
                  </a:lnTo>
                  <a:lnTo>
                    <a:pt x="12824" y="2501"/>
                  </a:lnTo>
                  <a:lnTo>
                    <a:pt x="12824" y="2511"/>
                  </a:lnTo>
                  <a:lnTo>
                    <a:pt x="12822" y="2519"/>
                  </a:lnTo>
                  <a:lnTo>
                    <a:pt x="12816" y="2533"/>
                  </a:lnTo>
                  <a:lnTo>
                    <a:pt x="12813" y="2543"/>
                  </a:lnTo>
                  <a:lnTo>
                    <a:pt x="12813" y="2554"/>
                  </a:lnTo>
                  <a:lnTo>
                    <a:pt x="12816" y="2568"/>
                  </a:lnTo>
                  <a:lnTo>
                    <a:pt x="12815" y="2580"/>
                  </a:lnTo>
                  <a:lnTo>
                    <a:pt x="12807" y="2588"/>
                  </a:lnTo>
                  <a:lnTo>
                    <a:pt x="12771" y="2602"/>
                  </a:lnTo>
                  <a:lnTo>
                    <a:pt x="12736" y="2606"/>
                  </a:lnTo>
                  <a:lnTo>
                    <a:pt x="12729" y="2609"/>
                  </a:lnTo>
                  <a:lnTo>
                    <a:pt x="12722" y="2614"/>
                  </a:lnTo>
                  <a:lnTo>
                    <a:pt x="12717" y="2620"/>
                  </a:lnTo>
                  <a:lnTo>
                    <a:pt x="12713" y="2626"/>
                  </a:lnTo>
                  <a:lnTo>
                    <a:pt x="12711" y="2633"/>
                  </a:lnTo>
                  <a:lnTo>
                    <a:pt x="12712" y="2637"/>
                  </a:lnTo>
                  <a:lnTo>
                    <a:pt x="12714" y="2642"/>
                  </a:lnTo>
                  <a:lnTo>
                    <a:pt x="12716" y="2650"/>
                  </a:lnTo>
                  <a:lnTo>
                    <a:pt x="12717" y="2670"/>
                  </a:lnTo>
                  <a:lnTo>
                    <a:pt x="12710" y="2714"/>
                  </a:lnTo>
                  <a:lnTo>
                    <a:pt x="12698" y="2748"/>
                  </a:lnTo>
                  <a:lnTo>
                    <a:pt x="12681" y="2775"/>
                  </a:lnTo>
                  <a:lnTo>
                    <a:pt x="12671" y="2786"/>
                  </a:lnTo>
                  <a:lnTo>
                    <a:pt x="12649" y="2805"/>
                  </a:lnTo>
                  <a:lnTo>
                    <a:pt x="12641" y="2815"/>
                  </a:lnTo>
                  <a:lnTo>
                    <a:pt x="12641" y="2831"/>
                  </a:lnTo>
                  <a:lnTo>
                    <a:pt x="12644" y="2845"/>
                  </a:lnTo>
                  <a:lnTo>
                    <a:pt x="12645" y="2858"/>
                  </a:lnTo>
                  <a:lnTo>
                    <a:pt x="12640" y="2871"/>
                  </a:lnTo>
                  <a:lnTo>
                    <a:pt x="12630" y="2881"/>
                  </a:lnTo>
                  <a:lnTo>
                    <a:pt x="12615" y="2884"/>
                  </a:lnTo>
                  <a:lnTo>
                    <a:pt x="12601" y="2880"/>
                  </a:lnTo>
                  <a:lnTo>
                    <a:pt x="12550" y="2844"/>
                  </a:lnTo>
                  <a:lnTo>
                    <a:pt x="12535" y="2837"/>
                  </a:lnTo>
                  <a:lnTo>
                    <a:pt x="12519" y="2834"/>
                  </a:lnTo>
                  <a:lnTo>
                    <a:pt x="12507" y="2838"/>
                  </a:lnTo>
                  <a:lnTo>
                    <a:pt x="12410" y="2878"/>
                  </a:lnTo>
                  <a:lnTo>
                    <a:pt x="12396" y="2888"/>
                  </a:lnTo>
                  <a:lnTo>
                    <a:pt x="12389" y="2890"/>
                  </a:lnTo>
                  <a:lnTo>
                    <a:pt x="12381" y="2887"/>
                  </a:lnTo>
                  <a:lnTo>
                    <a:pt x="12374" y="2881"/>
                  </a:lnTo>
                  <a:lnTo>
                    <a:pt x="12368" y="2874"/>
                  </a:lnTo>
                  <a:lnTo>
                    <a:pt x="12362" y="2868"/>
                  </a:lnTo>
                  <a:lnTo>
                    <a:pt x="12338" y="2861"/>
                  </a:lnTo>
                  <a:lnTo>
                    <a:pt x="12312" y="2861"/>
                  </a:lnTo>
                  <a:lnTo>
                    <a:pt x="12219" y="2876"/>
                  </a:lnTo>
                  <a:lnTo>
                    <a:pt x="12207" y="2881"/>
                  </a:lnTo>
                  <a:lnTo>
                    <a:pt x="12192" y="2893"/>
                  </a:lnTo>
                  <a:lnTo>
                    <a:pt x="12153" y="2942"/>
                  </a:lnTo>
                  <a:lnTo>
                    <a:pt x="12051" y="3010"/>
                  </a:lnTo>
                  <a:lnTo>
                    <a:pt x="12035" y="3014"/>
                  </a:lnTo>
                  <a:lnTo>
                    <a:pt x="12016" y="3005"/>
                  </a:lnTo>
                  <a:lnTo>
                    <a:pt x="11984" y="2966"/>
                  </a:lnTo>
                  <a:lnTo>
                    <a:pt x="11970" y="2959"/>
                  </a:lnTo>
                  <a:lnTo>
                    <a:pt x="11956" y="2958"/>
                  </a:lnTo>
                  <a:lnTo>
                    <a:pt x="11942" y="2962"/>
                  </a:lnTo>
                  <a:lnTo>
                    <a:pt x="11917" y="2972"/>
                  </a:lnTo>
                  <a:lnTo>
                    <a:pt x="11888" y="2971"/>
                  </a:lnTo>
                  <a:lnTo>
                    <a:pt x="11840" y="2934"/>
                  </a:lnTo>
                  <a:lnTo>
                    <a:pt x="11809" y="2923"/>
                  </a:lnTo>
                  <a:lnTo>
                    <a:pt x="11771" y="2915"/>
                  </a:lnTo>
                  <a:lnTo>
                    <a:pt x="11742" y="2914"/>
                  </a:lnTo>
                  <a:lnTo>
                    <a:pt x="11733" y="2911"/>
                  </a:lnTo>
                  <a:lnTo>
                    <a:pt x="11712" y="2894"/>
                  </a:lnTo>
                  <a:lnTo>
                    <a:pt x="11688" y="2883"/>
                  </a:lnTo>
                  <a:lnTo>
                    <a:pt x="11663" y="2881"/>
                  </a:lnTo>
                  <a:lnTo>
                    <a:pt x="11638" y="2885"/>
                  </a:lnTo>
                  <a:lnTo>
                    <a:pt x="11613" y="2893"/>
                  </a:lnTo>
                  <a:lnTo>
                    <a:pt x="11603" y="2893"/>
                  </a:lnTo>
                  <a:lnTo>
                    <a:pt x="11602" y="2888"/>
                  </a:lnTo>
                  <a:lnTo>
                    <a:pt x="11605" y="2881"/>
                  </a:lnTo>
                  <a:lnTo>
                    <a:pt x="11625" y="2866"/>
                  </a:lnTo>
                  <a:lnTo>
                    <a:pt x="11635" y="2856"/>
                  </a:lnTo>
                  <a:lnTo>
                    <a:pt x="11642" y="2844"/>
                  </a:lnTo>
                  <a:lnTo>
                    <a:pt x="11646" y="2830"/>
                  </a:lnTo>
                  <a:lnTo>
                    <a:pt x="11646" y="2815"/>
                  </a:lnTo>
                  <a:lnTo>
                    <a:pt x="11640" y="2806"/>
                  </a:lnTo>
                  <a:lnTo>
                    <a:pt x="11629" y="2800"/>
                  </a:lnTo>
                  <a:lnTo>
                    <a:pt x="11613" y="2794"/>
                  </a:lnTo>
                  <a:lnTo>
                    <a:pt x="11602" y="2792"/>
                  </a:lnTo>
                  <a:lnTo>
                    <a:pt x="11571" y="2793"/>
                  </a:lnTo>
                  <a:lnTo>
                    <a:pt x="11558" y="2791"/>
                  </a:lnTo>
                  <a:lnTo>
                    <a:pt x="11547" y="2787"/>
                  </a:lnTo>
                  <a:lnTo>
                    <a:pt x="11537" y="2786"/>
                  </a:lnTo>
                  <a:lnTo>
                    <a:pt x="11525" y="2790"/>
                  </a:lnTo>
                  <a:lnTo>
                    <a:pt x="11518" y="2796"/>
                  </a:lnTo>
                  <a:lnTo>
                    <a:pt x="11514" y="2802"/>
                  </a:lnTo>
                  <a:lnTo>
                    <a:pt x="11510" y="2807"/>
                  </a:lnTo>
                  <a:lnTo>
                    <a:pt x="11502" y="2811"/>
                  </a:lnTo>
                  <a:lnTo>
                    <a:pt x="11498" y="2810"/>
                  </a:lnTo>
                  <a:lnTo>
                    <a:pt x="11481" y="2805"/>
                  </a:lnTo>
                  <a:lnTo>
                    <a:pt x="11288" y="2795"/>
                  </a:lnTo>
                  <a:lnTo>
                    <a:pt x="11272" y="2799"/>
                  </a:lnTo>
                  <a:lnTo>
                    <a:pt x="11262" y="2806"/>
                  </a:lnTo>
                  <a:lnTo>
                    <a:pt x="11253" y="2815"/>
                  </a:lnTo>
                  <a:lnTo>
                    <a:pt x="11242" y="2824"/>
                  </a:lnTo>
                  <a:lnTo>
                    <a:pt x="11230" y="2828"/>
                  </a:lnTo>
                  <a:lnTo>
                    <a:pt x="11190" y="2831"/>
                  </a:lnTo>
                  <a:lnTo>
                    <a:pt x="11175" y="2836"/>
                  </a:lnTo>
                  <a:lnTo>
                    <a:pt x="11100" y="2872"/>
                  </a:lnTo>
                  <a:lnTo>
                    <a:pt x="11088" y="2881"/>
                  </a:lnTo>
                  <a:lnTo>
                    <a:pt x="11084" y="2897"/>
                  </a:lnTo>
                  <a:lnTo>
                    <a:pt x="11087" y="2903"/>
                  </a:lnTo>
                  <a:lnTo>
                    <a:pt x="11102" y="2903"/>
                  </a:lnTo>
                  <a:lnTo>
                    <a:pt x="11105" y="2909"/>
                  </a:lnTo>
                  <a:lnTo>
                    <a:pt x="11105" y="2916"/>
                  </a:lnTo>
                  <a:lnTo>
                    <a:pt x="11103" y="2923"/>
                  </a:lnTo>
                  <a:lnTo>
                    <a:pt x="11083" y="2963"/>
                  </a:lnTo>
                  <a:lnTo>
                    <a:pt x="11049" y="3061"/>
                  </a:lnTo>
                  <a:lnTo>
                    <a:pt x="11044" y="3068"/>
                  </a:lnTo>
                  <a:lnTo>
                    <a:pt x="11035" y="3072"/>
                  </a:lnTo>
                  <a:lnTo>
                    <a:pt x="11019" y="3074"/>
                  </a:lnTo>
                  <a:lnTo>
                    <a:pt x="10967" y="3074"/>
                  </a:lnTo>
                  <a:lnTo>
                    <a:pt x="10926" y="3087"/>
                  </a:lnTo>
                  <a:lnTo>
                    <a:pt x="10869" y="3155"/>
                  </a:lnTo>
                  <a:lnTo>
                    <a:pt x="10830" y="3164"/>
                  </a:lnTo>
                  <a:lnTo>
                    <a:pt x="10812" y="3159"/>
                  </a:lnTo>
                  <a:lnTo>
                    <a:pt x="10778" y="3145"/>
                  </a:lnTo>
                  <a:lnTo>
                    <a:pt x="10761" y="3140"/>
                  </a:lnTo>
                  <a:lnTo>
                    <a:pt x="10749" y="3139"/>
                  </a:lnTo>
                  <a:lnTo>
                    <a:pt x="10740" y="3141"/>
                  </a:lnTo>
                  <a:lnTo>
                    <a:pt x="10686" y="3162"/>
                  </a:lnTo>
                  <a:lnTo>
                    <a:pt x="10671" y="3183"/>
                  </a:lnTo>
                  <a:lnTo>
                    <a:pt x="10663" y="3187"/>
                  </a:lnTo>
                  <a:lnTo>
                    <a:pt x="10656" y="3172"/>
                  </a:lnTo>
                  <a:lnTo>
                    <a:pt x="10653" y="3161"/>
                  </a:lnTo>
                  <a:lnTo>
                    <a:pt x="10649" y="3152"/>
                  </a:lnTo>
                  <a:lnTo>
                    <a:pt x="10643" y="3146"/>
                  </a:lnTo>
                  <a:lnTo>
                    <a:pt x="10631" y="3146"/>
                  </a:lnTo>
                  <a:lnTo>
                    <a:pt x="10606" y="3153"/>
                  </a:lnTo>
                  <a:lnTo>
                    <a:pt x="10593" y="3156"/>
                  </a:lnTo>
                  <a:lnTo>
                    <a:pt x="10579" y="3155"/>
                  </a:lnTo>
                  <a:lnTo>
                    <a:pt x="10565" y="3151"/>
                  </a:lnTo>
                  <a:lnTo>
                    <a:pt x="10478" y="3113"/>
                  </a:lnTo>
                  <a:lnTo>
                    <a:pt x="10465" y="3112"/>
                  </a:lnTo>
                  <a:lnTo>
                    <a:pt x="10320" y="3149"/>
                  </a:lnTo>
                  <a:lnTo>
                    <a:pt x="10279" y="3150"/>
                  </a:lnTo>
                  <a:lnTo>
                    <a:pt x="10260" y="3153"/>
                  </a:lnTo>
                  <a:lnTo>
                    <a:pt x="10242" y="3162"/>
                  </a:lnTo>
                  <a:lnTo>
                    <a:pt x="10206" y="3192"/>
                  </a:lnTo>
                  <a:lnTo>
                    <a:pt x="10200" y="3202"/>
                  </a:lnTo>
                  <a:lnTo>
                    <a:pt x="10199" y="3214"/>
                  </a:lnTo>
                  <a:lnTo>
                    <a:pt x="10198" y="3219"/>
                  </a:lnTo>
                  <a:lnTo>
                    <a:pt x="10193" y="3222"/>
                  </a:lnTo>
                  <a:lnTo>
                    <a:pt x="10189" y="3221"/>
                  </a:lnTo>
                  <a:lnTo>
                    <a:pt x="10183" y="3216"/>
                  </a:lnTo>
                  <a:lnTo>
                    <a:pt x="10181" y="3215"/>
                  </a:lnTo>
                  <a:lnTo>
                    <a:pt x="10173" y="3219"/>
                  </a:lnTo>
                  <a:lnTo>
                    <a:pt x="10172" y="3221"/>
                  </a:lnTo>
                  <a:lnTo>
                    <a:pt x="10159" y="3226"/>
                  </a:lnTo>
                  <a:lnTo>
                    <a:pt x="10157" y="3226"/>
                  </a:lnTo>
                  <a:lnTo>
                    <a:pt x="10149" y="3223"/>
                  </a:lnTo>
                  <a:lnTo>
                    <a:pt x="10146" y="3223"/>
                  </a:lnTo>
                  <a:lnTo>
                    <a:pt x="10139" y="3228"/>
                  </a:lnTo>
                  <a:lnTo>
                    <a:pt x="10127" y="3239"/>
                  </a:lnTo>
                  <a:lnTo>
                    <a:pt x="10118" y="3242"/>
                  </a:lnTo>
                  <a:lnTo>
                    <a:pt x="10110" y="3241"/>
                  </a:lnTo>
                  <a:lnTo>
                    <a:pt x="10104" y="3237"/>
                  </a:lnTo>
                  <a:lnTo>
                    <a:pt x="10099" y="3232"/>
                  </a:lnTo>
                  <a:lnTo>
                    <a:pt x="10095" y="3229"/>
                  </a:lnTo>
                  <a:lnTo>
                    <a:pt x="10087" y="3228"/>
                  </a:lnTo>
                  <a:lnTo>
                    <a:pt x="10085" y="3230"/>
                  </a:lnTo>
                  <a:lnTo>
                    <a:pt x="10083" y="3235"/>
                  </a:lnTo>
                  <a:lnTo>
                    <a:pt x="10076" y="3243"/>
                  </a:lnTo>
                  <a:lnTo>
                    <a:pt x="10049" y="3255"/>
                  </a:lnTo>
                  <a:lnTo>
                    <a:pt x="10018" y="3252"/>
                  </a:lnTo>
                  <a:lnTo>
                    <a:pt x="9988" y="3237"/>
                  </a:lnTo>
                  <a:lnTo>
                    <a:pt x="9964" y="3218"/>
                  </a:lnTo>
                  <a:lnTo>
                    <a:pt x="9937" y="3182"/>
                  </a:lnTo>
                  <a:lnTo>
                    <a:pt x="9926" y="3172"/>
                  </a:lnTo>
                  <a:lnTo>
                    <a:pt x="9918" y="3169"/>
                  </a:lnTo>
                  <a:lnTo>
                    <a:pt x="9885" y="3162"/>
                  </a:lnTo>
                  <a:lnTo>
                    <a:pt x="9876" y="3163"/>
                  </a:lnTo>
                  <a:lnTo>
                    <a:pt x="9867" y="3166"/>
                  </a:lnTo>
                  <a:lnTo>
                    <a:pt x="9861" y="3164"/>
                  </a:lnTo>
                  <a:lnTo>
                    <a:pt x="9860" y="3151"/>
                  </a:lnTo>
                  <a:lnTo>
                    <a:pt x="9856" y="3135"/>
                  </a:lnTo>
                  <a:lnTo>
                    <a:pt x="9824" y="3088"/>
                  </a:lnTo>
                  <a:lnTo>
                    <a:pt x="9810" y="3061"/>
                  </a:lnTo>
                  <a:lnTo>
                    <a:pt x="9801" y="3048"/>
                  </a:lnTo>
                  <a:lnTo>
                    <a:pt x="9789" y="3042"/>
                  </a:lnTo>
                  <a:lnTo>
                    <a:pt x="9751" y="3037"/>
                  </a:lnTo>
                  <a:lnTo>
                    <a:pt x="9739" y="3032"/>
                  </a:lnTo>
                  <a:lnTo>
                    <a:pt x="9724" y="3022"/>
                  </a:lnTo>
                  <a:lnTo>
                    <a:pt x="9711" y="2997"/>
                  </a:lnTo>
                  <a:lnTo>
                    <a:pt x="9699" y="2986"/>
                  </a:lnTo>
                  <a:lnTo>
                    <a:pt x="9675" y="2975"/>
                  </a:lnTo>
                  <a:lnTo>
                    <a:pt x="9667" y="2968"/>
                  </a:lnTo>
                  <a:lnTo>
                    <a:pt x="9659" y="2955"/>
                  </a:lnTo>
                  <a:lnTo>
                    <a:pt x="9647" y="2917"/>
                  </a:lnTo>
                  <a:lnTo>
                    <a:pt x="9639" y="2906"/>
                  </a:lnTo>
                  <a:lnTo>
                    <a:pt x="9627" y="2901"/>
                  </a:lnTo>
                  <a:lnTo>
                    <a:pt x="9615" y="2901"/>
                  </a:lnTo>
                  <a:lnTo>
                    <a:pt x="9602" y="2902"/>
                  </a:lnTo>
                  <a:lnTo>
                    <a:pt x="9589" y="2901"/>
                  </a:lnTo>
                  <a:lnTo>
                    <a:pt x="9578" y="2892"/>
                  </a:lnTo>
                  <a:lnTo>
                    <a:pt x="9566" y="2864"/>
                  </a:lnTo>
                  <a:lnTo>
                    <a:pt x="9562" y="2860"/>
                  </a:lnTo>
                  <a:lnTo>
                    <a:pt x="9549" y="2867"/>
                  </a:lnTo>
                  <a:lnTo>
                    <a:pt x="9546" y="2866"/>
                  </a:lnTo>
                  <a:lnTo>
                    <a:pt x="9544" y="2848"/>
                  </a:lnTo>
                  <a:lnTo>
                    <a:pt x="9539" y="2841"/>
                  </a:lnTo>
                  <a:lnTo>
                    <a:pt x="9482" y="2792"/>
                  </a:lnTo>
                  <a:lnTo>
                    <a:pt x="9470" y="2776"/>
                  </a:lnTo>
                  <a:lnTo>
                    <a:pt x="9462" y="2763"/>
                  </a:lnTo>
                  <a:lnTo>
                    <a:pt x="9459" y="2751"/>
                  </a:lnTo>
                  <a:lnTo>
                    <a:pt x="9458" y="2721"/>
                  </a:lnTo>
                  <a:lnTo>
                    <a:pt x="9463" y="2671"/>
                  </a:lnTo>
                  <a:lnTo>
                    <a:pt x="9459" y="2658"/>
                  </a:lnTo>
                  <a:lnTo>
                    <a:pt x="9447" y="2654"/>
                  </a:lnTo>
                  <a:lnTo>
                    <a:pt x="9419" y="2654"/>
                  </a:lnTo>
                  <a:lnTo>
                    <a:pt x="9411" y="2651"/>
                  </a:lnTo>
                  <a:lnTo>
                    <a:pt x="9403" y="2645"/>
                  </a:lnTo>
                  <a:lnTo>
                    <a:pt x="9397" y="2637"/>
                  </a:lnTo>
                  <a:lnTo>
                    <a:pt x="9393" y="2629"/>
                  </a:lnTo>
                  <a:lnTo>
                    <a:pt x="9390" y="2621"/>
                  </a:lnTo>
                  <a:lnTo>
                    <a:pt x="9390" y="2616"/>
                  </a:lnTo>
                  <a:lnTo>
                    <a:pt x="9390" y="2611"/>
                  </a:lnTo>
                  <a:lnTo>
                    <a:pt x="9386" y="2588"/>
                  </a:lnTo>
                  <a:lnTo>
                    <a:pt x="9386" y="2579"/>
                  </a:lnTo>
                  <a:lnTo>
                    <a:pt x="9392" y="2570"/>
                  </a:lnTo>
                  <a:lnTo>
                    <a:pt x="9415" y="2551"/>
                  </a:lnTo>
                  <a:lnTo>
                    <a:pt x="9422" y="2543"/>
                  </a:lnTo>
                  <a:lnTo>
                    <a:pt x="9432" y="2528"/>
                  </a:lnTo>
                  <a:lnTo>
                    <a:pt x="9449" y="2499"/>
                  </a:lnTo>
                  <a:lnTo>
                    <a:pt x="9462" y="2464"/>
                  </a:lnTo>
                  <a:lnTo>
                    <a:pt x="9455" y="2470"/>
                  </a:lnTo>
                  <a:lnTo>
                    <a:pt x="9435" y="2504"/>
                  </a:lnTo>
                  <a:lnTo>
                    <a:pt x="9428" y="2513"/>
                  </a:lnTo>
                  <a:lnTo>
                    <a:pt x="9419" y="2519"/>
                  </a:lnTo>
                  <a:lnTo>
                    <a:pt x="9407" y="2524"/>
                  </a:lnTo>
                  <a:lnTo>
                    <a:pt x="9318" y="2546"/>
                  </a:lnTo>
                  <a:lnTo>
                    <a:pt x="9276" y="2551"/>
                  </a:lnTo>
                  <a:lnTo>
                    <a:pt x="9265" y="2559"/>
                  </a:lnTo>
                  <a:lnTo>
                    <a:pt x="9261" y="2581"/>
                  </a:lnTo>
                  <a:lnTo>
                    <a:pt x="9262" y="2602"/>
                  </a:lnTo>
                  <a:lnTo>
                    <a:pt x="9261" y="2614"/>
                  </a:lnTo>
                  <a:lnTo>
                    <a:pt x="9257" y="2625"/>
                  </a:lnTo>
                  <a:lnTo>
                    <a:pt x="9248" y="2635"/>
                  </a:lnTo>
                  <a:lnTo>
                    <a:pt x="9238" y="2642"/>
                  </a:lnTo>
                  <a:lnTo>
                    <a:pt x="9231" y="2649"/>
                  </a:lnTo>
                  <a:lnTo>
                    <a:pt x="9230" y="2660"/>
                  </a:lnTo>
                  <a:lnTo>
                    <a:pt x="9261" y="2636"/>
                  </a:lnTo>
                  <a:lnTo>
                    <a:pt x="9262" y="2634"/>
                  </a:lnTo>
                  <a:lnTo>
                    <a:pt x="9265" y="2633"/>
                  </a:lnTo>
                  <a:lnTo>
                    <a:pt x="9268" y="2634"/>
                  </a:lnTo>
                  <a:lnTo>
                    <a:pt x="9270" y="2636"/>
                  </a:lnTo>
                  <a:lnTo>
                    <a:pt x="9269" y="2640"/>
                  </a:lnTo>
                  <a:lnTo>
                    <a:pt x="9268" y="2642"/>
                  </a:lnTo>
                  <a:lnTo>
                    <a:pt x="9266" y="2643"/>
                  </a:lnTo>
                  <a:lnTo>
                    <a:pt x="9266" y="2645"/>
                  </a:lnTo>
                  <a:lnTo>
                    <a:pt x="9264" y="2648"/>
                  </a:lnTo>
                  <a:lnTo>
                    <a:pt x="9252" y="2660"/>
                  </a:lnTo>
                  <a:lnTo>
                    <a:pt x="9240" y="2677"/>
                  </a:lnTo>
                  <a:lnTo>
                    <a:pt x="9220" y="2714"/>
                  </a:lnTo>
                  <a:lnTo>
                    <a:pt x="9208" y="2731"/>
                  </a:lnTo>
                  <a:lnTo>
                    <a:pt x="9106" y="2800"/>
                  </a:lnTo>
                  <a:lnTo>
                    <a:pt x="9092" y="2817"/>
                  </a:lnTo>
                  <a:lnTo>
                    <a:pt x="9084" y="2840"/>
                  </a:lnTo>
                  <a:lnTo>
                    <a:pt x="9084" y="2914"/>
                  </a:lnTo>
                  <a:lnTo>
                    <a:pt x="9079" y="2934"/>
                  </a:lnTo>
                  <a:lnTo>
                    <a:pt x="9070" y="2955"/>
                  </a:lnTo>
                  <a:lnTo>
                    <a:pt x="9048" y="2984"/>
                  </a:lnTo>
                  <a:lnTo>
                    <a:pt x="9038" y="3001"/>
                  </a:lnTo>
                  <a:lnTo>
                    <a:pt x="9035" y="3021"/>
                  </a:lnTo>
                  <a:lnTo>
                    <a:pt x="9052" y="3016"/>
                  </a:lnTo>
                  <a:lnTo>
                    <a:pt x="9087" y="3013"/>
                  </a:lnTo>
                  <a:lnTo>
                    <a:pt x="9101" y="3008"/>
                  </a:lnTo>
                  <a:lnTo>
                    <a:pt x="9112" y="3000"/>
                  </a:lnTo>
                  <a:lnTo>
                    <a:pt x="9118" y="2997"/>
                  </a:lnTo>
                  <a:lnTo>
                    <a:pt x="9126" y="2995"/>
                  </a:lnTo>
                  <a:lnTo>
                    <a:pt x="9133" y="2992"/>
                  </a:lnTo>
                  <a:lnTo>
                    <a:pt x="9138" y="2984"/>
                  </a:lnTo>
                  <a:lnTo>
                    <a:pt x="9141" y="2976"/>
                  </a:lnTo>
                  <a:lnTo>
                    <a:pt x="9143" y="2973"/>
                  </a:lnTo>
                  <a:lnTo>
                    <a:pt x="9151" y="2966"/>
                  </a:lnTo>
                  <a:lnTo>
                    <a:pt x="9166" y="2936"/>
                  </a:lnTo>
                  <a:lnTo>
                    <a:pt x="9174" y="2929"/>
                  </a:lnTo>
                  <a:lnTo>
                    <a:pt x="9185" y="2923"/>
                  </a:lnTo>
                  <a:lnTo>
                    <a:pt x="9191" y="2910"/>
                  </a:lnTo>
                  <a:lnTo>
                    <a:pt x="9200" y="2900"/>
                  </a:lnTo>
                  <a:lnTo>
                    <a:pt x="9216" y="2902"/>
                  </a:lnTo>
                  <a:lnTo>
                    <a:pt x="9216" y="2907"/>
                  </a:lnTo>
                  <a:lnTo>
                    <a:pt x="9202" y="2916"/>
                  </a:lnTo>
                  <a:lnTo>
                    <a:pt x="9192" y="2930"/>
                  </a:lnTo>
                  <a:lnTo>
                    <a:pt x="9184" y="2945"/>
                  </a:lnTo>
                  <a:lnTo>
                    <a:pt x="9147" y="2990"/>
                  </a:lnTo>
                  <a:lnTo>
                    <a:pt x="9137" y="2999"/>
                  </a:lnTo>
                  <a:lnTo>
                    <a:pt x="9114" y="3013"/>
                  </a:lnTo>
                  <a:lnTo>
                    <a:pt x="9065" y="3032"/>
                  </a:lnTo>
                  <a:lnTo>
                    <a:pt x="9039" y="3039"/>
                  </a:lnTo>
                  <a:lnTo>
                    <a:pt x="9013" y="3042"/>
                  </a:lnTo>
                  <a:lnTo>
                    <a:pt x="9001" y="3046"/>
                  </a:lnTo>
                  <a:lnTo>
                    <a:pt x="8995" y="3055"/>
                  </a:lnTo>
                  <a:lnTo>
                    <a:pt x="8997" y="3070"/>
                  </a:lnTo>
                  <a:close/>
                  <a:moveTo>
                    <a:pt x="6542" y="7526"/>
                  </a:moveTo>
                  <a:lnTo>
                    <a:pt x="6542" y="7526"/>
                  </a:lnTo>
                  <a:lnTo>
                    <a:pt x="6563" y="7525"/>
                  </a:lnTo>
                  <a:lnTo>
                    <a:pt x="6576" y="7523"/>
                  </a:lnTo>
                  <a:lnTo>
                    <a:pt x="6588" y="7517"/>
                  </a:lnTo>
                  <a:lnTo>
                    <a:pt x="6597" y="7508"/>
                  </a:lnTo>
                  <a:lnTo>
                    <a:pt x="6588" y="7504"/>
                  </a:lnTo>
                  <a:lnTo>
                    <a:pt x="6573" y="7502"/>
                  </a:lnTo>
                  <a:lnTo>
                    <a:pt x="6560" y="7497"/>
                  </a:lnTo>
                  <a:lnTo>
                    <a:pt x="6558" y="7487"/>
                  </a:lnTo>
                  <a:lnTo>
                    <a:pt x="6571" y="7480"/>
                  </a:lnTo>
                  <a:lnTo>
                    <a:pt x="6588" y="7474"/>
                  </a:lnTo>
                  <a:lnTo>
                    <a:pt x="6598" y="7468"/>
                  </a:lnTo>
                  <a:lnTo>
                    <a:pt x="6596" y="7465"/>
                  </a:lnTo>
                  <a:lnTo>
                    <a:pt x="6591" y="7461"/>
                  </a:lnTo>
                  <a:lnTo>
                    <a:pt x="6587" y="7456"/>
                  </a:lnTo>
                  <a:lnTo>
                    <a:pt x="6584" y="7449"/>
                  </a:lnTo>
                  <a:lnTo>
                    <a:pt x="6584" y="7431"/>
                  </a:lnTo>
                  <a:lnTo>
                    <a:pt x="6580" y="7416"/>
                  </a:lnTo>
                  <a:lnTo>
                    <a:pt x="6574" y="7403"/>
                  </a:lnTo>
                  <a:lnTo>
                    <a:pt x="6574" y="7393"/>
                  </a:lnTo>
                  <a:lnTo>
                    <a:pt x="6588" y="7385"/>
                  </a:lnTo>
                  <a:lnTo>
                    <a:pt x="6599" y="7389"/>
                  </a:lnTo>
                  <a:lnTo>
                    <a:pt x="6607" y="7390"/>
                  </a:lnTo>
                  <a:lnTo>
                    <a:pt x="6611" y="7387"/>
                  </a:lnTo>
                  <a:lnTo>
                    <a:pt x="6612" y="7385"/>
                  </a:lnTo>
                  <a:lnTo>
                    <a:pt x="6618" y="7367"/>
                  </a:lnTo>
                  <a:lnTo>
                    <a:pt x="6618" y="7365"/>
                  </a:lnTo>
                  <a:lnTo>
                    <a:pt x="6624" y="7352"/>
                  </a:lnTo>
                  <a:lnTo>
                    <a:pt x="6617" y="7327"/>
                  </a:lnTo>
                  <a:lnTo>
                    <a:pt x="6620" y="7314"/>
                  </a:lnTo>
                  <a:lnTo>
                    <a:pt x="6639" y="7305"/>
                  </a:lnTo>
                  <a:lnTo>
                    <a:pt x="6659" y="7319"/>
                  </a:lnTo>
                  <a:lnTo>
                    <a:pt x="6701" y="7378"/>
                  </a:lnTo>
                  <a:lnTo>
                    <a:pt x="6715" y="7393"/>
                  </a:lnTo>
                  <a:lnTo>
                    <a:pt x="6748" y="7420"/>
                  </a:lnTo>
                  <a:lnTo>
                    <a:pt x="6770" y="7443"/>
                  </a:lnTo>
                  <a:lnTo>
                    <a:pt x="6777" y="7447"/>
                  </a:lnTo>
                  <a:lnTo>
                    <a:pt x="6782" y="7448"/>
                  </a:lnTo>
                  <a:lnTo>
                    <a:pt x="6786" y="7452"/>
                  </a:lnTo>
                  <a:lnTo>
                    <a:pt x="6791" y="7455"/>
                  </a:lnTo>
                  <a:lnTo>
                    <a:pt x="6798" y="7456"/>
                  </a:lnTo>
                  <a:lnTo>
                    <a:pt x="6801" y="7454"/>
                  </a:lnTo>
                  <a:lnTo>
                    <a:pt x="6807" y="7446"/>
                  </a:lnTo>
                  <a:lnTo>
                    <a:pt x="6810" y="7442"/>
                  </a:lnTo>
                  <a:lnTo>
                    <a:pt x="6825" y="7457"/>
                  </a:lnTo>
                  <a:lnTo>
                    <a:pt x="6833" y="7478"/>
                  </a:lnTo>
                  <a:lnTo>
                    <a:pt x="6837" y="7528"/>
                  </a:lnTo>
                  <a:lnTo>
                    <a:pt x="6847" y="7541"/>
                  </a:lnTo>
                  <a:lnTo>
                    <a:pt x="6898" y="7547"/>
                  </a:lnTo>
                  <a:lnTo>
                    <a:pt x="6919" y="7555"/>
                  </a:lnTo>
                  <a:lnTo>
                    <a:pt x="6923" y="7566"/>
                  </a:lnTo>
                  <a:lnTo>
                    <a:pt x="6923" y="7590"/>
                  </a:lnTo>
                  <a:lnTo>
                    <a:pt x="6930" y="7597"/>
                  </a:lnTo>
                  <a:lnTo>
                    <a:pt x="6932" y="7593"/>
                  </a:lnTo>
                  <a:lnTo>
                    <a:pt x="6952" y="7571"/>
                  </a:lnTo>
                  <a:lnTo>
                    <a:pt x="6964" y="7553"/>
                  </a:lnTo>
                  <a:lnTo>
                    <a:pt x="6971" y="7531"/>
                  </a:lnTo>
                  <a:lnTo>
                    <a:pt x="6979" y="7482"/>
                  </a:lnTo>
                  <a:lnTo>
                    <a:pt x="6982" y="7468"/>
                  </a:lnTo>
                  <a:lnTo>
                    <a:pt x="6994" y="7441"/>
                  </a:lnTo>
                  <a:lnTo>
                    <a:pt x="6997" y="7427"/>
                  </a:lnTo>
                  <a:lnTo>
                    <a:pt x="6996" y="7400"/>
                  </a:lnTo>
                  <a:lnTo>
                    <a:pt x="6991" y="7360"/>
                  </a:lnTo>
                  <a:lnTo>
                    <a:pt x="6998" y="7335"/>
                  </a:lnTo>
                  <a:lnTo>
                    <a:pt x="7001" y="7321"/>
                  </a:lnTo>
                  <a:lnTo>
                    <a:pt x="6997" y="7265"/>
                  </a:lnTo>
                  <a:lnTo>
                    <a:pt x="7001" y="7236"/>
                  </a:lnTo>
                  <a:lnTo>
                    <a:pt x="7017" y="7183"/>
                  </a:lnTo>
                  <a:lnTo>
                    <a:pt x="7019" y="7154"/>
                  </a:lnTo>
                  <a:lnTo>
                    <a:pt x="7015" y="7100"/>
                  </a:lnTo>
                  <a:lnTo>
                    <a:pt x="7019" y="7045"/>
                  </a:lnTo>
                  <a:lnTo>
                    <a:pt x="7027" y="7023"/>
                  </a:lnTo>
                  <a:lnTo>
                    <a:pt x="7038" y="7002"/>
                  </a:lnTo>
                  <a:lnTo>
                    <a:pt x="7046" y="6982"/>
                  </a:lnTo>
                  <a:lnTo>
                    <a:pt x="7045" y="6960"/>
                  </a:lnTo>
                  <a:lnTo>
                    <a:pt x="7022" y="6920"/>
                  </a:lnTo>
                  <a:lnTo>
                    <a:pt x="7019" y="6905"/>
                  </a:lnTo>
                  <a:lnTo>
                    <a:pt x="7019" y="6877"/>
                  </a:lnTo>
                  <a:lnTo>
                    <a:pt x="7028" y="6822"/>
                  </a:lnTo>
                  <a:lnTo>
                    <a:pt x="7033" y="6810"/>
                  </a:lnTo>
                  <a:lnTo>
                    <a:pt x="7043" y="6806"/>
                  </a:lnTo>
                  <a:lnTo>
                    <a:pt x="7034" y="6773"/>
                  </a:lnTo>
                  <a:lnTo>
                    <a:pt x="7032" y="6762"/>
                  </a:lnTo>
                  <a:lnTo>
                    <a:pt x="7035" y="6751"/>
                  </a:lnTo>
                  <a:lnTo>
                    <a:pt x="7041" y="6738"/>
                  </a:lnTo>
                  <a:lnTo>
                    <a:pt x="7046" y="6726"/>
                  </a:lnTo>
                  <a:lnTo>
                    <a:pt x="7039" y="6704"/>
                  </a:lnTo>
                  <a:lnTo>
                    <a:pt x="7044" y="6676"/>
                  </a:lnTo>
                  <a:lnTo>
                    <a:pt x="7041" y="6665"/>
                  </a:lnTo>
                  <a:lnTo>
                    <a:pt x="7038" y="6667"/>
                  </a:lnTo>
                  <a:lnTo>
                    <a:pt x="7038" y="6667"/>
                  </a:lnTo>
                  <a:lnTo>
                    <a:pt x="7036" y="6669"/>
                  </a:lnTo>
                  <a:lnTo>
                    <a:pt x="7026" y="6647"/>
                  </a:lnTo>
                  <a:lnTo>
                    <a:pt x="7019" y="6639"/>
                  </a:lnTo>
                  <a:lnTo>
                    <a:pt x="7009" y="6634"/>
                  </a:lnTo>
                  <a:lnTo>
                    <a:pt x="7012" y="6619"/>
                  </a:lnTo>
                  <a:lnTo>
                    <a:pt x="7005" y="6601"/>
                  </a:lnTo>
                  <a:lnTo>
                    <a:pt x="6994" y="6583"/>
                  </a:lnTo>
                  <a:lnTo>
                    <a:pt x="6987" y="6567"/>
                  </a:lnTo>
                  <a:lnTo>
                    <a:pt x="6984" y="6550"/>
                  </a:lnTo>
                  <a:lnTo>
                    <a:pt x="6983" y="6528"/>
                  </a:lnTo>
                  <a:lnTo>
                    <a:pt x="6995" y="6464"/>
                  </a:lnTo>
                  <a:lnTo>
                    <a:pt x="7011" y="6419"/>
                  </a:lnTo>
                  <a:lnTo>
                    <a:pt x="7014" y="6398"/>
                  </a:lnTo>
                  <a:lnTo>
                    <a:pt x="7020" y="6377"/>
                  </a:lnTo>
                  <a:lnTo>
                    <a:pt x="7063" y="6316"/>
                  </a:lnTo>
                  <a:lnTo>
                    <a:pt x="7074" y="6289"/>
                  </a:lnTo>
                  <a:lnTo>
                    <a:pt x="7074" y="6267"/>
                  </a:lnTo>
                  <a:lnTo>
                    <a:pt x="7061" y="6247"/>
                  </a:lnTo>
                  <a:lnTo>
                    <a:pt x="7008" y="6208"/>
                  </a:lnTo>
                  <a:lnTo>
                    <a:pt x="6992" y="6188"/>
                  </a:lnTo>
                  <a:lnTo>
                    <a:pt x="6988" y="6163"/>
                  </a:lnTo>
                  <a:lnTo>
                    <a:pt x="7028" y="6021"/>
                  </a:lnTo>
                  <a:lnTo>
                    <a:pt x="7040" y="5992"/>
                  </a:lnTo>
                  <a:lnTo>
                    <a:pt x="7059" y="5965"/>
                  </a:lnTo>
                  <a:lnTo>
                    <a:pt x="7080" y="5942"/>
                  </a:lnTo>
                  <a:lnTo>
                    <a:pt x="7102" y="5923"/>
                  </a:lnTo>
                  <a:lnTo>
                    <a:pt x="7145" y="5902"/>
                  </a:lnTo>
                  <a:lnTo>
                    <a:pt x="7151" y="5895"/>
                  </a:lnTo>
                  <a:lnTo>
                    <a:pt x="7152" y="5888"/>
                  </a:lnTo>
                  <a:lnTo>
                    <a:pt x="7155" y="5874"/>
                  </a:lnTo>
                  <a:lnTo>
                    <a:pt x="7156" y="5866"/>
                  </a:lnTo>
                  <a:lnTo>
                    <a:pt x="7154" y="5860"/>
                  </a:lnTo>
                  <a:lnTo>
                    <a:pt x="7145" y="5846"/>
                  </a:lnTo>
                  <a:lnTo>
                    <a:pt x="7143" y="5840"/>
                  </a:lnTo>
                  <a:lnTo>
                    <a:pt x="7139" y="5813"/>
                  </a:lnTo>
                  <a:lnTo>
                    <a:pt x="7139" y="5761"/>
                  </a:lnTo>
                  <a:lnTo>
                    <a:pt x="7134" y="5738"/>
                  </a:lnTo>
                  <a:lnTo>
                    <a:pt x="7123" y="5719"/>
                  </a:lnTo>
                  <a:lnTo>
                    <a:pt x="7114" y="5711"/>
                  </a:lnTo>
                  <a:lnTo>
                    <a:pt x="7105" y="5707"/>
                  </a:lnTo>
                  <a:lnTo>
                    <a:pt x="7099" y="5706"/>
                  </a:lnTo>
                  <a:lnTo>
                    <a:pt x="7088" y="5700"/>
                  </a:lnTo>
                  <a:lnTo>
                    <a:pt x="7081" y="5698"/>
                  </a:lnTo>
                  <a:lnTo>
                    <a:pt x="7073" y="5699"/>
                  </a:lnTo>
                  <a:lnTo>
                    <a:pt x="7061" y="5702"/>
                  </a:lnTo>
                  <a:lnTo>
                    <a:pt x="7054" y="5703"/>
                  </a:lnTo>
                  <a:lnTo>
                    <a:pt x="7026" y="5699"/>
                  </a:lnTo>
                  <a:lnTo>
                    <a:pt x="7001" y="5685"/>
                  </a:lnTo>
                  <a:lnTo>
                    <a:pt x="6981" y="5665"/>
                  </a:lnTo>
                  <a:lnTo>
                    <a:pt x="6970" y="5642"/>
                  </a:lnTo>
                  <a:lnTo>
                    <a:pt x="6972" y="5553"/>
                  </a:lnTo>
                  <a:lnTo>
                    <a:pt x="6961" y="5531"/>
                  </a:lnTo>
                  <a:lnTo>
                    <a:pt x="6954" y="5528"/>
                  </a:lnTo>
                  <a:lnTo>
                    <a:pt x="6947" y="5526"/>
                  </a:lnTo>
                  <a:lnTo>
                    <a:pt x="6932" y="5527"/>
                  </a:lnTo>
                  <a:lnTo>
                    <a:pt x="6925" y="5525"/>
                  </a:lnTo>
                  <a:lnTo>
                    <a:pt x="6912" y="5519"/>
                  </a:lnTo>
                  <a:lnTo>
                    <a:pt x="6893" y="5514"/>
                  </a:lnTo>
                  <a:lnTo>
                    <a:pt x="6881" y="5504"/>
                  </a:lnTo>
                  <a:lnTo>
                    <a:pt x="6871" y="5493"/>
                  </a:lnTo>
                  <a:lnTo>
                    <a:pt x="6864" y="5483"/>
                  </a:lnTo>
                  <a:lnTo>
                    <a:pt x="6858" y="5470"/>
                  </a:lnTo>
                  <a:lnTo>
                    <a:pt x="6853" y="5456"/>
                  </a:lnTo>
                  <a:lnTo>
                    <a:pt x="6851" y="5442"/>
                  </a:lnTo>
                  <a:lnTo>
                    <a:pt x="6850" y="5427"/>
                  </a:lnTo>
                  <a:lnTo>
                    <a:pt x="6853" y="5413"/>
                  </a:lnTo>
                  <a:lnTo>
                    <a:pt x="6865" y="5386"/>
                  </a:lnTo>
                  <a:lnTo>
                    <a:pt x="6868" y="5372"/>
                  </a:lnTo>
                  <a:lnTo>
                    <a:pt x="6867" y="5355"/>
                  </a:lnTo>
                  <a:lnTo>
                    <a:pt x="6861" y="5346"/>
                  </a:lnTo>
                  <a:lnTo>
                    <a:pt x="6851" y="5342"/>
                  </a:lnTo>
                  <a:lnTo>
                    <a:pt x="6839" y="5341"/>
                  </a:lnTo>
                  <a:lnTo>
                    <a:pt x="6832" y="5346"/>
                  </a:lnTo>
                  <a:lnTo>
                    <a:pt x="6822" y="5354"/>
                  </a:lnTo>
                  <a:lnTo>
                    <a:pt x="6813" y="5358"/>
                  </a:lnTo>
                  <a:lnTo>
                    <a:pt x="6806" y="5350"/>
                  </a:lnTo>
                  <a:lnTo>
                    <a:pt x="6808" y="5350"/>
                  </a:lnTo>
                  <a:lnTo>
                    <a:pt x="6813" y="5351"/>
                  </a:lnTo>
                  <a:lnTo>
                    <a:pt x="6815" y="5350"/>
                  </a:lnTo>
                  <a:lnTo>
                    <a:pt x="6815" y="5346"/>
                  </a:lnTo>
                  <a:lnTo>
                    <a:pt x="6804" y="5341"/>
                  </a:lnTo>
                  <a:lnTo>
                    <a:pt x="6788" y="5338"/>
                  </a:lnTo>
                  <a:lnTo>
                    <a:pt x="6760" y="5337"/>
                  </a:lnTo>
                  <a:lnTo>
                    <a:pt x="6704" y="5328"/>
                  </a:lnTo>
                  <a:lnTo>
                    <a:pt x="6672" y="5327"/>
                  </a:lnTo>
                  <a:lnTo>
                    <a:pt x="6656" y="5324"/>
                  </a:lnTo>
                  <a:lnTo>
                    <a:pt x="6632" y="5311"/>
                  </a:lnTo>
                  <a:lnTo>
                    <a:pt x="6617" y="5308"/>
                  </a:lnTo>
                  <a:lnTo>
                    <a:pt x="6602" y="5308"/>
                  </a:lnTo>
                  <a:lnTo>
                    <a:pt x="6588" y="5311"/>
                  </a:lnTo>
                  <a:lnTo>
                    <a:pt x="6547" y="5329"/>
                  </a:lnTo>
                  <a:lnTo>
                    <a:pt x="6533" y="5332"/>
                  </a:lnTo>
                  <a:lnTo>
                    <a:pt x="6530" y="5330"/>
                  </a:lnTo>
                  <a:lnTo>
                    <a:pt x="6520" y="5322"/>
                  </a:lnTo>
                  <a:lnTo>
                    <a:pt x="6514" y="5319"/>
                  </a:lnTo>
                  <a:lnTo>
                    <a:pt x="6506" y="5320"/>
                  </a:lnTo>
                  <a:lnTo>
                    <a:pt x="6493" y="5323"/>
                  </a:lnTo>
                  <a:lnTo>
                    <a:pt x="6487" y="5324"/>
                  </a:lnTo>
                  <a:lnTo>
                    <a:pt x="6476" y="5318"/>
                  </a:lnTo>
                  <a:lnTo>
                    <a:pt x="6468" y="5309"/>
                  </a:lnTo>
                  <a:lnTo>
                    <a:pt x="6459" y="5301"/>
                  </a:lnTo>
                  <a:lnTo>
                    <a:pt x="6445" y="5297"/>
                  </a:lnTo>
                  <a:lnTo>
                    <a:pt x="6431" y="5299"/>
                  </a:lnTo>
                  <a:lnTo>
                    <a:pt x="6420" y="5304"/>
                  </a:lnTo>
                  <a:lnTo>
                    <a:pt x="6413" y="5313"/>
                  </a:lnTo>
                  <a:lnTo>
                    <a:pt x="6412" y="5328"/>
                  </a:lnTo>
                  <a:lnTo>
                    <a:pt x="6401" y="5319"/>
                  </a:lnTo>
                  <a:lnTo>
                    <a:pt x="6399" y="5304"/>
                  </a:lnTo>
                  <a:lnTo>
                    <a:pt x="6399" y="5288"/>
                  </a:lnTo>
                  <a:lnTo>
                    <a:pt x="6394" y="5276"/>
                  </a:lnTo>
                  <a:lnTo>
                    <a:pt x="6382" y="5271"/>
                  </a:lnTo>
                  <a:lnTo>
                    <a:pt x="6369" y="5273"/>
                  </a:lnTo>
                  <a:lnTo>
                    <a:pt x="6358" y="5282"/>
                  </a:lnTo>
                  <a:lnTo>
                    <a:pt x="6349" y="5309"/>
                  </a:lnTo>
                  <a:lnTo>
                    <a:pt x="6339" y="5322"/>
                  </a:lnTo>
                  <a:lnTo>
                    <a:pt x="6318" y="5341"/>
                  </a:lnTo>
                  <a:lnTo>
                    <a:pt x="6310" y="5354"/>
                  </a:lnTo>
                  <a:lnTo>
                    <a:pt x="6308" y="5364"/>
                  </a:lnTo>
                  <a:lnTo>
                    <a:pt x="6310" y="5392"/>
                  </a:lnTo>
                  <a:lnTo>
                    <a:pt x="6308" y="5405"/>
                  </a:lnTo>
                  <a:lnTo>
                    <a:pt x="6296" y="5448"/>
                  </a:lnTo>
                  <a:lnTo>
                    <a:pt x="6284" y="5467"/>
                  </a:lnTo>
                  <a:lnTo>
                    <a:pt x="6266" y="5479"/>
                  </a:lnTo>
                  <a:lnTo>
                    <a:pt x="6221" y="5500"/>
                  </a:lnTo>
                  <a:lnTo>
                    <a:pt x="6199" y="5514"/>
                  </a:lnTo>
                  <a:lnTo>
                    <a:pt x="6189" y="5523"/>
                  </a:lnTo>
                  <a:lnTo>
                    <a:pt x="6185" y="5533"/>
                  </a:lnTo>
                  <a:lnTo>
                    <a:pt x="6182" y="5547"/>
                  </a:lnTo>
                  <a:lnTo>
                    <a:pt x="6175" y="5562"/>
                  </a:lnTo>
                  <a:lnTo>
                    <a:pt x="6165" y="5576"/>
                  </a:lnTo>
                  <a:lnTo>
                    <a:pt x="6155" y="5584"/>
                  </a:lnTo>
                  <a:lnTo>
                    <a:pt x="6156" y="5578"/>
                  </a:lnTo>
                  <a:lnTo>
                    <a:pt x="6157" y="5574"/>
                  </a:lnTo>
                  <a:lnTo>
                    <a:pt x="6159" y="5575"/>
                  </a:lnTo>
                  <a:lnTo>
                    <a:pt x="6158" y="5550"/>
                  </a:lnTo>
                  <a:lnTo>
                    <a:pt x="6166" y="5528"/>
                  </a:lnTo>
                  <a:lnTo>
                    <a:pt x="6179" y="5509"/>
                  </a:lnTo>
                  <a:lnTo>
                    <a:pt x="6201" y="5490"/>
                  </a:lnTo>
                  <a:lnTo>
                    <a:pt x="6220" y="5476"/>
                  </a:lnTo>
                  <a:lnTo>
                    <a:pt x="6227" y="5473"/>
                  </a:lnTo>
                  <a:lnTo>
                    <a:pt x="6238" y="5472"/>
                  </a:lnTo>
                  <a:lnTo>
                    <a:pt x="6251" y="5467"/>
                  </a:lnTo>
                  <a:lnTo>
                    <a:pt x="6263" y="5462"/>
                  </a:lnTo>
                  <a:lnTo>
                    <a:pt x="6270" y="5456"/>
                  </a:lnTo>
                  <a:lnTo>
                    <a:pt x="6272" y="5446"/>
                  </a:lnTo>
                  <a:lnTo>
                    <a:pt x="6272" y="5416"/>
                  </a:lnTo>
                  <a:lnTo>
                    <a:pt x="6281" y="5395"/>
                  </a:lnTo>
                  <a:lnTo>
                    <a:pt x="6283" y="5378"/>
                  </a:lnTo>
                  <a:lnTo>
                    <a:pt x="6283" y="5350"/>
                  </a:lnTo>
                  <a:lnTo>
                    <a:pt x="6270" y="5326"/>
                  </a:lnTo>
                  <a:lnTo>
                    <a:pt x="6248" y="5326"/>
                  </a:lnTo>
                  <a:lnTo>
                    <a:pt x="6203" y="5346"/>
                  </a:lnTo>
                  <a:lnTo>
                    <a:pt x="6214" y="5337"/>
                  </a:lnTo>
                  <a:lnTo>
                    <a:pt x="6236" y="5322"/>
                  </a:lnTo>
                  <a:lnTo>
                    <a:pt x="6245" y="5313"/>
                  </a:lnTo>
                  <a:lnTo>
                    <a:pt x="6254" y="5309"/>
                  </a:lnTo>
                  <a:lnTo>
                    <a:pt x="6281" y="5309"/>
                  </a:lnTo>
                  <a:lnTo>
                    <a:pt x="6292" y="5307"/>
                  </a:lnTo>
                  <a:lnTo>
                    <a:pt x="6301" y="5300"/>
                  </a:lnTo>
                  <a:lnTo>
                    <a:pt x="6347" y="5246"/>
                  </a:lnTo>
                  <a:lnTo>
                    <a:pt x="6367" y="5216"/>
                  </a:lnTo>
                  <a:lnTo>
                    <a:pt x="6378" y="5193"/>
                  </a:lnTo>
                  <a:lnTo>
                    <a:pt x="6382" y="5168"/>
                  </a:lnTo>
                  <a:lnTo>
                    <a:pt x="6376" y="5139"/>
                  </a:lnTo>
                  <a:lnTo>
                    <a:pt x="6361" y="5112"/>
                  </a:lnTo>
                  <a:lnTo>
                    <a:pt x="6338" y="5093"/>
                  </a:lnTo>
                  <a:lnTo>
                    <a:pt x="6311" y="5086"/>
                  </a:lnTo>
                  <a:lnTo>
                    <a:pt x="6283" y="5095"/>
                  </a:lnTo>
                  <a:lnTo>
                    <a:pt x="6270" y="5106"/>
                  </a:lnTo>
                  <a:lnTo>
                    <a:pt x="6268" y="5108"/>
                  </a:lnTo>
                  <a:lnTo>
                    <a:pt x="6264" y="5110"/>
                  </a:lnTo>
                  <a:lnTo>
                    <a:pt x="6262" y="5112"/>
                  </a:lnTo>
                  <a:lnTo>
                    <a:pt x="6260" y="5116"/>
                  </a:lnTo>
                  <a:lnTo>
                    <a:pt x="6259" y="5117"/>
                  </a:lnTo>
                  <a:lnTo>
                    <a:pt x="6255" y="5116"/>
                  </a:lnTo>
                  <a:lnTo>
                    <a:pt x="6253" y="5115"/>
                  </a:lnTo>
                  <a:lnTo>
                    <a:pt x="6251" y="5113"/>
                  </a:lnTo>
                  <a:lnTo>
                    <a:pt x="6249" y="5112"/>
                  </a:lnTo>
                  <a:lnTo>
                    <a:pt x="6240" y="5107"/>
                  </a:lnTo>
                  <a:lnTo>
                    <a:pt x="6238" y="5096"/>
                  </a:lnTo>
                  <a:lnTo>
                    <a:pt x="6238" y="5081"/>
                  </a:lnTo>
                  <a:lnTo>
                    <a:pt x="6234" y="5068"/>
                  </a:lnTo>
                  <a:lnTo>
                    <a:pt x="6227" y="5076"/>
                  </a:lnTo>
                  <a:lnTo>
                    <a:pt x="6212" y="5094"/>
                  </a:lnTo>
                  <a:lnTo>
                    <a:pt x="6203" y="5099"/>
                  </a:lnTo>
                  <a:lnTo>
                    <a:pt x="6192" y="5100"/>
                  </a:lnTo>
                  <a:lnTo>
                    <a:pt x="6191" y="5096"/>
                  </a:lnTo>
                  <a:lnTo>
                    <a:pt x="6196" y="5089"/>
                  </a:lnTo>
                  <a:lnTo>
                    <a:pt x="6201" y="5084"/>
                  </a:lnTo>
                  <a:lnTo>
                    <a:pt x="6208" y="5073"/>
                  </a:lnTo>
                  <a:lnTo>
                    <a:pt x="6218" y="5055"/>
                  </a:lnTo>
                  <a:lnTo>
                    <a:pt x="6223" y="5037"/>
                  </a:lnTo>
                  <a:lnTo>
                    <a:pt x="6214" y="5029"/>
                  </a:lnTo>
                  <a:lnTo>
                    <a:pt x="6203" y="5022"/>
                  </a:lnTo>
                  <a:lnTo>
                    <a:pt x="6190" y="5009"/>
                  </a:lnTo>
                  <a:lnTo>
                    <a:pt x="6176" y="4996"/>
                  </a:lnTo>
                  <a:lnTo>
                    <a:pt x="6159" y="4994"/>
                  </a:lnTo>
                  <a:lnTo>
                    <a:pt x="6152" y="5002"/>
                  </a:lnTo>
                  <a:lnTo>
                    <a:pt x="6143" y="5035"/>
                  </a:lnTo>
                  <a:lnTo>
                    <a:pt x="6132" y="5046"/>
                  </a:lnTo>
                  <a:lnTo>
                    <a:pt x="6126" y="5030"/>
                  </a:lnTo>
                  <a:lnTo>
                    <a:pt x="6124" y="5021"/>
                  </a:lnTo>
                  <a:lnTo>
                    <a:pt x="6124" y="5011"/>
                  </a:lnTo>
                  <a:lnTo>
                    <a:pt x="6127" y="4997"/>
                  </a:lnTo>
                  <a:lnTo>
                    <a:pt x="6142" y="4973"/>
                  </a:lnTo>
                  <a:lnTo>
                    <a:pt x="6146" y="4965"/>
                  </a:lnTo>
                  <a:lnTo>
                    <a:pt x="6156" y="4948"/>
                  </a:lnTo>
                  <a:lnTo>
                    <a:pt x="6159" y="4941"/>
                  </a:lnTo>
                  <a:lnTo>
                    <a:pt x="6159" y="4934"/>
                  </a:lnTo>
                  <a:lnTo>
                    <a:pt x="6156" y="4921"/>
                  </a:lnTo>
                  <a:lnTo>
                    <a:pt x="6146" y="4887"/>
                  </a:lnTo>
                  <a:lnTo>
                    <a:pt x="6121" y="4840"/>
                  </a:lnTo>
                  <a:lnTo>
                    <a:pt x="6110" y="4813"/>
                  </a:lnTo>
                  <a:lnTo>
                    <a:pt x="6105" y="4786"/>
                  </a:lnTo>
                  <a:lnTo>
                    <a:pt x="6106" y="4688"/>
                  </a:lnTo>
                  <a:lnTo>
                    <a:pt x="6102" y="4648"/>
                  </a:lnTo>
                  <a:lnTo>
                    <a:pt x="6099" y="4641"/>
                  </a:lnTo>
                  <a:lnTo>
                    <a:pt x="6079" y="4619"/>
                  </a:lnTo>
                  <a:lnTo>
                    <a:pt x="6077" y="4614"/>
                  </a:lnTo>
                  <a:lnTo>
                    <a:pt x="6071" y="4593"/>
                  </a:lnTo>
                  <a:lnTo>
                    <a:pt x="6068" y="4568"/>
                  </a:lnTo>
                  <a:lnTo>
                    <a:pt x="6076" y="4527"/>
                  </a:lnTo>
                  <a:lnTo>
                    <a:pt x="6058" y="4471"/>
                  </a:lnTo>
                  <a:lnTo>
                    <a:pt x="6055" y="4465"/>
                  </a:lnTo>
                  <a:lnTo>
                    <a:pt x="6018" y="4466"/>
                  </a:lnTo>
                  <a:lnTo>
                    <a:pt x="5981" y="4477"/>
                  </a:lnTo>
                  <a:lnTo>
                    <a:pt x="5975" y="4481"/>
                  </a:lnTo>
                  <a:lnTo>
                    <a:pt x="5948" y="4492"/>
                  </a:lnTo>
                  <a:lnTo>
                    <a:pt x="5934" y="4489"/>
                  </a:lnTo>
                  <a:lnTo>
                    <a:pt x="5893" y="4465"/>
                  </a:lnTo>
                  <a:lnTo>
                    <a:pt x="5881" y="4463"/>
                  </a:lnTo>
                  <a:lnTo>
                    <a:pt x="5848" y="4463"/>
                  </a:lnTo>
                  <a:lnTo>
                    <a:pt x="5837" y="4459"/>
                  </a:lnTo>
                  <a:lnTo>
                    <a:pt x="5826" y="4450"/>
                  </a:lnTo>
                  <a:lnTo>
                    <a:pt x="5782" y="4430"/>
                  </a:lnTo>
                  <a:lnTo>
                    <a:pt x="5774" y="4433"/>
                  </a:lnTo>
                  <a:lnTo>
                    <a:pt x="5747" y="4439"/>
                  </a:lnTo>
                  <a:lnTo>
                    <a:pt x="5732" y="4444"/>
                  </a:lnTo>
                  <a:lnTo>
                    <a:pt x="5718" y="4454"/>
                  </a:lnTo>
                  <a:lnTo>
                    <a:pt x="5707" y="4466"/>
                  </a:lnTo>
                  <a:lnTo>
                    <a:pt x="5700" y="4492"/>
                  </a:lnTo>
                  <a:lnTo>
                    <a:pt x="5695" y="4485"/>
                  </a:lnTo>
                  <a:lnTo>
                    <a:pt x="5685" y="4461"/>
                  </a:lnTo>
                  <a:lnTo>
                    <a:pt x="5678" y="4451"/>
                  </a:lnTo>
                  <a:lnTo>
                    <a:pt x="5669" y="4444"/>
                  </a:lnTo>
                  <a:lnTo>
                    <a:pt x="5657" y="4440"/>
                  </a:lnTo>
                  <a:lnTo>
                    <a:pt x="5643" y="4439"/>
                  </a:lnTo>
                  <a:lnTo>
                    <a:pt x="5633" y="4436"/>
                  </a:lnTo>
                  <a:lnTo>
                    <a:pt x="5619" y="4419"/>
                  </a:lnTo>
                  <a:lnTo>
                    <a:pt x="5610" y="4412"/>
                  </a:lnTo>
                  <a:lnTo>
                    <a:pt x="5585" y="4408"/>
                  </a:lnTo>
                  <a:lnTo>
                    <a:pt x="5581" y="4405"/>
                  </a:lnTo>
                  <a:lnTo>
                    <a:pt x="5579" y="4399"/>
                  </a:lnTo>
                  <a:lnTo>
                    <a:pt x="5575" y="4393"/>
                  </a:lnTo>
                  <a:lnTo>
                    <a:pt x="5561" y="4388"/>
                  </a:lnTo>
                  <a:lnTo>
                    <a:pt x="5555" y="4383"/>
                  </a:lnTo>
                  <a:lnTo>
                    <a:pt x="5551" y="4377"/>
                  </a:lnTo>
                  <a:lnTo>
                    <a:pt x="5547" y="4373"/>
                  </a:lnTo>
                  <a:lnTo>
                    <a:pt x="5546" y="4371"/>
                  </a:lnTo>
                  <a:lnTo>
                    <a:pt x="5544" y="4366"/>
                  </a:lnTo>
                  <a:lnTo>
                    <a:pt x="5543" y="4364"/>
                  </a:lnTo>
                  <a:lnTo>
                    <a:pt x="5540" y="4364"/>
                  </a:lnTo>
                  <a:lnTo>
                    <a:pt x="5532" y="4365"/>
                  </a:lnTo>
                  <a:lnTo>
                    <a:pt x="5530" y="4364"/>
                  </a:lnTo>
                  <a:lnTo>
                    <a:pt x="5522" y="4356"/>
                  </a:lnTo>
                  <a:lnTo>
                    <a:pt x="5512" y="4336"/>
                  </a:lnTo>
                  <a:lnTo>
                    <a:pt x="5505" y="4327"/>
                  </a:lnTo>
                  <a:lnTo>
                    <a:pt x="5493" y="4320"/>
                  </a:lnTo>
                  <a:lnTo>
                    <a:pt x="5478" y="4319"/>
                  </a:lnTo>
                  <a:lnTo>
                    <a:pt x="5450" y="4324"/>
                  </a:lnTo>
                  <a:lnTo>
                    <a:pt x="5454" y="4316"/>
                  </a:lnTo>
                  <a:lnTo>
                    <a:pt x="5465" y="4305"/>
                  </a:lnTo>
                  <a:lnTo>
                    <a:pt x="5467" y="4296"/>
                  </a:lnTo>
                  <a:lnTo>
                    <a:pt x="5464" y="4289"/>
                  </a:lnTo>
                  <a:lnTo>
                    <a:pt x="5456" y="4284"/>
                  </a:lnTo>
                  <a:lnTo>
                    <a:pt x="5446" y="4281"/>
                  </a:lnTo>
                  <a:lnTo>
                    <a:pt x="5423" y="4277"/>
                  </a:lnTo>
                  <a:lnTo>
                    <a:pt x="5407" y="4269"/>
                  </a:lnTo>
                  <a:lnTo>
                    <a:pt x="5395" y="4259"/>
                  </a:lnTo>
                  <a:lnTo>
                    <a:pt x="5388" y="4249"/>
                  </a:lnTo>
                  <a:lnTo>
                    <a:pt x="5403" y="4248"/>
                  </a:lnTo>
                  <a:lnTo>
                    <a:pt x="5414" y="4240"/>
                  </a:lnTo>
                  <a:lnTo>
                    <a:pt x="5416" y="4230"/>
                  </a:lnTo>
                  <a:lnTo>
                    <a:pt x="5406" y="4223"/>
                  </a:lnTo>
                  <a:lnTo>
                    <a:pt x="5406" y="4219"/>
                  </a:lnTo>
                  <a:lnTo>
                    <a:pt x="5419" y="4209"/>
                  </a:lnTo>
                  <a:lnTo>
                    <a:pt x="5429" y="4191"/>
                  </a:lnTo>
                  <a:lnTo>
                    <a:pt x="5434" y="4172"/>
                  </a:lnTo>
                  <a:lnTo>
                    <a:pt x="5432" y="4157"/>
                  </a:lnTo>
                  <a:lnTo>
                    <a:pt x="5427" y="4150"/>
                  </a:lnTo>
                  <a:lnTo>
                    <a:pt x="5413" y="4138"/>
                  </a:lnTo>
                  <a:lnTo>
                    <a:pt x="5410" y="4133"/>
                  </a:lnTo>
                  <a:lnTo>
                    <a:pt x="5406" y="4091"/>
                  </a:lnTo>
                  <a:lnTo>
                    <a:pt x="5417" y="4118"/>
                  </a:lnTo>
                  <a:lnTo>
                    <a:pt x="5424" y="4130"/>
                  </a:lnTo>
                  <a:lnTo>
                    <a:pt x="5435" y="4135"/>
                  </a:lnTo>
                  <a:lnTo>
                    <a:pt x="5498" y="4123"/>
                  </a:lnTo>
                  <a:lnTo>
                    <a:pt x="5518" y="4117"/>
                  </a:lnTo>
                  <a:lnTo>
                    <a:pt x="5535" y="4108"/>
                  </a:lnTo>
                  <a:lnTo>
                    <a:pt x="5547" y="4096"/>
                  </a:lnTo>
                  <a:lnTo>
                    <a:pt x="5551" y="4083"/>
                  </a:lnTo>
                  <a:lnTo>
                    <a:pt x="5546" y="4075"/>
                  </a:lnTo>
                  <a:lnTo>
                    <a:pt x="5522" y="4059"/>
                  </a:lnTo>
                  <a:lnTo>
                    <a:pt x="5508" y="4058"/>
                  </a:lnTo>
                  <a:lnTo>
                    <a:pt x="5501" y="4054"/>
                  </a:lnTo>
                  <a:lnTo>
                    <a:pt x="5495" y="4049"/>
                  </a:lnTo>
                  <a:lnTo>
                    <a:pt x="5489" y="4046"/>
                  </a:lnTo>
                  <a:lnTo>
                    <a:pt x="5483" y="4044"/>
                  </a:lnTo>
                  <a:lnTo>
                    <a:pt x="5476" y="4043"/>
                  </a:lnTo>
                  <a:lnTo>
                    <a:pt x="5442" y="4043"/>
                  </a:lnTo>
                  <a:lnTo>
                    <a:pt x="5435" y="4045"/>
                  </a:lnTo>
                  <a:lnTo>
                    <a:pt x="5423" y="4049"/>
                  </a:lnTo>
                  <a:lnTo>
                    <a:pt x="5410" y="4047"/>
                  </a:lnTo>
                  <a:lnTo>
                    <a:pt x="5388" y="4038"/>
                  </a:lnTo>
                  <a:lnTo>
                    <a:pt x="5388" y="4034"/>
                  </a:lnTo>
                  <a:lnTo>
                    <a:pt x="5429" y="4027"/>
                  </a:lnTo>
                  <a:lnTo>
                    <a:pt x="5447" y="4020"/>
                  </a:lnTo>
                  <a:lnTo>
                    <a:pt x="5454" y="4005"/>
                  </a:lnTo>
                  <a:lnTo>
                    <a:pt x="5460" y="3988"/>
                  </a:lnTo>
                  <a:lnTo>
                    <a:pt x="5484" y="3965"/>
                  </a:lnTo>
                  <a:lnTo>
                    <a:pt x="5489" y="3950"/>
                  </a:lnTo>
                  <a:lnTo>
                    <a:pt x="5481" y="3938"/>
                  </a:lnTo>
                  <a:lnTo>
                    <a:pt x="5462" y="3943"/>
                  </a:lnTo>
                  <a:lnTo>
                    <a:pt x="5439" y="3953"/>
                  </a:lnTo>
                  <a:lnTo>
                    <a:pt x="5421" y="3959"/>
                  </a:lnTo>
                  <a:lnTo>
                    <a:pt x="5411" y="3961"/>
                  </a:lnTo>
                  <a:lnTo>
                    <a:pt x="5391" y="3970"/>
                  </a:lnTo>
                  <a:lnTo>
                    <a:pt x="5380" y="3972"/>
                  </a:lnTo>
                  <a:lnTo>
                    <a:pt x="5369" y="3971"/>
                  </a:lnTo>
                  <a:lnTo>
                    <a:pt x="5350" y="3968"/>
                  </a:lnTo>
                  <a:lnTo>
                    <a:pt x="5339" y="3968"/>
                  </a:lnTo>
                  <a:lnTo>
                    <a:pt x="5359" y="3955"/>
                  </a:lnTo>
                  <a:lnTo>
                    <a:pt x="5432" y="3942"/>
                  </a:lnTo>
                  <a:lnTo>
                    <a:pt x="5451" y="3932"/>
                  </a:lnTo>
                  <a:lnTo>
                    <a:pt x="5466" y="3920"/>
                  </a:lnTo>
                  <a:lnTo>
                    <a:pt x="5477" y="3905"/>
                  </a:lnTo>
                  <a:lnTo>
                    <a:pt x="5481" y="3886"/>
                  </a:lnTo>
                  <a:lnTo>
                    <a:pt x="5484" y="3879"/>
                  </a:lnTo>
                  <a:lnTo>
                    <a:pt x="5493" y="3876"/>
                  </a:lnTo>
                  <a:lnTo>
                    <a:pt x="5516" y="3875"/>
                  </a:lnTo>
                  <a:lnTo>
                    <a:pt x="5525" y="3874"/>
                  </a:lnTo>
                  <a:lnTo>
                    <a:pt x="5537" y="3870"/>
                  </a:lnTo>
                  <a:lnTo>
                    <a:pt x="5544" y="3864"/>
                  </a:lnTo>
                  <a:lnTo>
                    <a:pt x="5538" y="3850"/>
                  </a:lnTo>
                  <a:lnTo>
                    <a:pt x="5540" y="3843"/>
                  </a:lnTo>
                  <a:lnTo>
                    <a:pt x="5542" y="3837"/>
                  </a:lnTo>
                  <a:lnTo>
                    <a:pt x="5543" y="3831"/>
                  </a:lnTo>
                  <a:lnTo>
                    <a:pt x="5540" y="3827"/>
                  </a:lnTo>
                  <a:lnTo>
                    <a:pt x="5535" y="3826"/>
                  </a:lnTo>
                  <a:lnTo>
                    <a:pt x="5531" y="3825"/>
                  </a:lnTo>
                  <a:lnTo>
                    <a:pt x="5530" y="3818"/>
                  </a:lnTo>
                  <a:lnTo>
                    <a:pt x="5532" y="3814"/>
                  </a:lnTo>
                  <a:lnTo>
                    <a:pt x="5538" y="3811"/>
                  </a:lnTo>
                  <a:lnTo>
                    <a:pt x="5543" y="3810"/>
                  </a:lnTo>
                  <a:lnTo>
                    <a:pt x="5547" y="3809"/>
                  </a:lnTo>
                  <a:lnTo>
                    <a:pt x="5553" y="3813"/>
                  </a:lnTo>
                  <a:lnTo>
                    <a:pt x="5560" y="3826"/>
                  </a:lnTo>
                  <a:lnTo>
                    <a:pt x="5565" y="3831"/>
                  </a:lnTo>
                  <a:lnTo>
                    <a:pt x="5571" y="3834"/>
                  </a:lnTo>
                  <a:lnTo>
                    <a:pt x="5576" y="3833"/>
                  </a:lnTo>
                  <a:lnTo>
                    <a:pt x="5581" y="3832"/>
                  </a:lnTo>
                  <a:lnTo>
                    <a:pt x="5590" y="3831"/>
                  </a:lnTo>
                  <a:lnTo>
                    <a:pt x="5594" y="3829"/>
                  </a:lnTo>
                  <a:lnTo>
                    <a:pt x="5594" y="3817"/>
                  </a:lnTo>
                  <a:lnTo>
                    <a:pt x="5598" y="3814"/>
                  </a:lnTo>
                  <a:lnTo>
                    <a:pt x="5654" y="3809"/>
                  </a:lnTo>
                  <a:lnTo>
                    <a:pt x="5668" y="3811"/>
                  </a:lnTo>
                  <a:lnTo>
                    <a:pt x="5676" y="3810"/>
                  </a:lnTo>
                  <a:lnTo>
                    <a:pt x="5683" y="3807"/>
                  </a:lnTo>
                  <a:lnTo>
                    <a:pt x="5689" y="3797"/>
                  </a:lnTo>
                  <a:lnTo>
                    <a:pt x="5691" y="3790"/>
                  </a:lnTo>
                  <a:lnTo>
                    <a:pt x="5687" y="3787"/>
                  </a:lnTo>
                  <a:lnTo>
                    <a:pt x="5682" y="3780"/>
                  </a:lnTo>
                  <a:lnTo>
                    <a:pt x="5656" y="3649"/>
                  </a:lnTo>
                  <a:lnTo>
                    <a:pt x="5645" y="3624"/>
                  </a:lnTo>
                  <a:lnTo>
                    <a:pt x="5637" y="3614"/>
                  </a:lnTo>
                  <a:lnTo>
                    <a:pt x="5624" y="3602"/>
                  </a:lnTo>
                  <a:lnTo>
                    <a:pt x="5611" y="3593"/>
                  </a:lnTo>
                  <a:lnTo>
                    <a:pt x="5594" y="3588"/>
                  </a:lnTo>
                  <a:lnTo>
                    <a:pt x="5589" y="3584"/>
                  </a:lnTo>
                  <a:lnTo>
                    <a:pt x="5582" y="3581"/>
                  </a:lnTo>
                  <a:lnTo>
                    <a:pt x="5575" y="3580"/>
                  </a:lnTo>
                  <a:lnTo>
                    <a:pt x="5569" y="3584"/>
                  </a:lnTo>
                  <a:lnTo>
                    <a:pt x="5564" y="3590"/>
                  </a:lnTo>
                  <a:lnTo>
                    <a:pt x="5557" y="3603"/>
                  </a:lnTo>
                  <a:lnTo>
                    <a:pt x="5544" y="3561"/>
                  </a:lnTo>
                  <a:lnTo>
                    <a:pt x="5514" y="3523"/>
                  </a:lnTo>
                  <a:lnTo>
                    <a:pt x="5475" y="3493"/>
                  </a:lnTo>
                  <a:lnTo>
                    <a:pt x="5437" y="3471"/>
                  </a:lnTo>
                  <a:lnTo>
                    <a:pt x="5417" y="3462"/>
                  </a:lnTo>
                  <a:lnTo>
                    <a:pt x="5399" y="3458"/>
                  </a:lnTo>
                  <a:lnTo>
                    <a:pt x="5382" y="3461"/>
                  </a:lnTo>
                  <a:lnTo>
                    <a:pt x="5364" y="3473"/>
                  </a:lnTo>
                  <a:lnTo>
                    <a:pt x="5346" y="3482"/>
                  </a:lnTo>
                  <a:lnTo>
                    <a:pt x="5309" y="3489"/>
                  </a:lnTo>
                  <a:lnTo>
                    <a:pt x="5295" y="3501"/>
                  </a:lnTo>
                  <a:lnTo>
                    <a:pt x="5282" y="3529"/>
                  </a:lnTo>
                  <a:lnTo>
                    <a:pt x="5272" y="3540"/>
                  </a:lnTo>
                  <a:lnTo>
                    <a:pt x="5257" y="3545"/>
                  </a:lnTo>
                  <a:lnTo>
                    <a:pt x="5244" y="3547"/>
                  </a:lnTo>
                  <a:lnTo>
                    <a:pt x="5228" y="3551"/>
                  </a:lnTo>
                  <a:lnTo>
                    <a:pt x="5214" y="3556"/>
                  </a:lnTo>
                  <a:lnTo>
                    <a:pt x="5202" y="3563"/>
                  </a:lnTo>
                  <a:lnTo>
                    <a:pt x="5169" y="3594"/>
                  </a:lnTo>
                  <a:lnTo>
                    <a:pt x="5160" y="3598"/>
                  </a:lnTo>
                  <a:lnTo>
                    <a:pt x="5147" y="3601"/>
                  </a:lnTo>
                  <a:lnTo>
                    <a:pt x="5102" y="3630"/>
                  </a:lnTo>
                  <a:lnTo>
                    <a:pt x="5091" y="3635"/>
                  </a:lnTo>
                  <a:lnTo>
                    <a:pt x="5047" y="3640"/>
                  </a:lnTo>
                  <a:lnTo>
                    <a:pt x="5012" y="3655"/>
                  </a:lnTo>
                  <a:lnTo>
                    <a:pt x="4997" y="3657"/>
                  </a:lnTo>
                  <a:lnTo>
                    <a:pt x="4968" y="3654"/>
                  </a:lnTo>
                  <a:lnTo>
                    <a:pt x="4956" y="3658"/>
                  </a:lnTo>
                  <a:lnTo>
                    <a:pt x="4950" y="3662"/>
                  </a:lnTo>
                  <a:lnTo>
                    <a:pt x="4935" y="3668"/>
                  </a:lnTo>
                  <a:lnTo>
                    <a:pt x="4927" y="3673"/>
                  </a:lnTo>
                  <a:lnTo>
                    <a:pt x="4924" y="3677"/>
                  </a:lnTo>
                  <a:lnTo>
                    <a:pt x="4918" y="3686"/>
                  </a:lnTo>
                  <a:lnTo>
                    <a:pt x="4914" y="3691"/>
                  </a:lnTo>
                  <a:lnTo>
                    <a:pt x="4891" y="3701"/>
                  </a:lnTo>
                  <a:lnTo>
                    <a:pt x="4871" y="3694"/>
                  </a:lnTo>
                  <a:lnTo>
                    <a:pt x="4853" y="3679"/>
                  </a:lnTo>
                  <a:lnTo>
                    <a:pt x="4838" y="3664"/>
                  </a:lnTo>
                  <a:lnTo>
                    <a:pt x="4832" y="3655"/>
                  </a:lnTo>
                  <a:lnTo>
                    <a:pt x="4829" y="3652"/>
                  </a:lnTo>
                  <a:lnTo>
                    <a:pt x="4823" y="3651"/>
                  </a:lnTo>
                  <a:lnTo>
                    <a:pt x="4808" y="3651"/>
                  </a:lnTo>
                  <a:lnTo>
                    <a:pt x="4802" y="3649"/>
                  </a:lnTo>
                  <a:lnTo>
                    <a:pt x="4796" y="3644"/>
                  </a:lnTo>
                  <a:lnTo>
                    <a:pt x="4800" y="3642"/>
                  </a:lnTo>
                  <a:lnTo>
                    <a:pt x="4815" y="3644"/>
                  </a:lnTo>
                  <a:lnTo>
                    <a:pt x="4832" y="3646"/>
                  </a:lnTo>
                  <a:lnTo>
                    <a:pt x="4843" y="3651"/>
                  </a:lnTo>
                  <a:lnTo>
                    <a:pt x="4865" y="3674"/>
                  </a:lnTo>
                  <a:lnTo>
                    <a:pt x="4877" y="3683"/>
                  </a:lnTo>
                  <a:lnTo>
                    <a:pt x="4894" y="3686"/>
                  </a:lnTo>
                  <a:lnTo>
                    <a:pt x="4901" y="3683"/>
                  </a:lnTo>
                  <a:lnTo>
                    <a:pt x="4914" y="3660"/>
                  </a:lnTo>
                  <a:lnTo>
                    <a:pt x="4919" y="3655"/>
                  </a:lnTo>
                  <a:lnTo>
                    <a:pt x="4924" y="3652"/>
                  </a:lnTo>
                  <a:lnTo>
                    <a:pt x="4936" y="3647"/>
                  </a:lnTo>
                  <a:lnTo>
                    <a:pt x="4981" y="3637"/>
                  </a:lnTo>
                  <a:lnTo>
                    <a:pt x="4991" y="3631"/>
                  </a:lnTo>
                  <a:lnTo>
                    <a:pt x="5000" y="3624"/>
                  </a:lnTo>
                  <a:lnTo>
                    <a:pt x="5075" y="3587"/>
                  </a:lnTo>
                  <a:lnTo>
                    <a:pt x="5099" y="3581"/>
                  </a:lnTo>
                  <a:lnTo>
                    <a:pt x="5114" y="3573"/>
                  </a:lnTo>
                  <a:lnTo>
                    <a:pt x="5140" y="3554"/>
                  </a:lnTo>
                  <a:lnTo>
                    <a:pt x="5189" y="3532"/>
                  </a:lnTo>
                  <a:lnTo>
                    <a:pt x="5213" y="3518"/>
                  </a:lnTo>
                  <a:lnTo>
                    <a:pt x="5224" y="3501"/>
                  </a:lnTo>
                  <a:lnTo>
                    <a:pt x="5219" y="3471"/>
                  </a:lnTo>
                  <a:lnTo>
                    <a:pt x="5201" y="3444"/>
                  </a:lnTo>
                  <a:lnTo>
                    <a:pt x="5135" y="3368"/>
                  </a:lnTo>
                  <a:lnTo>
                    <a:pt x="5111" y="3348"/>
                  </a:lnTo>
                  <a:lnTo>
                    <a:pt x="5085" y="3336"/>
                  </a:lnTo>
                  <a:lnTo>
                    <a:pt x="5023" y="3333"/>
                  </a:lnTo>
                  <a:lnTo>
                    <a:pt x="4949" y="3320"/>
                  </a:lnTo>
                  <a:lnTo>
                    <a:pt x="4937" y="3322"/>
                  </a:lnTo>
                  <a:lnTo>
                    <a:pt x="4916" y="3328"/>
                  </a:lnTo>
                  <a:lnTo>
                    <a:pt x="4903" y="3330"/>
                  </a:lnTo>
                  <a:lnTo>
                    <a:pt x="4875" y="3328"/>
                  </a:lnTo>
                  <a:lnTo>
                    <a:pt x="4862" y="3326"/>
                  </a:lnTo>
                  <a:lnTo>
                    <a:pt x="4847" y="3320"/>
                  </a:lnTo>
                  <a:lnTo>
                    <a:pt x="4818" y="3305"/>
                  </a:lnTo>
                  <a:lnTo>
                    <a:pt x="4793" y="3286"/>
                  </a:lnTo>
                  <a:lnTo>
                    <a:pt x="4725" y="3213"/>
                  </a:lnTo>
                  <a:lnTo>
                    <a:pt x="4673" y="3172"/>
                  </a:lnTo>
                  <a:lnTo>
                    <a:pt x="4653" y="3145"/>
                  </a:lnTo>
                  <a:lnTo>
                    <a:pt x="4643" y="3118"/>
                  </a:lnTo>
                  <a:lnTo>
                    <a:pt x="4643" y="3093"/>
                  </a:lnTo>
                  <a:lnTo>
                    <a:pt x="4648" y="3043"/>
                  </a:lnTo>
                  <a:lnTo>
                    <a:pt x="4645" y="3032"/>
                  </a:lnTo>
                  <a:lnTo>
                    <a:pt x="4639" y="3021"/>
                  </a:lnTo>
                  <a:lnTo>
                    <a:pt x="4630" y="3012"/>
                  </a:lnTo>
                  <a:lnTo>
                    <a:pt x="4619" y="3008"/>
                  </a:lnTo>
                  <a:lnTo>
                    <a:pt x="4613" y="3001"/>
                  </a:lnTo>
                  <a:lnTo>
                    <a:pt x="4613" y="2985"/>
                  </a:lnTo>
                  <a:lnTo>
                    <a:pt x="4617" y="2960"/>
                  </a:lnTo>
                  <a:lnTo>
                    <a:pt x="4611" y="2930"/>
                  </a:lnTo>
                  <a:lnTo>
                    <a:pt x="4594" y="2912"/>
                  </a:lnTo>
                  <a:lnTo>
                    <a:pt x="4532" y="2879"/>
                  </a:lnTo>
                  <a:lnTo>
                    <a:pt x="4375" y="2746"/>
                  </a:lnTo>
                  <a:lnTo>
                    <a:pt x="4356" y="2735"/>
                  </a:lnTo>
                  <a:lnTo>
                    <a:pt x="4331" y="2729"/>
                  </a:lnTo>
                  <a:lnTo>
                    <a:pt x="4307" y="2730"/>
                  </a:lnTo>
                  <a:lnTo>
                    <a:pt x="4254" y="2740"/>
                  </a:lnTo>
                  <a:lnTo>
                    <a:pt x="4238" y="2739"/>
                  </a:lnTo>
                  <a:lnTo>
                    <a:pt x="4214" y="2729"/>
                  </a:lnTo>
                  <a:lnTo>
                    <a:pt x="4191" y="2724"/>
                  </a:lnTo>
                  <a:lnTo>
                    <a:pt x="4147" y="2704"/>
                  </a:lnTo>
                  <a:lnTo>
                    <a:pt x="4128" y="2687"/>
                  </a:lnTo>
                  <a:lnTo>
                    <a:pt x="4115" y="2663"/>
                  </a:lnTo>
                  <a:lnTo>
                    <a:pt x="4098" y="2608"/>
                  </a:lnTo>
                  <a:lnTo>
                    <a:pt x="4082" y="2571"/>
                  </a:lnTo>
                  <a:lnTo>
                    <a:pt x="4080" y="2557"/>
                  </a:lnTo>
                  <a:lnTo>
                    <a:pt x="4083" y="2530"/>
                  </a:lnTo>
                  <a:lnTo>
                    <a:pt x="4082" y="2516"/>
                  </a:lnTo>
                  <a:lnTo>
                    <a:pt x="4076" y="2502"/>
                  </a:lnTo>
                  <a:lnTo>
                    <a:pt x="4065" y="2488"/>
                  </a:lnTo>
                  <a:lnTo>
                    <a:pt x="3989" y="2424"/>
                  </a:lnTo>
                  <a:lnTo>
                    <a:pt x="3915" y="2376"/>
                  </a:lnTo>
                  <a:lnTo>
                    <a:pt x="3908" y="2363"/>
                  </a:lnTo>
                  <a:lnTo>
                    <a:pt x="3909" y="2338"/>
                  </a:lnTo>
                  <a:lnTo>
                    <a:pt x="3904" y="2330"/>
                  </a:lnTo>
                  <a:lnTo>
                    <a:pt x="3812" y="2325"/>
                  </a:lnTo>
                  <a:lnTo>
                    <a:pt x="3797" y="2326"/>
                  </a:lnTo>
                  <a:lnTo>
                    <a:pt x="3768" y="2337"/>
                  </a:lnTo>
                  <a:lnTo>
                    <a:pt x="3750" y="2357"/>
                  </a:lnTo>
                  <a:lnTo>
                    <a:pt x="3742" y="2383"/>
                  </a:lnTo>
                  <a:lnTo>
                    <a:pt x="3744" y="2414"/>
                  </a:lnTo>
                  <a:lnTo>
                    <a:pt x="3757" y="2443"/>
                  </a:lnTo>
                  <a:lnTo>
                    <a:pt x="3797" y="2494"/>
                  </a:lnTo>
                  <a:lnTo>
                    <a:pt x="3810" y="2524"/>
                  </a:lnTo>
                  <a:lnTo>
                    <a:pt x="3817" y="2553"/>
                  </a:lnTo>
                  <a:lnTo>
                    <a:pt x="3822" y="2567"/>
                  </a:lnTo>
                  <a:lnTo>
                    <a:pt x="3831" y="2579"/>
                  </a:lnTo>
                  <a:lnTo>
                    <a:pt x="3838" y="2593"/>
                  </a:lnTo>
                  <a:lnTo>
                    <a:pt x="3836" y="2607"/>
                  </a:lnTo>
                  <a:lnTo>
                    <a:pt x="3834" y="2619"/>
                  </a:lnTo>
                  <a:lnTo>
                    <a:pt x="3837" y="2630"/>
                  </a:lnTo>
                  <a:lnTo>
                    <a:pt x="3821" y="2624"/>
                  </a:lnTo>
                  <a:lnTo>
                    <a:pt x="3810" y="2609"/>
                  </a:lnTo>
                  <a:lnTo>
                    <a:pt x="3804" y="2591"/>
                  </a:lnTo>
                  <a:lnTo>
                    <a:pt x="3801" y="2570"/>
                  </a:lnTo>
                  <a:lnTo>
                    <a:pt x="3798" y="2555"/>
                  </a:lnTo>
                  <a:lnTo>
                    <a:pt x="3789" y="2536"/>
                  </a:lnTo>
                  <a:lnTo>
                    <a:pt x="3778" y="2518"/>
                  </a:lnTo>
                  <a:lnTo>
                    <a:pt x="3768" y="2511"/>
                  </a:lnTo>
                  <a:lnTo>
                    <a:pt x="3763" y="2507"/>
                  </a:lnTo>
                  <a:lnTo>
                    <a:pt x="3750" y="2492"/>
                  </a:lnTo>
                  <a:lnTo>
                    <a:pt x="3735" y="2486"/>
                  </a:lnTo>
                  <a:lnTo>
                    <a:pt x="3655" y="2431"/>
                  </a:lnTo>
                  <a:lnTo>
                    <a:pt x="3624" y="2435"/>
                  </a:lnTo>
                  <a:lnTo>
                    <a:pt x="3587" y="2417"/>
                  </a:lnTo>
                  <a:lnTo>
                    <a:pt x="3553" y="2390"/>
                  </a:lnTo>
                  <a:lnTo>
                    <a:pt x="3505" y="2342"/>
                  </a:lnTo>
                  <a:lnTo>
                    <a:pt x="3487" y="2317"/>
                  </a:lnTo>
                  <a:lnTo>
                    <a:pt x="3471" y="2290"/>
                  </a:lnTo>
                  <a:lnTo>
                    <a:pt x="3428" y="2161"/>
                  </a:lnTo>
                  <a:lnTo>
                    <a:pt x="3426" y="2156"/>
                  </a:lnTo>
                  <a:lnTo>
                    <a:pt x="3424" y="2152"/>
                  </a:lnTo>
                  <a:lnTo>
                    <a:pt x="3418" y="2150"/>
                  </a:lnTo>
                  <a:lnTo>
                    <a:pt x="3401" y="2138"/>
                  </a:lnTo>
                  <a:lnTo>
                    <a:pt x="3398" y="2134"/>
                  </a:lnTo>
                  <a:lnTo>
                    <a:pt x="3397" y="2130"/>
                  </a:lnTo>
                  <a:lnTo>
                    <a:pt x="3391" y="2120"/>
                  </a:lnTo>
                  <a:lnTo>
                    <a:pt x="3389" y="2114"/>
                  </a:lnTo>
                  <a:lnTo>
                    <a:pt x="3387" y="2097"/>
                  </a:lnTo>
                  <a:lnTo>
                    <a:pt x="3385" y="2092"/>
                  </a:lnTo>
                  <a:lnTo>
                    <a:pt x="3381" y="2089"/>
                  </a:lnTo>
                  <a:lnTo>
                    <a:pt x="3370" y="2084"/>
                  </a:lnTo>
                  <a:lnTo>
                    <a:pt x="3365" y="2081"/>
                  </a:lnTo>
                  <a:lnTo>
                    <a:pt x="3363" y="2076"/>
                  </a:lnTo>
                  <a:lnTo>
                    <a:pt x="3362" y="2069"/>
                  </a:lnTo>
                  <a:lnTo>
                    <a:pt x="3361" y="2063"/>
                  </a:lnTo>
                  <a:lnTo>
                    <a:pt x="3356" y="2061"/>
                  </a:lnTo>
                  <a:lnTo>
                    <a:pt x="3340" y="2062"/>
                  </a:lnTo>
                  <a:lnTo>
                    <a:pt x="3328" y="2065"/>
                  </a:lnTo>
                  <a:lnTo>
                    <a:pt x="3318" y="2071"/>
                  </a:lnTo>
                  <a:lnTo>
                    <a:pt x="3309" y="2079"/>
                  </a:lnTo>
                  <a:lnTo>
                    <a:pt x="3303" y="2091"/>
                  </a:lnTo>
                  <a:lnTo>
                    <a:pt x="3300" y="2103"/>
                  </a:lnTo>
                  <a:lnTo>
                    <a:pt x="3300" y="2129"/>
                  </a:lnTo>
                  <a:lnTo>
                    <a:pt x="3303" y="2139"/>
                  </a:lnTo>
                  <a:lnTo>
                    <a:pt x="3313" y="2163"/>
                  </a:lnTo>
                  <a:lnTo>
                    <a:pt x="3314" y="2172"/>
                  </a:lnTo>
                  <a:lnTo>
                    <a:pt x="3306" y="2177"/>
                  </a:lnTo>
                  <a:lnTo>
                    <a:pt x="3296" y="2167"/>
                  </a:lnTo>
                  <a:lnTo>
                    <a:pt x="3287" y="2151"/>
                  </a:lnTo>
                  <a:lnTo>
                    <a:pt x="3283" y="2138"/>
                  </a:lnTo>
                  <a:lnTo>
                    <a:pt x="3282" y="2131"/>
                  </a:lnTo>
                  <a:lnTo>
                    <a:pt x="3274" y="2109"/>
                  </a:lnTo>
                  <a:lnTo>
                    <a:pt x="3274" y="2101"/>
                  </a:lnTo>
                  <a:lnTo>
                    <a:pt x="3275" y="2083"/>
                  </a:lnTo>
                  <a:lnTo>
                    <a:pt x="3274" y="2074"/>
                  </a:lnTo>
                  <a:lnTo>
                    <a:pt x="3260" y="2050"/>
                  </a:lnTo>
                  <a:lnTo>
                    <a:pt x="3237" y="2047"/>
                  </a:lnTo>
                  <a:lnTo>
                    <a:pt x="3215" y="2056"/>
                  </a:lnTo>
                  <a:lnTo>
                    <a:pt x="3208" y="2066"/>
                  </a:lnTo>
                  <a:lnTo>
                    <a:pt x="3212" y="2069"/>
                  </a:lnTo>
                  <a:lnTo>
                    <a:pt x="3232" y="2081"/>
                  </a:lnTo>
                  <a:lnTo>
                    <a:pt x="3234" y="2086"/>
                  </a:lnTo>
                  <a:lnTo>
                    <a:pt x="3235" y="2107"/>
                  </a:lnTo>
                  <a:lnTo>
                    <a:pt x="3237" y="2112"/>
                  </a:lnTo>
                  <a:lnTo>
                    <a:pt x="3241" y="2116"/>
                  </a:lnTo>
                  <a:lnTo>
                    <a:pt x="3243" y="2121"/>
                  </a:lnTo>
                  <a:lnTo>
                    <a:pt x="3239" y="2127"/>
                  </a:lnTo>
                  <a:lnTo>
                    <a:pt x="3233" y="2131"/>
                  </a:lnTo>
                  <a:lnTo>
                    <a:pt x="3230" y="2130"/>
                  </a:lnTo>
                  <a:lnTo>
                    <a:pt x="3228" y="2126"/>
                  </a:lnTo>
                  <a:lnTo>
                    <a:pt x="3230" y="2119"/>
                  </a:lnTo>
                  <a:lnTo>
                    <a:pt x="3217" y="2097"/>
                  </a:lnTo>
                  <a:lnTo>
                    <a:pt x="3217" y="2093"/>
                  </a:lnTo>
                  <a:lnTo>
                    <a:pt x="3219" y="2091"/>
                  </a:lnTo>
                  <a:lnTo>
                    <a:pt x="3220" y="2088"/>
                  </a:lnTo>
                  <a:lnTo>
                    <a:pt x="3214" y="2081"/>
                  </a:lnTo>
                  <a:lnTo>
                    <a:pt x="3209" y="2079"/>
                  </a:lnTo>
                  <a:lnTo>
                    <a:pt x="3204" y="2078"/>
                  </a:lnTo>
                  <a:lnTo>
                    <a:pt x="3198" y="2075"/>
                  </a:lnTo>
                  <a:lnTo>
                    <a:pt x="3195" y="2070"/>
                  </a:lnTo>
                  <a:lnTo>
                    <a:pt x="3195" y="2065"/>
                  </a:lnTo>
                  <a:lnTo>
                    <a:pt x="3202" y="2055"/>
                  </a:lnTo>
                  <a:lnTo>
                    <a:pt x="3203" y="2050"/>
                  </a:lnTo>
                  <a:lnTo>
                    <a:pt x="3206" y="2038"/>
                  </a:lnTo>
                  <a:lnTo>
                    <a:pt x="3211" y="2029"/>
                  </a:lnTo>
                  <a:lnTo>
                    <a:pt x="3217" y="2021"/>
                  </a:lnTo>
                  <a:lnTo>
                    <a:pt x="3222" y="2013"/>
                  </a:lnTo>
                  <a:lnTo>
                    <a:pt x="3223" y="2004"/>
                  </a:lnTo>
                  <a:lnTo>
                    <a:pt x="3218" y="1930"/>
                  </a:lnTo>
                  <a:lnTo>
                    <a:pt x="3211" y="1908"/>
                  </a:lnTo>
                  <a:lnTo>
                    <a:pt x="3197" y="1899"/>
                  </a:lnTo>
                  <a:lnTo>
                    <a:pt x="3180" y="1891"/>
                  </a:lnTo>
                  <a:lnTo>
                    <a:pt x="3167" y="1875"/>
                  </a:lnTo>
                  <a:lnTo>
                    <a:pt x="3153" y="1863"/>
                  </a:lnTo>
                  <a:lnTo>
                    <a:pt x="3133" y="1867"/>
                  </a:lnTo>
                  <a:lnTo>
                    <a:pt x="3129" y="1844"/>
                  </a:lnTo>
                  <a:lnTo>
                    <a:pt x="3117" y="1828"/>
                  </a:lnTo>
                  <a:lnTo>
                    <a:pt x="3083" y="1797"/>
                  </a:lnTo>
                  <a:lnTo>
                    <a:pt x="3063" y="1759"/>
                  </a:lnTo>
                  <a:lnTo>
                    <a:pt x="3055" y="1753"/>
                  </a:lnTo>
                  <a:lnTo>
                    <a:pt x="3043" y="1751"/>
                  </a:lnTo>
                  <a:lnTo>
                    <a:pt x="3021" y="1743"/>
                  </a:lnTo>
                  <a:lnTo>
                    <a:pt x="2959" y="1728"/>
                  </a:lnTo>
                  <a:lnTo>
                    <a:pt x="2939" y="1717"/>
                  </a:lnTo>
                  <a:lnTo>
                    <a:pt x="2919" y="1700"/>
                  </a:lnTo>
                  <a:lnTo>
                    <a:pt x="2905" y="1684"/>
                  </a:lnTo>
                  <a:lnTo>
                    <a:pt x="2900" y="1676"/>
                  </a:lnTo>
                  <a:lnTo>
                    <a:pt x="2895" y="1658"/>
                  </a:lnTo>
                  <a:lnTo>
                    <a:pt x="2888" y="1652"/>
                  </a:lnTo>
                  <a:lnTo>
                    <a:pt x="2871" y="1643"/>
                  </a:lnTo>
                  <a:lnTo>
                    <a:pt x="2858" y="1629"/>
                  </a:lnTo>
                  <a:lnTo>
                    <a:pt x="2850" y="1623"/>
                  </a:lnTo>
                  <a:lnTo>
                    <a:pt x="2826" y="1618"/>
                  </a:lnTo>
                  <a:lnTo>
                    <a:pt x="2816" y="1612"/>
                  </a:lnTo>
                  <a:lnTo>
                    <a:pt x="2713" y="1520"/>
                  </a:lnTo>
                  <a:lnTo>
                    <a:pt x="2641" y="1484"/>
                  </a:lnTo>
                  <a:lnTo>
                    <a:pt x="2636" y="1477"/>
                  </a:lnTo>
                  <a:lnTo>
                    <a:pt x="2632" y="1469"/>
                  </a:lnTo>
                  <a:lnTo>
                    <a:pt x="2621" y="1466"/>
                  </a:lnTo>
                  <a:lnTo>
                    <a:pt x="2596" y="1462"/>
                  </a:lnTo>
                  <a:lnTo>
                    <a:pt x="2588" y="1458"/>
                  </a:lnTo>
                  <a:lnTo>
                    <a:pt x="2580" y="1452"/>
                  </a:lnTo>
                  <a:lnTo>
                    <a:pt x="2570" y="1447"/>
                  </a:lnTo>
                  <a:lnTo>
                    <a:pt x="2550" y="1443"/>
                  </a:lnTo>
                  <a:lnTo>
                    <a:pt x="2455" y="1406"/>
                  </a:lnTo>
                  <a:lnTo>
                    <a:pt x="2405" y="1373"/>
                  </a:lnTo>
                  <a:lnTo>
                    <a:pt x="2391" y="1357"/>
                  </a:lnTo>
                  <a:lnTo>
                    <a:pt x="2384" y="1338"/>
                  </a:lnTo>
                  <a:lnTo>
                    <a:pt x="2375" y="1288"/>
                  </a:lnTo>
                  <a:lnTo>
                    <a:pt x="2368" y="1281"/>
                  </a:lnTo>
                  <a:lnTo>
                    <a:pt x="2326" y="1272"/>
                  </a:lnTo>
                  <a:lnTo>
                    <a:pt x="2316" y="1267"/>
                  </a:lnTo>
                  <a:lnTo>
                    <a:pt x="2306" y="1261"/>
                  </a:lnTo>
                  <a:lnTo>
                    <a:pt x="2299" y="1253"/>
                  </a:lnTo>
                  <a:lnTo>
                    <a:pt x="2292" y="1231"/>
                  </a:lnTo>
                  <a:lnTo>
                    <a:pt x="2283" y="1228"/>
                  </a:lnTo>
                  <a:lnTo>
                    <a:pt x="2272" y="1229"/>
                  </a:lnTo>
                  <a:lnTo>
                    <a:pt x="2260" y="1228"/>
                  </a:lnTo>
                  <a:lnTo>
                    <a:pt x="2253" y="1222"/>
                  </a:lnTo>
                  <a:lnTo>
                    <a:pt x="2240" y="1201"/>
                  </a:lnTo>
                  <a:lnTo>
                    <a:pt x="2231" y="1197"/>
                  </a:lnTo>
                  <a:lnTo>
                    <a:pt x="2217" y="1194"/>
                  </a:lnTo>
                  <a:lnTo>
                    <a:pt x="2194" y="1180"/>
                  </a:lnTo>
                  <a:lnTo>
                    <a:pt x="2180" y="1175"/>
                  </a:lnTo>
                  <a:lnTo>
                    <a:pt x="2166" y="1175"/>
                  </a:lnTo>
                  <a:lnTo>
                    <a:pt x="2129" y="1179"/>
                  </a:lnTo>
                  <a:lnTo>
                    <a:pt x="2125" y="1174"/>
                  </a:lnTo>
                  <a:lnTo>
                    <a:pt x="2101" y="1117"/>
                  </a:lnTo>
                  <a:lnTo>
                    <a:pt x="2100" y="1120"/>
                  </a:lnTo>
                  <a:lnTo>
                    <a:pt x="2097" y="1121"/>
                  </a:lnTo>
                  <a:lnTo>
                    <a:pt x="2086" y="1132"/>
                  </a:lnTo>
                  <a:lnTo>
                    <a:pt x="2085" y="1135"/>
                  </a:lnTo>
                  <a:lnTo>
                    <a:pt x="2072" y="1138"/>
                  </a:lnTo>
                  <a:lnTo>
                    <a:pt x="2062" y="1146"/>
                  </a:lnTo>
                  <a:lnTo>
                    <a:pt x="2047" y="1162"/>
                  </a:lnTo>
                  <a:lnTo>
                    <a:pt x="2046" y="1140"/>
                  </a:lnTo>
                  <a:lnTo>
                    <a:pt x="2048" y="1129"/>
                  </a:lnTo>
                  <a:lnTo>
                    <a:pt x="2051" y="1122"/>
                  </a:lnTo>
                  <a:lnTo>
                    <a:pt x="2058" y="1118"/>
                  </a:lnTo>
                  <a:lnTo>
                    <a:pt x="2087" y="1109"/>
                  </a:lnTo>
                  <a:lnTo>
                    <a:pt x="2102" y="1100"/>
                  </a:lnTo>
                  <a:lnTo>
                    <a:pt x="2104" y="1095"/>
                  </a:lnTo>
                  <a:lnTo>
                    <a:pt x="2104" y="1043"/>
                  </a:lnTo>
                  <a:lnTo>
                    <a:pt x="2114" y="996"/>
                  </a:lnTo>
                  <a:lnTo>
                    <a:pt x="2111" y="963"/>
                  </a:lnTo>
                  <a:lnTo>
                    <a:pt x="2109" y="957"/>
                  </a:lnTo>
                  <a:lnTo>
                    <a:pt x="2105" y="953"/>
                  </a:lnTo>
                  <a:lnTo>
                    <a:pt x="2096" y="946"/>
                  </a:lnTo>
                  <a:lnTo>
                    <a:pt x="2087" y="937"/>
                  </a:lnTo>
                  <a:lnTo>
                    <a:pt x="2073" y="919"/>
                  </a:lnTo>
                  <a:lnTo>
                    <a:pt x="2064" y="910"/>
                  </a:lnTo>
                  <a:lnTo>
                    <a:pt x="2062" y="913"/>
                  </a:lnTo>
                  <a:lnTo>
                    <a:pt x="2057" y="916"/>
                  </a:lnTo>
                  <a:lnTo>
                    <a:pt x="2055" y="919"/>
                  </a:lnTo>
                  <a:lnTo>
                    <a:pt x="2051" y="919"/>
                  </a:lnTo>
                  <a:lnTo>
                    <a:pt x="2045" y="906"/>
                  </a:lnTo>
                  <a:lnTo>
                    <a:pt x="2035" y="895"/>
                  </a:lnTo>
                  <a:lnTo>
                    <a:pt x="2021" y="887"/>
                  </a:lnTo>
                  <a:lnTo>
                    <a:pt x="2005" y="884"/>
                  </a:lnTo>
                  <a:lnTo>
                    <a:pt x="2000" y="885"/>
                  </a:lnTo>
                  <a:lnTo>
                    <a:pt x="1992" y="888"/>
                  </a:lnTo>
                  <a:lnTo>
                    <a:pt x="1989" y="888"/>
                  </a:lnTo>
                  <a:lnTo>
                    <a:pt x="1985" y="886"/>
                  </a:lnTo>
                  <a:lnTo>
                    <a:pt x="1982" y="883"/>
                  </a:lnTo>
                  <a:lnTo>
                    <a:pt x="1980" y="879"/>
                  </a:lnTo>
                  <a:lnTo>
                    <a:pt x="1971" y="874"/>
                  </a:lnTo>
                  <a:lnTo>
                    <a:pt x="1966" y="875"/>
                  </a:lnTo>
                  <a:lnTo>
                    <a:pt x="1962" y="884"/>
                  </a:lnTo>
                  <a:lnTo>
                    <a:pt x="1956" y="876"/>
                  </a:lnTo>
                  <a:lnTo>
                    <a:pt x="1948" y="875"/>
                  </a:lnTo>
                  <a:lnTo>
                    <a:pt x="1929" y="879"/>
                  </a:lnTo>
                  <a:lnTo>
                    <a:pt x="1927" y="874"/>
                  </a:lnTo>
                  <a:lnTo>
                    <a:pt x="1929" y="864"/>
                  </a:lnTo>
                  <a:lnTo>
                    <a:pt x="1936" y="846"/>
                  </a:lnTo>
                  <a:lnTo>
                    <a:pt x="1937" y="829"/>
                  </a:lnTo>
                  <a:lnTo>
                    <a:pt x="1936" y="823"/>
                  </a:lnTo>
                  <a:lnTo>
                    <a:pt x="1921" y="794"/>
                  </a:lnTo>
                  <a:lnTo>
                    <a:pt x="1915" y="776"/>
                  </a:lnTo>
                  <a:lnTo>
                    <a:pt x="1907" y="723"/>
                  </a:lnTo>
                  <a:lnTo>
                    <a:pt x="1903" y="711"/>
                  </a:lnTo>
                  <a:lnTo>
                    <a:pt x="1873" y="658"/>
                  </a:lnTo>
                  <a:lnTo>
                    <a:pt x="1863" y="648"/>
                  </a:lnTo>
                  <a:lnTo>
                    <a:pt x="1850" y="639"/>
                  </a:lnTo>
                  <a:lnTo>
                    <a:pt x="1821" y="626"/>
                  </a:lnTo>
                  <a:lnTo>
                    <a:pt x="1714" y="539"/>
                  </a:lnTo>
                  <a:lnTo>
                    <a:pt x="1625" y="431"/>
                  </a:lnTo>
                  <a:lnTo>
                    <a:pt x="1606" y="424"/>
                  </a:lnTo>
                  <a:lnTo>
                    <a:pt x="1440" y="482"/>
                  </a:lnTo>
                  <a:lnTo>
                    <a:pt x="1427" y="485"/>
                  </a:lnTo>
                  <a:lnTo>
                    <a:pt x="1411" y="486"/>
                  </a:lnTo>
                  <a:lnTo>
                    <a:pt x="1398" y="483"/>
                  </a:lnTo>
                  <a:lnTo>
                    <a:pt x="1392" y="475"/>
                  </a:lnTo>
                  <a:lnTo>
                    <a:pt x="1382" y="451"/>
                  </a:lnTo>
                  <a:lnTo>
                    <a:pt x="1365" y="433"/>
                  </a:lnTo>
                  <a:lnTo>
                    <a:pt x="1338" y="421"/>
                  </a:lnTo>
                  <a:lnTo>
                    <a:pt x="1308" y="414"/>
                  </a:lnTo>
                  <a:lnTo>
                    <a:pt x="1267" y="410"/>
                  </a:lnTo>
                  <a:lnTo>
                    <a:pt x="1235" y="413"/>
                  </a:lnTo>
                  <a:lnTo>
                    <a:pt x="1225" y="417"/>
                  </a:lnTo>
                  <a:lnTo>
                    <a:pt x="1216" y="418"/>
                  </a:lnTo>
                  <a:lnTo>
                    <a:pt x="1187" y="409"/>
                  </a:lnTo>
                  <a:lnTo>
                    <a:pt x="1174" y="406"/>
                  </a:lnTo>
                  <a:lnTo>
                    <a:pt x="1146" y="411"/>
                  </a:lnTo>
                  <a:lnTo>
                    <a:pt x="1081" y="441"/>
                  </a:lnTo>
                  <a:lnTo>
                    <a:pt x="1059" y="447"/>
                  </a:lnTo>
                  <a:lnTo>
                    <a:pt x="1005" y="453"/>
                  </a:lnTo>
                  <a:lnTo>
                    <a:pt x="979" y="451"/>
                  </a:lnTo>
                  <a:lnTo>
                    <a:pt x="966" y="446"/>
                  </a:lnTo>
                  <a:lnTo>
                    <a:pt x="953" y="439"/>
                  </a:lnTo>
                  <a:lnTo>
                    <a:pt x="940" y="435"/>
                  </a:lnTo>
                  <a:lnTo>
                    <a:pt x="928" y="439"/>
                  </a:lnTo>
                  <a:lnTo>
                    <a:pt x="916" y="446"/>
                  </a:lnTo>
                  <a:lnTo>
                    <a:pt x="901" y="447"/>
                  </a:lnTo>
                  <a:lnTo>
                    <a:pt x="872" y="441"/>
                  </a:lnTo>
                  <a:lnTo>
                    <a:pt x="861" y="437"/>
                  </a:lnTo>
                  <a:lnTo>
                    <a:pt x="834" y="423"/>
                  </a:lnTo>
                  <a:lnTo>
                    <a:pt x="826" y="420"/>
                  </a:lnTo>
                  <a:lnTo>
                    <a:pt x="720" y="405"/>
                  </a:lnTo>
                  <a:lnTo>
                    <a:pt x="695" y="396"/>
                  </a:lnTo>
                  <a:lnTo>
                    <a:pt x="674" y="385"/>
                  </a:lnTo>
                  <a:lnTo>
                    <a:pt x="593" y="319"/>
                  </a:lnTo>
                  <a:lnTo>
                    <a:pt x="576" y="296"/>
                  </a:lnTo>
                  <a:lnTo>
                    <a:pt x="570" y="268"/>
                  </a:lnTo>
                  <a:lnTo>
                    <a:pt x="565" y="256"/>
                  </a:lnTo>
                  <a:lnTo>
                    <a:pt x="556" y="252"/>
                  </a:lnTo>
                  <a:lnTo>
                    <a:pt x="545" y="250"/>
                  </a:lnTo>
                  <a:lnTo>
                    <a:pt x="534" y="246"/>
                  </a:lnTo>
                  <a:lnTo>
                    <a:pt x="484" y="215"/>
                  </a:lnTo>
                  <a:lnTo>
                    <a:pt x="387" y="182"/>
                  </a:lnTo>
                  <a:lnTo>
                    <a:pt x="364" y="180"/>
                  </a:lnTo>
                  <a:lnTo>
                    <a:pt x="337" y="186"/>
                  </a:lnTo>
                  <a:lnTo>
                    <a:pt x="328" y="194"/>
                  </a:lnTo>
                  <a:lnTo>
                    <a:pt x="322" y="198"/>
                  </a:lnTo>
                  <a:lnTo>
                    <a:pt x="316" y="197"/>
                  </a:lnTo>
                  <a:lnTo>
                    <a:pt x="311" y="192"/>
                  </a:lnTo>
                  <a:lnTo>
                    <a:pt x="300" y="185"/>
                  </a:lnTo>
                  <a:lnTo>
                    <a:pt x="282" y="168"/>
                  </a:lnTo>
                  <a:lnTo>
                    <a:pt x="271" y="164"/>
                  </a:lnTo>
                  <a:lnTo>
                    <a:pt x="258" y="168"/>
                  </a:lnTo>
                  <a:lnTo>
                    <a:pt x="230" y="186"/>
                  </a:lnTo>
                  <a:lnTo>
                    <a:pt x="224" y="189"/>
                  </a:lnTo>
                  <a:lnTo>
                    <a:pt x="215" y="190"/>
                  </a:lnTo>
                  <a:lnTo>
                    <a:pt x="208" y="192"/>
                  </a:lnTo>
                  <a:lnTo>
                    <a:pt x="196" y="201"/>
                  </a:lnTo>
                  <a:lnTo>
                    <a:pt x="189" y="205"/>
                  </a:lnTo>
                  <a:lnTo>
                    <a:pt x="178" y="214"/>
                  </a:lnTo>
                  <a:lnTo>
                    <a:pt x="172" y="216"/>
                  </a:lnTo>
                  <a:lnTo>
                    <a:pt x="166" y="216"/>
                  </a:lnTo>
                  <a:lnTo>
                    <a:pt x="160" y="214"/>
                  </a:lnTo>
                  <a:lnTo>
                    <a:pt x="153" y="213"/>
                  </a:lnTo>
                  <a:lnTo>
                    <a:pt x="146" y="216"/>
                  </a:lnTo>
                  <a:lnTo>
                    <a:pt x="136" y="212"/>
                  </a:lnTo>
                  <a:lnTo>
                    <a:pt x="129" y="217"/>
                  </a:lnTo>
                  <a:lnTo>
                    <a:pt x="119" y="234"/>
                  </a:lnTo>
                  <a:lnTo>
                    <a:pt x="123" y="243"/>
                  </a:lnTo>
                  <a:lnTo>
                    <a:pt x="137" y="261"/>
                  </a:lnTo>
                  <a:lnTo>
                    <a:pt x="136" y="271"/>
                  </a:lnTo>
                  <a:lnTo>
                    <a:pt x="145" y="281"/>
                  </a:lnTo>
                  <a:lnTo>
                    <a:pt x="150" y="290"/>
                  </a:lnTo>
                  <a:lnTo>
                    <a:pt x="141" y="296"/>
                  </a:lnTo>
                  <a:lnTo>
                    <a:pt x="153" y="313"/>
                  </a:lnTo>
                  <a:lnTo>
                    <a:pt x="155" y="321"/>
                  </a:lnTo>
                  <a:lnTo>
                    <a:pt x="154" y="332"/>
                  </a:lnTo>
                  <a:lnTo>
                    <a:pt x="150" y="342"/>
                  </a:lnTo>
                  <a:lnTo>
                    <a:pt x="143" y="355"/>
                  </a:lnTo>
                  <a:lnTo>
                    <a:pt x="141" y="364"/>
                  </a:lnTo>
                  <a:lnTo>
                    <a:pt x="135" y="376"/>
                  </a:lnTo>
                  <a:lnTo>
                    <a:pt x="124" y="389"/>
                  </a:lnTo>
                  <a:lnTo>
                    <a:pt x="120" y="398"/>
                  </a:lnTo>
                  <a:lnTo>
                    <a:pt x="135" y="402"/>
                  </a:lnTo>
                  <a:lnTo>
                    <a:pt x="141" y="405"/>
                  </a:lnTo>
                  <a:lnTo>
                    <a:pt x="146" y="412"/>
                  </a:lnTo>
                  <a:lnTo>
                    <a:pt x="149" y="422"/>
                  </a:lnTo>
                  <a:lnTo>
                    <a:pt x="150" y="431"/>
                  </a:lnTo>
                  <a:lnTo>
                    <a:pt x="152" y="438"/>
                  </a:lnTo>
                  <a:lnTo>
                    <a:pt x="157" y="443"/>
                  </a:lnTo>
                  <a:lnTo>
                    <a:pt x="168" y="451"/>
                  </a:lnTo>
                  <a:lnTo>
                    <a:pt x="180" y="463"/>
                  </a:lnTo>
                  <a:lnTo>
                    <a:pt x="186" y="476"/>
                  </a:lnTo>
                  <a:lnTo>
                    <a:pt x="185" y="490"/>
                  </a:lnTo>
                  <a:lnTo>
                    <a:pt x="172" y="508"/>
                  </a:lnTo>
                  <a:lnTo>
                    <a:pt x="183" y="512"/>
                  </a:lnTo>
                  <a:lnTo>
                    <a:pt x="189" y="520"/>
                  </a:lnTo>
                  <a:lnTo>
                    <a:pt x="194" y="531"/>
                  </a:lnTo>
                  <a:lnTo>
                    <a:pt x="201" y="542"/>
                  </a:lnTo>
                  <a:lnTo>
                    <a:pt x="211" y="552"/>
                  </a:lnTo>
                  <a:lnTo>
                    <a:pt x="217" y="563"/>
                  </a:lnTo>
                  <a:lnTo>
                    <a:pt x="237" y="612"/>
                  </a:lnTo>
                  <a:lnTo>
                    <a:pt x="241" y="629"/>
                  </a:lnTo>
                  <a:lnTo>
                    <a:pt x="250" y="644"/>
                  </a:lnTo>
                  <a:lnTo>
                    <a:pt x="254" y="659"/>
                  </a:lnTo>
                  <a:lnTo>
                    <a:pt x="262" y="675"/>
                  </a:lnTo>
                  <a:lnTo>
                    <a:pt x="265" y="685"/>
                  </a:lnTo>
                  <a:lnTo>
                    <a:pt x="266" y="692"/>
                  </a:lnTo>
                  <a:lnTo>
                    <a:pt x="266" y="695"/>
                  </a:lnTo>
                  <a:lnTo>
                    <a:pt x="267" y="698"/>
                  </a:lnTo>
                  <a:lnTo>
                    <a:pt x="272" y="705"/>
                  </a:lnTo>
                  <a:lnTo>
                    <a:pt x="277" y="709"/>
                  </a:lnTo>
                  <a:lnTo>
                    <a:pt x="289" y="718"/>
                  </a:lnTo>
                  <a:lnTo>
                    <a:pt x="294" y="723"/>
                  </a:lnTo>
                  <a:lnTo>
                    <a:pt x="308" y="740"/>
                  </a:lnTo>
                  <a:lnTo>
                    <a:pt x="325" y="772"/>
                  </a:lnTo>
                  <a:lnTo>
                    <a:pt x="332" y="782"/>
                  </a:lnTo>
                  <a:lnTo>
                    <a:pt x="350" y="796"/>
                  </a:lnTo>
                  <a:lnTo>
                    <a:pt x="353" y="797"/>
                  </a:lnTo>
                  <a:lnTo>
                    <a:pt x="358" y="796"/>
                  </a:lnTo>
                  <a:lnTo>
                    <a:pt x="362" y="797"/>
                  </a:lnTo>
                  <a:lnTo>
                    <a:pt x="363" y="802"/>
                  </a:lnTo>
                  <a:lnTo>
                    <a:pt x="362" y="806"/>
                  </a:lnTo>
                  <a:lnTo>
                    <a:pt x="356" y="811"/>
                  </a:lnTo>
                  <a:lnTo>
                    <a:pt x="354" y="815"/>
                  </a:lnTo>
                  <a:lnTo>
                    <a:pt x="357" y="821"/>
                  </a:lnTo>
                  <a:lnTo>
                    <a:pt x="364" y="822"/>
                  </a:lnTo>
                  <a:lnTo>
                    <a:pt x="379" y="822"/>
                  </a:lnTo>
                  <a:lnTo>
                    <a:pt x="390" y="826"/>
                  </a:lnTo>
                  <a:lnTo>
                    <a:pt x="416" y="858"/>
                  </a:lnTo>
                  <a:lnTo>
                    <a:pt x="461" y="889"/>
                  </a:lnTo>
                  <a:lnTo>
                    <a:pt x="482" y="919"/>
                  </a:lnTo>
                  <a:lnTo>
                    <a:pt x="513" y="944"/>
                  </a:lnTo>
                  <a:lnTo>
                    <a:pt x="518" y="952"/>
                  </a:lnTo>
                  <a:lnTo>
                    <a:pt x="576" y="1009"/>
                  </a:lnTo>
                  <a:lnTo>
                    <a:pt x="645" y="1086"/>
                  </a:lnTo>
                  <a:lnTo>
                    <a:pt x="658" y="1091"/>
                  </a:lnTo>
                  <a:lnTo>
                    <a:pt x="670" y="1093"/>
                  </a:lnTo>
                  <a:lnTo>
                    <a:pt x="680" y="1099"/>
                  </a:lnTo>
                  <a:lnTo>
                    <a:pt x="712" y="1136"/>
                  </a:lnTo>
                  <a:lnTo>
                    <a:pt x="719" y="1143"/>
                  </a:lnTo>
                  <a:lnTo>
                    <a:pt x="722" y="1142"/>
                  </a:lnTo>
                  <a:lnTo>
                    <a:pt x="726" y="1140"/>
                  </a:lnTo>
                  <a:lnTo>
                    <a:pt x="733" y="1139"/>
                  </a:lnTo>
                  <a:lnTo>
                    <a:pt x="741" y="1140"/>
                  </a:lnTo>
                  <a:lnTo>
                    <a:pt x="747" y="1142"/>
                  </a:lnTo>
                  <a:lnTo>
                    <a:pt x="751" y="1146"/>
                  </a:lnTo>
                  <a:lnTo>
                    <a:pt x="762" y="1150"/>
                  </a:lnTo>
                  <a:lnTo>
                    <a:pt x="766" y="1153"/>
                  </a:lnTo>
                  <a:lnTo>
                    <a:pt x="769" y="1157"/>
                  </a:lnTo>
                  <a:lnTo>
                    <a:pt x="772" y="1166"/>
                  </a:lnTo>
                  <a:lnTo>
                    <a:pt x="775" y="1171"/>
                  </a:lnTo>
                  <a:lnTo>
                    <a:pt x="819" y="1215"/>
                  </a:lnTo>
                  <a:lnTo>
                    <a:pt x="916" y="1344"/>
                  </a:lnTo>
                  <a:lnTo>
                    <a:pt x="948" y="1374"/>
                  </a:lnTo>
                  <a:lnTo>
                    <a:pt x="974" y="1389"/>
                  </a:lnTo>
                  <a:lnTo>
                    <a:pt x="1000" y="1394"/>
                  </a:lnTo>
                  <a:lnTo>
                    <a:pt x="1130" y="1393"/>
                  </a:lnTo>
                  <a:lnTo>
                    <a:pt x="1141" y="1397"/>
                  </a:lnTo>
                  <a:lnTo>
                    <a:pt x="1161" y="1409"/>
                  </a:lnTo>
                  <a:lnTo>
                    <a:pt x="1167" y="1411"/>
                  </a:lnTo>
                  <a:lnTo>
                    <a:pt x="1174" y="1414"/>
                  </a:lnTo>
                  <a:lnTo>
                    <a:pt x="1180" y="1416"/>
                  </a:lnTo>
                  <a:lnTo>
                    <a:pt x="1183" y="1420"/>
                  </a:lnTo>
                  <a:lnTo>
                    <a:pt x="1198" y="1429"/>
                  </a:lnTo>
                  <a:lnTo>
                    <a:pt x="1203" y="1431"/>
                  </a:lnTo>
                  <a:lnTo>
                    <a:pt x="1209" y="1435"/>
                  </a:lnTo>
                  <a:lnTo>
                    <a:pt x="1215" y="1446"/>
                  </a:lnTo>
                  <a:lnTo>
                    <a:pt x="1222" y="1466"/>
                  </a:lnTo>
                  <a:lnTo>
                    <a:pt x="1234" y="1485"/>
                  </a:lnTo>
                  <a:lnTo>
                    <a:pt x="1285" y="1524"/>
                  </a:lnTo>
                  <a:lnTo>
                    <a:pt x="1297" y="1538"/>
                  </a:lnTo>
                  <a:lnTo>
                    <a:pt x="1392" y="1702"/>
                  </a:lnTo>
                  <a:lnTo>
                    <a:pt x="1396" y="1711"/>
                  </a:lnTo>
                  <a:lnTo>
                    <a:pt x="1403" y="1717"/>
                  </a:lnTo>
                  <a:lnTo>
                    <a:pt x="1418" y="1720"/>
                  </a:lnTo>
                  <a:lnTo>
                    <a:pt x="1440" y="1722"/>
                  </a:lnTo>
                  <a:lnTo>
                    <a:pt x="1460" y="1737"/>
                  </a:lnTo>
                  <a:lnTo>
                    <a:pt x="1469" y="1760"/>
                  </a:lnTo>
                  <a:lnTo>
                    <a:pt x="1479" y="1815"/>
                  </a:lnTo>
                  <a:lnTo>
                    <a:pt x="1487" y="1835"/>
                  </a:lnTo>
                  <a:lnTo>
                    <a:pt x="1499" y="1855"/>
                  </a:lnTo>
                  <a:lnTo>
                    <a:pt x="1547" y="1911"/>
                  </a:lnTo>
                  <a:lnTo>
                    <a:pt x="1558" y="1921"/>
                  </a:lnTo>
                  <a:lnTo>
                    <a:pt x="1570" y="1925"/>
                  </a:lnTo>
                  <a:lnTo>
                    <a:pt x="1585" y="1926"/>
                  </a:lnTo>
                  <a:lnTo>
                    <a:pt x="1598" y="1931"/>
                  </a:lnTo>
                  <a:lnTo>
                    <a:pt x="1631" y="1947"/>
                  </a:lnTo>
                  <a:lnTo>
                    <a:pt x="1658" y="1954"/>
                  </a:lnTo>
                  <a:lnTo>
                    <a:pt x="1668" y="1956"/>
                  </a:lnTo>
                  <a:lnTo>
                    <a:pt x="1674" y="1961"/>
                  </a:lnTo>
                  <a:lnTo>
                    <a:pt x="1678" y="1972"/>
                  </a:lnTo>
                  <a:lnTo>
                    <a:pt x="1701" y="2088"/>
                  </a:lnTo>
                  <a:lnTo>
                    <a:pt x="1712" y="2179"/>
                  </a:lnTo>
                  <a:lnTo>
                    <a:pt x="1710" y="2253"/>
                  </a:lnTo>
                  <a:lnTo>
                    <a:pt x="1714" y="2266"/>
                  </a:lnTo>
                  <a:lnTo>
                    <a:pt x="1722" y="2276"/>
                  </a:lnTo>
                  <a:lnTo>
                    <a:pt x="1741" y="2295"/>
                  </a:lnTo>
                  <a:lnTo>
                    <a:pt x="1766" y="2337"/>
                  </a:lnTo>
                  <a:lnTo>
                    <a:pt x="1774" y="2343"/>
                  </a:lnTo>
                  <a:lnTo>
                    <a:pt x="1782" y="2342"/>
                  </a:lnTo>
                  <a:lnTo>
                    <a:pt x="1793" y="2339"/>
                  </a:lnTo>
                  <a:lnTo>
                    <a:pt x="1799" y="2339"/>
                  </a:lnTo>
                  <a:lnTo>
                    <a:pt x="1804" y="2343"/>
                  </a:lnTo>
                  <a:lnTo>
                    <a:pt x="1808" y="2348"/>
                  </a:lnTo>
                  <a:lnTo>
                    <a:pt x="1814" y="2351"/>
                  </a:lnTo>
                  <a:lnTo>
                    <a:pt x="1821" y="2348"/>
                  </a:lnTo>
                  <a:lnTo>
                    <a:pt x="1835" y="2356"/>
                  </a:lnTo>
                  <a:lnTo>
                    <a:pt x="1845" y="2359"/>
                  </a:lnTo>
                  <a:lnTo>
                    <a:pt x="1854" y="2357"/>
                  </a:lnTo>
                  <a:lnTo>
                    <a:pt x="1888" y="2344"/>
                  </a:lnTo>
                  <a:lnTo>
                    <a:pt x="1903" y="2343"/>
                  </a:lnTo>
                  <a:lnTo>
                    <a:pt x="1921" y="2361"/>
                  </a:lnTo>
                  <a:lnTo>
                    <a:pt x="1989" y="2392"/>
                  </a:lnTo>
                  <a:lnTo>
                    <a:pt x="2030" y="2417"/>
                  </a:lnTo>
                  <a:lnTo>
                    <a:pt x="2067" y="2447"/>
                  </a:lnTo>
                  <a:lnTo>
                    <a:pt x="2089" y="2461"/>
                  </a:lnTo>
                  <a:lnTo>
                    <a:pt x="2097" y="2471"/>
                  </a:lnTo>
                  <a:lnTo>
                    <a:pt x="2100" y="2486"/>
                  </a:lnTo>
                  <a:lnTo>
                    <a:pt x="2105" y="2493"/>
                  </a:lnTo>
                  <a:lnTo>
                    <a:pt x="2118" y="2494"/>
                  </a:lnTo>
                  <a:lnTo>
                    <a:pt x="2133" y="2492"/>
                  </a:lnTo>
                  <a:lnTo>
                    <a:pt x="2145" y="2493"/>
                  </a:lnTo>
                  <a:lnTo>
                    <a:pt x="2152" y="2496"/>
                  </a:lnTo>
                  <a:lnTo>
                    <a:pt x="2156" y="2499"/>
                  </a:lnTo>
                  <a:lnTo>
                    <a:pt x="2157" y="2504"/>
                  </a:lnTo>
                  <a:lnTo>
                    <a:pt x="2157" y="2513"/>
                  </a:lnTo>
                  <a:lnTo>
                    <a:pt x="2161" y="2515"/>
                  </a:lnTo>
                  <a:lnTo>
                    <a:pt x="2168" y="2516"/>
                  </a:lnTo>
                  <a:lnTo>
                    <a:pt x="2182" y="2515"/>
                  </a:lnTo>
                  <a:lnTo>
                    <a:pt x="2194" y="2516"/>
                  </a:lnTo>
                  <a:lnTo>
                    <a:pt x="2207" y="2519"/>
                  </a:lnTo>
                  <a:lnTo>
                    <a:pt x="2218" y="2523"/>
                  </a:lnTo>
                  <a:lnTo>
                    <a:pt x="2277" y="2558"/>
                  </a:lnTo>
                  <a:lnTo>
                    <a:pt x="2304" y="2590"/>
                  </a:lnTo>
                  <a:lnTo>
                    <a:pt x="2357" y="2669"/>
                  </a:lnTo>
                  <a:lnTo>
                    <a:pt x="2378" y="2687"/>
                  </a:lnTo>
                  <a:lnTo>
                    <a:pt x="2391" y="2694"/>
                  </a:lnTo>
                  <a:lnTo>
                    <a:pt x="2397" y="2689"/>
                  </a:lnTo>
                  <a:lnTo>
                    <a:pt x="2398" y="2685"/>
                  </a:lnTo>
                  <a:lnTo>
                    <a:pt x="2401" y="2679"/>
                  </a:lnTo>
                  <a:lnTo>
                    <a:pt x="2401" y="2674"/>
                  </a:lnTo>
                  <a:lnTo>
                    <a:pt x="2400" y="2674"/>
                  </a:lnTo>
                  <a:lnTo>
                    <a:pt x="2394" y="2669"/>
                  </a:lnTo>
                  <a:lnTo>
                    <a:pt x="2392" y="2669"/>
                  </a:lnTo>
                  <a:lnTo>
                    <a:pt x="2391" y="2660"/>
                  </a:lnTo>
                  <a:lnTo>
                    <a:pt x="2394" y="2656"/>
                  </a:lnTo>
                  <a:lnTo>
                    <a:pt x="2401" y="2651"/>
                  </a:lnTo>
                  <a:lnTo>
                    <a:pt x="2423" y="2669"/>
                  </a:lnTo>
                  <a:lnTo>
                    <a:pt x="2432" y="2679"/>
                  </a:lnTo>
                  <a:lnTo>
                    <a:pt x="2438" y="2691"/>
                  </a:lnTo>
                  <a:lnTo>
                    <a:pt x="2439" y="2703"/>
                  </a:lnTo>
                  <a:lnTo>
                    <a:pt x="2438" y="2711"/>
                  </a:lnTo>
                  <a:lnTo>
                    <a:pt x="2441" y="2716"/>
                  </a:lnTo>
                  <a:lnTo>
                    <a:pt x="2452" y="2718"/>
                  </a:lnTo>
                  <a:lnTo>
                    <a:pt x="2461" y="2722"/>
                  </a:lnTo>
                  <a:lnTo>
                    <a:pt x="2464" y="2732"/>
                  </a:lnTo>
                  <a:lnTo>
                    <a:pt x="2463" y="2755"/>
                  </a:lnTo>
                  <a:lnTo>
                    <a:pt x="2461" y="2762"/>
                  </a:lnTo>
                  <a:lnTo>
                    <a:pt x="2448" y="2775"/>
                  </a:lnTo>
                  <a:lnTo>
                    <a:pt x="2441" y="2783"/>
                  </a:lnTo>
                  <a:lnTo>
                    <a:pt x="2427" y="2808"/>
                  </a:lnTo>
                  <a:lnTo>
                    <a:pt x="2418" y="2816"/>
                  </a:lnTo>
                  <a:lnTo>
                    <a:pt x="2415" y="2808"/>
                  </a:lnTo>
                  <a:lnTo>
                    <a:pt x="2413" y="2803"/>
                  </a:lnTo>
                  <a:lnTo>
                    <a:pt x="2410" y="2798"/>
                  </a:lnTo>
                  <a:lnTo>
                    <a:pt x="2406" y="2794"/>
                  </a:lnTo>
                  <a:lnTo>
                    <a:pt x="2401" y="2793"/>
                  </a:lnTo>
                  <a:lnTo>
                    <a:pt x="2391" y="2794"/>
                  </a:lnTo>
                  <a:lnTo>
                    <a:pt x="2390" y="2798"/>
                  </a:lnTo>
                  <a:lnTo>
                    <a:pt x="2397" y="2810"/>
                  </a:lnTo>
                  <a:lnTo>
                    <a:pt x="2401" y="2824"/>
                  </a:lnTo>
                  <a:lnTo>
                    <a:pt x="2403" y="2830"/>
                  </a:lnTo>
                  <a:lnTo>
                    <a:pt x="2408" y="2832"/>
                  </a:lnTo>
                  <a:lnTo>
                    <a:pt x="2414" y="2833"/>
                  </a:lnTo>
                  <a:lnTo>
                    <a:pt x="2420" y="2836"/>
                  </a:lnTo>
                  <a:lnTo>
                    <a:pt x="2426" y="2840"/>
                  </a:lnTo>
                  <a:lnTo>
                    <a:pt x="2428" y="2843"/>
                  </a:lnTo>
                  <a:lnTo>
                    <a:pt x="2429" y="2855"/>
                  </a:lnTo>
                  <a:lnTo>
                    <a:pt x="2433" y="2870"/>
                  </a:lnTo>
                  <a:lnTo>
                    <a:pt x="2441" y="2894"/>
                  </a:lnTo>
                  <a:lnTo>
                    <a:pt x="2448" y="2904"/>
                  </a:lnTo>
                  <a:lnTo>
                    <a:pt x="2475" y="2931"/>
                  </a:lnTo>
                  <a:lnTo>
                    <a:pt x="2478" y="2938"/>
                  </a:lnTo>
                  <a:lnTo>
                    <a:pt x="2476" y="2946"/>
                  </a:lnTo>
                  <a:lnTo>
                    <a:pt x="2474" y="2954"/>
                  </a:lnTo>
                  <a:lnTo>
                    <a:pt x="2472" y="2960"/>
                  </a:lnTo>
                  <a:lnTo>
                    <a:pt x="2474" y="2967"/>
                  </a:lnTo>
                  <a:lnTo>
                    <a:pt x="2481" y="2982"/>
                  </a:lnTo>
                  <a:lnTo>
                    <a:pt x="2525" y="3085"/>
                  </a:lnTo>
                  <a:lnTo>
                    <a:pt x="2562" y="3211"/>
                  </a:lnTo>
                  <a:lnTo>
                    <a:pt x="2565" y="3233"/>
                  </a:lnTo>
                  <a:lnTo>
                    <a:pt x="2563" y="3258"/>
                  </a:lnTo>
                  <a:lnTo>
                    <a:pt x="2566" y="3268"/>
                  </a:lnTo>
                  <a:lnTo>
                    <a:pt x="2576" y="3272"/>
                  </a:lnTo>
                  <a:lnTo>
                    <a:pt x="2582" y="3277"/>
                  </a:lnTo>
                  <a:lnTo>
                    <a:pt x="2605" y="3303"/>
                  </a:lnTo>
                  <a:lnTo>
                    <a:pt x="2609" y="3327"/>
                  </a:lnTo>
                  <a:lnTo>
                    <a:pt x="2604" y="3385"/>
                  </a:lnTo>
                  <a:lnTo>
                    <a:pt x="2609" y="3404"/>
                  </a:lnTo>
                  <a:lnTo>
                    <a:pt x="2625" y="3397"/>
                  </a:lnTo>
                  <a:lnTo>
                    <a:pt x="2636" y="3403"/>
                  </a:lnTo>
                  <a:lnTo>
                    <a:pt x="2643" y="3416"/>
                  </a:lnTo>
                  <a:lnTo>
                    <a:pt x="2645" y="3431"/>
                  </a:lnTo>
                  <a:lnTo>
                    <a:pt x="2641" y="3462"/>
                  </a:lnTo>
                  <a:lnTo>
                    <a:pt x="2642" y="3472"/>
                  </a:lnTo>
                  <a:lnTo>
                    <a:pt x="2650" y="3466"/>
                  </a:lnTo>
                  <a:lnTo>
                    <a:pt x="2657" y="3475"/>
                  </a:lnTo>
                  <a:lnTo>
                    <a:pt x="2660" y="3491"/>
                  </a:lnTo>
                  <a:lnTo>
                    <a:pt x="2663" y="3538"/>
                  </a:lnTo>
                  <a:lnTo>
                    <a:pt x="2661" y="3551"/>
                  </a:lnTo>
                  <a:lnTo>
                    <a:pt x="2650" y="3580"/>
                  </a:lnTo>
                  <a:lnTo>
                    <a:pt x="2663" y="3584"/>
                  </a:lnTo>
                  <a:lnTo>
                    <a:pt x="2674" y="3589"/>
                  </a:lnTo>
                  <a:lnTo>
                    <a:pt x="2680" y="3597"/>
                  </a:lnTo>
                  <a:lnTo>
                    <a:pt x="2680" y="3611"/>
                  </a:lnTo>
                  <a:lnTo>
                    <a:pt x="2677" y="3618"/>
                  </a:lnTo>
                  <a:lnTo>
                    <a:pt x="2668" y="3627"/>
                  </a:lnTo>
                  <a:lnTo>
                    <a:pt x="2667" y="3634"/>
                  </a:lnTo>
                  <a:lnTo>
                    <a:pt x="2670" y="3637"/>
                  </a:lnTo>
                  <a:lnTo>
                    <a:pt x="2683" y="3645"/>
                  </a:lnTo>
                  <a:lnTo>
                    <a:pt x="2687" y="3647"/>
                  </a:lnTo>
                  <a:lnTo>
                    <a:pt x="2696" y="3646"/>
                  </a:lnTo>
                  <a:lnTo>
                    <a:pt x="2700" y="3645"/>
                  </a:lnTo>
                  <a:lnTo>
                    <a:pt x="2703" y="3646"/>
                  </a:lnTo>
                  <a:lnTo>
                    <a:pt x="2709" y="3653"/>
                  </a:lnTo>
                  <a:lnTo>
                    <a:pt x="2715" y="3658"/>
                  </a:lnTo>
                  <a:lnTo>
                    <a:pt x="2721" y="3661"/>
                  </a:lnTo>
                  <a:lnTo>
                    <a:pt x="2729" y="3663"/>
                  </a:lnTo>
                  <a:lnTo>
                    <a:pt x="2736" y="3664"/>
                  </a:lnTo>
                  <a:lnTo>
                    <a:pt x="2746" y="3661"/>
                  </a:lnTo>
                  <a:lnTo>
                    <a:pt x="2770" y="3650"/>
                  </a:lnTo>
                  <a:lnTo>
                    <a:pt x="2782" y="3647"/>
                  </a:lnTo>
                  <a:lnTo>
                    <a:pt x="2798" y="3649"/>
                  </a:lnTo>
                  <a:lnTo>
                    <a:pt x="2809" y="3657"/>
                  </a:lnTo>
                  <a:lnTo>
                    <a:pt x="2822" y="3682"/>
                  </a:lnTo>
                  <a:lnTo>
                    <a:pt x="2832" y="3692"/>
                  </a:lnTo>
                  <a:lnTo>
                    <a:pt x="2842" y="3697"/>
                  </a:lnTo>
                  <a:lnTo>
                    <a:pt x="2854" y="3699"/>
                  </a:lnTo>
                  <a:lnTo>
                    <a:pt x="2869" y="3699"/>
                  </a:lnTo>
                  <a:lnTo>
                    <a:pt x="2895" y="3703"/>
                  </a:lnTo>
                  <a:lnTo>
                    <a:pt x="2923" y="3712"/>
                  </a:lnTo>
                  <a:lnTo>
                    <a:pt x="2973" y="3739"/>
                  </a:lnTo>
                  <a:lnTo>
                    <a:pt x="2987" y="3751"/>
                  </a:lnTo>
                  <a:lnTo>
                    <a:pt x="3024" y="3790"/>
                  </a:lnTo>
                  <a:lnTo>
                    <a:pt x="3061" y="3822"/>
                  </a:lnTo>
                  <a:lnTo>
                    <a:pt x="3070" y="3836"/>
                  </a:lnTo>
                  <a:lnTo>
                    <a:pt x="3074" y="3851"/>
                  </a:lnTo>
                  <a:lnTo>
                    <a:pt x="3072" y="3864"/>
                  </a:lnTo>
                  <a:lnTo>
                    <a:pt x="3068" y="3877"/>
                  </a:lnTo>
                  <a:lnTo>
                    <a:pt x="3066" y="3891"/>
                  </a:lnTo>
                  <a:lnTo>
                    <a:pt x="3067" y="3902"/>
                  </a:lnTo>
                  <a:lnTo>
                    <a:pt x="3069" y="3911"/>
                  </a:lnTo>
                  <a:lnTo>
                    <a:pt x="3073" y="3919"/>
                  </a:lnTo>
                  <a:lnTo>
                    <a:pt x="3079" y="3928"/>
                  </a:lnTo>
                  <a:lnTo>
                    <a:pt x="3086" y="3935"/>
                  </a:lnTo>
                  <a:lnTo>
                    <a:pt x="3093" y="3941"/>
                  </a:lnTo>
                  <a:lnTo>
                    <a:pt x="3099" y="3949"/>
                  </a:lnTo>
                  <a:lnTo>
                    <a:pt x="3101" y="3961"/>
                  </a:lnTo>
                  <a:lnTo>
                    <a:pt x="3102" y="3978"/>
                  </a:lnTo>
                  <a:lnTo>
                    <a:pt x="3104" y="3992"/>
                  </a:lnTo>
                  <a:lnTo>
                    <a:pt x="3111" y="4004"/>
                  </a:lnTo>
                  <a:lnTo>
                    <a:pt x="3123" y="4016"/>
                  </a:lnTo>
                  <a:lnTo>
                    <a:pt x="3153" y="4032"/>
                  </a:lnTo>
                  <a:lnTo>
                    <a:pt x="3167" y="4043"/>
                  </a:lnTo>
                  <a:lnTo>
                    <a:pt x="3172" y="4058"/>
                  </a:lnTo>
                  <a:lnTo>
                    <a:pt x="3180" y="4065"/>
                  </a:lnTo>
                  <a:lnTo>
                    <a:pt x="3225" y="4096"/>
                  </a:lnTo>
                  <a:lnTo>
                    <a:pt x="3247" y="4116"/>
                  </a:lnTo>
                  <a:lnTo>
                    <a:pt x="3283" y="4160"/>
                  </a:lnTo>
                  <a:lnTo>
                    <a:pt x="3311" y="4210"/>
                  </a:lnTo>
                  <a:lnTo>
                    <a:pt x="3328" y="4232"/>
                  </a:lnTo>
                  <a:lnTo>
                    <a:pt x="3419" y="4327"/>
                  </a:lnTo>
                  <a:lnTo>
                    <a:pt x="3437" y="4354"/>
                  </a:lnTo>
                  <a:lnTo>
                    <a:pt x="3447" y="4386"/>
                  </a:lnTo>
                  <a:lnTo>
                    <a:pt x="3453" y="4430"/>
                  </a:lnTo>
                  <a:lnTo>
                    <a:pt x="3470" y="4464"/>
                  </a:lnTo>
                  <a:lnTo>
                    <a:pt x="3477" y="4472"/>
                  </a:lnTo>
                  <a:lnTo>
                    <a:pt x="3492" y="4470"/>
                  </a:lnTo>
                  <a:lnTo>
                    <a:pt x="3494" y="4476"/>
                  </a:lnTo>
                  <a:lnTo>
                    <a:pt x="3495" y="4481"/>
                  </a:lnTo>
                  <a:lnTo>
                    <a:pt x="3494" y="4486"/>
                  </a:lnTo>
                  <a:lnTo>
                    <a:pt x="3492" y="4492"/>
                  </a:lnTo>
                  <a:lnTo>
                    <a:pt x="3485" y="4489"/>
                  </a:lnTo>
                  <a:lnTo>
                    <a:pt x="3478" y="4488"/>
                  </a:lnTo>
                  <a:lnTo>
                    <a:pt x="3471" y="4489"/>
                  </a:lnTo>
                  <a:lnTo>
                    <a:pt x="3465" y="4492"/>
                  </a:lnTo>
                  <a:lnTo>
                    <a:pt x="3472" y="4507"/>
                  </a:lnTo>
                  <a:lnTo>
                    <a:pt x="3474" y="4512"/>
                  </a:lnTo>
                  <a:lnTo>
                    <a:pt x="3472" y="4516"/>
                  </a:lnTo>
                  <a:lnTo>
                    <a:pt x="3469" y="4519"/>
                  </a:lnTo>
                  <a:lnTo>
                    <a:pt x="3466" y="4520"/>
                  </a:lnTo>
                  <a:lnTo>
                    <a:pt x="3465" y="4523"/>
                  </a:lnTo>
                  <a:lnTo>
                    <a:pt x="3463" y="4531"/>
                  </a:lnTo>
                  <a:lnTo>
                    <a:pt x="3461" y="4541"/>
                  </a:lnTo>
                  <a:lnTo>
                    <a:pt x="3464" y="4548"/>
                  </a:lnTo>
                  <a:lnTo>
                    <a:pt x="3474" y="4545"/>
                  </a:lnTo>
                  <a:lnTo>
                    <a:pt x="3501" y="4569"/>
                  </a:lnTo>
                  <a:lnTo>
                    <a:pt x="3505" y="4578"/>
                  </a:lnTo>
                  <a:lnTo>
                    <a:pt x="3505" y="4592"/>
                  </a:lnTo>
                  <a:lnTo>
                    <a:pt x="3504" y="4596"/>
                  </a:lnTo>
                  <a:lnTo>
                    <a:pt x="3500" y="4601"/>
                  </a:lnTo>
                  <a:lnTo>
                    <a:pt x="3490" y="4611"/>
                  </a:lnTo>
                  <a:lnTo>
                    <a:pt x="3487" y="4615"/>
                  </a:lnTo>
                  <a:lnTo>
                    <a:pt x="3493" y="4621"/>
                  </a:lnTo>
                  <a:lnTo>
                    <a:pt x="3500" y="4622"/>
                  </a:lnTo>
                  <a:lnTo>
                    <a:pt x="3516" y="4619"/>
                  </a:lnTo>
                  <a:lnTo>
                    <a:pt x="3518" y="4618"/>
                  </a:lnTo>
                  <a:lnTo>
                    <a:pt x="3519" y="4616"/>
                  </a:lnTo>
                  <a:lnTo>
                    <a:pt x="3521" y="4614"/>
                  </a:lnTo>
                  <a:lnTo>
                    <a:pt x="3525" y="4617"/>
                  </a:lnTo>
                  <a:lnTo>
                    <a:pt x="3531" y="4624"/>
                  </a:lnTo>
                  <a:lnTo>
                    <a:pt x="3534" y="4627"/>
                  </a:lnTo>
                  <a:lnTo>
                    <a:pt x="3547" y="4631"/>
                  </a:lnTo>
                  <a:lnTo>
                    <a:pt x="3574" y="4647"/>
                  </a:lnTo>
                  <a:lnTo>
                    <a:pt x="3587" y="4650"/>
                  </a:lnTo>
                  <a:lnTo>
                    <a:pt x="3593" y="4657"/>
                  </a:lnTo>
                  <a:lnTo>
                    <a:pt x="3598" y="4673"/>
                  </a:lnTo>
                  <a:lnTo>
                    <a:pt x="3602" y="4699"/>
                  </a:lnTo>
                  <a:lnTo>
                    <a:pt x="3601" y="4698"/>
                  </a:lnTo>
                  <a:lnTo>
                    <a:pt x="3598" y="4701"/>
                  </a:lnTo>
                  <a:lnTo>
                    <a:pt x="3595" y="4705"/>
                  </a:lnTo>
                  <a:lnTo>
                    <a:pt x="3593" y="4707"/>
                  </a:lnTo>
                  <a:lnTo>
                    <a:pt x="3595" y="4707"/>
                  </a:lnTo>
                  <a:lnTo>
                    <a:pt x="3601" y="4712"/>
                  </a:lnTo>
                  <a:lnTo>
                    <a:pt x="3602" y="4712"/>
                  </a:lnTo>
                  <a:lnTo>
                    <a:pt x="3600" y="4722"/>
                  </a:lnTo>
                  <a:lnTo>
                    <a:pt x="3597" y="4726"/>
                  </a:lnTo>
                  <a:lnTo>
                    <a:pt x="3593" y="4729"/>
                  </a:lnTo>
                  <a:lnTo>
                    <a:pt x="3603" y="4741"/>
                  </a:lnTo>
                  <a:lnTo>
                    <a:pt x="3628" y="4765"/>
                  </a:lnTo>
                  <a:lnTo>
                    <a:pt x="3634" y="4771"/>
                  </a:lnTo>
                  <a:lnTo>
                    <a:pt x="3636" y="4799"/>
                  </a:lnTo>
                  <a:lnTo>
                    <a:pt x="3642" y="4827"/>
                  </a:lnTo>
                  <a:lnTo>
                    <a:pt x="3648" y="4842"/>
                  </a:lnTo>
                  <a:lnTo>
                    <a:pt x="3657" y="4856"/>
                  </a:lnTo>
                  <a:lnTo>
                    <a:pt x="3689" y="4893"/>
                  </a:lnTo>
                  <a:lnTo>
                    <a:pt x="3719" y="4941"/>
                  </a:lnTo>
                  <a:lnTo>
                    <a:pt x="3723" y="4956"/>
                  </a:lnTo>
                  <a:lnTo>
                    <a:pt x="3726" y="4963"/>
                  </a:lnTo>
                  <a:lnTo>
                    <a:pt x="3731" y="4969"/>
                  </a:lnTo>
                  <a:lnTo>
                    <a:pt x="3768" y="5004"/>
                  </a:lnTo>
                  <a:lnTo>
                    <a:pt x="3779" y="5018"/>
                  </a:lnTo>
                  <a:lnTo>
                    <a:pt x="3784" y="5031"/>
                  </a:lnTo>
                  <a:lnTo>
                    <a:pt x="3787" y="5057"/>
                  </a:lnTo>
                  <a:lnTo>
                    <a:pt x="3794" y="5084"/>
                  </a:lnTo>
                  <a:lnTo>
                    <a:pt x="3798" y="5111"/>
                  </a:lnTo>
                  <a:lnTo>
                    <a:pt x="3793" y="5139"/>
                  </a:lnTo>
                  <a:lnTo>
                    <a:pt x="3771" y="5164"/>
                  </a:lnTo>
                  <a:lnTo>
                    <a:pt x="3762" y="5178"/>
                  </a:lnTo>
                  <a:lnTo>
                    <a:pt x="3764" y="5190"/>
                  </a:lnTo>
                  <a:lnTo>
                    <a:pt x="3767" y="5195"/>
                  </a:lnTo>
                  <a:lnTo>
                    <a:pt x="3821" y="5302"/>
                  </a:lnTo>
                  <a:lnTo>
                    <a:pt x="3883" y="5388"/>
                  </a:lnTo>
                  <a:lnTo>
                    <a:pt x="3939" y="5465"/>
                  </a:lnTo>
                  <a:lnTo>
                    <a:pt x="3962" y="5484"/>
                  </a:lnTo>
                  <a:lnTo>
                    <a:pt x="3987" y="5500"/>
                  </a:lnTo>
                  <a:lnTo>
                    <a:pt x="4041" y="5527"/>
                  </a:lnTo>
                  <a:lnTo>
                    <a:pt x="4065" y="5542"/>
                  </a:lnTo>
                  <a:lnTo>
                    <a:pt x="4083" y="5563"/>
                  </a:lnTo>
                  <a:lnTo>
                    <a:pt x="4135" y="5657"/>
                  </a:lnTo>
                  <a:lnTo>
                    <a:pt x="4142" y="5683"/>
                  </a:lnTo>
                  <a:lnTo>
                    <a:pt x="4236" y="5835"/>
                  </a:lnTo>
                  <a:lnTo>
                    <a:pt x="4249" y="5844"/>
                  </a:lnTo>
                  <a:lnTo>
                    <a:pt x="4267" y="5875"/>
                  </a:lnTo>
                  <a:lnTo>
                    <a:pt x="4283" y="5891"/>
                  </a:lnTo>
                  <a:lnTo>
                    <a:pt x="4438" y="6001"/>
                  </a:lnTo>
                  <a:lnTo>
                    <a:pt x="4560" y="6084"/>
                  </a:lnTo>
                  <a:lnTo>
                    <a:pt x="4661" y="6144"/>
                  </a:lnTo>
                  <a:lnTo>
                    <a:pt x="4669" y="6154"/>
                  </a:lnTo>
                  <a:lnTo>
                    <a:pt x="4673" y="6167"/>
                  </a:lnTo>
                  <a:lnTo>
                    <a:pt x="4675" y="6190"/>
                  </a:lnTo>
                  <a:lnTo>
                    <a:pt x="4676" y="6199"/>
                  </a:lnTo>
                  <a:lnTo>
                    <a:pt x="4680" y="6205"/>
                  </a:lnTo>
                  <a:lnTo>
                    <a:pt x="4684" y="6211"/>
                  </a:lnTo>
                  <a:lnTo>
                    <a:pt x="4688" y="6218"/>
                  </a:lnTo>
                  <a:lnTo>
                    <a:pt x="4688" y="6222"/>
                  </a:lnTo>
                  <a:lnTo>
                    <a:pt x="4687" y="6227"/>
                  </a:lnTo>
                  <a:lnTo>
                    <a:pt x="4687" y="6233"/>
                  </a:lnTo>
                  <a:lnTo>
                    <a:pt x="4688" y="6241"/>
                  </a:lnTo>
                  <a:lnTo>
                    <a:pt x="4695" y="6252"/>
                  </a:lnTo>
                  <a:lnTo>
                    <a:pt x="4715" y="6274"/>
                  </a:lnTo>
                  <a:lnTo>
                    <a:pt x="4719" y="6287"/>
                  </a:lnTo>
                  <a:lnTo>
                    <a:pt x="4716" y="6299"/>
                  </a:lnTo>
                  <a:lnTo>
                    <a:pt x="4704" y="6319"/>
                  </a:lnTo>
                  <a:lnTo>
                    <a:pt x="4701" y="6329"/>
                  </a:lnTo>
                  <a:lnTo>
                    <a:pt x="4706" y="6352"/>
                  </a:lnTo>
                  <a:lnTo>
                    <a:pt x="4720" y="6368"/>
                  </a:lnTo>
                  <a:lnTo>
                    <a:pt x="4737" y="6381"/>
                  </a:lnTo>
                  <a:lnTo>
                    <a:pt x="4754" y="6391"/>
                  </a:lnTo>
                  <a:lnTo>
                    <a:pt x="4859" y="6471"/>
                  </a:lnTo>
                  <a:lnTo>
                    <a:pt x="4971" y="6548"/>
                  </a:lnTo>
                  <a:lnTo>
                    <a:pt x="5085" y="6645"/>
                  </a:lnTo>
                  <a:lnTo>
                    <a:pt x="5093" y="6657"/>
                  </a:lnTo>
                  <a:lnTo>
                    <a:pt x="5103" y="6682"/>
                  </a:lnTo>
                  <a:lnTo>
                    <a:pt x="5113" y="6691"/>
                  </a:lnTo>
                  <a:lnTo>
                    <a:pt x="5197" y="6724"/>
                  </a:lnTo>
                  <a:lnTo>
                    <a:pt x="5276" y="6772"/>
                  </a:lnTo>
                  <a:lnTo>
                    <a:pt x="5349" y="6834"/>
                  </a:lnTo>
                  <a:lnTo>
                    <a:pt x="5361" y="6847"/>
                  </a:lnTo>
                  <a:lnTo>
                    <a:pt x="5369" y="6874"/>
                  </a:lnTo>
                  <a:lnTo>
                    <a:pt x="5377" y="6885"/>
                  </a:lnTo>
                  <a:lnTo>
                    <a:pt x="5387" y="6890"/>
                  </a:lnTo>
                  <a:lnTo>
                    <a:pt x="5397" y="6881"/>
                  </a:lnTo>
                  <a:lnTo>
                    <a:pt x="5409" y="6889"/>
                  </a:lnTo>
                  <a:lnTo>
                    <a:pt x="5414" y="6892"/>
                  </a:lnTo>
                  <a:lnTo>
                    <a:pt x="5419" y="6898"/>
                  </a:lnTo>
                  <a:lnTo>
                    <a:pt x="5430" y="6928"/>
                  </a:lnTo>
                  <a:lnTo>
                    <a:pt x="5432" y="6934"/>
                  </a:lnTo>
                  <a:lnTo>
                    <a:pt x="5439" y="6935"/>
                  </a:lnTo>
                  <a:lnTo>
                    <a:pt x="5447" y="6932"/>
                  </a:lnTo>
                  <a:lnTo>
                    <a:pt x="5455" y="6928"/>
                  </a:lnTo>
                  <a:lnTo>
                    <a:pt x="5463" y="6925"/>
                  </a:lnTo>
                  <a:lnTo>
                    <a:pt x="5471" y="6925"/>
                  </a:lnTo>
                  <a:lnTo>
                    <a:pt x="5480" y="6927"/>
                  </a:lnTo>
                  <a:lnTo>
                    <a:pt x="5488" y="6930"/>
                  </a:lnTo>
                  <a:lnTo>
                    <a:pt x="5494" y="6934"/>
                  </a:lnTo>
                  <a:lnTo>
                    <a:pt x="5500" y="6938"/>
                  </a:lnTo>
                  <a:lnTo>
                    <a:pt x="5510" y="6947"/>
                  </a:lnTo>
                  <a:lnTo>
                    <a:pt x="5516" y="6952"/>
                  </a:lnTo>
                  <a:lnTo>
                    <a:pt x="5519" y="6954"/>
                  </a:lnTo>
                  <a:lnTo>
                    <a:pt x="5520" y="6957"/>
                  </a:lnTo>
                  <a:lnTo>
                    <a:pt x="5522" y="6959"/>
                  </a:lnTo>
                  <a:lnTo>
                    <a:pt x="5527" y="6960"/>
                  </a:lnTo>
                  <a:lnTo>
                    <a:pt x="5542" y="6960"/>
                  </a:lnTo>
                  <a:lnTo>
                    <a:pt x="5547" y="6960"/>
                  </a:lnTo>
                  <a:lnTo>
                    <a:pt x="5563" y="6966"/>
                  </a:lnTo>
                  <a:lnTo>
                    <a:pt x="5572" y="6976"/>
                  </a:lnTo>
                  <a:lnTo>
                    <a:pt x="5587" y="7005"/>
                  </a:lnTo>
                  <a:lnTo>
                    <a:pt x="5599" y="6993"/>
                  </a:lnTo>
                  <a:lnTo>
                    <a:pt x="5605" y="6989"/>
                  </a:lnTo>
                  <a:lnTo>
                    <a:pt x="5612" y="6987"/>
                  </a:lnTo>
                  <a:lnTo>
                    <a:pt x="5621" y="6989"/>
                  </a:lnTo>
                  <a:lnTo>
                    <a:pt x="5628" y="6993"/>
                  </a:lnTo>
                  <a:lnTo>
                    <a:pt x="5634" y="6998"/>
                  </a:lnTo>
                  <a:lnTo>
                    <a:pt x="5638" y="7000"/>
                  </a:lnTo>
                  <a:lnTo>
                    <a:pt x="5640" y="7004"/>
                  </a:lnTo>
                  <a:lnTo>
                    <a:pt x="5634" y="7023"/>
                  </a:lnTo>
                  <a:lnTo>
                    <a:pt x="5634" y="7029"/>
                  </a:lnTo>
                  <a:lnTo>
                    <a:pt x="5641" y="7033"/>
                  </a:lnTo>
                  <a:lnTo>
                    <a:pt x="5648" y="7035"/>
                  </a:lnTo>
                  <a:lnTo>
                    <a:pt x="5665" y="7035"/>
                  </a:lnTo>
                  <a:lnTo>
                    <a:pt x="5677" y="7038"/>
                  </a:lnTo>
                  <a:lnTo>
                    <a:pt x="5687" y="7045"/>
                  </a:lnTo>
                  <a:lnTo>
                    <a:pt x="5703" y="7062"/>
                  </a:lnTo>
                  <a:lnTo>
                    <a:pt x="5741" y="7085"/>
                  </a:lnTo>
                  <a:lnTo>
                    <a:pt x="5752" y="7097"/>
                  </a:lnTo>
                  <a:lnTo>
                    <a:pt x="5754" y="7102"/>
                  </a:lnTo>
                  <a:lnTo>
                    <a:pt x="5755" y="7108"/>
                  </a:lnTo>
                  <a:lnTo>
                    <a:pt x="5756" y="7121"/>
                  </a:lnTo>
                  <a:lnTo>
                    <a:pt x="5754" y="7129"/>
                  </a:lnTo>
                  <a:lnTo>
                    <a:pt x="5745" y="7142"/>
                  </a:lnTo>
                  <a:lnTo>
                    <a:pt x="5743" y="7148"/>
                  </a:lnTo>
                  <a:lnTo>
                    <a:pt x="5747" y="7159"/>
                  </a:lnTo>
                  <a:lnTo>
                    <a:pt x="5759" y="7162"/>
                  </a:lnTo>
                  <a:lnTo>
                    <a:pt x="5773" y="7162"/>
                  </a:lnTo>
                  <a:lnTo>
                    <a:pt x="5787" y="7163"/>
                  </a:lnTo>
                  <a:lnTo>
                    <a:pt x="5795" y="7168"/>
                  </a:lnTo>
                  <a:lnTo>
                    <a:pt x="5805" y="7177"/>
                  </a:lnTo>
                  <a:lnTo>
                    <a:pt x="5813" y="7188"/>
                  </a:lnTo>
                  <a:lnTo>
                    <a:pt x="5811" y="7197"/>
                  </a:lnTo>
                  <a:lnTo>
                    <a:pt x="5803" y="7209"/>
                  </a:lnTo>
                  <a:lnTo>
                    <a:pt x="5807" y="7220"/>
                  </a:lnTo>
                  <a:lnTo>
                    <a:pt x="5836" y="7248"/>
                  </a:lnTo>
                  <a:lnTo>
                    <a:pt x="5883" y="7306"/>
                  </a:lnTo>
                  <a:lnTo>
                    <a:pt x="5893" y="7316"/>
                  </a:lnTo>
                  <a:lnTo>
                    <a:pt x="5905" y="7324"/>
                  </a:lnTo>
                  <a:lnTo>
                    <a:pt x="5926" y="7330"/>
                  </a:lnTo>
                  <a:lnTo>
                    <a:pt x="5931" y="7337"/>
                  </a:lnTo>
                  <a:lnTo>
                    <a:pt x="5934" y="7344"/>
                  </a:lnTo>
                  <a:lnTo>
                    <a:pt x="5937" y="7349"/>
                  </a:lnTo>
                  <a:lnTo>
                    <a:pt x="5945" y="7354"/>
                  </a:lnTo>
                  <a:lnTo>
                    <a:pt x="5951" y="7355"/>
                  </a:lnTo>
                  <a:lnTo>
                    <a:pt x="5956" y="7356"/>
                  </a:lnTo>
                  <a:lnTo>
                    <a:pt x="5964" y="7358"/>
                  </a:lnTo>
                  <a:lnTo>
                    <a:pt x="5978" y="7366"/>
                  </a:lnTo>
                  <a:lnTo>
                    <a:pt x="6006" y="7396"/>
                  </a:lnTo>
                  <a:lnTo>
                    <a:pt x="6014" y="7409"/>
                  </a:lnTo>
                  <a:lnTo>
                    <a:pt x="5999" y="7422"/>
                  </a:lnTo>
                  <a:lnTo>
                    <a:pt x="6004" y="7433"/>
                  </a:lnTo>
                  <a:lnTo>
                    <a:pt x="6049" y="7461"/>
                  </a:lnTo>
                  <a:lnTo>
                    <a:pt x="6059" y="7465"/>
                  </a:lnTo>
                  <a:lnTo>
                    <a:pt x="6102" y="7504"/>
                  </a:lnTo>
                  <a:lnTo>
                    <a:pt x="6106" y="7516"/>
                  </a:lnTo>
                  <a:lnTo>
                    <a:pt x="6111" y="7523"/>
                  </a:lnTo>
                  <a:lnTo>
                    <a:pt x="6121" y="7528"/>
                  </a:lnTo>
                  <a:lnTo>
                    <a:pt x="6127" y="7532"/>
                  </a:lnTo>
                  <a:lnTo>
                    <a:pt x="6161" y="7561"/>
                  </a:lnTo>
                  <a:lnTo>
                    <a:pt x="6169" y="7573"/>
                  </a:lnTo>
                  <a:lnTo>
                    <a:pt x="6172" y="7588"/>
                  </a:lnTo>
                  <a:lnTo>
                    <a:pt x="6169" y="7611"/>
                  </a:lnTo>
                  <a:lnTo>
                    <a:pt x="6174" y="7617"/>
                  </a:lnTo>
                  <a:lnTo>
                    <a:pt x="6263" y="7618"/>
                  </a:lnTo>
                  <a:lnTo>
                    <a:pt x="6271" y="7617"/>
                  </a:lnTo>
                  <a:lnTo>
                    <a:pt x="6274" y="7612"/>
                  </a:lnTo>
                  <a:lnTo>
                    <a:pt x="6273" y="7605"/>
                  </a:lnTo>
                  <a:lnTo>
                    <a:pt x="6265" y="7590"/>
                  </a:lnTo>
                  <a:lnTo>
                    <a:pt x="6262" y="7563"/>
                  </a:lnTo>
                  <a:lnTo>
                    <a:pt x="6257" y="7539"/>
                  </a:lnTo>
                  <a:lnTo>
                    <a:pt x="6156" y="7379"/>
                  </a:lnTo>
                  <a:lnTo>
                    <a:pt x="6153" y="7367"/>
                  </a:lnTo>
                  <a:lnTo>
                    <a:pt x="6156" y="7356"/>
                  </a:lnTo>
                  <a:lnTo>
                    <a:pt x="6168" y="7346"/>
                  </a:lnTo>
                  <a:lnTo>
                    <a:pt x="6178" y="7342"/>
                  </a:lnTo>
                  <a:lnTo>
                    <a:pt x="6191" y="7340"/>
                  </a:lnTo>
                  <a:lnTo>
                    <a:pt x="6207" y="7340"/>
                  </a:lnTo>
                  <a:lnTo>
                    <a:pt x="6204" y="7330"/>
                  </a:lnTo>
                  <a:lnTo>
                    <a:pt x="6203" y="7327"/>
                  </a:lnTo>
                  <a:lnTo>
                    <a:pt x="6207" y="7327"/>
                  </a:lnTo>
                  <a:lnTo>
                    <a:pt x="6214" y="7335"/>
                  </a:lnTo>
                  <a:lnTo>
                    <a:pt x="6226" y="7339"/>
                  </a:lnTo>
                  <a:lnTo>
                    <a:pt x="6252" y="7345"/>
                  </a:lnTo>
                  <a:lnTo>
                    <a:pt x="6263" y="7351"/>
                  </a:lnTo>
                  <a:lnTo>
                    <a:pt x="6270" y="7357"/>
                  </a:lnTo>
                  <a:lnTo>
                    <a:pt x="6309" y="7400"/>
                  </a:lnTo>
                  <a:lnTo>
                    <a:pt x="6322" y="7411"/>
                  </a:lnTo>
                  <a:lnTo>
                    <a:pt x="6353" y="7420"/>
                  </a:lnTo>
                  <a:lnTo>
                    <a:pt x="6394" y="7451"/>
                  </a:lnTo>
                  <a:lnTo>
                    <a:pt x="6505" y="7500"/>
                  </a:lnTo>
                  <a:lnTo>
                    <a:pt x="6534" y="7523"/>
                  </a:lnTo>
                  <a:lnTo>
                    <a:pt x="6542" y="7526"/>
                  </a:lnTo>
                  <a:close/>
                  <a:moveTo>
                    <a:pt x="12667" y="9405"/>
                  </a:moveTo>
                  <a:lnTo>
                    <a:pt x="12667" y="9405"/>
                  </a:lnTo>
                  <a:lnTo>
                    <a:pt x="12664" y="9397"/>
                  </a:lnTo>
                  <a:lnTo>
                    <a:pt x="12658" y="9389"/>
                  </a:lnTo>
                  <a:lnTo>
                    <a:pt x="12624" y="9377"/>
                  </a:lnTo>
                  <a:lnTo>
                    <a:pt x="12608" y="9366"/>
                  </a:lnTo>
                  <a:lnTo>
                    <a:pt x="12599" y="9364"/>
                  </a:lnTo>
                  <a:lnTo>
                    <a:pt x="12586" y="9363"/>
                  </a:lnTo>
                  <a:lnTo>
                    <a:pt x="12576" y="9359"/>
                  </a:lnTo>
                  <a:lnTo>
                    <a:pt x="12565" y="9349"/>
                  </a:lnTo>
                  <a:lnTo>
                    <a:pt x="12557" y="9336"/>
                  </a:lnTo>
                  <a:lnTo>
                    <a:pt x="12553" y="9323"/>
                  </a:lnTo>
                  <a:lnTo>
                    <a:pt x="12554" y="9280"/>
                  </a:lnTo>
                  <a:lnTo>
                    <a:pt x="12551" y="9260"/>
                  </a:lnTo>
                  <a:lnTo>
                    <a:pt x="12540" y="9248"/>
                  </a:lnTo>
                  <a:lnTo>
                    <a:pt x="12539" y="9277"/>
                  </a:lnTo>
                  <a:lnTo>
                    <a:pt x="12537" y="9294"/>
                  </a:lnTo>
                  <a:lnTo>
                    <a:pt x="12529" y="9301"/>
                  </a:lnTo>
                  <a:lnTo>
                    <a:pt x="12521" y="9295"/>
                  </a:lnTo>
                  <a:lnTo>
                    <a:pt x="12519" y="9281"/>
                  </a:lnTo>
                  <a:lnTo>
                    <a:pt x="12518" y="9252"/>
                  </a:lnTo>
                  <a:lnTo>
                    <a:pt x="12510" y="9237"/>
                  </a:lnTo>
                  <a:lnTo>
                    <a:pt x="12509" y="9230"/>
                  </a:lnTo>
                  <a:lnTo>
                    <a:pt x="12509" y="9224"/>
                  </a:lnTo>
                  <a:lnTo>
                    <a:pt x="12512" y="9209"/>
                  </a:lnTo>
                  <a:lnTo>
                    <a:pt x="12514" y="9190"/>
                  </a:lnTo>
                  <a:lnTo>
                    <a:pt x="12539" y="9061"/>
                  </a:lnTo>
                  <a:lnTo>
                    <a:pt x="12566" y="8967"/>
                  </a:lnTo>
                  <a:lnTo>
                    <a:pt x="12567" y="8936"/>
                  </a:lnTo>
                  <a:lnTo>
                    <a:pt x="12565" y="8932"/>
                  </a:lnTo>
                  <a:lnTo>
                    <a:pt x="12564" y="8927"/>
                  </a:lnTo>
                  <a:lnTo>
                    <a:pt x="12562" y="8921"/>
                  </a:lnTo>
                  <a:lnTo>
                    <a:pt x="12562" y="8914"/>
                  </a:lnTo>
                  <a:lnTo>
                    <a:pt x="12565" y="8907"/>
                  </a:lnTo>
                  <a:lnTo>
                    <a:pt x="12573" y="8895"/>
                  </a:lnTo>
                  <a:lnTo>
                    <a:pt x="12575" y="8890"/>
                  </a:lnTo>
                  <a:lnTo>
                    <a:pt x="12579" y="8862"/>
                  </a:lnTo>
                  <a:lnTo>
                    <a:pt x="12580" y="8848"/>
                  </a:lnTo>
                  <a:lnTo>
                    <a:pt x="12575" y="8834"/>
                  </a:lnTo>
                  <a:lnTo>
                    <a:pt x="12566" y="8825"/>
                  </a:lnTo>
                  <a:lnTo>
                    <a:pt x="12540" y="8811"/>
                  </a:lnTo>
                  <a:lnTo>
                    <a:pt x="12529" y="8801"/>
                  </a:lnTo>
                  <a:lnTo>
                    <a:pt x="12524" y="8799"/>
                  </a:lnTo>
                  <a:lnTo>
                    <a:pt x="12516" y="8798"/>
                  </a:lnTo>
                  <a:lnTo>
                    <a:pt x="12502" y="8799"/>
                  </a:lnTo>
                  <a:lnTo>
                    <a:pt x="12494" y="8798"/>
                  </a:lnTo>
                  <a:lnTo>
                    <a:pt x="12488" y="8796"/>
                  </a:lnTo>
                  <a:lnTo>
                    <a:pt x="12478" y="8790"/>
                  </a:lnTo>
                  <a:lnTo>
                    <a:pt x="12454" y="8767"/>
                  </a:lnTo>
                  <a:lnTo>
                    <a:pt x="12445" y="8763"/>
                  </a:lnTo>
                  <a:lnTo>
                    <a:pt x="12430" y="8766"/>
                  </a:lnTo>
                  <a:lnTo>
                    <a:pt x="12404" y="8772"/>
                  </a:lnTo>
                  <a:lnTo>
                    <a:pt x="12389" y="8772"/>
                  </a:lnTo>
                  <a:lnTo>
                    <a:pt x="12368" y="8764"/>
                  </a:lnTo>
                  <a:lnTo>
                    <a:pt x="12353" y="8751"/>
                  </a:lnTo>
                  <a:lnTo>
                    <a:pt x="12327" y="8718"/>
                  </a:lnTo>
                  <a:lnTo>
                    <a:pt x="12307" y="8706"/>
                  </a:lnTo>
                  <a:lnTo>
                    <a:pt x="12288" y="8710"/>
                  </a:lnTo>
                  <a:lnTo>
                    <a:pt x="12242" y="8749"/>
                  </a:lnTo>
                  <a:lnTo>
                    <a:pt x="12232" y="8753"/>
                  </a:lnTo>
                  <a:lnTo>
                    <a:pt x="12219" y="8754"/>
                  </a:lnTo>
                  <a:lnTo>
                    <a:pt x="12204" y="8752"/>
                  </a:lnTo>
                  <a:lnTo>
                    <a:pt x="12193" y="8749"/>
                  </a:lnTo>
                  <a:lnTo>
                    <a:pt x="12184" y="8748"/>
                  </a:lnTo>
                  <a:lnTo>
                    <a:pt x="12172" y="8754"/>
                  </a:lnTo>
                  <a:lnTo>
                    <a:pt x="12159" y="8770"/>
                  </a:lnTo>
                  <a:lnTo>
                    <a:pt x="12150" y="8777"/>
                  </a:lnTo>
                  <a:lnTo>
                    <a:pt x="12139" y="8780"/>
                  </a:lnTo>
                  <a:lnTo>
                    <a:pt x="12124" y="8778"/>
                  </a:lnTo>
                  <a:lnTo>
                    <a:pt x="12098" y="8769"/>
                  </a:lnTo>
                  <a:lnTo>
                    <a:pt x="12083" y="8768"/>
                  </a:lnTo>
                  <a:lnTo>
                    <a:pt x="12078" y="8769"/>
                  </a:lnTo>
                  <a:lnTo>
                    <a:pt x="12065" y="8775"/>
                  </a:lnTo>
                  <a:lnTo>
                    <a:pt x="12057" y="8776"/>
                  </a:lnTo>
                  <a:lnTo>
                    <a:pt x="11973" y="8763"/>
                  </a:lnTo>
                  <a:lnTo>
                    <a:pt x="11957" y="8766"/>
                  </a:lnTo>
                  <a:lnTo>
                    <a:pt x="11937" y="8778"/>
                  </a:lnTo>
                  <a:lnTo>
                    <a:pt x="11926" y="8780"/>
                  </a:lnTo>
                  <a:lnTo>
                    <a:pt x="11912" y="8782"/>
                  </a:lnTo>
                  <a:lnTo>
                    <a:pt x="11898" y="8787"/>
                  </a:lnTo>
                  <a:lnTo>
                    <a:pt x="11875" y="8799"/>
                  </a:lnTo>
                  <a:lnTo>
                    <a:pt x="11852" y="8814"/>
                  </a:lnTo>
                  <a:lnTo>
                    <a:pt x="11840" y="8819"/>
                  </a:lnTo>
                  <a:lnTo>
                    <a:pt x="11824" y="8821"/>
                  </a:lnTo>
                  <a:lnTo>
                    <a:pt x="11815" y="8816"/>
                  </a:lnTo>
                  <a:lnTo>
                    <a:pt x="11800" y="8796"/>
                  </a:lnTo>
                  <a:lnTo>
                    <a:pt x="11787" y="8790"/>
                  </a:lnTo>
                  <a:lnTo>
                    <a:pt x="11779" y="8790"/>
                  </a:lnTo>
                  <a:lnTo>
                    <a:pt x="11765" y="8793"/>
                  </a:lnTo>
                  <a:lnTo>
                    <a:pt x="11760" y="8794"/>
                  </a:lnTo>
                  <a:lnTo>
                    <a:pt x="11752" y="8793"/>
                  </a:lnTo>
                  <a:lnTo>
                    <a:pt x="11738" y="8787"/>
                  </a:lnTo>
                  <a:lnTo>
                    <a:pt x="11717" y="8781"/>
                  </a:lnTo>
                  <a:lnTo>
                    <a:pt x="11703" y="8772"/>
                  </a:lnTo>
                  <a:lnTo>
                    <a:pt x="11680" y="8749"/>
                  </a:lnTo>
                  <a:lnTo>
                    <a:pt x="11667" y="8739"/>
                  </a:lnTo>
                  <a:lnTo>
                    <a:pt x="11655" y="8734"/>
                  </a:lnTo>
                  <a:lnTo>
                    <a:pt x="11641" y="8732"/>
                  </a:lnTo>
                  <a:lnTo>
                    <a:pt x="11625" y="8732"/>
                  </a:lnTo>
                  <a:lnTo>
                    <a:pt x="11613" y="8729"/>
                  </a:lnTo>
                  <a:lnTo>
                    <a:pt x="11530" y="8694"/>
                  </a:lnTo>
                  <a:lnTo>
                    <a:pt x="11476" y="8654"/>
                  </a:lnTo>
                  <a:lnTo>
                    <a:pt x="11476" y="8601"/>
                  </a:lnTo>
                  <a:lnTo>
                    <a:pt x="11482" y="8590"/>
                  </a:lnTo>
                  <a:lnTo>
                    <a:pt x="11506" y="8574"/>
                  </a:lnTo>
                  <a:lnTo>
                    <a:pt x="11512" y="8561"/>
                  </a:lnTo>
                  <a:lnTo>
                    <a:pt x="11512" y="8535"/>
                  </a:lnTo>
                  <a:lnTo>
                    <a:pt x="11513" y="8523"/>
                  </a:lnTo>
                  <a:lnTo>
                    <a:pt x="11518" y="8500"/>
                  </a:lnTo>
                  <a:lnTo>
                    <a:pt x="11519" y="8490"/>
                  </a:lnTo>
                  <a:lnTo>
                    <a:pt x="11517" y="8480"/>
                  </a:lnTo>
                  <a:lnTo>
                    <a:pt x="11507" y="8462"/>
                  </a:lnTo>
                  <a:lnTo>
                    <a:pt x="11500" y="8452"/>
                  </a:lnTo>
                  <a:lnTo>
                    <a:pt x="11491" y="8443"/>
                  </a:lnTo>
                  <a:lnTo>
                    <a:pt x="11481" y="8439"/>
                  </a:lnTo>
                  <a:lnTo>
                    <a:pt x="11466" y="8443"/>
                  </a:lnTo>
                  <a:lnTo>
                    <a:pt x="11456" y="8453"/>
                  </a:lnTo>
                  <a:lnTo>
                    <a:pt x="11447" y="8465"/>
                  </a:lnTo>
                  <a:lnTo>
                    <a:pt x="11437" y="8475"/>
                  </a:lnTo>
                  <a:lnTo>
                    <a:pt x="11401" y="8459"/>
                  </a:lnTo>
                  <a:lnTo>
                    <a:pt x="11385" y="8449"/>
                  </a:lnTo>
                  <a:lnTo>
                    <a:pt x="11375" y="8435"/>
                  </a:lnTo>
                  <a:lnTo>
                    <a:pt x="11414" y="8439"/>
                  </a:lnTo>
                  <a:lnTo>
                    <a:pt x="11423" y="8435"/>
                  </a:lnTo>
                  <a:lnTo>
                    <a:pt x="11426" y="8423"/>
                  </a:lnTo>
                  <a:lnTo>
                    <a:pt x="11420" y="8410"/>
                  </a:lnTo>
                  <a:lnTo>
                    <a:pt x="11410" y="8399"/>
                  </a:lnTo>
                  <a:lnTo>
                    <a:pt x="11399" y="8394"/>
                  </a:lnTo>
                  <a:lnTo>
                    <a:pt x="11393" y="8390"/>
                  </a:lnTo>
                  <a:lnTo>
                    <a:pt x="11387" y="8380"/>
                  </a:lnTo>
                  <a:lnTo>
                    <a:pt x="11381" y="8369"/>
                  </a:lnTo>
                  <a:lnTo>
                    <a:pt x="11379" y="8361"/>
                  </a:lnTo>
                  <a:lnTo>
                    <a:pt x="11383" y="8356"/>
                  </a:lnTo>
                  <a:lnTo>
                    <a:pt x="11394" y="8351"/>
                  </a:lnTo>
                  <a:lnTo>
                    <a:pt x="11415" y="8345"/>
                  </a:lnTo>
                  <a:lnTo>
                    <a:pt x="11409" y="8335"/>
                  </a:lnTo>
                  <a:lnTo>
                    <a:pt x="11400" y="8335"/>
                  </a:lnTo>
                  <a:lnTo>
                    <a:pt x="11391" y="8339"/>
                  </a:lnTo>
                  <a:lnTo>
                    <a:pt x="11384" y="8337"/>
                  </a:lnTo>
                  <a:lnTo>
                    <a:pt x="11378" y="8332"/>
                  </a:lnTo>
                  <a:lnTo>
                    <a:pt x="11364" y="8310"/>
                  </a:lnTo>
                  <a:lnTo>
                    <a:pt x="11361" y="8303"/>
                  </a:lnTo>
                  <a:lnTo>
                    <a:pt x="11364" y="8288"/>
                  </a:lnTo>
                  <a:lnTo>
                    <a:pt x="11374" y="8262"/>
                  </a:lnTo>
                  <a:lnTo>
                    <a:pt x="11375" y="8248"/>
                  </a:lnTo>
                  <a:lnTo>
                    <a:pt x="11373" y="8242"/>
                  </a:lnTo>
                  <a:lnTo>
                    <a:pt x="11370" y="8236"/>
                  </a:lnTo>
                  <a:lnTo>
                    <a:pt x="11365" y="8230"/>
                  </a:lnTo>
                  <a:lnTo>
                    <a:pt x="11361" y="8226"/>
                  </a:lnTo>
                  <a:lnTo>
                    <a:pt x="11351" y="8223"/>
                  </a:lnTo>
                  <a:lnTo>
                    <a:pt x="11348" y="8224"/>
                  </a:lnTo>
                  <a:lnTo>
                    <a:pt x="11347" y="8229"/>
                  </a:lnTo>
                  <a:lnTo>
                    <a:pt x="11348" y="8237"/>
                  </a:lnTo>
                  <a:lnTo>
                    <a:pt x="11345" y="8250"/>
                  </a:lnTo>
                  <a:lnTo>
                    <a:pt x="11335" y="8257"/>
                  </a:lnTo>
                  <a:lnTo>
                    <a:pt x="11322" y="8257"/>
                  </a:lnTo>
                  <a:lnTo>
                    <a:pt x="11308" y="8252"/>
                  </a:lnTo>
                  <a:lnTo>
                    <a:pt x="11298" y="8246"/>
                  </a:lnTo>
                  <a:lnTo>
                    <a:pt x="11289" y="8237"/>
                  </a:lnTo>
                  <a:lnTo>
                    <a:pt x="11278" y="8229"/>
                  </a:lnTo>
                  <a:lnTo>
                    <a:pt x="11266" y="8226"/>
                  </a:lnTo>
                  <a:lnTo>
                    <a:pt x="11262" y="8228"/>
                  </a:lnTo>
                  <a:lnTo>
                    <a:pt x="11257" y="8232"/>
                  </a:lnTo>
                  <a:lnTo>
                    <a:pt x="11253" y="8234"/>
                  </a:lnTo>
                  <a:lnTo>
                    <a:pt x="11243" y="8230"/>
                  </a:lnTo>
                  <a:lnTo>
                    <a:pt x="11219" y="8226"/>
                  </a:lnTo>
                  <a:lnTo>
                    <a:pt x="11204" y="8228"/>
                  </a:lnTo>
                  <a:lnTo>
                    <a:pt x="11177" y="8237"/>
                  </a:lnTo>
                  <a:lnTo>
                    <a:pt x="11164" y="8239"/>
                  </a:lnTo>
                  <a:lnTo>
                    <a:pt x="11137" y="8239"/>
                  </a:lnTo>
                  <a:lnTo>
                    <a:pt x="11131" y="8241"/>
                  </a:lnTo>
                  <a:lnTo>
                    <a:pt x="11109" y="8248"/>
                  </a:lnTo>
                  <a:lnTo>
                    <a:pt x="11082" y="8252"/>
                  </a:lnTo>
                  <a:lnTo>
                    <a:pt x="11053" y="8252"/>
                  </a:lnTo>
                  <a:lnTo>
                    <a:pt x="11038" y="8249"/>
                  </a:lnTo>
                  <a:lnTo>
                    <a:pt x="11028" y="8241"/>
                  </a:lnTo>
                  <a:lnTo>
                    <a:pt x="10991" y="8193"/>
                  </a:lnTo>
                  <a:lnTo>
                    <a:pt x="10969" y="8171"/>
                  </a:lnTo>
                  <a:lnTo>
                    <a:pt x="10957" y="8167"/>
                  </a:lnTo>
                  <a:lnTo>
                    <a:pt x="10943" y="8171"/>
                  </a:lnTo>
                  <a:lnTo>
                    <a:pt x="10922" y="8182"/>
                  </a:lnTo>
                  <a:lnTo>
                    <a:pt x="10908" y="8186"/>
                  </a:lnTo>
                  <a:lnTo>
                    <a:pt x="10898" y="8186"/>
                  </a:lnTo>
                  <a:lnTo>
                    <a:pt x="10887" y="8183"/>
                  </a:lnTo>
                  <a:lnTo>
                    <a:pt x="10860" y="8180"/>
                  </a:lnTo>
                  <a:lnTo>
                    <a:pt x="10816" y="8169"/>
                  </a:lnTo>
                  <a:lnTo>
                    <a:pt x="10801" y="8162"/>
                  </a:lnTo>
                  <a:lnTo>
                    <a:pt x="10787" y="8152"/>
                  </a:lnTo>
                  <a:lnTo>
                    <a:pt x="10761" y="8126"/>
                  </a:lnTo>
                  <a:lnTo>
                    <a:pt x="10739" y="8099"/>
                  </a:lnTo>
                  <a:lnTo>
                    <a:pt x="10732" y="8093"/>
                  </a:lnTo>
                  <a:lnTo>
                    <a:pt x="10711" y="8084"/>
                  </a:lnTo>
                  <a:lnTo>
                    <a:pt x="10674" y="8077"/>
                  </a:lnTo>
                  <a:lnTo>
                    <a:pt x="10657" y="8066"/>
                  </a:lnTo>
                  <a:lnTo>
                    <a:pt x="10646" y="8077"/>
                  </a:lnTo>
                  <a:lnTo>
                    <a:pt x="10625" y="8109"/>
                  </a:lnTo>
                  <a:lnTo>
                    <a:pt x="10615" y="8115"/>
                  </a:lnTo>
                  <a:lnTo>
                    <a:pt x="10601" y="8117"/>
                  </a:lnTo>
                  <a:lnTo>
                    <a:pt x="10574" y="8123"/>
                  </a:lnTo>
                  <a:lnTo>
                    <a:pt x="10559" y="8124"/>
                  </a:lnTo>
                  <a:lnTo>
                    <a:pt x="10439" y="8111"/>
                  </a:lnTo>
                  <a:lnTo>
                    <a:pt x="10435" y="8111"/>
                  </a:lnTo>
                  <a:lnTo>
                    <a:pt x="10431" y="8111"/>
                  </a:lnTo>
                  <a:lnTo>
                    <a:pt x="10426" y="8107"/>
                  </a:lnTo>
                  <a:lnTo>
                    <a:pt x="10415" y="8083"/>
                  </a:lnTo>
                  <a:lnTo>
                    <a:pt x="10391" y="8015"/>
                  </a:lnTo>
                  <a:lnTo>
                    <a:pt x="10380" y="7993"/>
                  </a:lnTo>
                  <a:lnTo>
                    <a:pt x="10376" y="7967"/>
                  </a:lnTo>
                  <a:lnTo>
                    <a:pt x="10371" y="7959"/>
                  </a:lnTo>
                  <a:lnTo>
                    <a:pt x="10364" y="7952"/>
                  </a:lnTo>
                  <a:lnTo>
                    <a:pt x="10356" y="7947"/>
                  </a:lnTo>
                  <a:lnTo>
                    <a:pt x="10355" y="7945"/>
                  </a:lnTo>
                  <a:lnTo>
                    <a:pt x="10350" y="7939"/>
                  </a:lnTo>
                  <a:lnTo>
                    <a:pt x="10345" y="7936"/>
                  </a:lnTo>
                  <a:lnTo>
                    <a:pt x="10342" y="7940"/>
                  </a:lnTo>
                  <a:lnTo>
                    <a:pt x="10339" y="7942"/>
                  </a:lnTo>
                  <a:lnTo>
                    <a:pt x="10332" y="7943"/>
                  </a:lnTo>
                  <a:lnTo>
                    <a:pt x="10320" y="7942"/>
                  </a:lnTo>
                  <a:lnTo>
                    <a:pt x="10313" y="7940"/>
                  </a:lnTo>
                  <a:lnTo>
                    <a:pt x="10295" y="7929"/>
                  </a:lnTo>
                  <a:lnTo>
                    <a:pt x="10289" y="7924"/>
                  </a:lnTo>
                  <a:lnTo>
                    <a:pt x="10275" y="7929"/>
                  </a:lnTo>
                  <a:lnTo>
                    <a:pt x="10236" y="7934"/>
                  </a:lnTo>
                  <a:lnTo>
                    <a:pt x="10230" y="7935"/>
                  </a:lnTo>
                  <a:lnTo>
                    <a:pt x="10220" y="7940"/>
                  </a:lnTo>
                  <a:lnTo>
                    <a:pt x="10213" y="7942"/>
                  </a:lnTo>
                  <a:lnTo>
                    <a:pt x="10196" y="7946"/>
                  </a:lnTo>
                  <a:lnTo>
                    <a:pt x="10163" y="7959"/>
                  </a:lnTo>
                  <a:lnTo>
                    <a:pt x="10156" y="7964"/>
                  </a:lnTo>
                  <a:lnTo>
                    <a:pt x="10145" y="7979"/>
                  </a:lnTo>
                  <a:lnTo>
                    <a:pt x="10138" y="7984"/>
                  </a:lnTo>
                  <a:lnTo>
                    <a:pt x="10125" y="7987"/>
                  </a:lnTo>
                  <a:lnTo>
                    <a:pt x="10132" y="8001"/>
                  </a:lnTo>
                  <a:lnTo>
                    <a:pt x="10130" y="8009"/>
                  </a:lnTo>
                  <a:lnTo>
                    <a:pt x="10124" y="8017"/>
                  </a:lnTo>
                  <a:lnTo>
                    <a:pt x="10121" y="8029"/>
                  </a:lnTo>
                  <a:lnTo>
                    <a:pt x="10120" y="8055"/>
                  </a:lnTo>
                  <a:lnTo>
                    <a:pt x="10116" y="8079"/>
                  </a:lnTo>
                  <a:lnTo>
                    <a:pt x="10108" y="8108"/>
                  </a:lnTo>
                  <a:lnTo>
                    <a:pt x="10060" y="8204"/>
                  </a:lnTo>
                  <a:lnTo>
                    <a:pt x="10032" y="8242"/>
                  </a:lnTo>
                  <a:lnTo>
                    <a:pt x="10005" y="8270"/>
                  </a:lnTo>
                  <a:lnTo>
                    <a:pt x="9996" y="8275"/>
                  </a:lnTo>
                  <a:lnTo>
                    <a:pt x="9986" y="8278"/>
                  </a:lnTo>
                  <a:lnTo>
                    <a:pt x="9972" y="8279"/>
                  </a:lnTo>
                  <a:lnTo>
                    <a:pt x="9959" y="8282"/>
                  </a:lnTo>
                  <a:lnTo>
                    <a:pt x="9949" y="8289"/>
                  </a:lnTo>
                  <a:lnTo>
                    <a:pt x="9937" y="8294"/>
                  </a:lnTo>
                  <a:lnTo>
                    <a:pt x="9921" y="8292"/>
                  </a:lnTo>
                  <a:lnTo>
                    <a:pt x="9907" y="8285"/>
                  </a:lnTo>
                  <a:lnTo>
                    <a:pt x="9880" y="8265"/>
                  </a:lnTo>
                  <a:lnTo>
                    <a:pt x="9858" y="8259"/>
                  </a:lnTo>
                  <a:lnTo>
                    <a:pt x="9828" y="8245"/>
                  </a:lnTo>
                  <a:lnTo>
                    <a:pt x="9819" y="8239"/>
                  </a:lnTo>
                  <a:lnTo>
                    <a:pt x="9816" y="8233"/>
                  </a:lnTo>
                  <a:lnTo>
                    <a:pt x="9815" y="8226"/>
                  </a:lnTo>
                  <a:lnTo>
                    <a:pt x="9813" y="8219"/>
                  </a:lnTo>
                  <a:lnTo>
                    <a:pt x="9806" y="8217"/>
                  </a:lnTo>
                  <a:lnTo>
                    <a:pt x="9801" y="8220"/>
                  </a:lnTo>
                  <a:lnTo>
                    <a:pt x="9790" y="8233"/>
                  </a:lnTo>
                  <a:lnTo>
                    <a:pt x="9788" y="8237"/>
                  </a:lnTo>
                  <a:lnTo>
                    <a:pt x="9781" y="8243"/>
                  </a:lnTo>
                  <a:lnTo>
                    <a:pt x="9765" y="8248"/>
                  </a:lnTo>
                  <a:lnTo>
                    <a:pt x="9680" y="8260"/>
                  </a:lnTo>
                  <a:lnTo>
                    <a:pt x="9653" y="8260"/>
                  </a:lnTo>
                  <a:lnTo>
                    <a:pt x="9624" y="8257"/>
                  </a:lnTo>
                  <a:lnTo>
                    <a:pt x="9513" y="8221"/>
                  </a:lnTo>
                  <a:lnTo>
                    <a:pt x="9388" y="8203"/>
                  </a:lnTo>
                  <a:lnTo>
                    <a:pt x="9363" y="8182"/>
                  </a:lnTo>
                  <a:lnTo>
                    <a:pt x="9328" y="8219"/>
                  </a:lnTo>
                  <a:lnTo>
                    <a:pt x="9272" y="8229"/>
                  </a:lnTo>
                  <a:lnTo>
                    <a:pt x="9159" y="8217"/>
                  </a:lnTo>
                  <a:lnTo>
                    <a:pt x="9141" y="8218"/>
                  </a:lnTo>
                  <a:lnTo>
                    <a:pt x="9137" y="8217"/>
                  </a:lnTo>
                  <a:lnTo>
                    <a:pt x="9119" y="8205"/>
                  </a:lnTo>
                  <a:lnTo>
                    <a:pt x="9104" y="8201"/>
                  </a:lnTo>
                  <a:lnTo>
                    <a:pt x="9079" y="8182"/>
                  </a:lnTo>
                  <a:lnTo>
                    <a:pt x="9071" y="8178"/>
                  </a:lnTo>
                  <a:lnTo>
                    <a:pt x="9058" y="8173"/>
                  </a:lnTo>
                  <a:lnTo>
                    <a:pt x="9045" y="8173"/>
                  </a:lnTo>
                  <a:lnTo>
                    <a:pt x="9039" y="8184"/>
                  </a:lnTo>
                  <a:lnTo>
                    <a:pt x="9038" y="8199"/>
                  </a:lnTo>
                  <a:lnTo>
                    <a:pt x="9034" y="8208"/>
                  </a:lnTo>
                  <a:lnTo>
                    <a:pt x="9024" y="8212"/>
                  </a:lnTo>
                  <a:lnTo>
                    <a:pt x="9009" y="8212"/>
                  </a:lnTo>
                  <a:lnTo>
                    <a:pt x="8994" y="8209"/>
                  </a:lnTo>
                  <a:lnTo>
                    <a:pt x="8987" y="8203"/>
                  </a:lnTo>
                  <a:lnTo>
                    <a:pt x="8982" y="8195"/>
                  </a:lnTo>
                  <a:lnTo>
                    <a:pt x="8973" y="8186"/>
                  </a:lnTo>
                  <a:lnTo>
                    <a:pt x="8964" y="8184"/>
                  </a:lnTo>
                  <a:lnTo>
                    <a:pt x="8953" y="8182"/>
                  </a:lnTo>
                  <a:lnTo>
                    <a:pt x="8943" y="8179"/>
                  </a:lnTo>
                  <a:lnTo>
                    <a:pt x="8938" y="8173"/>
                  </a:lnTo>
                  <a:lnTo>
                    <a:pt x="8910" y="8188"/>
                  </a:lnTo>
                  <a:lnTo>
                    <a:pt x="8882" y="8188"/>
                  </a:lnTo>
                  <a:lnTo>
                    <a:pt x="8854" y="8178"/>
                  </a:lnTo>
                  <a:lnTo>
                    <a:pt x="8826" y="8159"/>
                  </a:lnTo>
                  <a:lnTo>
                    <a:pt x="8789" y="8156"/>
                  </a:lnTo>
                  <a:lnTo>
                    <a:pt x="8769" y="8096"/>
                  </a:lnTo>
                  <a:lnTo>
                    <a:pt x="8747" y="7978"/>
                  </a:lnTo>
                  <a:lnTo>
                    <a:pt x="8713" y="7959"/>
                  </a:lnTo>
                  <a:lnTo>
                    <a:pt x="8705" y="7956"/>
                  </a:lnTo>
                  <a:lnTo>
                    <a:pt x="8692" y="7949"/>
                  </a:lnTo>
                  <a:lnTo>
                    <a:pt x="8627" y="7860"/>
                  </a:lnTo>
                  <a:lnTo>
                    <a:pt x="8606" y="7838"/>
                  </a:lnTo>
                  <a:lnTo>
                    <a:pt x="8583" y="7828"/>
                  </a:lnTo>
                  <a:lnTo>
                    <a:pt x="8541" y="7831"/>
                  </a:lnTo>
                  <a:lnTo>
                    <a:pt x="8536" y="7833"/>
                  </a:lnTo>
                  <a:lnTo>
                    <a:pt x="8533" y="7838"/>
                  </a:lnTo>
                  <a:lnTo>
                    <a:pt x="8531" y="7843"/>
                  </a:lnTo>
                  <a:lnTo>
                    <a:pt x="8530" y="7847"/>
                  </a:lnTo>
                  <a:lnTo>
                    <a:pt x="8528" y="7849"/>
                  </a:lnTo>
                  <a:lnTo>
                    <a:pt x="8525" y="7851"/>
                  </a:lnTo>
                  <a:lnTo>
                    <a:pt x="8521" y="7853"/>
                  </a:lnTo>
                  <a:lnTo>
                    <a:pt x="8519" y="7854"/>
                  </a:lnTo>
                  <a:lnTo>
                    <a:pt x="8516" y="7855"/>
                  </a:lnTo>
                  <a:lnTo>
                    <a:pt x="8518" y="7859"/>
                  </a:lnTo>
                  <a:lnTo>
                    <a:pt x="8520" y="7863"/>
                  </a:lnTo>
                  <a:lnTo>
                    <a:pt x="8521" y="7867"/>
                  </a:lnTo>
                  <a:lnTo>
                    <a:pt x="8520" y="7873"/>
                  </a:lnTo>
                  <a:lnTo>
                    <a:pt x="8521" y="7875"/>
                  </a:lnTo>
                  <a:lnTo>
                    <a:pt x="8519" y="7876"/>
                  </a:lnTo>
                  <a:lnTo>
                    <a:pt x="8506" y="7882"/>
                  </a:lnTo>
                  <a:lnTo>
                    <a:pt x="8500" y="7884"/>
                  </a:lnTo>
                  <a:lnTo>
                    <a:pt x="8487" y="7885"/>
                  </a:lnTo>
                  <a:lnTo>
                    <a:pt x="8472" y="7884"/>
                  </a:lnTo>
                  <a:lnTo>
                    <a:pt x="8458" y="7881"/>
                  </a:lnTo>
                  <a:lnTo>
                    <a:pt x="8445" y="7877"/>
                  </a:lnTo>
                  <a:lnTo>
                    <a:pt x="8432" y="7871"/>
                  </a:lnTo>
                  <a:lnTo>
                    <a:pt x="8391" y="7841"/>
                  </a:lnTo>
                  <a:lnTo>
                    <a:pt x="8364" y="7833"/>
                  </a:lnTo>
                  <a:lnTo>
                    <a:pt x="8322" y="7810"/>
                  </a:lnTo>
                  <a:lnTo>
                    <a:pt x="8298" y="7789"/>
                  </a:lnTo>
                  <a:lnTo>
                    <a:pt x="8283" y="7783"/>
                  </a:lnTo>
                  <a:lnTo>
                    <a:pt x="8277" y="7794"/>
                  </a:lnTo>
                  <a:lnTo>
                    <a:pt x="8275" y="7800"/>
                  </a:lnTo>
                  <a:lnTo>
                    <a:pt x="8270" y="7800"/>
                  </a:lnTo>
                  <a:lnTo>
                    <a:pt x="8264" y="7798"/>
                  </a:lnTo>
                  <a:lnTo>
                    <a:pt x="8257" y="7796"/>
                  </a:lnTo>
                  <a:lnTo>
                    <a:pt x="8251" y="7798"/>
                  </a:lnTo>
                  <a:lnTo>
                    <a:pt x="8248" y="7801"/>
                  </a:lnTo>
                  <a:lnTo>
                    <a:pt x="8245" y="7806"/>
                  </a:lnTo>
                  <a:lnTo>
                    <a:pt x="8242" y="7810"/>
                  </a:lnTo>
                  <a:lnTo>
                    <a:pt x="8233" y="7816"/>
                  </a:lnTo>
                  <a:lnTo>
                    <a:pt x="8222" y="7821"/>
                  </a:lnTo>
                  <a:lnTo>
                    <a:pt x="8209" y="7826"/>
                  </a:lnTo>
                  <a:lnTo>
                    <a:pt x="8195" y="7828"/>
                  </a:lnTo>
                  <a:lnTo>
                    <a:pt x="8178" y="7824"/>
                  </a:lnTo>
                  <a:lnTo>
                    <a:pt x="8165" y="7816"/>
                  </a:lnTo>
                  <a:lnTo>
                    <a:pt x="8140" y="7792"/>
                  </a:lnTo>
                  <a:lnTo>
                    <a:pt x="8113" y="7776"/>
                  </a:lnTo>
                  <a:lnTo>
                    <a:pt x="8086" y="7765"/>
                  </a:lnTo>
                  <a:lnTo>
                    <a:pt x="8061" y="7753"/>
                  </a:lnTo>
                  <a:lnTo>
                    <a:pt x="8042" y="7730"/>
                  </a:lnTo>
                  <a:lnTo>
                    <a:pt x="8021" y="7692"/>
                  </a:lnTo>
                  <a:lnTo>
                    <a:pt x="7998" y="7659"/>
                  </a:lnTo>
                  <a:lnTo>
                    <a:pt x="7979" y="7644"/>
                  </a:lnTo>
                  <a:lnTo>
                    <a:pt x="7958" y="7635"/>
                  </a:lnTo>
                  <a:lnTo>
                    <a:pt x="7933" y="7634"/>
                  </a:lnTo>
                  <a:lnTo>
                    <a:pt x="7884" y="7649"/>
                  </a:lnTo>
                  <a:lnTo>
                    <a:pt x="7872" y="7651"/>
                  </a:lnTo>
                  <a:lnTo>
                    <a:pt x="7861" y="7650"/>
                  </a:lnTo>
                  <a:lnTo>
                    <a:pt x="7848" y="7646"/>
                  </a:lnTo>
                  <a:lnTo>
                    <a:pt x="7839" y="7639"/>
                  </a:lnTo>
                  <a:lnTo>
                    <a:pt x="7832" y="7630"/>
                  </a:lnTo>
                  <a:lnTo>
                    <a:pt x="7825" y="7624"/>
                  </a:lnTo>
                  <a:lnTo>
                    <a:pt x="7803" y="7613"/>
                  </a:lnTo>
                  <a:lnTo>
                    <a:pt x="7780" y="7608"/>
                  </a:lnTo>
                  <a:lnTo>
                    <a:pt x="7765" y="7614"/>
                  </a:lnTo>
                  <a:lnTo>
                    <a:pt x="7768" y="7637"/>
                  </a:lnTo>
                  <a:lnTo>
                    <a:pt x="7754" y="7656"/>
                  </a:lnTo>
                  <a:lnTo>
                    <a:pt x="7750" y="7666"/>
                  </a:lnTo>
                  <a:lnTo>
                    <a:pt x="7754" y="7672"/>
                  </a:lnTo>
                  <a:lnTo>
                    <a:pt x="7761" y="7682"/>
                  </a:lnTo>
                  <a:lnTo>
                    <a:pt x="7760" y="7689"/>
                  </a:lnTo>
                  <a:lnTo>
                    <a:pt x="7757" y="7698"/>
                  </a:lnTo>
                  <a:lnTo>
                    <a:pt x="7754" y="7710"/>
                  </a:lnTo>
                  <a:lnTo>
                    <a:pt x="7747" y="7714"/>
                  </a:lnTo>
                  <a:lnTo>
                    <a:pt x="7646" y="7730"/>
                  </a:lnTo>
                  <a:lnTo>
                    <a:pt x="7617" y="7731"/>
                  </a:lnTo>
                  <a:lnTo>
                    <a:pt x="7591" y="7725"/>
                  </a:lnTo>
                  <a:lnTo>
                    <a:pt x="7582" y="7718"/>
                  </a:lnTo>
                  <a:lnTo>
                    <a:pt x="7578" y="7707"/>
                  </a:lnTo>
                  <a:lnTo>
                    <a:pt x="7576" y="7694"/>
                  </a:lnTo>
                  <a:lnTo>
                    <a:pt x="7571" y="7683"/>
                  </a:lnTo>
                  <a:lnTo>
                    <a:pt x="7561" y="7676"/>
                  </a:lnTo>
                  <a:lnTo>
                    <a:pt x="7547" y="7672"/>
                  </a:lnTo>
                  <a:lnTo>
                    <a:pt x="7533" y="7669"/>
                  </a:lnTo>
                  <a:lnTo>
                    <a:pt x="7460" y="7668"/>
                  </a:lnTo>
                  <a:lnTo>
                    <a:pt x="7446" y="7672"/>
                  </a:lnTo>
                  <a:lnTo>
                    <a:pt x="7436" y="7679"/>
                  </a:lnTo>
                  <a:lnTo>
                    <a:pt x="7425" y="7686"/>
                  </a:lnTo>
                  <a:lnTo>
                    <a:pt x="7408" y="7686"/>
                  </a:lnTo>
                  <a:lnTo>
                    <a:pt x="7369" y="7666"/>
                  </a:lnTo>
                  <a:lnTo>
                    <a:pt x="7353" y="7664"/>
                  </a:lnTo>
                  <a:lnTo>
                    <a:pt x="7338" y="7659"/>
                  </a:lnTo>
                  <a:lnTo>
                    <a:pt x="7298" y="7628"/>
                  </a:lnTo>
                  <a:lnTo>
                    <a:pt x="7270" y="7626"/>
                  </a:lnTo>
                  <a:lnTo>
                    <a:pt x="7254" y="7642"/>
                  </a:lnTo>
                  <a:lnTo>
                    <a:pt x="7240" y="7662"/>
                  </a:lnTo>
                  <a:lnTo>
                    <a:pt x="7218" y="7672"/>
                  </a:lnTo>
                  <a:lnTo>
                    <a:pt x="7207" y="7670"/>
                  </a:lnTo>
                  <a:lnTo>
                    <a:pt x="7187" y="7657"/>
                  </a:lnTo>
                  <a:lnTo>
                    <a:pt x="7181" y="7654"/>
                  </a:lnTo>
                  <a:lnTo>
                    <a:pt x="7176" y="7647"/>
                  </a:lnTo>
                  <a:lnTo>
                    <a:pt x="7174" y="7606"/>
                  </a:lnTo>
                  <a:lnTo>
                    <a:pt x="7159" y="7589"/>
                  </a:lnTo>
                  <a:lnTo>
                    <a:pt x="7138" y="7587"/>
                  </a:lnTo>
                  <a:lnTo>
                    <a:pt x="7117" y="7595"/>
                  </a:lnTo>
                  <a:lnTo>
                    <a:pt x="7102" y="7610"/>
                  </a:lnTo>
                  <a:lnTo>
                    <a:pt x="7090" y="7653"/>
                  </a:lnTo>
                  <a:lnTo>
                    <a:pt x="7083" y="7659"/>
                  </a:lnTo>
                  <a:lnTo>
                    <a:pt x="7077" y="7662"/>
                  </a:lnTo>
                  <a:lnTo>
                    <a:pt x="7032" y="7709"/>
                  </a:lnTo>
                  <a:lnTo>
                    <a:pt x="7019" y="7734"/>
                  </a:lnTo>
                  <a:lnTo>
                    <a:pt x="7001" y="7788"/>
                  </a:lnTo>
                  <a:lnTo>
                    <a:pt x="6996" y="7811"/>
                  </a:lnTo>
                  <a:lnTo>
                    <a:pt x="6989" y="7923"/>
                  </a:lnTo>
                  <a:lnTo>
                    <a:pt x="6984" y="7948"/>
                  </a:lnTo>
                  <a:lnTo>
                    <a:pt x="6974" y="7968"/>
                  </a:lnTo>
                  <a:lnTo>
                    <a:pt x="6957" y="7982"/>
                  </a:lnTo>
                  <a:lnTo>
                    <a:pt x="6926" y="7994"/>
                  </a:lnTo>
                  <a:lnTo>
                    <a:pt x="6916" y="8000"/>
                  </a:lnTo>
                  <a:lnTo>
                    <a:pt x="6909" y="7994"/>
                  </a:lnTo>
                  <a:lnTo>
                    <a:pt x="6906" y="7991"/>
                  </a:lnTo>
                  <a:lnTo>
                    <a:pt x="6903" y="7987"/>
                  </a:lnTo>
                  <a:lnTo>
                    <a:pt x="6892" y="7960"/>
                  </a:lnTo>
                  <a:lnTo>
                    <a:pt x="6883" y="7960"/>
                  </a:lnTo>
                  <a:lnTo>
                    <a:pt x="6874" y="7961"/>
                  </a:lnTo>
                  <a:lnTo>
                    <a:pt x="6867" y="7966"/>
                  </a:lnTo>
                  <a:lnTo>
                    <a:pt x="6864" y="7978"/>
                  </a:lnTo>
                  <a:lnTo>
                    <a:pt x="6864" y="8062"/>
                  </a:lnTo>
                  <a:lnTo>
                    <a:pt x="6860" y="8072"/>
                  </a:lnTo>
                  <a:lnTo>
                    <a:pt x="6850" y="8084"/>
                  </a:lnTo>
                  <a:lnTo>
                    <a:pt x="6800" y="8131"/>
                  </a:lnTo>
                  <a:lnTo>
                    <a:pt x="6792" y="8144"/>
                  </a:lnTo>
                  <a:lnTo>
                    <a:pt x="6783" y="8175"/>
                  </a:lnTo>
                  <a:lnTo>
                    <a:pt x="6775" y="8186"/>
                  </a:lnTo>
                  <a:lnTo>
                    <a:pt x="6762" y="8191"/>
                  </a:lnTo>
                  <a:lnTo>
                    <a:pt x="6751" y="8186"/>
                  </a:lnTo>
                  <a:lnTo>
                    <a:pt x="6743" y="8177"/>
                  </a:lnTo>
                  <a:lnTo>
                    <a:pt x="6739" y="8166"/>
                  </a:lnTo>
                  <a:lnTo>
                    <a:pt x="6724" y="8141"/>
                  </a:lnTo>
                  <a:lnTo>
                    <a:pt x="6723" y="8134"/>
                  </a:lnTo>
                  <a:lnTo>
                    <a:pt x="6723" y="8128"/>
                  </a:lnTo>
                  <a:lnTo>
                    <a:pt x="6722" y="8120"/>
                  </a:lnTo>
                  <a:lnTo>
                    <a:pt x="6717" y="8113"/>
                  </a:lnTo>
                  <a:lnTo>
                    <a:pt x="6710" y="8104"/>
                  </a:lnTo>
                  <a:lnTo>
                    <a:pt x="6701" y="8096"/>
                  </a:lnTo>
                  <a:lnTo>
                    <a:pt x="6693" y="8093"/>
                  </a:lnTo>
                  <a:lnTo>
                    <a:pt x="6682" y="8097"/>
                  </a:lnTo>
                  <a:lnTo>
                    <a:pt x="6675" y="8106"/>
                  </a:lnTo>
                  <a:lnTo>
                    <a:pt x="6670" y="8118"/>
                  </a:lnTo>
                  <a:lnTo>
                    <a:pt x="6664" y="8129"/>
                  </a:lnTo>
                  <a:lnTo>
                    <a:pt x="6646" y="8147"/>
                  </a:lnTo>
                  <a:lnTo>
                    <a:pt x="6635" y="8156"/>
                  </a:lnTo>
                  <a:lnTo>
                    <a:pt x="6626" y="8159"/>
                  </a:lnTo>
                  <a:lnTo>
                    <a:pt x="6604" y="8156"/>
                  </a:lnTo>
                  <a:lnTo>
                    <a:pt x="6600" y="8157"/>
                  </a:lnTo>
                  <a:lnTo>
                    <a:pt x="6598" y="8163"/>
                  </a:lnTo>
                  <a:lnTo>
                    <a:pt x="6602" y="8167"/>
                  </a:lnTo>
                  <a:lnTo>
                    <a:pt x="6611" y="8173"/>
                  </a:lnTo>
                  <a:lnTo>
                    <a:pt x="6617" y="8197"/>
                  </a:lnTo>
                  <a:lnTo>
                    <a:pt x="6623" y="8208"/>
                  </a:lnTo>
                  <a:lnTo>
                    <a:pt x="6635" y="8212"/>
                  </a:lnTo>
                  <a:lnTo>
                    <a:pt x="6641" y="8211"/>
                  </a:lnTo>
                  <a:lnTo>
                    <a:pt x="6646" y="8207"/>
                  </a:lnTo>
                  <a:lnTo>
                    <a:pt x="6649" y="8202"/>
                  </a:lnTo>
                  <a:lnTo>
                    <a:pt x="6652" y="8190"/>
                  </a:lnTo>
                  <a:lnTo>
                    <a:pt x="6657" y="8188"/>
                  </a:lnTo>
                  <a:lnTo>
                    <a:pt x="6715" y="8200"/>
                  </a:lnTo>
                  <a:lnTo>
                    <a:pt x="6718" y="8201"/>
                  </a:lnTo>
                  <a:lnTo>
                    <a:pt x="6722" y="8205"/>
                  </a:lnTo>
                  <a:lnTo>
                    <a:pt x="6725" y="8210"/>
                  </a:lnTo>
                  <a:lnTo>
                    <a:pt x="6727" y="8215"/>
                  </a:lnTo>
                  <a:lnTo>
                    <a:pt x="6729" y="8217"/>
                  </a:lnTo>
                  <a:lnTo>
                    <a:pt x="6736" y="8215"/>
                  </a:lnTo>
                  <a:lnTo>
                    <a:pt x="6742" y="8210"/>
                  </a:lnTo>
                  <a:lnTo>
                    <a:pt x="6744" y="8208"/>
                  </a:lnTo>
                  <a:lnTo>
                    <a:pt x="6756" y="8210"/>
                  </a:lnTo>
                  <a:lnTo>
                    <a:pt x="6762" y="8215"/>
                  </a:lnTo>
                  <a:lnTo>
                    <a:pt x="6769" y="8221"/>
                  </a:lnTo>
                  <a:lnTo>
                    <a:pt x="6779" y="8226"/>
                  </a:lnTo>
                  <a:lnTo>
                    <a:pt x="6824" y="8226"/>
                  </a:lnTo>
                  <a:lnTo>
                    <a:pt x="6830" y="8224"/>
                  </a:lnTo>
                  <a:lnTo>
                    <a:pt x="6841" y="8218"/>
                  </a:lnTo>
                  <a:lnTo>
                    <a:pt x="6912" y="8204"/>
                  </a:lnTo>
                  <a:lnTo>
                    <a:pt x="6925" y="8205"/>
                  </a:lnTo>
                  <a:lnTo>
                    <a:pt x="6949" y="8214"/>
                  </a:lnTo>
                  <a:lnTo>
                    <a:pt x="6961" y="8217"/>
                  </a:lnTo>
                  <a:lnTo>
                    <a:pt x="6973" y="8217"/>
                  </a:lnTo>
                  <a:lnTo>
                    <a:pt x="6991" y="8210"/>
                  </a:lnTo>
                  <a:lnTo>
                    <a:pt x="7010" y="8205"/>
                  </a:lnTo>
                  <a:lnTo>
                    <a:pt x="7016" y="8205"/>
                  </a:lnTo>
                  <a:lnTo>
                    <a:pt x="7019" y="8210"/>
                  </a:lnTo>
                  <a:lnTo>
                    <a:pt x="7022" y="8214"/>
                  </a:lnTo>
                  <a:lnTo>
                    <a:pt x="7029" y="8209"/>
                  </a:lnTo>
                  <a:lnTo>
                    <a:pt x="7041" y="8200"/>
                  </a:lnTo>
                  <a:lnTo>
                    <a:pt x="7052" y="8196"/>
                  </a:lnTo>
                  <a:lnTo>
                    <a:pt x="7065" y="8194"/>
                  </a:lnTo>
                  <a:lnTo>
                    <a:pt x="7079" y="8195"/>
                  </a:lnTo>
                  <a:lnTo>
                    <a:pt x="7090" y="8200"/>
                  </a:lnTo>
                  <a:lnTo>
                    <a:pt x="7110" y="8195"/>
                  </a:lnTo>
                  <a:lnTo>
                    <a:pt x="7135" y="8204"/>
                  </a:lnTo>
                  <a:lnTo>
                    <a:pt x="7258" y="8271"/>
                  </a:lnTo>
                  <a:lnTo>
                    <a:pt x="7262" y="8275"/>
                  </a:lnTo>
                  <a:lnTo>
                    <a:pt x="7266" y="8280"/>
                  </a:lnTo>
                  <a:lnTo>
                    <a:pt x="7266" y="8284"/>
                  </a:lnTo>
                  <a:lnTo>
                    <a:pt x="7269" y="8287"/>
                  </a:lnTo>
                  <a:lnTo>
                    <a:pt x="7277" y="8288"/>
                  </a:lnTo>
                  <a:lnTo>
                    <a:pt x="7281" y="8290"/>
                  </a:lnTo>
                  <a:lnTo>
                    <a:pt x="7287" y="8299"/>
                  </a:lnTo>
                  <a:lnTo>
                    <a:pt x="7291" y="8301"/>
                  </a:lnTo>
                  <a:lnTo>
                    <a:pt x="7300" y="8302"/>
                  </a:lnTo>
                  <a:lnTo>
                    <a:pt x="7306" y="8304"/>
                  </a:lnTo>
                  <a:lnTo>
                    <a:pt x="7311" y="8308"/>
                  </a:lnTo>
                  <a:lnTo>
                    <a:pt x="7320" y="8310"/>
                  </a:lnTo>
                  <a:lnTo>
                    <a:pt x="7334" y="8312"/>
                  </a:lnTo>
                  <a:lnTo>
                    <a:pt x="7349" y="8310"/>
                  </a:lnTo>
                  <a:lnTo>
                    <a:pt x="7364" y="8306"/>
                  </a:lnTo>
                  <a:lnTo>
                    <a:pt x="7388" y="8291"/>
                  </a:lnTo>
                  <a:lnTo>
                    <a:pt x="7401" y="8288"/>
                  </a:lnTo>
                  <a:lnTo>
                    <a:pt x="7416" y="8289"/>
                  </a:lnTo>
                  <a:lnTo>
                    <a:pt x="7430" y="8292"/>
                  </a:lnTo>
                  <a:lnTo>
                    <a:pt x="7449" y="8304"/>
                  </a:lnTo>
                  <a:lnTo>
                    <a:pt x="7455" y="8321"/>
                  </a:lnTo>
                  <a:lnTo>
                    <a:pt x="7453" y="8361"/>
                  </a:lnTo>
                  <a:lnTo>
                    <a:pt x="7446" y="8371"/>
                  </a:lnTo>
                  <a:lnTo>
                    <a:pt x="7411" y="8393"/>
                  </a:lnTo>
                  <a:lnTo>
                    <a:pt x="7400" y="8404"/>
                  </a:lnTo>
                  <a:lnTo>
                    <a:pt x="7410" y="8418"/>
                  </a:lnTo>
                  <a:lnTo>
                    <a:pt x="7406" y="8424"/>
                  </a:lnTo>
                  <a:lnTo>
                    <a:pt x="7395" y="8426"/>
                  </a:lnTo>
                  <a:lnTo>
                    <a:pt x="7384" y="8426"/>
                  </a:lnTo>
                  <a:lnTo>
                    <a:pt x="7373" y="8431"/>
                  </a:lnTo>
                  <a:lnTo>
                    <a:pt x="7362" y="8445"/>
                  </a:lnTo>
                  <a:lnTo>
                    <a:pt x="7354" y="8459"/>
                  </a:lnTo>
                  <a:lnTo>
                    <a:pt x="7351" y="8470"/>
                  </a:lnTo>
                  <a:lnTo>
                    <a:pt x="7352" y="8483"/>
                  </a:lnTo>
                  <a:lnTo>
                    <a:pt x="7362" y="8513"/>
                  </a:lnTo>
                  <a:lnTo>
                    <a:pt x="7369" y="8547"/>
                  </a:lnTo>
                  <a:lnTo>
                    <a:pt x="7371" y="8552"/>
                  </a:lnTo>
                  <a:lnTo>
                    <a:pt x="7375" y="8553"/>
                  </a:lnTo>
                  <a:lnTo>
                    <a:pt x="7385" y="8544"/>
                  </a:lnTo>
                  <a:lnTo>
                    <a:pt x="7391" y="8541"/>
                  </a:lnTo>
                  <a:lnTo>
                    <a:pt x="7418" y="8544"/>
                  </a:lnTo>
                  <a:lnTo>
                    <a:pt x="7469" y="8574"/>
                  </a:lnTo>
                  <a:lnTo>
                    <a:pt x="7497" y="8581"/>
                  </a:lnTo>
                  <a:lnTo>
                    <a:pt x="7726" y="8591"/>
                  </a:lnTo>
                  <a:lnTo>
                    <a:pt x="7825" y="8599"/>
                  </a:lnTo>
                  <a:lnTo>
                    <a:pt x="7839" y="8601"/>
                  </a:lnTo>
                  <a:lnTo>
                    <a:pt x="7867" y="8610"/>
                  </a:lnTo>
                  <a:lnTo>
                    <a:pt x="7881" y="8612"/>
                  </a:lnTo>
                  <a:lnTo>
                    <a:pt x="7884" y="8613"/>
                  </a:lnTo>
                  <a:lnTo>
                    <a:pt x="7896" y="8619"/>
                  </a:lnTo>
                  <a:lnTo>
                    <a:pt x="7903" y="8620"/>
                  </a:lnTo>
                  <a:lnTo>
                    <a:pt x="7932" y="8620"/>
                  </a:lnTo>
                  <a:lnTo>
                    <a:pt x="7987" y="8630"/>
                  </a:lnTo>
                  <a:lnTo>
                    <a:pt x="8013" y="8630"/>
                  </a:lnTo>
                  <a:lnTo>
                    <a:pt x="8017" y="8631"/>
                  </a:lnTo>
                  <a:lnTo>
                    <a:pt x="8023" y="8637"/>
                  </a:lnTo>
                  <a:lnTo>
                    <a:pt x="8027" y="8639"/>
                  </a:lnTo>
                  <a:lnTo>
                    <a:pt x="8030" y="8638"/>
                  </a:lnTo>
                  <a:lnTo>
                    <a:pt x="8037" y="8634"/>
                  </a:lnTo>
                  <a:lnTo>
                    <a:pt x="8042" y="8634"/>
                  </a:lnTo>
                  <a:lnTo>
                    <a:pt x="8056" y="8640"/>
                  </a:lnTo>
                  <a:lnTo>
                    <a:pt x="8074" y="8654"/>
                  </a:lnTo>
                  <a:lnTo>
                    <a:pt x="8103" y="8658"/>
                  </a:lnTo>
                  <a:lnTo>
                    <a:pt x="8114" y="8662"/>
                  </a:lnTo>
                  <a:lnTo>
                    <a:pt x="8131" y="8674"/>
                  </a:lnTo>
                  <a:lnTo>
                    <a:pt x="8165" y="8688"/>
                  </a:lnTo>
                  <a:lnTo>
                    <a:pt x="8175" y="8700"/>
                  </a:lnTo>
                  <a:lnTo>
                    <a:pt x="8202" y="8723"/>
                  </a:lnTo>
                  <a:lnTo>
                    <a:pt x="8206" y="8728"/>
                  </a:lnTo>
                  <a:lnTo>
                    <a:pt x="8206" y="8731"/>
                  </a:lnTo>
                  <a:lnTo>
                    <a:pt x="8208" y="8733"/>
                  </a:lnTo>
                  <a:lnTo>
                    <a:pt x="8215" y="8736"/>
                  </a:lnTo>
                  <a:lnTo>
                    <a:pt x="8260" y="8742"/>
                  </a:lnTo>
                  <a:lnTo>
                    <a:pt x="8272" y="8745"/>
                  </a:lnTo>
                  <a:lnTo>
                    <a:pt x="8282" y="8751"/>
                  </a:lnTo>
                  <a:lnTo>
                    <a:pt x="8312" y="8779"/>
                  </a:lnTo>
                  <a:lnTo>
                    <a:pt x="8326" y="8784"/>
                  </a:lnTo>
                  <a:lnTo>
                    <a:pt x="8353" y="8773"/>
                  </a:lnTo>
                  <a:lnTo>
                    <a:pt x="8366" y="8773"/>
                  </a:lnTo>
                  <a:lnTo>
                    <a:pt x="8485" y="8812"/>
                  </a:lnTo>
                  <a:lnTo>
                    <a:pt x="8509" y="8817"/>
                  </a:lnTo>
                  <a:lnTo>
                    <a:pt x="8689" y="8830"/>
                  </a:lnTo>
                  <a:lnTo>
                    <a:pt x="8716" y="8819"/>
                  </a:lnTo>
                  <a:lnTo>
                    <a:pt x="8722" y="8799"/>
                  </a:lnTo>
                  <a:lnTo>
                    <a:pt x="8726" y="8776"/>
                  </a:lnTo>
                  <a:lnTo>
                    <a:pt x="8747" y="8758"/>
                  </a:lnTo>
                  <a:lnTo>
                    <a:pt x="8759" y="8755"/>
                  </a:lnTo>
                  <a:lnTo>
                    <a:pt x="8802" y="8754"/>
                  </a:lnTo>
                  <a:lnTo>
                    <a:pt x="8811" y="8755"/>
                  </a:lnTo>
                  <a:lnTo>
                    <a:pt x="8816" y="8759"/>
                  </a:lnTo>
                  <a:lnTo>
                    <a:pt x="8824" y="8770"/>
                  </a:lnTo>
                  <a:lnTo>
                    <a:pt x="8833" y="8777"/>
                  </a:lnTo>
                  <a:lnTo>
                    <a:pt x="8836" y="8776"/>
                  </a:lnTo>
                  <a:lnTo>
                    <a:pt x="8837" y="8770"/>
                  </a:lnTo>
                  <a:lnTo>
                    <a:pt x="8842" y="8757"/>
                  </a:lnTo>
                  <a:lnTo>
                    <a:pt x="8843" y="8751"/>
                  </a:lnTo>
                  <a:lnTo>
                    <a:pt x="8845" y="8745"/>
                  </a:lnTo>
                  <a:lnTo>
                    <a:pt x="8853" y="8741"/>
                  </a:lnTo>
                  <a:lnTo>
                    <a:pt x="8859" y="8741"/>
                  </a:lnTo>
                  <a:lnTo>
                    <a:pt x="8864" y="8744"/>
                  </a:lnTo>
                  <a:lnTo>
                    <a:pt x="8869" y="8748"/>
                  </a:lnTo>
                  <a:lnTo>
                    <a:pt x="8873" y="8749"/>
                  </a:lnTo>
                  <a:lnTo>
                    <a:pt x="8897" y="8750"/>
                  </a:lnTo>
                  <a:lnTo>
                    <a:pt x="8907" y="8746"/>
                  </a:lnTo>
                  <a:lnTo>
                    <a:pt x="8920" y="8736"/>
                  </a:lnTo>
                  <a:lnTo>
                    <a:pt x="8928" y="8723"/>
                  </a:lnTo>
                  <a:lnTo>
                    <a:pt x="8933" y="8718"/>
                  </a:lnTo>
                  <a:lnTo>
                    <a:pt x="8948" y="8711"/>
                  </a:lnTo>
                  <a:lnTo>
                    <a:pt x="8953" y="8708"/>
                  </a:lnTo>
                  <a:lnTo>
                    <a:pt x="8962" y="8705"/>
                  </a:lnTo>
                  <a:lnTo>
                    <a:pt x="8968" y="8720"/>
                  </a:lnTo>
                  <a:lnTo>
                    <a:pt x="8973" y="8749"/>
                  </a:lnTo>
                  <a:lnTo>
                    <a:pt x="8980" y="8757"/>
                  </a:lnTo>
                  <a:lnTo>
                    <a:pt x="8992" y="8761"/>
                  </a:lnTo>
                  <a:lnTo>
                    <a:pt x="9005" y="8763"/>
                  </a:lnTo>
                  <a:lnTo>
                    <a:pt x="9019" y="8763"/>
                  </a:lnTo>
                  <a:lnTo>
                    <a:pt x="9027" y="8765"/>
                  </a:lnTo>
                  <a:lnTo>
                    <a:pt x="9034" y="8768"/>
                  </a:lnTo>
                  <a:lnTo>
                    <a:pt x="9054" y="8784"/>
                  </a:lnTo>
                  <a:lnTo>
                    <a:pt x="9058" y="8784"/>
                  </a:lnTo>
                  <a:lnTo>
                    <a:pt x="9066" y="8776"/>
                  </a:lnTo>
                  <a:lnTo>
                    <a:pt x="9115" y="8759"/>
                  </a:lnTo>
                  <a:lnTo>
                    <a:pt x="9171" y="8756"/>
                  </a:lnTo>
                  <a:lnTo>
                    <a:pt x="9283" y="8772"/>
                  </a:lnTo>
                  <a:lnTo>
                    <a:pt x="9301" y="8778"/>
                  </a:lnTo>
                  <a:lnTo>
                    <a:pt x="9305" y="8780"/>
                  </a:lnTo>
                  <a:lnTo>
                    <a:pt x="9306" y="8783"/>
                  </a:lnTo>
                  <a:lnTo>
                    <a:pt x="9301" y="8790"/>
                  </a:lnTo>
                  <a:lnTo>
                    <a:pt x="9301" y="8794"/>
                  </a:lnTo>
                  <a:lnTo>
                    <a:pt x="9304" y="8797"/>
                  </a:lnTo>
                  <a:lnTo>
                    <a:pt x="9308" y="8799"/>
                  </a:lnTo>
                  <a:lnTo>
                    <a:pt x="9312" y="8801"/>
                  </a:lnTo>
                  <a:lnTo>
                    <a:pt x="9314" y="8805"/>
                  </a:lnTo>
                  <a:lnTo>
                    <a:pt x="9320" y="8811"/>
                  </a:lnTo>
                  <a:lnTo>
                    <a:pt x="9333" y="8810"/>
                  </a:lnTo>
                  <a:lnTo>
                    <a:pt x="9358" y="8803"/>
                  </a:lnTo>
                  <a:lnTo>
                    <a:pt x="9469" y="8816"/>
                  </a:lnTo>
                  <a:lnTo>
                    <a:pt x="9531" y="8836"/>
                  </a:lnTo>
                  <a:lnTo>
                    <a:pt x="9569" y="8843"/>
                  </a:lnTo>
                  <a:lnTo>
                    <a:pt x="9592" y="8852"/>
                  </a:lnTo>
                  <a:lnTo>
                    <a:pt x="9615" y="8857"/>
                  </a:lnTo>
                  <a:lnTo>
                    <a:pt x="9630" y="8853"/>
                  </a:lnTo>
                  <a:lnTo>
                    <a:pt x="9647" y="8864"/>
                  </a:lnTo>
                  <a:lnTo>
                    <a:pt x="9713" y="8883"/>
                  </a:lnTo>
                  <a:lnTo>
                    <a:pt x="9877" y="8968"/>
                  </a:lnTo>
                  <a:lnTo>
                    <a:pt x="9897" y="8970"/>
                  </a:lnTo>
                  <a:lnTo>
                    <a:pt x="9903" y="8972"/>
                  </a:lnTo>
                  <a:lnTo>
                    <a:pt x="9915" y="8983"/>
                  </a:lnTo>
                  <a:lnTo>
                    <a:pt x="9919" y="8985"/>
                  </a:lnTo>
                  <a:lnTo>
                    <a:pt x="9934" y="9001"/>
                  </a:lnTo>
                  <a:lnTo>
                    <a:pt x="9937" y="9005"/>
                  </a:lnTo>
                  <a:lnTo>
                    <a:pt x="9943" y="9007"/>
                  </a:lnTo>
                  <a:lnTo>
                    <a:pt x="9950" y="9006"/>
                  </a:lnTo>
                  <a:lnTo>
                    <a:pt x="9956" y="9007"/>
                  </a:lnTo>
                  <a:lnTo>
                    <a:pt x="9999" y="9030"/>
                  </a:lnTo>
                  <a:lnTo>
                    <a:pt x="10012" y="9034"/>
                  </a:lnTo>
                  <a:lnTo>
                    <a:pt x="10028" y="9036"/>
                  </a:lnTo>
                  <a:lnTo>
                    <a:pt x="10046" y="9041"/>
                  </a:lnTo>
                  <a:lnTo>
                    <a:pt x="10081" y="9056"/>
                  </a:lnTo>
                  <a:lnTo>
                    <a:pt x="10081" y="9052"/>
                  </a:lnTo>
                  <a:lnTo>
                    <a:pt x="10104" y="9064"/>
                  </a:lnTo>
                  <a:lnTo>
                    <a:pt x="10118" y="9068"/>
                  </a:lnTo>
                  <a:lnTo>
                    <a:pt x="10132" y="9070"/>
                  </a:lnTo>
                  <a:lnTo>
                    <a:pt x="10138" y="9072"/>
                  </a:lnTo>
                  <a:lnTo>
                    <a:pt x="10147" y="9081"/>
                  </a:lnTo>
                  <a:lnTo>
                    <a:pt x="10154" y="9083"/>
                  </a:lnTo>
                  <a:lnTo>
                    <a:pt x="10239" y="9088"/>
                  </a:lnTo>
                  <a:lnTo>
                    <a:pt x="10293" y="9101"/>
                  </a:lnTo>
                  <a:lnTo>
                    <a:pt x="10336" y="9120"/>
                  </a:lnTo>
                  <a:lnTo>
                    <a:pt x="10349" y="9123"/>
                  </a:lnTo>
                  <a:lnTo>
                    <a:pt x="10375" y="9123"/>
                  </a:lnTo>
                  <a:lnTo>
                    <a:pt x="10381" y="9122"/>
                  </a:lnTo>
                  <a:lnTo>
                    <a:pt x="10384" y="9118"/>
                  </a:lnTo>
                  <a:lnTo>
                    <a:pt x="10391" y="9109"/>
                  </a:lnTo>
                  <a:lnTo>
                    <a:pt x="10394" y="9104"/>
                  </a:lnTo>
                  <a:lnTo>
                    <a:pt x="10396" y="9098"/>
                  </a:lnTo>
                  <a:lnTo>
                    <a:pt x="10399" y="9093"/>
                  </a:lnTo>
                  <a:lnTo>
                    <a:pt x="10404" y="9092"/>
                  </a:lnTo>
                  <a:lnTo>
                    <a:pt x="10408" y="9098"/>
                  </a:lnTo>
                  <a:lnTo>
                    <a:pt x="10409" y="9107"/>
                  </a:lnTo>
                  <a:lnTo>
                    <a:pt x="10411" y="9115"/>
                  </a:lnTo>
                  <a:lnTo>
                    <a:pt x="10420" y="9119"/>
                  </a:lnTo>
                  <a:lnTo>
                    <a:pt x="10427" y="9120"/>
                  </a:lnTo>
                  <a:lnTo>
                    <a:pt x="10433" y="9122"/>
                  </a:lnTo>
                  <a:lnTo>
                    <a:pt x="10438" y="9127"/>
                  </a:lnTo>
                  <a:lnTo>
                    <a:pt x="10440" y="9134"/>
                  </a:lnTo>
                  <a:lnTo>
                    <a:pt x="10442" y="9141"/>
                  </a:lnTo>
                  <a:lnTo>
                    <a:pt x="10448" y="9141"/>
                  </a:lnTo>
                  <a:lnTo>
                    <a:pt x="10501" y="9125"/>
                  </a:lnTo>
                  <a:lnTo>
                    <a:pt x="10504" y="9122"/>
                  </a:lnTo>
                  <a:lnTo>
                    <a:pt x="10509" y="9120"/>
                  </a:lnTo>
                  <a:lnTo>
                    <a:pt x="10516" y="9119"/>
                  </a:lnTo>
                  <a:lnTo>
                    <a:pt x="10521" y="9121"/>
                  </a:lnTo>
                  <a:lnTo>
                    <a:pt x="10528" y="9127"/>
                  </a:lnTo>
                  <a:lnTo>
                    <a:pt x="10532" y="9129"/>
                  </a:lnTo>
                  <a:lnTo>
                    <a:pt x="10539" y="9128"/>
                  </a:lnTo>
                  <a:lnTo>
                    <a:pt x="10572" y="9128"/>
                  </a:lnTo>
                  <a:lnTo>
                    <a:pt x="10578" y="9129"/>
                  </a:lnTo>
                  <a:lnTo>
                    <a:pt x="10586" y="9135"/>
                  </a:lnTo>
                  <a:lnTo>
                    <a:pt x="10590" y="9136"/>
                  </a:lnTo>
                  <a:lnTo>
                    <a:pt x="10596" y="9136"/>
                  </a:lnTo>
                  <a:lnTo>
                    <a:pt x="10607" y="9133"/>
                  </a:lnTo>
                  <a:lnTo>
                    <a:pt x="10612" y="9132"/>
                  </a:lnTo>
                  <a:lnTo>
                    <a:pt x="10623" y="9137"/>
                  </a:lnTo>
                  <a:lnTo>
                    <a:pt x="10624" y="9143"/>
                  </a:lnTo>
                  <a:lnTo>
                    <a:pt x="10623" y="9150"/>
                  </a:lnTo>
                  <a:lnTo>
                    <a:pt x="10628" y="9161"/>
                  </a:lnTo>
                  <a:lnTo>
                    <a:pt x="10672" y="9172"/>
                  </a:lnTo>
                  <a:lnTo>
                    <a:pt x="10682" y="9170"/>
                  </a:lnTo>
                  <a:lnTo>
                    <a:pt x="10692" y="9163"/>
                  </a:lnTo>
                  <a:lnTo>
                    <a:pt x="10701" y="9163"/>
                  </a:lnTo>
                  <a:lnTo>
                    <a:pt x="10723" y="9175"/>
                  </a:lnTo>
                  <a:lnTo>
                    <a:pt x="10734" y="9177"/>
                  </a:lnTo>
                  <a:lnTo>
                    <a:pt x="10741" y="9168"/>
                  </a:lnTo>
                  <a:lnTo>
                    <a:pt x="10745" y="9168"/>
                  </a:lnTo>
                  <a:lnTo>
                    <a:pt x="10751" y="9181"/>
                  </a:lnTo>
                  <a:lnTo>
                    <a:pt x="10760" y="9190"/>
                  </a:lnTo>
                  <a:lnTo>
                    <a:pt x="10773" y="9197"/>
                  </a:lnTo>
                  <a:lnTo>
                    <a:pt x="10787" y="9199"/>
                  </a:lnTo>
                  <a:lnTo>
                    <a:pt x="10795" y="9197"/>
                  </a:lnTo>
                  <a:lnTo>
                    <a:pt x="10798" y="9192"/>
                  </a:lnTo>
                  <a:lnTo>
                    <a:pt x="10796" y="9188"/>
                  </a:lnTo>
                  <a:lnTo>
                    <a:pt x="10787" y="9183"/>
                  </a:lnTo>
                  <a:lnTo>
                    <a:pt x="10788" y="9176"/>
                  </a:lnTo>
                  <a:lnTo>
                    <a:pt x="10792" y="9170"/>
                  </a:lnTo>
                  <a:lnTo>
                    <a:pt x="10794" y="9168"/>
                  </a:lnTo>
                  <a:lnTo>
                    <a:pt x="10798" y="9154"/>
                  </a:lnTo>
                  <a:lnTo>
                    <a:pt x="10801" y="9148"/>
                  </a:lnTo>
                  <a:lnTo>
                    <a:pt x="10807" y="9145"/>
                  </a:lnTo>
                  <a:lnTo>
                    <a:pt x="10813" y="9149"/>
                  </a:lnTo>
                  <a:lnTo>
                    <a:pt x="10817" y="9156"/>
                  </a:lnTo>
                  <a:lnTo>
                    <a:pt x="10820" y="9164"/>
                  </a:lnTo>
                  <a:lnTo>
                    <a:pt x="10823" y="9168"/>
                  </a:lnTo>
                  <a:lnTo>
                    <a:pt x="10836" y="9164"/>
                  </a:lnTo>
                  <a:lnTo>
                    <a:pt x="10837" y="9154"/>
                  </a:lnTo>
                  <a:lnTo>
                    <a:pt x="10836" y="9141"/>
                  </a:lnTo>
                  <a:lnTo>
                    <a:pt x="10843" y="9128"/>
                  </a:lnTo>
                  <a:lnTo>
                    <a:pt x="10850" y="9124"/>
                  </a:lnTo>
                  <a:lnTo>
                    <a:pt x="10856" y="9126"/>
                  </a:lnTo>
                  <a:lnTo>
                    <a:pt x="10862" y="9129"/>
                  </a:lnTo>
                  <a:lnTo>
                    <a:pt x="10869" y="9132"/>
                  </a:lnTo>
                  <a:lnTo>
                    <a:pt x="10876" y="9134"/>
                  </a:lnTo>
                  <a:lnTo>
                    <a:pt x="10893" y="9132"/>
                  </a:lnTo>
                  <a:lnTo>
                    <a:pt x="10903" y="9136"/>
                  </a:lnTo>
                  <a:lnTo>
                    <a:pt x="10919" y="9150"/>
                  </a:lnTo>
                  <a:lnTo>
                    <a:pt x="10931" y="9155"/>
                  </a:lnTo>
                  <a:lnTo>
                    <a:pt x="10937" y="9154"/>
                  </a:lnTo>
                  <a:lnTo>
                    <a:pt x="10940" y="9152"/>
                  </a:lnTo>
                  <a:lnTo>
                    <a:pt x="10943" y="9149"/>
                  </a:lnTo>
                  <a:lnTo>
                    <a:pt x="10959" y="9138"/>
                  </a:lnTo>
                  <a:lnTo>
                    <a:pt x="10965" y="9138"/>
                  </a:lnTo>
                  <a:lnTo>
                    <a:pt x="10986" y="9151"/>
                  </a:lnTo>
                  <a:lnTo>
                    <a:pt x="11000" y="9156"/>
                  </a:lnTo>
                  <a:lnTo>
                    <a:pt x="11119" y="9168"/>
                  </a:lnTo>
                  <a:lnTo>
                    <a:pt x="11131" y="9172"/>
                  </a:lnTo>
                  <a:lnTo>
                    <a:pt x="11135" y="9175"/>
                  </a:lnTo>
                  <a:lnTo>
                    <a:pt x="11138" y="9178"/>
                  </a:lnTo>
                  <a:lnTo>
                    <a:pt x="11142" y="9180"/>
                  </a:lnTo>
                  <a:lnTo>
                    <a:pt x="11151" y="9181"/>
                  </a:lnTo>
                  <a:lnTo>
                    <a:pt x="11168" y="9174"/>
                  </a:lnTo>
                  <a:lnTo>
                    <a:pt x="11175" y="9172"/>
                  </a:lnTo>
                  <a:lnTo>
                    <a:pt x="11188" y="9171"/>
                  </a:lnTo>
                  <a:lnTo>
                    <a:pt x="11205" y="9174"/>
                  </a:lnTo>
                  <a:lnTo>
                    <a:pt x="11221" y="9180"/>
                  </a:lnTo>
                  <a:lnTo>
                    <a:pt x="11232" y="9190"/>
                  </a:lnTo>
                  <a:lnTo>
                    <a:pt x="11231" y="9192"/>
                  </a:lnTo>
                  <a:lnTo>
                    <a:pt x="11228" y="9199"/>
                  </a:lnTo>
                  <a:lnTo>
                    <a:pt x="11242" y="9199"/>
                  </a:lnTo>
                  <a:lnTo>
                    <a:pt x="11251" y="9204"/>
                  </a:lnTo>
                  <a:lnTo>
                    <a:pt x="11260" y="9209"/>
                  </a:lnTo>
                  <a:lnTo>
                    <a:pt x="11270" y="9212"/>
                  </a:lnTo>
                  <a:lnTo>
                    <a:pt x="11321" y="9212"/>
                  </a:lnTo>
                  <a:lnTo>
                    <a:pt x="11355" y="9224"/>
                  </a:lnTo>
                  <a:lnTo>
                    <a:pt x="11380" y="9228"/>
                  </a:lnTo>
                  <a:lnTo>
                    <a:pt x="11409" y="9241"/>
                  </a:lnTo>
                  <a:lnTo>
                    <a:pt x="11419" y="9248"/>
                  </a:lnTo>
                  <a:lnTo>
                    <a:pt x="11430" y="9237"/>
                  </a:lnTo>
                  <a:lnTo>
                    <a:pt x="11438" y="9232"/>
                  </a:lnTo>
                  <a:lnTo>
                    <a:pt x="11448" y="9230"/>
                  </a:lnTo>
                  <a:lnTo>
                    <a:pt x="11458" y="9229"/>
                  </a:lnTo>
                  <a:lnTo>
                    <a:pt x="11468" y="9226"/>
                  </a:lnTo>
                  <a:lnTo>
                    <a:pt x="11472" y="9223"/>
                  </a:lnTo>
                  <a:lnTo>
                    <a:pt x="11482" y="9214"/>
                  </a:lnTo>
                  <a:lnTo>
                    <a:pt x="11491" y="9209"/>
                  </a:lnTo>
                  <a:lnTo>
                    <a:pt x="11495" y="9210"/>
                  </a:lnTo>
                  <a:lnTo>
                    <a:pt x="11501" y="9214"/>
                  </a:lnTo>
                  <a:lnTo>
                    <a:pt x="11507" y="9217"/>
                  </a:lnTo>
                  <a:lnTo>
                    <a:pt x="11513" y="9215"/>
                  </a:lnTo>
                  <a:lnTo>
                    <a:pt x="11518" y="9211"/>
                  </a:lnTo>
                  <a:lnTo>
                    <a:pt x="11521" y="9205"/>
                  </a:lnTo>
                  <a:lnTo>
                    <a:pt x="11523" y="9202"/>
                  </a:lnTo>
                  <a:lnTo>
                    <a:pt x="11539" y="9213"/>
                  </a:lnTo>
                  <a:lnTo>
                    <a:pt x="11547" y="9212"/>
                  </a:lnTo>
                  <a:lnTo>
                    <a:pt x="11568" y="9220"/>
                  </a:lnTo>
                  <a:lnTo>
                    <a:pt x="11590" y="9205"/>
                  </a:lnTo>
                  <a:lnTo>
                    <a:pt x="11623" y="9168"/>
                  </a:lnTo>
                  <a:lnTo>
                    <a:pt x="11648" y="9155"/>
                  </a:lnTo>
                  <a:lnTo>
                    <a:pt x="11676" y="9148"/>
                  </a:lnTo>
                  <a:lnTo>
                    <a:pt x="11759" y="9138"/>
                  </a:lnTo>
                  <a:lnTo>
                    <a:pt x="11786" y="9140"/>
                  </a:lnTo>
                  <a:lnTo>
                    <a:pt x="11813" y="9147"/>
                  </a:lnTo>
                  <a:lnTo>
                    <a:pt x="11840" y="9159"/>
                  </a:lnTo>
                  <a:lnTo>
                    <a:pt x="11855" y="9168"/>
                  </a:lnTo>
                  <a:lnTo>
                    <a:pt x="11886" y="9205"/>
                  </a:lnTo>
                  <a:lnTo>
                    <a:pt x="11898" y="9211"/>
                  </a:lnTo>
                  <a:lnTo>
                    <a:pt x="11908" y="9207"/>
                  </a:lnTo>
                  <a:lnTo>
                    <a:pt x="11919" y="9202"/>
                  </a:lnTo>
                  <a:lnTo>
                    <a:pt x="11932" y="9203"/>
                  </a:lnTo>
                  <a:lnTo>
                    <a:pt x="11936" y="9206"/>
                  </a:lnTo>
                  <a:lnTo>
                    <a:pt x="11940" y="9214"/>
                  </a:lnTo>
                  <a:lnTo>
                    <a:pt x="11944" y="9219"/>
                  </a:lnTo>
                  <a:lnTo>
                    <a:pt x="11948" y="9223"/>
                  </a:lnTo>
                  <a:lnTo>
                    <a:pt x="11972" y="9236"/>
                  </a:lnTo>
                  <a:lnTo>
                    <a:pt x="11981" y="9237"/>
                  </a:lnTo>
                  <a:lnTo>
                    <a:pt x="12001" y="9234"/>
                  </a:lnTo>
                  <a:lnTo>
                    <a:pt x="12005" y="9236"/>
                  </a:lnTo>
                  <a:lnTo>
                    <a:pt x="12013" y="9245"/>
                  </a:lnTo>
                  <a:lnTo>
                    <a:pt x="12017" y="9248"/>
                  </a:lnTo>
                  <a:lnTo>
                    <a:pt x="12037" y="9252"/>
                  </a:lnTo>
                  <a:lnTo>
                    <a:pt x="12045" y="9255"/>
                  </a:lnTo>
                  <a:lnTo>
                    <a:pt x="12056" y="9273"/>
                  </a:lnTo>
                  <a:lnTo>
                    <a:pt x="12066" y="9279"/>
                  </a:lnTo>
                  <a:lnTo>
                    <a:pt x="12076" y="9280"/>
                  </a:lnTo>
                  <a:lnTo>
                    <a:pt x="12083" y="9278"/>
                  </a:lnTo>
                  <a:lnTo>
                    <a:pt x="12088" y="9278"/>
                  </a:lnTo>
                  <a:lnTo>
                    <a:pt x="12097" y="9283"/>
                  </a:lnTo>
                  <a:lnTo>
                    <a:pt x="12097" y="9287"/>
                  </a:lnTo>
                  <a:lnTo>
                    <a:pt x="12096" y="9298"/>
                  </a:lnTo>
                  <a:lnTo>
                    <a:pt x="12099" y="9301"/>
                  </a:lnTo>
                  <a:lnTo>
                    <a:pt x="12110" y="9301"/>
                  </a:lnTo>
                  <a:lnTo>
                    <a:pt x="12116" y="9301"/>
                  </a:lnTo>
                  <a:lnTo>
                    <a:pt x="12119" y="9299"/>
                  </a:lnTo>
                  <a:lnTo>
                    <a:pt x="12122" y="9293"/>
                  </a:lnTo>
                  <a:lnTo>
                    <a:pt x="12131" y="9288"/>
                  </a:lnTo>
                  <a:lnTo>
                    <a:pt x="12142" y="9284"/>
                  </a:lnTo>
                  <a:lnTo>
                    <a:pt x="12152" y="9283"/>
                  </a:lnTo>
                  <a:lnTo>
                    <a:pt x="12157" y="9287"/>
                  </a:lnTo>
                  <a:lnTo>
                    <a:pt x="12160" y="9310"/>
                  </a:lnTo>
                  <a:lnTo>
                    <a:pt x="12163" y="9319"/>
                  </a:lnTo>
                  <a:lnTo>
                    <a:pt x="12165" y="9316"/>
                  </a:lnTo>
                  <a:lnTo>
                    <a:pt x="12166" y="9314"/>
                  </a:lnTo>
                  <a:lnTo>
                    <a:pt x="12169" y="9313"/>
                  </a:lnTo>
                  <a:lnTo>
                    <a:pt x="12172" y="9310"/>
                  </a:lnTo>
                  <a:lnTo>
                    <a:pt x="12183" y="9318"/>
                  </a:lnTo>
                  <a:lnTo>
                    <a:pt x="12200" y="9326"/>
                  </a:lnTo>
                  <a:lnTo>
                    <a:pt x="12216" y="9330"/>
                  </a:lnTo>
                  <a:lnTo>
                    <a:pt x="12228" y="9332"/>
                  </a:lnTo>
                  <a:lnTo>
                    <a:pt x="12235" y="9331"/>
                  </a:lnTo>
                  <a:lnTo>
                    <a:pt x="12248" y="9325"/>
                  </a:lnTo>
                  <a:lnTo>
                    <a:pt x="12254" y="9323"/>
                  </a:lnTo>
                  <a:lnTo>
                    <a:pt x="12260" y="9326"/>
                  </a:lnTo>
                  <a:lnTo>
                    <a:pt x="12260" y="9334"/>
                  </a:lnTo>
                  <a:lnTo>
                    <a:pt x="12257" y="9343"/>
                  </a:lnTo>
                  <a:lnTo>
                    <a:pt x="12257" y="9350"/>
                  </a:lnTo>
                  <a:lnTo>
                    <a:pt x="12265" y="9361"/>
                  </a:lnTo>
                  <a:lnTo>
                    <a:pt x="12274" y="9359"/>
                  </a:lnTo>
                  <a:lnTo>
                    <a:pt x="12285" y="9353"/>
                  </a:lnTo>
                  <a:lnTo>
                    <a:pt x="12298" y="9350"/>
                  </a:lnTo>
                  <a:lnTo>
                    <a:pt x="12304" y="9353"/>
                  </a:lnTo>
                  <a:lnTo>
                    <a:pt x="12310" y="9365"/>
                  </a:lnTo>
                  <a:lnTo>
                    <a:pt x="12316" y="9368"/>
                  </a:lnTo>
                  <a:lnTo>
                    <a:pt x="12339" y="9372"/>
                  </a:lnTo>
                  <a:lnTo>
                    <a:pt x="12345" y="9372"/>
                  </a:lnTo>
                  <a:lnTo>
                    <a:pt x="12373" y="9362"/>
                  </a:lnTo>
                  <a:lnTo>
                    <a:pt x="12390" y="9360"/>
                  </a:lnTo>
                  <a:lnTo>
                    <a:pt x="12398" y="9370"/>
                  </a:lnTo>
                  <a:lnTo>
                    <a:pt x="12405" y="9377"/>
                  </a:lnTo>
                  <a:lnTo>
                    <a:pt x="12420" y="9371"/>
                  </a:lnTo>
                  <a:lnTo>
                    <a:pt x="12447" y="9354"/>
                  </a:lnTo>
                  <a:lnTo>
                    <a:pt x="12473" y="9355"/>
                  </a:lnTo>
                  <a:lnTo>
                    <a:pt x="12503" y="9369"/>
                  </a:lnTo>
                  <a:lnTo>
                    <a:pt x="12527" y="9389"/>
                  </a:lnTo>
                  <a:lnTo>
                    <a:pt x="12531" y="9413"/>
                  </a:lnTo>
                  <a:lnTo>
                    <a:pt x="12517" y="9429"/>
                  </a:lnTo>
                  <a:lnTo>
                    <a:pt x="12515" y="9439"/>
                  </a:lnTo>
                  <a:lnTo>
                    <a:pt x="12529" y="9444"/>
                  </a:lnTo>
                  <a:lnTo>
                    <a:pt x="12565" y="9441"/>
                  </a:lnTo>
                  <a:lnTo>
                    <a:pt x="12580" y="9444"/>
                  </a:lnTo>
                  <a:lnTo>
                    <a:pt x="12636" y="9463"/>
                  </a:lnTo>
                  <a:lnTo>
                    <a:pt x="12664" y="9462"/>
                  </a:lnTo>
                  <a:lnTo>
                    <a:pt x="12681" y="9439"/>
                  </a:lnTo>
                  <a:lnTo>
                    <a:pt x="12682" y="9423"/>
                  </a:lnTo>
                  <a:lnTo>
                    <a:pt x="12675" y="9412"/>
                  </a:lnTo>
                  <a:lnTo>
                    <a:pt x="12667" y="9405"/>
                  </a:lnTo>
                  <a:close/>
                  <a:moveTo>
                    <a:pt x="15499" y="5471"/>
                  </a:moveTo>
                  <a:lnTo>
                    <a:pt x="15499" y="5471"/>
                  </a:lnTo>
                  <a:lnTo>
                    <a:pt x="15484" y="5485"/>
                  </a:lnTo>
                  <a:lnTo>
                    <a:pt x="15455" y="5504"/>
                  </a:lnTo>
                  <a:lnTo>
                    <a:pt x="15442" y="5509"/>
                  </a:lnTo>
                  <a:lnTo>
                    <a:pt x="15427" y="5508"/>
                  </a:lnTo>
                  <a:lnTo>
                    <a:pt x="15417" y="5500"/>
                  </a:lnTo>
                  <a:lnTo>
                    <a:pt x="15408" y="5491"/>
                  </a:lnTo>
                  <a:lnTo>
                    <a:pt x="15396" y="5487"/>
                  </a:lnTo>
                  <a:lnTo>
                    <a:pt x="15385" y="5492"/>
                  </a:lnTo>
                  <a:lnTo>
                    <a:pt x="15376" y="5505"/>
                  </a:lnTo>
                  <a:lnTo>
                    <a:pt x="15370" y="5520"/>
                  </a:lnTo>
                  <a:lnTo>
                    <a:pt x="15367" y="5531"/>
                  </a:lnTo>
                  <a:lnTo>
                    <a:pt x="15367" y="5560"/>
                  </a:lnTo>
                  <a:lnTo>
                    <a:pt x="15365" y="5567"/>
                  </a:lnTo>
                  <a:lnTo>
                    <a:pt x="15355" y="5579"/>
                  </a:lnTo>
                  <a:lnTo>
                    <a:pt x="15354" y="5586"/>
                  </a:lnTo>
                  <a:lnTo>
                    <a:pt x="15355" y="5600"/>
                  </a:lnTo>
                  <a:lnTo>
                    <a:pt x="15362" y="5627"/>
                  </a:lnTo>
                  <a:lnTo>
                    <a:pt x="15363" y="5642"/>
                  </a:lnTo>
                  <a:lnTo>
                    <a:pt x="15390" y="5630"/>
                  </a:lnTo>
                  <a:lnTo>
                    <a:pt x="15403" y="5628"/>
                  </a:lnTo>
                  <a:lnTo>
                    <a:pt x="15420" y="5633"/>
                  </a:lnTo>
                  <a:lnTo>
                    <a:pt x="15428" y="5637"/>
                  </a:lnTo>
                  <a:lnTo>
                    <a:pt x="15433" y="5641"/>
                  </a:lnTo>
                  <a:lnTo>
                    <a:pt x="15437" y="5646"/>
                  </a:lnTo>
                  <a:lnTo>
                    <a:pt x="15438" y="5655"/>
                  </a:lnTo>
                  <a:lnTo>
                    <a:pt x="15437" y="5672"/>
                  </a:lnTo>
                  <a:lnTo>
                    <a:pt x="15434" y="5681"/>
                  </a:lnTo>
                  <a:lnTo>
                    <a:pt x="15423" y="5694"/>
                  </a:lnTo>
                  <a:lnTo>
                    <a:pt x="15418" y="5713"/>
                  </a:lnTo>
                  <a:lnTo>
                    <a:pt x="15416" y="5765"/>
                  </a:lnTo>
                  <a:lnTo>
                    <a:pt x="15412" y="5774"/>
                  </a:lnTo>
                  <a:lnTo>
                    <a:pt x="15405" y="5778"/>
                  </a:lnTo>
                  <a:lnTo>
                    <a:pt x="15396" y="5776"/>
                  </a:lnTo>
                  <a:lnTo>
                    <a:pt x="15381" y="5770"/>
                  </a:lnTo>
                  <a:lnTo>
                    <a:pt x="15376" y="5769"/>
                  </a:lnTo>
                  <a:lnTo>
                    <a:pt x="15372" y="5772"/>
                  </a:lnTo>
                  <a:lnTo>
                    <a:pt x="15360" y="5784"/>
                  </a:lnTo>
                  <a:lnTo>
                    <a:pt x="15358" y="5789"/>
                  </a:lnTo>
                  <a:lnTo>
                    <a:pt x="15359" y="5796"/>
                  </a:lnTo>
                  <a:lnTo>
                    <a:pt x="15365" y="5809"/>
                  </a:lnTo>
                  <a:lnTo>
                    <a:pt x="15367" y="5815"/>
                  </a:lnTo>
                  <a:lnTo>
                    <a:pt x="15370" y="5823"/>
                  </a:lnTo>
                  <a:lnTo>
                    <a:pt x="15376" y="5828"/>
                  </a:lnTo>
                  <a:lnTo>
                    <a:pt x="15383" y="5831"/>
                  </a:lnTo>
                  <a:lnTo>
                    <a:pt x="15389" y="5835"/>
                  </a:lnTo>
                  <a:lnTo>
                    <a:pt x="15392" y="5841"/>
                  </a:lnTo>
                  <a:lnTo>
                    <a:pt x="15396" y="5855"/>
                  </a:lnTo>
                  <a:lnTo>
                    <a:pt x="15404" y="5898"/>
                  </a:lnTo>
                  <a:lnTo>
                    <a:pt x="15415" y="5920"/>
                  </a:lnTo>
                  <a:lnTo>
                    <a:pt x="15414" y="5931"/>
                  </a:lnTo>
                  <a:lnTo>
                    <a:pt x="15409" y="5942"/>
                  </a:lnTo>
                  <a:lnTo>
                    <a:pt x="15407" y="5954"/>
                  </a:lnTo>
                  <a:lnTo>
                    <a:pt x="15409" y="5967"/>
                  </a:lnTo>
                  <a:lnTo>
                    <a:pt x="15413" y="5981"/>
                  </a:lnTo>
                  <a:lnTo>
                    <a:pt x="15419" y="5995"/>
                  </a:lnTo>
                  <a:lnTo>
                    <a:pt x="15433" y="6015"/>
                  </a:lnTo>
                  <a:lnTo>
                    <a:pt x="15457" y="6082"/>
                  </a:lnTo>
                  <a:lnTo>
                    <a:pt x="15463" y="6094"/>
                  </a:lnTo>
                  <a:lnTo>
                    <a:pt x="15471" y="6100"/>
                  </a:lnTo>
                  <a:lnTo>
                    <a:pt x="15478" y="6096"/>
                  </a:lnTo>
                  <a:lnTo>
                    <a:pt x="15486" y="6082"/>
                  </a:lnTo>
                  <a:lnTo>
                    <a:pt x="15491" y="6078"/>
                  </a:lnTo>
                  <a:lnTo>
                    <a:pt x="15497" y="6079"/>
                  </a:lnTo>
                  <a:lnTo>
                    <a:pt x="15506" y="6089"/>
                  </a:lnTo>
                  <a:lnTo>
                    <a:pt x="15513" y="6091"/>
                  </a:lnTo>
                  <a:lnTo>
                    <a:pt x="15510" y="6068"/>
                  </a:lnTo>
                  <a:lnTo>
                    <a:pt x="15528" y="6058"/>
                  </a:lnTo>
                  <a:lnTo>
                    <a:pt x="15575" y="6055"/>
                  </a:lnTo>
                  <a:lnTo>
                    <a:pt x="15587" y="6052"/>
                  </a:lnTo>
                  <a:lnTo>
                    <a:pt x="15602" y="6040"/>
                  </a:lnTo>
                  <a:lnTo>
                    <a:pt x="15613" y="6038"/>
                  </a:lnTo>
                  <a:lnTo>
                    <a:pt x="15624" y="6040"/>
                  </a:lnTo>
                  <a:lnTo>
                    <a:pt x="15635" y="6044"/>
                  </a:lnTo>
                  <a:lnTo>
                    <a:pt x="15645" y="6046"/>
                  </a:lnTo>
                  <a:lnTo>
                    <a:pt x="15659" y="6043"/>
                  </a:lnTo>
                  <a:lnTo>
                    <a:pt x="15669" y="6037"/>
                  </a:lnTo>
                  <a:lnTo>
                    <a:pt x="15694" y="6017"/>
                  </a:lnTo>
                  <a:lnTo>
                    <a:pt x="15699" y="6010"/>
                  </a:lnTo>
                  <a:lnTo>
                    <a:pt x="15703" y="6006"/>
                  </a:lnTo>
                  <a:lnTo>
                    <a:pt x="15712" y="6005"/>
                  </a:lnTo>
                  <a:lnTo>
                    <a:pt x="15735" y="6007"/>
                  </a:lnTo>
                  <a:lnTo>
                    <a:pt x="15752" y="6015"/>
                  </a:lnTo>
                  <a:lnTo>
                    <a:pt x="15771" y="6027"/>
                  </a:lnTo>
                  <a:lnTo>
                    <a:pt x="15790" y="6036"/>
                  </a:lnTo>
                  <a:lnTo>
                    <a:pt x="15806" y="6033"/>
                  </a:lnTo>
                  <a:lnTo>
                    <a:pt x="15812" y="6037"/>
                  </a:lnTo>
                  <a:lnTo>
                    <a:pt x="15825" y="6041"/>
                  </a:lnTo>
                  <a:lnTo>
                    <a:pt x="15830" y="6045"/>
                  </a:lnTo>
                  <a:lnTo>
                    <a:pt x="15832" y="6049"/>
                  </a:lnTo>
                  <a:lnTo>
                    <a:pt x="15842" y="6083"/>
                  </a:lnTo>
                  <a:lnTo>
                    <a:pt x="15843" y="6093"/>
                  </a:lnTo>
                  <a:lnTo>
                    <a:pt x="15840" y="6102"/>
                  </a:lnTo>
                  <a:lnTo>
                    <a:pt x="15830" y="6115"/>
                  </a:lnTo>
                  <a:lnTo>
                    <a:pt x="15823" y="6126"/>
                  </a:lnTo>
                  <a:lnTo>
                    <a:pt x="15814" y="6161"/>
                  </a:lnTo>
                  <a:lnTo>
                    <a:pt x="15804" y="6181"/>
                  </a:lnTo>
                  <a:lnTo>
                    <a:pt x="15806" y="6190"/>
                  </a:lnTo>
                  <a:lnTo>
                    <a:pt x="15825" y="6216"/>
                  </a:lnTo>
                  <a:lnTo>
                    <a:pt x="15832" y="6241"/>
                  </a:lnTo>
                  <a:lnTo>
                    <a:pt x="15847" y="6262"/>
                  </a:lnTo>
                  <a:lnTo>
                    <a:pt x="15877" y="6335"/>
                  </a:lnTo>
                  <a:lnTo>
                    <a:pt x="15889" y="6355"/>
                  </a:lnTo>
                  <a:lnTo>
                    <a:pt x="15891" y="6379"/>
                  </a:lnTo>
                  <a:lnTo>
                    <a:pt x="15894" y="6391"/>
                  </a:lnTo>
                  <a:lnTo>
                    <a:pt x="15898" y="6377"/>
                  </a:lnTo>
                  <a:lnTo>
                    <a:pt x="15899" y="6365"/>
                  </a:lnTo>
                  <a:lnTo>
                    <a:pt x="15903" y="6358"/>
                  </a:lnTo>
                  <a:lnTo>
                    <a:pt x="15918" y="6356"/>
                  </a:lnTo>
                  <a:lnTo>
                    <a:pt x="15929" y="6360"/>
                  </a:lnTo>
                  <a:lnTo>
                    <a:pt x="15926" y="6369"/>
                  </a:lnTo>
                  <a:lnTo>
                    <a:pt x="15912" y="6391"/>
                  </a:lnTo>
                  <a:lnTo>
                    <a:pt x="15910" y="6399"/>
                  </a:lnTo>
                  <a:lnTo>
                    <a:pt x="15912" y="6411"/>
                  </a:lnTo>
                  <a:lnTo>
                    <a:pt x="15912" y="6417"/>
                  </a:lnTo>
                  <a:lnTo>
                    <a:pt x="15910" y="6423"/>
                  </a:lnTo>
                  <a:lnTo>
                    <a:pt x="15904" y="6434"/>
                  </a:lnTo>
                  <a:lnTo>
                    <a:pt x="15903" y="6441"/>
                  </a:lnTo>
                  <a:lnTo>
                    <a:pt x="15904" y="6443"/>
                  </a:lnTo>
                  <a:lnTo>
                    <a:pt x="15907" y="6446"/>
                  </a:lnTo>
                  <a:lnTo>
                    <a:pt x="15910" y="6452"/>
                  </a:lnTo>
                  <a:lnTo>
                    <a:pt x="15916" y="6479"/>
                  </a:lnTo>
                  <a:lnTo>
                    <a:pt x="15914" y="6492"/>
                  </a:lnTo>
                  <a:lnTo>
                    <a:pt x="15901" y="6517"/>
                  </a:lnTo>
                  <a:lnTo>
                    <a:pt x="15899" y="6530"/>
                  </a:lnTo>
                  <a:lnTo>
                    <a:pt x="15901" y="6536"/>
                  </a:lnTo>
                  <a:lnTo>
                    <a:pt x="15910" y="6545"/>
                  </a:lnTo>
                  <a:lnTo>
                    <a:pt x="15912" y="6552"/>
                  </a:lnTo>
                  <a:lnTo>
                    <a:pt x="15912" y="6559"/>
                  </a:lnTo>
                  <a:lnTo>
                    <a:pt x="15915" y="6570"/>
                  </a:lnTo>
                  <a:lnTo>
                    <a:pt x="15916" y="6576"/>
                  </a:lnTo>
                  <a:lnTo>
                    <a:pt x="15914" y="6601"/>
                  </a:lnTo>
                  <a:lnTo>
                    <a:pt x="15902" y="6644"/>
                  </a:lnTo>
                  <a:lnTo>
                    <a:pt x="15893" y="6737"/>
                  </a:lnTo>
                  <a:lnTo>
                    <a:pt x="15889" y="6747"/>
                  </a:lnTo>
                  <a:lnTo>
                    <a:pt x="15861" y="6794"/>
                  </a:lnTo>
                  <a:lnTo>
                    <a:pt x="15859" y="6803"/>
                  </a:lnTo>
                  <a:lnTo>
                    <a:pt x="15850" y="6824"/>
                  </a:lnTo>
                  <a:lnTo>
                    <a:pt x="15846" y="6827"/>
                  </a:lnTo>
                  <a:lnTo>
                    <a:pt x="15835" y="6834"/>
                  </a:lnTo>
                  <a:lnTo>
                    <a:pt x="15832" y="6836"/>
                  </a:lnTo>
                  <a:lnTo>
                    <a:pt x="15828" y="6860"/>
                  </a:lnTo>
                  <a:lnTo>
                    <a:pt x="15850" y="6943"/>
                  </a:lnTo>
                  <a:lnTo>
                    <a:pt x="15847" y="6964"/>
                  </a:lnTo>
                  <a:lnTo>
                    <a:pt x="15823" y="7009"/>
                  </a:lnTo>
                  <a:lnTo>
                    <a:pt x="15814" y="7031"/>
                  </a:lnTo>
                  <a:lnTo>
                    <a:pt x="15812" y="7054"/>
                  </a:lnTo>
                  <a:lnTo>
                    <a:pt x="15808" y="7066"/>
                  </a:lnTo>
                  <a:lnTo>
                    <a:pt x="15799" y="7078"/>
                  </a:lnTo>
                  <a:lnTo>
                    <a:pt x="15793" y="7082"/>
                  </a:lnTo>
                  <a:lnTo>
                    <a:pt x="15780" y="7089"/>
                  </a:lnTo>
                  <a:lnTo>
                    <a:pt x="15775" y="7093"/>
                  </a:lnTo>
                  <a:lnTo>
                    <a:pt x="15772" y="7098"/>
                  </a:lnTo>
                  <a:lnTo>
                    <a:pt x="15766" y="7119"/>
                  </a:lnTo>
                  <a:lnTo>
                    <a:pt x="15756" y="7142"/>
                  </a:lnTo>
                  <a:lnTo>
                    <a:pt x="15753" y="7154"/>
                  </a:lnTo>
                  <a:lnTo>
                    <a:pt x="15749" y="7197"/>
                  </a:lnTo>
                  <a:lnTo>
                    <a:pt x="15744" y="7217"/>
                  </a:lnTo>
                  <a:lnTo>
                    <a:pt x="15739" y="7248"/>
                  </a:lnTo>
                  <a:lnTo>
                    <a:pt x="15744" y="7274"/>
                  </a:lnTo>
                  <a:lnTo>
                    <a:pt x="15756" y="7298"/>
                  </a:lnTo>
                  <a:lnTo>
                    <a:pt x="15779" y="7329"/>
                  </a:lnTo>
                  <a:lnTo>
                    <a:pt x="15785" y="7341"/>
                  </a:lnTo>
                  <a:lnTo>
                    <a:pt x="15790" y="7347"/>
                  </a:lnTo>
                  <a:lnTo>
                    <a:pt x="15793" y="7355"/>
                  </a:lnTo>
                  <a:lnTo>
                    <a:pt x="15791" y="7361"/>
                  </a:lnTo>
                  <a:lnTo>
                    <a:pt x="15786" y="7368"/>
                  </a:lnTo>
                  <a:lnTo>
                    <a:pt x="15784" y="7374"/>
                  </a:lnTo>
                  <a:lnTo>
                    <a:pt x="15785" y="7388"/>
                  </a:lnTo>
                  <a:lnTo>
                    <a:pt x="15791" y="7397"/>
                  </a:lnTo>
                  <a:lnTo>
                    <a:pt x="15800" y="7402"/>
                  </a:lnTo>
                  <a:lnTo>
                    <a:pt x="15814" y="7402"/>
                  </a:lnTo>
                  <a:lnTo>
                    <a:pt x="15805" y="7388"/>
                  </a:lnTo>
                  <a:lnTo>
                    <a:pt x="15817" y="7380"/>
                  </a:lnTo>
                  <a:lnTo>
                    <a:pt x="15836" y="7377"/>
                  </a:lnTo>
                  <a:lnTo>
                    <a:pt x="15845" y="7378"/>
                  </a:lnTo>
                  <a:lnTo>
                    <a:pt x="15847" y="7388"/>
                  </a:lnTo>
                  <a:lnTo>
                    <a:pt x="15853" y="7392"/>
                  </a:lnTo>
                  <a:lnTo>
                    <a:pt x="15859" y="7396"/>
                  </a:lnTo>
                  <a:lnTo>
                    <a:pt x="15863" y="7402"/>
                  </a:lnTo>
                  <a:lnTo>
                    <a:pt x="15865" y="7410"/>
                  </a:lnTo>
                  <a:lnTo>
                    <a:pt x="15864" y="7426"/>
                  </a:lnTo>
                  <a:lnTo>
                    <a:pt x="15868" y="7433"/>
                  </a:lnTo>
                  <a:lnTo>
                    <a:pt x="15879" y="7441"/>
                  </a:lnTo>
                  <a:lnTo>
                    <a:pt x="15885" y="7432"/>
                  </a:lnTo>
                  <a:lnTo>
                    <a:pt x="15892" y="7418"/>
                  </a:lnTo>
                  <a:lnTo>
                    <a:pt x="15905" y="7411"/>
                  </a:lnTo>
                  <a:lnTo>
                    <a:pt x="15920" y="7417"/>
                  </a:lnTo>
                  <a:lnTo>
                    <a:pt x="15926" y="7429"/>
                  </a:lnTo>
                  <a:lnTo>
                    <a:pt x="15927" y="7444"/>
                  </a:lnTo>
                  <a:lnTo>
                    <a:pt x="15929" y="7456"/>
                  </a:lnTo>
                  <a:lnTo>
                    <a:pt x="15948" y="7468"/>
                  </a:lnTo>
                  <a:lnTo>
                    <a:pt x="15978" y="7472"/>
                  </a:lnTo>
                  <a:lnTo>
                    <a:pt x="16010" y="7471"/>
                  </a:lnTo>
                  <a:lnTo>
                    <a:pt x="16031" y="7465"/>
                  </a:lnTo>
                  <a:lnTo>
                    <a:pt x="16043" y="7456"/>
                  </a:lnTo>
                  <a:lnTo>
                    <a:pt x="16056" y="7445"/>
                  </a:lnTo>
                  <a:lnTo>
                    <a:pt x="16059" y="7439"/>
                  </a:lnTo>
                  <a:lnTo>
                    <a:pt x="16061" y="7425"/>
                  </a:lnTo>
                  <a:lnTo>
                    <a:pt x="16065" y="7418"/>
                  </a:lnTo>
                  <a:lnTo>
                    <a:pt x="16092" y="7392"/>
                  </a:lnTo>
                  <a:lnTo>
                    <a:pt x="16102" y="7385"/>
                  </a:lnTo>
                  <a:lnTo>
                    <a:pt x="16114" y="7382"/>
                  </a:lnTo>
                  <a:lnTo>
                    <a:pt x="16132" y="7381"/>
                  </a:lnTo>
                  <a:lnTo>
                    <a:pt x="16148" y="7382"/>
                  </a:lnTo>
                  <a:lnTo>
                    <a:pt x="16156" y="7387"/>
                  </a:lnTo>
                  <a:lnTo>
                    <a:pt x="16164" y="7391"/>
                  </a:lnTo>
                  <a:lnTo>
                    <a:pt x="16204" y="7398"/>
                  </a:lnTo>
                  <a:lnTo>
                    <a:pt x="16214" y="7398"/>
                  </a:lnTo>
                  <a:lnTo>
                    <a:pt x="16218" y="7399"/>
                  </a:lnTo>
                  <a:lnTo>
                    <a:pt x="16222" y="7402"/>
                  </a:lnTo>
                  <a:lnTo>
                    <a:pt x="16234" y="7397"/>
                  </a:lnTo>
                  <a:lnTo>
                    <a:pt x="16258" y="7390"/>
                  </a:lnTo>
                  <a:lnTo>
                    <a:pt x="16271" y="7385"/>
                  </a:lnTo>
                  <a:lnTo>
                    <a:pt x="16286" y="7373"/>
                  </a:lnTo>
                  <a:lnTo>
                    <a:pt x="16291" y="7371"/>
                  </a:lnTo>
                  <a:lnTo>
                    <a:pt x="16320" y="7367"/>
                  </a:lnTo>
                  <a:lnTo>
                    <a:pt x="16334" y="7361"/>
                  </a:lnTo>
                  <a:lnTo>
                    <a:pt x="16350" y="7353"/>
                  </a:lnTo>
                  <a:lnTo>
                    <a:pt x="16366" y="7347"/>
                  </a:lnTo>
                  <a:lnTo>
                    <a:pt x="16382" y="7349"/>
                  </a:lnTo>
                  <a:lnTo>
                    <a:pt x="16387" y="7355"/>
                  </a:lnTo>
                  <a:lnTo>
                    <a:pt x="16397" y="7375"/>
                  </a:lnTo>
                  <a:lnTo>
                    <a:pt x="16399" y="7383"/>
                  </a:lnTo>
                  <a:lnTo>
                    <a:pt x="16403" y="7390"/>
                  </a:lnTo>
                  <a:lnTo>
                    <a:pt x="16426" y="7416"/>
                  </a:lnTo>
                  <a:lnTo>
                    <a:pt x="16436" y="7414"/>
                  </a:lnTo>
                  <a:lnTo>
                    <a:pt x="16454" y="7422"/>
                  </a:lnTo>
                  <a:lnTo>
                    <a:pt x="16457" y="7418"/>
                  </a:lnTo>
                  <a:lnTo>
                    <a:pt x="16454" y="7407"/>
                  </a:lnTo>
                  <a:lnTo>
                    <a:pt x="16442" y="7389"/>
                  </a:lnTo>
                  <a:lnTo>
                    <a:pt x="16439" y="7383"/>
                  </a:lnTo>
                  <a:lnTo>
                    <a:pt x="16437" y="7358"/>
                  </a:lnTo>
                  <a:lnTo>
                    <a:pt x="16409" y="7258"/>
                  </a:lnTo>
                  <a:lnTo>
                    <a:pt x="16408" y="7245"/>
                  </a:lnTo>
                  <a:lnTo>
                    <a:pt x="16403" y="7236"/>
                  </a:lnTo>
                  <a:lnTo>
                    <a:pt x="16375" y="7201"/>
                  </a:lnTo>
                  <a:lnTo>
                    <a:pt x="16369" y="7191"/>
                  </a:lnTo>
                  <a:lnTo>
                    <a:pt x="16361" y="7166"/>
                  </a:lnTo>
                  <a:lnTo>
                    <a:pt x="16355" y="7154"/>
                  </a:lnTo>
                  <a:lnTo>
                    <a:pt x="16328" y="7115"/>
                  </a:lnTo>
                  <a:lnTo>
                    <a:pt x="16335" y="7105"/>
                  </a:lnTo>
                  <a:lnTo>
                    <a:pt x="16341" y="7090"/>
                  </a:lnTo>
                  <a:lnTo>
                    <a:pt x="16355" y="7014"/>
                  </a:lnTo>
                  <a:lnTo>
                    <a:pt x="16357" y="6935"/>
                  </a:lnTo>
                  <a:lnTo>
                    <a:pt x="16368" y="6916"/>
                  </a:lnTo>
                  <a:lnTo>
                    <a:pt x="16379" y="6913"/>
                  </a:lnTo>
                  <a:lnTo>
                    <a:pt x="16394" y="6912"/>
                  </a:lnTo>
                  <a:lnTo>
                    <a:pt x="16407" y="6908"/>
                  </a:lnTo>
                  <a:lnTo>
                    <a:pt x="16413" y="6896"/>
                  </a:lnTo>
                  <a:lnTo>
                    <a:pt x="16413" y="6881"/>
                  </a:lnTo>
                  <a:lnTo>
                    <a:pt x="16426" y="6818"/>
                  </a:lnTo>
                  <a:lnTo>
                    <a:pt x="16428" y="6812"/>
                  </a:lnTo>
                  <a:lnTo>
                    <a:pt x="16441" y="6802"/>
                  </a:lnTo>
                  <a:lnTo>
                    <a:pt x="16446" y="6797"/>
                  </a:lnTo>
                  <a:lnTo>
                    <a:pt x="16448" y="6790"/>
                  </a:lnTo>
                  <a:lnTo>
                    <a:pt x="16444" y="6778"/>
                  </a:lnTo>
                  <a:lnTo>
                    <a:pt x="16425" y="6756"/>
                  </a:lnTo>
                  <a:lnTo>
                    <a:pt x="16417" y="6744"/>
                  </a:lnTo>
                  <a:lnTo>
                    <a:pt x="16414" y="6733"/>
                  </a:lnTo>
                  <a:lnTo>
                    <a:pt x="16411" y="6716"/>
                  </a:lnTo>
                  <a:lnTo>
                    <a:pt x="16411" y="6700"/>
                  </a:lnTo>
                  <a:lnTo>
                    <a:pt x="16415" y="6689"/>
                  </a:lnTo>
                  <a:lnTo>
                    <a:pt x="16418" y="6678"/>
                  </a:lnTo>
                  <a:lnTo>
                    <a:pt x="16411" y="6666"/>
                  </a:lnTo>
                  <a:lnTo>
                    <a:pt x="16395" y="6647"/>
                  </a:lnTo>
                  <a:lnTo>
                    <a:pt x="16391" y="6623"/>
                  </a:lnTo>
                  <a:lnTo>
                    <a:pt x="16407" y="6586"/>
                  </a:lnTo>
                  <a:lnTo>
                    <a:pt x="16408" y="6563"/>
                  </a:lnTo>
                  <a:lnTo>
                    <a:pt x="16400" y="6543"/>
                  </a:lnTo>
                  <a:lnTo>
                    <a:pt x="16399" y="6534"/>
                  </a:lnTo>
                  <a:lnTo>
                    <a:pt x="16400" y="6527"/>
                  </a:lnTo>
                  <a:lnTo>
                    <a:pt x="16403" y="6514"/>
                  </a:lnTo>
                  <a:lnTo>
                    <a:pt x="16404" y="6507"/>
                  </a:lnTo>
                  <a:lnTo>
                    <a:pt x="16404" y="6481"/>
                  </a:lnTo>
                  <a:lnTo>
                    <a:pt x="16401" y="6472"/>
                  </a:lnTo>
                  <a:lnTo>
                    <a:pt x="16387" y="6449"/>
                  </a:lnTo>
                  <a:lnTo>
                    <a:pt x="16385" y="6438"/>
                  </a:lnTo>
                  <a:lnTo>
                    <a:pt x="16386" y="6329"/>
                  </a:lnTo>
                  <a:lnTo>
                    <a:pt x="16390" y="6306"/>
                  </a:lnTo>
                  <a:lnTo>
                    <a:pt x="16397" y="6284"/>
                  </a:lnTo>
                  <a:lnTo>
                    <a:pt x="16408" y="6263"/>
                  </a:lnTo>
                  <a:lnTo>
                    <a:pt x="16435" y="6224"/>
                  </a:lnTo>
                  <a:lnTo>
                    <a:pt x="16446" y="6199"/>
                  </a:lnTo>
                  <a:lnTo>
                    <a:pt x="16444" y="6175"/>
                  </a:lnTo>
                  <a:lnTo>
                    <a:pt x="16432" y="6163"/>
                  </a:lnTo>
                  <a:lnTo>
                    <a:pt x="16430" y="6159"/>
                  </a:lnTo>
                  <a:lnTo>
                    <a:pt x="16430" y="6105"/>
                  </a:lnTo>
                  <a:lnTo>
                    <a:pt x="16427" y="6093"/>
                  </a:lnTo>
                  <a:lnTo>
                    <a:pt x="16416" y="6064"/>
                  </a:lnTo>
                  <a:lnTo>
                    <a:pt x="16415" y="6052"/>
                  </a:lnTo>
                  <a:lnTo>
                    <a:pt x="16418" y="6020"/>
                  </a:lnTo>
                  <a:lnTo>
                    <a:pt x="16421" y="6009"/>
                  </a:lnTo>
                  <a:lnTo>
                    <a:pt x="16421" y="6003"/>
                  </a:lnTo>
                  <a:lnTo>
                    <a:pt x="16420" y="5996"/>
                  </a:lnTo>
                  <a:lnTo>
                    <a:pt x="16414" y="5982"/>
                  </a:lnTo>
                  <a:lnTo>
                    <a:pt x="16413" y="5976"/>
                  </a:lnTo>
                  <a:lnTo>
                    <a:pt x="16418" y="5953"/>
                  </a:lnTo>
                  <a:lnTo>
                    <a:pt x="16421" y="5942"/>
                  </a:lnTo>
                  <a:lnTo>
                    <a:pt x="16420" y="5935"/>
                  </a:lnTo>
                  <a:lnTo>
                    <a:pt x="16418" y="5928"/>
                  </a:lnTo>
                  <a:lnTo>
                    <a:pt x="16417" y="5921"/>
                  </a:lnTo>
                  <a:lnTo>
                    <a:pt x="16422" y="5913"/>
                  </a:lnTo>
                  <a:lnTo>
                    <a:pt x="16430" y="5902"/>
                  </a:lnTo>
                  <a:lnTo>
                    <a:pt x="16432" y="5895"/>
                  </a:lnTo>
                  <a:lnTo>
                    <a:pt x="16421" y="5897"/>
                  </a:lnTo>
                  <a:lnTo>
                    <a:pt x="16416" y="5892"/>
                  </a:lnTo>
                  <a:lnTo>
                    <a:pt x="16412" y="5883"/>
                  </a:lnTo>
                  <a:lnTo>
                    <a:pt x="16409" y="5874"/>
                  </a:lnTo>
                  <a:lnTo>
                    <a:pt x="16408" y="5868"/>
                  </a:lnTo>
                  <a:lnTo>
                    <a:pt x="16405" y="5865"/>
                  </a:lnTo>
                  <a:lnTo>
                    <a:pt x="16386" y="5853"/>
                  </a:lnTo>
                  <a:lnTo>
                    <a:pt x="16355" y="5842"/>
                  </a:lnTo>
                  <a:lnTo>
                    <a:pt x="16342" y="5835"/>
                  </a:lnTo>
                  <a:lnTo>
                    <a:pt x="16328" y="5822"/>
                  </a:lnTo>
                  <a:lnTo>
                    <a:pt x="16335" y="5814"/>
                  </a:lnTo>
                  <a:lnTo>
                    <a:pt x="16337" y="5811"/>
                  </a:lnTo>
                  <a:lnTo>
                    <a:pt x="16342" y="5809"/>
                  </a:lnTo>
                  <a:lnTo>
                    <a:pt x="16335" y="5796"/>
                  </a:lnTo>
                  <a:lnTo>
                    <a:pt x="16326" y="5763"/>
                  </a:lnTo>
                  <a:lnTo>
                    <a:pt x="16317" y="5756"/>
                  </a:lnTo>
                  <a:lnTo>
                    <a:pt x="16312" y="5753"/>
                  </a:lnTo>
                  <a:lnTo>
                    <a:pt x="16309" y="5747"/>
                  </a:lnTo>
                  <a:lnTo>
                    <a:pt x="16307" y="5739"/>
                  </a:lnTo>
                  <a:lnTo>
                    <a:pt x="16306" y="5731"/>
                  </a:lnTo>
                  <a:lnTo>
                    <a:pt x="16303" y="5723"/>
                  </a:lnTo>
                  <a:lnTo>
                    <a:pt x="16292" y="5711"/>
                  </a:lnTo>
                  <a:lnTo>
                    <a:pt x="16289" y="5703"/>
                  </a:lnTo>
                  <a:lnTo>
                    <a:pt x="16307" y="5698"/>
                  </a:lnTo>
                  <a:lnTo>
                    <a:pt x="16321" y="5690"/>
                  </a:lnTo>
                  <a:lnTo>
                    <a:pt x="16346" y="5668"/>
                  </a:lnTo>
                  <a:lnTo>
                    <a:pt x="16508" y="5568"/>
                  </a:lnTo>
                  <a:lnTo>
                    <a:pt x="16519" y="5557"/>
                  </a:lnTo>
                  <a:lnTo>
                    <a:pt x="16525" y="5546"/>
                  </a:lnTo>
                  <a:lnTo>
                    <a:pt x="16529" y="5535"/>
                  </a:lnTo>
                  <a:lnTo>
                    <a:pt x="16535" y="5526"/>
                  </a:lnTo>
                  <a:lnTo>
                    <a:pt x="16548" y="5522"/>
                  </a:lnTo>
                  <a:lnTo>
                    <a:pt x="16562" y="5521"/>
                  </a:lnTo>
                  <a:lnTo>
                    <a:pt x="16572" y="5518"/>
                  </a:lnTo>
                  <a:lnTo>
                    <a:pt x="16607" y="5500"/>
                  </a:lnTo>
                  <a:lnTo>
                    <a:pt x="16618" y="5497"/>
                  </a:lnTo>
                  <a:lnTo>
                    <a:pt x="16632" y="5496"/>
                  </a:lnTo>
                  <a:lnTo>
                    <a:pt x="16641" y="5493"/>
                  </a:lnTo>
                  <a:lnTo>
                    <a:pt x="16649" y="5487"/>
                  </a:lnTo>
                  <a:lnTo>
                    <a:pt x="16659" y="5483"/>
                  </a:lnTo>
                  <a:lnTo>
                    <a:pt x="16674" y="5483"/>
                  </a:lnTo>
                  <a:lnTo>
                    <a:pt x="16683" y="5485"/>
                  </a:lnTo>
                  <a:lnTo>
                    <a:pt x="16690" y="5487"/>
                  </a:lnTo>
                  <a:lnTo>
                    <a:pt x="16696" y="5491"/>
                  </a:lnTo>
                  <a:lnTo>
                    <a:pt x="16703" y="5498"/>
                  </a:lnTo>
                  <a:lnTo>
                    <a:pt x="16709" y="5503"/>
                  </a:lnTo>
                  <a:lnTo>
                    <a:pt x="16715" y="5503"/>
                  </a:lnTo>
                  <a:lnTo>
                    <a:pt x="16721" y="5501"/>
                  </a:lnTo>
                  <a:lnTo>
                    <a:pt x="16729" y="5500"/>
                  </a:lnTo>
                  <a:lnTo>
                    <a:pt x="16808" y="5512"/>
                  </a:lnTo>
                  <a:lnTo>
                    <a:pt x="16814" y="5516"/>
                  </a:lnTo>
                  <a:lnTo>
                    <a:pt x="16823" y="5523"/>
                  </a:lnTo>
                  <a:lnTo>
                    <a:pt x="16827" y="5529"/>
                  </a:lnTo>
                  <a:lnTo>
                    <a:pt x="16827" y="5531"/>
                  </a:lnTo>
                  <a:lnTo>
                    <a:pt x="16835" y="5537"/>
                  </a:lnTo>
                  <a:lnTo>
                    <a:pt x="16856" y="5575"/>
                  </a:lnTo>
                  <a:lnTo>
                    <a:pt x="16854" y="5574"/>
                  </a:lnTo>
                  <a:lnTo>
                    <a:pt x="16851" y="5574"/>
                  </a:lnTo>
                  <a:lnTo>
                    <a:pt x="16849" y="5573"/>
                  </a:lnTo>
                  <a:lnTo>
                    <a:pt x="16847" y="5571"/>
                  </a:lnTo>
                  <a:lnTo>
                    <a:pt x="16838" y="5587"/>
                  </a:lnTo>
                  <a:lnTo>
                    <a:pt x="16831" y="5591"/>
                  </a:lnTo>
                  <a:lnTo>
                    <a:pt x="16820" y="5588"/>
                  </a:lnTo>
                  <a:lnTo>
                    <a:pt x="16816" y="5603"/>
                  </a:lnTo>
                  <a:lnTo>
                    <a:pt x="16807" y="5607"/>
                  </a:lnTo>
                  <a:lnTo>
                    <a:pt x="16798" y="5609"/>
                  </a:lnTo>
                  <a:lnTo>
                    <a:pt x="16794" y="5617"/>
                  </a:lnTo>
                  <a:lnTo>
                    <a:pt x="16795" y="5623"/>
                  </a:lnTo>
                  <a:lnTo>
                    <a:pt x="16799" y="5628"/>
                  </a:lnTo>
                  <a:lnTo>
                    <a:pt x="16805" y="5633"/>
                  </a:lnTo>
                  <a:lnTo>
                    <a:pt x="16811" y="5633"/>
                  </a:lnTo>
                  <a:lnTo>
                    <a:pt x="16815" y="5629"/>
                  </a:lnTo>
                  <a:lnTo>
                    <a:pt x="16820" y="5616"/>
                  </a:lnTo>
                  <a:lnTo>
                    <a:pt x="16825" y="5611"/>
                  </a:lnTo>
                  <a:lnTo>
                    <a:pt x="16830" y="5617"/>
                  </a:lnTo>
                  <a:lnTo>
                    <a:pt x="16835" y="5635"/>
                  </a:lnTo>
                  <a:lnTo>
                    <a:pt x="16838" y="5642"/>
                  </a:lnTo>
                  <a:lnTo>
                    <a:pt x="16842" y="5642"/>
                  </a:lnTo>
                  <a:lnTo>
                    <a:pt x="16850" y="5635"/>
                  </a:lnTo>
                  <a:lnTo>
                    <a:pt x="16857" y="5648"/>
                  </a:lnTo>
                  <a:lnTo>
                    <a:pt x="16860" y="5669"/>
                  </a:lnTo>
                  <a:lnTo>
                    <a:pt x="16858" y="5683"/>
                  </a:lnTo>
                  <a:lnTo>
                    <a:pt x="16855" y="5690"/>
                  </a:lnTo>
                  <a:lnTo>
                    <a:pt x="16856" y="5716"/>
                  </a:lnTo>
                  <a:lnTo>
                    <a:pt x="16854" y="5724"/>
                  </a:lnTo>
                  <a:lnTo>
                    <a:pt x="16848" y="5736"/>
                  </a:lnTo>
                  <a:lnTo>
                    <a:pt x="16847" y="5745"/>
                  </a:lnTo>
                  <a:lnTo>
                    <a:pt x="16838" y="5762"/>
                  </a:lnTo>
                  <a:lnTo>
                    <a:pt x="16835" y="5773"/>
                  </a:lnTo>
                  <a:lnTo>
                    <a:pt x="16840" y="5778"/>
                  </a:lnTo>
                  <a:lnTo>
                    <a:pt x="16845" y="5781"/>
                  </a:lnTo>
                  <a:lnTo>
                    <a:pt x="16848" y="5788"/>
                  </a:lnTo>
                  <a:lnTo>
                    <a:pt x="16851" y="5804"/>
                  </a:lnTo>
                  <a:lnTo>
                    <a:pt x="16851" y="5820"/>
                  </a:lnTo>
                  <a:lnTo>
                    <a:pt x="16847" y="5855"/>
                  </a:lnTo>
                  <a:lnTo>
                    <a:pt x="16842" y="5866"/>
                  </a:lnTo>
                  <a:lnTo>
                    <a:pt x="16837" y="5869"/>
                  </a:lnTo>
                  <a:lnTo>
                    <a:pt x="16830" y="5872"/>
                  </a:lnTo>
                  <a:lnTo>
                    <a:pt x="16823" y="5876"/>
                  </a:lnTo>
                  <a:lnTo>
                    <a:pt x="16820" y="5882"/>
                  </a:lnTo>
                  <a:lnTo>
                    <a:pt x="16818" y="5887"/>
                  </a:lnTo>
                  <a:lnTo>
                    <a:pt x="16814" y="5892"/>
                  </a:lnTo>
                  <a:lnTo>
                    <a:pt x="16807" y="5896"/>
                  </a:lnTo>
                  <a:lnTo>
                    <a:pt x="16800" y="5897"/>
                  </a:lnTo>
                  <a:lnTo>
                    <a:pt x="16790" y="5902"/>
                  </a:lnTo>
                  <a:lnTo>
                    <a:pt x="16783" y="5914"/>
                  </a:lnTo>
                  <a:lnTo>
                    <a:pt x="16772" y="5941"/>
                  </a:lnTo>
                  <a:lnTo>
                    <a:pt x="16759" y="5954"/>
                  </a:lnTo>
                  <a:lnTo>
                    <a:pt x="16745" y="5967"/>
                  </a:lnTo>
                  <a:lnTo>
                    <a:pt x="16732" y="5980"/>
                  </a:lnTo>
                  <a:lnTo>
                    <a:pt x="16727" y="5996"/>
                  </a:lnTo>
                  <a:lnTo>
                    <a:pt x="16726" y="6003"/>
                  </a:lnTo>
                  <a:lnTo>
                    <a:pt x="16720" y="6017"/>
                  </a:lnTo>
                  <a:lnTo>
                    <a:pt x="16718" y="6025"/>
                  </a:lnTo>
                  <a:lnTo>
                    <a:pt x="16718" y="6032"/>
                  </a:lnTo>
                  <a:lnTo>
                    <a:pt x="16723" y="6051"/>
                  </a:lnTo>
                  <a:lnTo>
                    <a:pt x="16735" y="6077"/>
                  </a:lnTo>
                  <a:lnTo>
                    <a:pt x="16872" y="6200"/>
                  </a:lnTo>
                  <a:lnTo>
                    <a:pt x="16907" y="6243"/>
                  </a:lnTo>
                  <a:lnTo>
                    <a:pt x="16918" y="6248"/>
                  </a:lnTo>
                  <a:lnTo>
                    <a:pt x="16933" y="6250"/>
                  </a:lnTo>
                  <a:lnTo>
                    <a:pt x="16959" y="6250"/>
                  </a:lnTo>
                  <a:lnTo>
                    <a:pt x="16969" y="6255"/>
                  </a:lnTo>
                  <a:lnTo>
                    <a:pt x="16975" y="6267"/>
                  </a:lnTo>
                  <a:lnTo>
                    <a:pt x="16972" y="6278"/>
                  </a:lnTo>
                  <a:lnTo>
                    <a:pt x="16966" y="6293"/>
                  </a:lnTo>
                  <a:lnTo>
                    <a:pt x="16963" y="6306"/>
                  </a:lnTo>
                  <a:lnTo>
                    <a:pt x="16969" y="6311"/>
                  </a:lnTo>
                  <a:lnTo>
                    <a:pt x="16980" y="6308"/>
                  </a:lnTo>
                  <a:lnTo>
                    <a:pt x="16988" y="6303"/>
                  </a:lnTo>
                  <a:lnTo>
                    <a:pt x="16995" y="6301"/>
                  </a:lnTo>
                  <a:lnTo>
                    <a:pt x="17006" y="6308"/>
                  </a:lnTo>
                  <a:lnTo>
                    <a:pt x="17014" y="6317"/>
                  </a:lnTo>
                  <a:lnTo>
                    <a:pt x="17018" y="6324"/>
                  </a:lnTo>
                  <a:lnTo>
                    <a:pt x="17020" y="6332"/>
                  </a:lnTo>
                  <a:lnTo>
                    <a:pt x="17022" y="6337"/>
                  </a:lnTo>
                  <a:lnTo>
                    <a:pt x="17031" y="6347"/>
                  </a:lnTo>
                  <a:lnTo>
                    <a:pt x="17033" y="6353"/>
                  </a:lnTo>
                  <a:lnTo>
                    <a:pt x="17082" y="6373"/>
                  </a:lnTo>
                  <a:lnTo>
                    <a:pt x="17163" y="6388"/>
                  </a:lnTo>
                  <a:lnTo>
                    <a:pt x="17188" y="6400"/>
                  </a:lnTo>
                  <a:lnTo>
                    <a:pt x="17209" y="6430"/>
                  </a:lnTo>
                  <a:lnTo>
                    <a:pt x="17203" y="6481"/>
                  </a:lnTo>
                  <a:lnTo>
                    <a:pt x="17182" y="6526"/>
                  </a:lnTo>
                  <a:lnTo>
                    <a:pt x="17161" y="6537"/>
                  </a:lnTo>
                  <a:lnTo>
                    <a:pt x="17166" y="6530"/>
                  </a:lnTo>
                  <a:lnTo>
                    <a:pt x="17168" y="6524"/>
                  </a:lnTo>
                  <a:lnTo>
                    <a:pt x="17166" y="6519"/>
                  </a:lnTo>
                  <a:lnTo>
                    <a:pt x="17157" y="6519"/>
                  </a:lnTo>
                  <a:lnTo>
                    <a:pt x="17151" y="6522"/>
                  </a:lnTo>
                  <a:lnTo>
                    <a:pt x="17149" y="6527"/>
                  </a:lnTo>
                  <a:lnTo>
                    <a:pt x="17149" y="6533"/>
                  </a:lnTo>
                  <a:lnTo>
                    <a:pt x="17146" y="6553"/>
                  </a:lnTo>
                  <a:lnTo>
                    <a:pt x="17148" y="6603"/>
                  </a:lnTo>
                  <a:lnTo>
                    <a:pt x="17146" y="6630"/>
                  </a:lnTo>
                  <a:lnTo>
                    <a:pt x="17140" y="6657"/>
                  </a:lnTo>
                  <a:lnTo>
                    <a:pt x="17126" y="6696"/>
                  </a:lnTo>
                  <a:lnTo>
                    <a:pt x="17114" y="6748"/>
                  </a:lnTo>
                  <a:lnTo>
                    <a:pt x="17113" y="6775"/>
                  </a:lnTo>
                  <a:lnTo>
                    <a:pt x="17117" y="6797"/>
                  </a:lnTo>
                  <a:lnTo>
                    <a:pt x="17119" y="6800"/>
                  </a:lnTo>
                  <a:lnTo>
                    <a:pt x="17121" y="6800"/>
                  </a:lnTo>
                  <a:lnTo>
                    <a:pt x="17123" y="6799"/>
                  </a:lnTo>
                  <a:lnTo>
                    <a:pt x="17126" y="6801"/>
                  </a:lnTo>
                  <a:lnTo>
                    <a:pt x="17129" y="6808"/>
                  </a:lnTo>
                  <a:lnTo>
                    <a:pt x="17162" y="6853"/>
                  </a:lnTo>
                  <a:lnTo>
                    <a:pt x="17170" y="6859"/>
                  </a:lnTo>
                  <a:lnTo>
                    <a:pt x="17208" y="6874"/>
                  </a:lnTo>
                  <a:lnTo>
                    <a:pt x="17217" y="6876"/>
                  </a:lnTo>
                  <a:lnTo>
                    <a:pt x="17229" y="6881"/>
                  </a:lnTo>
                  <a:lnTo>
                    <a:pt x="17247" y="6904"/>
                  </a:lnTo>
                  <a:lnTo>
                    <a:pt x="17259" y="6912"/>
                  </a:lnTo>
                  <a:lnTo>
                    <a:pt x="17265" y="6912"/>
                  </a:lnTo>
                  <a:lnTo>
                    <a:pt x="17273" y="6910"/>
                  </a:lnTo>
                  <a:lnTo>
                    <a:pt x="17279" y="6907"/>
                  </a:lnTo>
                  <a:lnTo>
                    <a:pt x="17282" y="6905"/>
                  </a:lnTo>
                  <a:lnTo>
                    <a:pt x="17284" y="6900"/>
                  </a:lnTo>
                  <a:lnTo>
                    <a:pt x="17289" y="6900"/>
                  </a:lnTo>
                  <a:lnTo>
                    <a:pt x="17301" y="6903"/>
                  </a:lnTo>
                  <a:lnTo>
                    <a:pt x="17316" y="6901"/>
                  </a:lnTo>
                  <a:lnTo>
                    <a:pt x="17327" y="6898"/>
                  </a:lnTo>
                  <a:lnTo>
                    <a:pt x="17336" y="6898"/>
                  </a:lnTo>
                  <a:lnTo>
                    <a:pt x="17347" y="6903"/>
                  </a:lnTo>
                  <a:lnTo>
                    <a:pt x="17366" y="6916"/>
                  </a:lnTo>
                  <a:lnTo>
                    <a:pt x="17378" y="6919"/>
                  </a:lnTo>
                  <a:lnTo>
                    <a:pt x="17445" y="6925"/>
                  </a:lnTo>
                  <a:lnTo>
                    <a:pt x="17458" y="6924"/>
                  </a:lnTo>
                  <a:lnTo>
                    <a:pt x="17486" y="6918"/>
                  </a:lnTo>
                  <a:lnTo>
                    <a:pt x="17501" y="6916"/>
                  </a:lnTo>
                  <a:lnTo>
                    <a:pt x="17509" y="6913"/>
                  </a:lnTo>
                  <a:lnTo>
                    <a:pt x="17522" y="6898"/>
                  </a:lnTo>
                  <a:lnTo>
                    <a:pt x="17534" y="6894"/>
                  </a:lnTo>
                  <a:lnTo>
                    <a:pt x="17534" y="6890"/>
                  </a:lnTo>
                  <a:lnTo>
                    <a:pt x="17523" y="6887"/>
                  </a:lnTo>
                  <a:lnTo>
                    <a:pt x="17520" y="6885"/>
                  </a:lnTo>
                  <a:lnTo>
                    <a:pt x="17504" y="6870"/>
                  </a:lnTo>
                  <a:lnTo>
                    <a:pt x="17489" y="6852"/>
                  </a:lnTo>
                  <a:lnTo>
                    <a:pt x="17478" y="6830"/>
                  </a:lnTo>
                  <a:lnTo>
                    <a:pt x="17476" y="6801"/>
                  </a:lnTo>
                  <a:lnTo>
                    <a:pt x="17482" y="6777"/>
                  </a:lnTo>
                  <a:lnTo>
                    <a:pt x="17493" y="6749"/>
                  </a:lnTo>
                  <a:lnTo>
                    <a:pt x="17507" y="6724"/>
                  </a:lnTo>
                  <a:lnTo>
                    <a:pt x="17520" y="6709"/>
                  </a:lnTo>
                  <a:lnTo>
                    <a:pt x="17526" y="6707"/>
                  </a:lnTo>
                  <a:lnTo>
                    <a:pt x="17549" y="6704"/>
                  </a:lnTo>
                  <a:lnTo>
                    <a:pt x="17553" y="6702"/>
                  </a:lnTo>
                  <a:lnTo>
                    <a:pt x="17565" y="6693"/>
                  </a:lnTo>
                  <a:lnTo>
                    <a:pt x="17579" y="6689"/>
                  </a:lnTo>
                  <a:lnTo>
                    <a:pt x="17585" y="6686"/>
                  </a:lnTo>
                  <a:lnTo>
                    <a:pt x="17596" y="6678"/>
                  </a:lnTo>
                  <a:lnTo>
                    <a:pt x="17601" y="6675"/>
                  </a:lnTo>
                  <a:lnTo>
                    <a:pt x="17606" y="6674"/>
                  </a:lnTo>
                  <a:lnTo>
                    <a:pt x="17648" y="6671"/>
                  </a:lnTo>
                  <a:lnTo>
                    <a:pt x="17677" y="6666"/>
                  </a:lnTo>
                  <a:lnTo>
                    <a:pt x="17704" y="6656"/>
                  </a:lnTo>
                  <a:lnTo>
                    <a:pt x="17729" y="6642"/>
                  </a:lnTo>
                  <a:lnTo>
                    <a:pt x="17750" y="6651"/>
                  </a:lnTo>
                  <a:lnTo>
                    <a:pt x="17772" y="6654"/>
                  </a:lnTo>
                  <a:lnTo>
                    <a:pt x="17794" y="6649"/>
                  </a:lnTo>
                  <a:lnTo>
                    <a:pt x="17815" y="6636"/>
                  </a:lnTo>
                  <a:lnTo>
                    <a:pt x="17838" y="6629"/>
                  </a:lnTo>
                  <a:lnTo>
                    <a:pt x="17865" y="6637"/>
                  </a:lnTo>
                  <a:lnTo>
                    <a:pt x="17884" y="6652"/>
                  </a:lnTo>
                  <a:lnTo>
                    <a:pt x="17884" y="6669"/>
                  </a:lnTo>
                  <a:lnTo>
                    <a:pt x="17892" y="6683"/>
                  </a:lnTo>
                  <a:lnTo>
                    <a:pt x="17897" y="6685"/>
                  </a:lnTo>
                  <a:lnTo>
                    <a:pt x="17906" y="6678"/>
                  </a:lnTo>
                  <a:lnTo>
                    <a:pt x="17903" y="6674"/>
                  </a:lnTo>
                  <a:lnTo>
                    <a:pt x="17901" y="6669"/>
                  </a:lnTo>
                  <a:lnTo>
                    <a:pt x="17903" y="6665"/>
                  </a:lnTo>
                  <a:lnTo>
                    <a:pt x="17910" y="6665"/>
                  </a:lnTo>
                  <a:lnTo>
                    <a:pt x="17926" y="6685"/>
                  </a:lnTo>
                  <a:lnTo>
                    <a:pt x="17933" y="6687"/>
                  </a:lnTo>
                  <a:lnTo>
                    <a:pt x="17941" y="6686"/>
                  </a:lnTo>
                  <a:lnTo>
                    <a:pt x="17947" y="6682"/>
                  </a:lnTo>
                  <a:lnTo>
                    <a:pt x="17950" y="6676"/>
                  </a:lnTo>
                  <a:lnTo>
                    <a:pt x="17950" y="6664"/>
                  </a:lnTo>
                  <a:lnTo>
                    <a:pt x="17949" y="6659"/>
                  </a:lnTo>
                  <a:lnTo>
                    <a:pt x="17946" y="6651"/>
                  </a:lnTo>
                  <a:lnTo>
                    <a:pt x="17946" y="6647"/>
                  </a:lnTo>
                  <a:lnTo>
                    <a:pt x="17947" y="6645"/>
                  </a:lnTo>
                  <a:lnTo>
                    <a:pt x="17948" y="6642"/>
                  </a:lnTo>
                  <a:lnTo>
                    <a:pt x="17946" y="6638"/>
                  </a:lnTo>
                  <a:lnTo>
                    <a:pt x="17943" y="6637"/>
                  </a:lnTo>
                  <a:lnTo>
                    <a:pt x="17935" y="6638"/>
                  </a:lnTo>
                  <a:lnTo>
                    <a:pt x="17932" y="6638"/>
                  </a:lnTo>
                  <a:lnTo>
                    <a:pt x="17928" y="6632"/>
                  </a:lnTo>
                  <a:lnTo>
                    <a:pt x="17921" y="6619"/>
                  </a:lnTo>
                  <a:lnTo>
                    <a:pt x="17917" y="6614"/>
                  </a:lnTo>
                  <a:lnTo>
                    <a:pt x="17891" y="6589"/>
                  </a:lnTo>
                  <a:lnTo>
                    <a:pt x="17884" y="6576"/>
                  </a:lnTo>
                  <a:lnTo>
                    <a:pt x="17903" y="6579"/>
                  </a:lnTo>
                  <a:lnTo>
                    <a:pt x="17918" y="6588"/>
                  </a:lnTo>
                  <a:lnTo>
                    <a:pt x="17941" y="6612"/>
                  </a:lnTo>
                  <a:lnTo>
                    <a:pt x="17985" y="6644"/>
                  </a:lnTo>
                  <a:lnTo>
                    <a:pt x="17995" y="6656"/>
                  </a:lnTo>
                  <a:lnTo>
                    <a:pt x="18003" y="6647"/>
                  </a:lnTo>
                  <a:lnTo>
                    <a:pt x="18006" y="6638"/>
                  </a:lnTo>
                  <a:lnTo>
                    <a:pt x="18011" y="6632"/>
                  </a:lnTo>
                  <a:lnTo>
                    <a:pt x="18024" y="6629"/>
                  </a:lnTo>
                  <a:lnTo>
                    <a:pt x="18032" y="6624"/>
                  </a:lnTo>
                  <a:lnTo>
                    <a:pt x="18036" y="6612"/>
                  </a:lnTo>
                  <a:lnTo>
                    <a:pt x="18035" y="6585"/>
                  </a:lnTo>
                  <a:lnTo>
                    <a:pt x="18029" y="6558"/>
                  </a:lnTo>
                  <a:lnTo>
                    <a:pt x="18028" y="6545"/>
                  </a:lnTo>
                  <a:lnTo>
                    <a:pt x="18037" y="6526"/>
                  </a:lnTo>
                  <a:lnTo>
                    <a:pt x="18038" y="6513"/>
                  </a:lnTo>
                  <a:lnTo>
                    <a:pt x="18037" y="6500"/>
                  </a:lnTo>
                  <a:lnTo>
                    <a:pt x="18027" y="6462"/>
                  </a:lnTo>
                  <a:lnTo>
                    <a:pt x="18015" y="6434"/>
                  </a:lnTo>
                  <a:lnTo>
                    <a:pt x="17997" y="6411"/>
                  </a:lnTo>
                  <a:lnTo>
                    <a:pt x="17973" y="6400"/>
                  </a:lnTo>
                  <a:lnTo>
                    <a:pt x="17952" y="6405"/>
                  </a:lnTo>
                  <a:lnTo>
                    <a:pt x="17961" y="6422"/>
                  </a:lnTo>
                  <a:lnTo>
                    <a:pt x="17995" y="6457"/>
                  </a:lnTo>
                  <a:lnTo>
                    <a:pt x="17978" y="6462"/>
                  </a:lnTo>
                  <a:lnTo>
                    <a:pt x="17954" y="6462"/>
                  </a:lnTo>
                  <a:lnTo>
                    <a:pt x="17928" y="6457"/>
                  </a:lnTo>
                  <a:lnTo>
                    <a:pt x="17910" y="6448"/>
                  </a:lnTo>
                  <a:lnTo>
                    <a:pt x="17910" y="6453"/>
                  </a:lnTo>
                  <a:lnTo>
                    <a:pt x="17910" y="6459"/>
                  </a:lnTo>
                  <a:lnTo>
                    <a:pt x="17908" y="6464"/>
                  </a:lnTo>
                  <a:lnTo>
                    <a:pt x="17906" y="6466"/>
                  </a:lnTo>
                  <a:lnTo>
                    <a:pt x="17895" y="6463"/>
                  </a:lnTo>
                  <a:lnTo>
                    <a:pt x="17887" y="6453"/>
                  </a:lnTo>
                  <a:lnTo>
                    <a:pt x="17881" y="6440"/>
                  </a:lnTo>
                  <a:lnTo>
                    <a:pt x="17879" y="6428"/>
                  </a:lnTo>
                  <a:lnTo>
                    <a:pt x="17881" y="6401"/>
                  </a:lnTo>
                  <a:lnTo>
                    <a:pt x="17880" y="6389"/>
                  </a:lnTo>
                  <a:lnTo>
                    <a:pt x="17875" y="6378"/>
                  </a:lnTo>
                  <a:lnTo>
                    <a:pt x="17865" y="6370"/>
                  </a:lnTo>
                  <a:lnTo>
                    <a:pt x="17853" y="6364"/>
                  </a:lnTo>
                  <a:lnTo>
                    <a:pt x="17839" y="6361"/>
                  </a:lnTo>
                  <a:lnTo>
                    <a:pt x="17808" y="6359"/>
                  </a:lnTo>
                  <a:lnTo>
                    <a:pt x="17807" y="6355"/>
                  </a:lnTo>
                  <a:lnTo>
                    <a:pt x="17816" y="6351"/>
                  </a:lnTo>
                  <a:lnTo>
                    <a:pt x="17831" y="6346"/>
                  </a:lnTo>
                  <a:lnTo>
                    <a:pt x="17847" y="6346"/>
                  </a:lnTo>
                  <a:lnTo>
                    <a:pt x="17854" y="6343"/>
                  </a:lnTo>
                  <a:lnTo>
                    <a:pt x="17859" y="6333"/>
                  </a:lnTo>
                  <a:lnTo>
                    <a:pt x="17863" y="6329"/>
                  </a:lnTo>
                  <a:lnTo>
                    <a:pt x="17868" y="6326"/>
                  </a:lnTo>
                  <a:lnTo>
                    <a:pt x="17882" y="6322"/>
                  </a:lnTo>
                  <a:lnTo>
                    <a:pt x="17883" y="6315"/>
                  </a:lnTo>
                  <a:lnTo>
                    <a:pt x="17879" y="6308"/>
                  </a:lnTo>
                  <a:lnTo>
                    <a:pt x="17875" y="6302"/>
                  </a:lnTo>
                  <a:lnTo>
                    <a:pt x="17869" y="6300"/>
                  </a:lnTo>
                  <a:lnTo>
                    <a:pt x="17862" y="6299"/>
                  </a:lnTo>
                  <a:lnTo>
                    <a:pt x="17818" y="6298"/>
                  </a:lnTo>
                  <a:lnTo>
                    <a:pt x="17805" y="6296"/>
                  </a:lnTo>
                  <a:lnTo>
                    <a:pt x="17793" y="6287"/>
                  </a:lnTo>
                  <a:lnTo>
                    <a:pt x="17755" y="6236"/>
                  </a:lnTo>
                  <a:lnTo>
                    <a:pt x="17744" y="6210"/>
                  </a:lnTo>
                  <a:lnTo>
                    <a:pt x="17736" y="6201"/>
                  </a:lnTo>
                  <a:lnTo>
                    <a:pt x="17722" y="6197"/>
                  </a:lnTo>
                  <a:lnTo>
                    <a:pt x="17694" y="6199"/>
                  </a:lnTo>
                  <a:lnTo>
                    <a:pt x="17680" y="6198"/>
                  </a:lnTo>
                  <a:lnTo>
                    <a:pt x="17667" y="6192"/>
                  </a:lnTo>
                  <a:lnTo>
                    <a:pt x="17660" y="6183"/>
                  </a:lnTo>
                  <a:lnTo>
                    <a:pt x="17654" y="6173"/>
                  </a:lnTo>
                  <a:lnTo>
                    <a:pt x="17648" y="6165"/>
                  </a:lnTo>
                  <a:lnTo>
                    <a:pt x="17638" y="6161"/>
                  </a:lnTo>
                  <a:lnTo>
                    <a:pt x="17624" y="6159"/>
                  </a:lnTo>
                  <a:lnTo>
                    <a:pt x="17612" y="6152"/>
                  </a:lnTo>
                  <a:lnTo>
                    <a:pt x="17603" y="6144"/>
                  </a:lnTo>
                  <a:lnTo>
                    <a:pt x="17596" y="6135"/>
                  </a:lnTo>
                  <a:lnTo>
                    <a:pt x="17583" y="6112"/>
                  </a:lnTo>
                  <a:lnTo>
                    <a:pt x="17578" y="6098"/>
                  </a:lnTo>
                  <a:lnTo>
                    <a:pt x="17580" y="6089"/>
                  </a:lnTo>
                  <a:lnTo>
                    <a:pt x="17587" y="6084"/>
                  </a:lnTo>
                  <a:lnTo>
                    <a:pt x="17602" y="6080"/>
                  </a:lnTo>
                  <a:lnTo>
                    <a:pt x="17609" y="6078"/>
                  </a:lnTo>
                  <a:lnTo>
                    <a:pt x="17616" y="6073"/>
                  </a:lnTo>
                  <a:lnTo>
                    <a:pt x="17620" y="6071"/>
                  </a:lnTo>
                  <a:lnTo>
                    <a:pt x="17623" y="6067"/>
                  </a:lnTo>
                  <a:lnTo>
                    <a:pt x="17633" y="6047"/>
                  </a:lnTo>
                  <a:lnTo>
                    <a:pt x="17638" y="6034"/>
                  </a:lnTo>
                  <a:lnTo>
                    <a:pt x="17639" y="6020"/>
                  </a:lnTo>
                  <a:lnTo>
                    <a:pt x="17634" y="6010"/>
                  </a:lnTo>
                  <a:lnTo>
                    <a:pt x="17626" y="6002"/>
                  </a:lnTo>
                  <a:lnTo>
                    <a:pt x="17619" y="5994"/>
                  </a:lnTo>
                  <a:lnTo>
                    <a:pt x="17615" y="5984"/>
                  </a:lnTo>
                  <a:lnTo>
                    <a:pt x="17613" y="5972"/>
                  </a:lnTo>
                  <a:lnTo>
                    <a:pt x="17622" y="5975"/>
                  </a:lnTo>
                  <a:lnTo>
                    <a:pt x="17627" y="5972"/>
                  </a:lnTo>
                  <a:lnTo>
                    <a:pt x="17629" y="5966"/>
                  </a:lnTo>
                  <a:lnTo>
                    <a:pt x="17631" y="5959"/>
                  </a:lnTo>
                  <a:lnTo>
                    <a:pt x="17641" y="5964"/>
                  </a:lnTo>
                  <a:lnTo>
                    <a:pt x="17652" y="5967"/>
                  </a:lnTo>
                  <a:lnTo>
                    <a:pt x="17661" y="5972"/>
                  </a:lnTo>
                  <a:lnTo>
                    <a:pt x="17667" y="5981"/>
                  </a:lnTo>
                  <a:lnTo>
                    <a:pt x="17665" y="5983"/>
                  </a:lnTo>
                  <a:lnTo>
                    <a:pt x="17662" y="5990"/>
                  </a:lnTo>
                  <a:lnTo>
                    <a:pt x="17674" y="5990"/>
                  </a:lnTo>
                  <a:lnTo>
                    <a:pt x="17684" y="5996"/>
                  </a:lnTo>
                  <a:lnTo>
                    <a:pt x="17689" y="6004"/>
                  </a:lnTo>
                  <a:lnTo>
                    <a:pt x="17684" y="6012"/>
                  </a:lnTo>
                  <a:lnTo>
                    <a:pt x="17695" y="6013"/>
                  </a:lnTo>
                  <a:lnTo>
                    <a:pt x="17699" y="6000"/>
                  </a:lnTo>
                  <a:lnTo>
                    <a:pt x="17697" y="5982"/>
                  </a:lnTo>
                  <a:lnTo>
                    <a:pt x="17691" y="5970"/>
                  </a:lnTo>
                  <a:lnTo>
                    <a:pt x="17683" y="5964"/>
                  </a:lnTo>
                  <a:lnTo>
                    <a:pt x="17655" y="5952"/>
                  </a:lnTo>
                  <a:lnTo>
                    <a:pt x="17647" y="5950"/>
                  </a:lnTo>
                  <a:lnTo>
                    <a:pt x="17642" y="5932"/>
                  </a:lnTo>
                  <a:lnTo>
                    <a:pt x="17658" y="5896"/>
                  </a:lnTo>
                  <a:lnTo>
                    <a:pt x="17682" y="5870"/>
                  </a:lnTo>
                  <a:lnTo>
                    <a:pt x="17698" y="5884"/>
                  </a:lnTo>
                  <a:lnTo>
                    <a:pt x="17700" y="5882"/>
                  </a:lnTo>
                  <a:lnTo>
                    <a:pt x="17702" y="5879"/>
                  </a:lnTo>
                  <a:lnTo>
                    <a:pt x="17706" y="5878"/>
                  </a:lnTo>
                  <a:lnTo>
                    <a:pt x="17711" y="5880"/>
                  </a:lnTo>
                  <a:lnTo>
                    <a:pt x="17718" y="5884"/>
                  </a:lnTo>
                  <a:lnTo>
                    <a:pt x="17721" y="5887"/>
                  </a:lnTo>
                  <a:lnTo>
                    <a:pt x="17719" y="5888"/>
                  </a:lnTo>
                  <a:lnTo>
                    <a:pt x="17728" y="5889"/>
                  </a:lnTo>
                  <a:lnTo>
                    <a:pt x="17730" y="5887"/>
                  </a:lnTo>
                  <a:lnTo>
                    <a:pt x="17731" y="5881"/>
                  </a:lnTo>
                  <a:lnTo>
                    <a:pt x="17733" y="5870"/>
                  </a:lnTo>
                  <a:lnTo>
                    <a:pt x="17733" y="5866"/>
                  </a:lnTo>
                  <a:lnTo>
                    <a:pt x="17732" y="5857"/>
                  </a:lnTo>
                  <a:lnTo>
                    <a:pt x="17733" y="5853"/>
                  </a:lnTo>
                  <a:lnTo>
                    <a:pt x="17737" y="5849"/>
                  </a:lnTo>
                  <a:lnTo>
                    <a:pt x="17747" y="5846"/>
                  </a:lnTo>
                  <a:lnTo>
                    <a:pt x="17751" y="5844"/>
                  </a:lnTo>
                  <a:lnTo>
                    <a:pt x="17756" y="5834"/>
                  </a:lnTo>
                  <a:lnTo>
                    <a:pt x="17756" y="5828"/>
                  </a:lnTo>
                  <a:lnTo>
                    <a:pt x="17753" y="5826"/>
                  </a:lnTo>
                  <a:lnTo>
                    <a:pt x="17746" y="5831"/>
                  </a:lnTo>
                  <a:lnTo>
                    <a:pt x="17739" y="5826"/>
                  </a:lnTo>
                  <a:lnTo>
                    <a:pt x="17734" y="5820"/>
                  </a:lnTo>
                  <a:lnTo>
                    <a:pt x="17731" y="5813"/>
                  </a:lnTo>
                  <a:lnTo>
                    <a:pt x="17729" y="5804"/>
                  </a:lnTo>
                  <a:lnTo>
                    <a:pt x="17722" y="5807"/>
                  </a:lnTo>
                  <a:lnTo>
                    <a:pt x="17714" y="5812"/>
                  </a:lnTo>
                  <a:lnTo>
                    <a:pt x="17705" y="5816"/>
                  </a:lnTo>
                  <a:lnTo>
                    <a:pt x="17700" y="5815"/>
                  </a:lnTo>
                  <a:lnTo>
                    <a:pt x="17653" y="5769"/>
                  </a:lnTo>
                  <a:lnTo>
                    <a:pt x="17636" y="5759"/>
                  </a:lnTo>
                  <a:lnTo>
                    <a:pt x="17631" y="5756"/>
                  </a:lnTo>
                  <a:lnTo>
                    <a:pt x="17626" y="5732"/>
                  </a:lnTo>
                  <a:lnTo>
                    <a:pt x="17641" y="5707"/>
                  </a:lnTo>
                  <a:lnTo>
                    <a:pt x="17652" y="5683"/>
                  </a:lnTo>
                  <a:lnTo>
                    <a:pt x="17636" y="5659"/>
                  </a:lnTo>
                  <a:lnTo>
                    <a:pt x="17623" y="5652"/>
                  </a:lnTo>
                  <a:lnTo>
                    <a:pt x="17609" y="5650"/>
                  </a:lnTo>
                  <a:lnTo>
                    <a:pt x="17585" y="5650"/>
                  </a:lnTo>
                  <a:lnTo>
                    <a:pt x="17575" y="5644"/>
                  </a:lnTo>
                  <a:lnTo>
                    <a:pt x="17570" y="5631"/>
                  </a:lnTo>
                  <a:lnTo>
                    <a:pt x="17568" y="5616"/>
                  </a:lnTo>
                  <a:lnTo>
                    <a:pt x="17565" y="5606"/>
                  </a:lnTo>
                  <a:lnTo>
                    <a:pt x="17560" y="5603"/>
                  </a:lnTo>
                  <a:lnTo>
                    <a:pt x="17554" y="5601"/>
                  </a:lnTo>
                  <a:lnTo>
                    <a:pt x="17549" y="5598"/>
                  </a:lnTo>
                  <a:lnTo>
                    <a:pt x="17547" y="5590"/>
                  </a:lnTo>
                  <a:lnTo>
                    <a:pt x="17545" y="5588"/>
                  </a:lnTo>
                  <a:lnTo>
                    <a:pt x="17539" y="5586"/>
                  </a:lnTo>
                  <a:lnTo>
                    <a:pt x="17514" y="5583"/>
                  </a:lnTo>
                  <a:lnTo>
                    <a:pt x="17505" y="5579"/>
                  </a:lnTo>
                  <a:lnTo>
                    <a:pt x="17489" y="5566"/>
                  </a:lnTo>
                  <a:lnTo>
                    <a:pt x="17461" y="5533"/>
                  </a:lnTo>
                  <a:lnTo>
                    <a:pt x="17459" y="5525"/>
                  </a:lnTo>
                  <a:lnTo>
                    <a:pt x="17463" y="5496"/>
                  </a:lnTo>
                  <a:lnTo>
                    <a:pt x="17463" y="5483"/>
                  </a:lnTo>
                  <a:lnTo>
                    <a:pt x="17456" y="5469"/>
                  </a:lnTo>
                  <a:lnTo>
                    <a:pt x="17436" y="5444"/>
                  </a:lnTo>
                  <a:lnTo>
                    <a:pt x="17428" y="5420"/>
                  </a:lnTo>
                  <a:lnTo>
                    <a:pt x="17405" y="5385"/>
                  </a:lnTo>
                  <a:lnTo>
                    <a:pt x="17375" y="5353"/>
                  </a:lnTo>
                  <a:lnTo>
                    <a:pt x="17370" y="5344"/>
                  </a:lnTo>
                  <a:lnTo>
                    <a:pt x="17368" y="5332"/>
                  </a:lnTo>
                  <a:lnTo>
                    <a:pt x="17363" y="5318"/>
                  </a:lnTo>
                  <a:lnTo>
                    <a:pt x="17352" y="5294"/>
                  </a:lnTo>
                  <a:lnTo>
                    <a:pt x="17336" y="5272"/>
                  </a:lnTo>
                  <a:lnTo>
                    <a:pt x="17300" y="5243"/>
                  </a:lnTo>
                  <a:lnTo>
                    <a:pt x="17282" y="5223"/>
                  </a:lnTo>
                  <a:lnTo>
                    <a:pt x="17257" y="5203"/>
                  </a:lnTo>
                  <a:lnTo>
                    <a:pt x="17231" y="5201"/>
                  </a:lnTo>
                  <a:lnTo>
                    <a:pt x="17203" y="5202"/>
                  </a:lnTo>
                  <a:lnTo>
                    <a:pt x="17175" y="5192"/>
                  </a:lnTo>
                  <a:lnTo>
                    <a:pt x="17163" y="5173"/>
                  </a:lnTo>
                  <a:lnTo>
                    <a:pt x="17150" y="5125"/>
                  </a:lnTo>
                  <a:lnTo>
                    <a:pt x="17135" y="5108"/>
                  </a:lnTo>
                  <a:lnTo>
                    <a:pt x="17122" y="5110"/>
                  </a:lnTo>
                  <a:lnTo>
                    <a:pt x="17113" y="5100"/>
                  </a:lnTo>
                  <a:lnTo>
                    <a:pt x="17106" y="5088"/>
                  </a:lnTo>
                  <a:lnTo>
                    <a:pt x="17086" y="5075"/>
                  </a:lnTo>
                  <a:lnTo>
                    <a:pt x="17072" y="5041"/>
                  </a:lnTo>
                  <a:lnTo>
                    <a:pt x="17064" y="5029"/>
                  </a:lnTo>
                  <a:lnTo>
                    <a:pt x="17055" y="5034"/>
                  </a:lnTo>
                  <a:lnTo>
                    <a:pt x="17051" y="5042"/>
                  </a:lnTo>
                  <a:lnTo>
                    <a:pt x="17049" y="5051"/>
                  </a:lnTo>
                  <a:lnTo>
                    <a:pt x="17046" y="5060"/>
                  </a:lnTo>
                  <a:lnTo>
                    <a:pt x="17042" y="5066"/>
                  </a:lnTo>
                  <a:lnTo>
                    <a:pt x="17037" y="5072"/>
                  </a:lnTo>
                  <a:lnTo>
                    <a:pt x="17031" y="5077"/>
                  </a:lnTo>
                  <a:lnTo>
                    <a:pt x="17024" y="5082"/>
                  </a:lnTo>
                  <a:lnTo>
                    <a:pt x="17024" y="5053"/>
                  </a:lnTo>
                  <a:lnTo>
                    <a:pt x="17023" y="5047"/>
                  </a:lnTo>
                  <a:lnTo>
                    <a:pt x="17017" y="5041"/>
                  </a:lnTo>
                  <a:lnTo>
                    <a:pt x="17015" y="5035"/>
                  </a:lnTo>
                  <a:lnTo>
                    <a:pt x="17018" y="5022"/>
                  </a:lnTo>
                  <a:lnTo>
                    <a:pt x="17024" y="5008"/>
                  </a:lnTo>
                  <a:lnTo>
                    <a:pt x="17027" y="4995"/>
                  </a:lnTo>
                  <a:lnTo>
                    <a:pt x="17024" y="4984"/>
                  </a:lnTo>
                  <a:lnTo>
                    <a:pt x="17000" y="4989"/>
                  </a:lnTo>
                  <a:lnTo>
                    <a:pt x="16995" y="4970"/>
                  </a:lnTo>
                  <a:lnTo>
                    <a:pt x="17005" y="4948"/>
                  </a:lnTo>
                  <a:lnTo>
                    <a:pt x="17028" y="4945"/>
                  </a:lnTo>
                  <a:lnTo>
                    <a:pt x="17033" y="4950"/>
                  </a:lnTo>
                  <a:lnTo>
                    <a:pt x="17040" y="4960"/>
                  </a:lnTo>
                  <a:lnTo>
                    <a:pt x="17044" y="4963"/>
                  </a:lnTo>
                  <a:lnTo>
                    <a:pt x="17073" y="4963"/>
                  </a:lnTo>
                  <a:lnTo>
                    <a:pt x="17089" y="4967"/>
                  </a:lnTo>
                  <a:lnTo>
                    <a:pt x="17092" y="4975"/>
                  </a:lnTo>
                  <a:lnTo>
                    <a:pt x="17092" y="4986"/>
                  </a:lnTo>
                  <a:lnTo>
                    <a:pt x="17099" y="4998"/>
                  </a:lnTo>
                  <a:lnTo>
                    <a:pt x="17122" y="5005"/>
                  </a:lnTo>
                  <a:lnTo>
                    <a:pt x="17124" y="5006"/>
                  </a:lnTo>
                  <a:lnTo>
                    <a:pt x="17130" y="5008"/>
                  </a:lnTo>
                  <a:lnTo>
                    <a:pt x="17135" y="5013"/>
                  </a:lnTo>
                  <a:lnTo>
                    <a:pt x="17147" y="5028"/>
                  </a:lnTo>
                  <a:lnTo>
                    <a:pt x="17149" y="5034"/>
                  </a:lnTo>
                  <a:lnTo>
                    <a:pt x="17153" y="5038"/>
                  </a:lnTo>
                  <a:lnTo>
                    <a:pt x="17161" y="5042"/>
                  </a:lnTo>
                  <a:lnTo>
                    <a:pt x="17167" y="5043"/>
                  </a:lnTo>
                  <a:lnTo>
                    <a:pt x="17210" y="5041"/>
                  </a:lnTo>
                  <a:lnTo>
                    <a:pt x="17231" y="5036"/>
                  </a:lnTo>
                  <a:lnTo>
                    <a:pt x="17251" y="5028"/>
                  </a:lnTo>
                  <a:lnTo>
                    <a:pt x="17268" y="5016"/>
                  </a:lnTo>
                  <a:lnTo>
                    <a:pt x="17281" y="4999"/>
                  </a:lnTo>
                  <a:lnTo>
                    <a:pt x="17292" y="4981"/>
                  </a:lnTo>
                  <a:lnTo>
                    <a:pt x="17308" y="4941"/>
                  </a:lnTo>
                  <a:lnTo>
                    <a:pt x="17315" y="4918"/>
                  </a:lnTo>
                  <a:lnTo>
                    <a:pt x="17320" y="4906"/>
                  </a:lnTo>
                  <a:lnTo>
                    <a:pt x="17328" y="4901"/>
                  </a:lnTo>
                  <a:lnTo>
                    <a:pt x="17334" y="4900"/>
                  </a:lnTo>
                  <a:lnTo>
                    <a:pt x="17341" y="4896"/>
                  </a:lnTo>
                  <a:lnTo>
                    <a:pt x="17352" y="4888"/>
                  </a:lnTo>
                  <a:lnTo>
                    <a:pt x="17357" y="4887"/>
                  </a:lnTo>
                  <a:lnTo>
                    <a:pt x="17361" y="4875"/>
                  </a:lnTo>
                  <a:lnTo>
                    <a:pt x="17387" y="4879"/>
                  </a:lnTo>
                  <a:lnTo>
                    <a:pt x="17398" y="4877"/>
                  </a:lnTo>
                  <a:lnTo>
                    <a:pt x="17414" y="4870"/>
                  </a:lnTo>
                  <a:lnTo>
                    <a:pt x="17421" y="4871"/>
                  </a:lnTo>
                  <a:lnTo>
                    <a:pt x="17433" y="4866"/>
                  </a:lnTo>
                  <a:lnTo>
                    <a:pt x="17454" y="4853"/>
                  </a:lnTo>
                  <a:lnTo>
                    <a:pt x="17457" y="4849"/>
                  </a:lnTo>
                  <a:lnTo>
                    <a:pt x="17459" y="4846"/>
                  </a:lnTo>
                  <a:lnTo>
                    <a:pt x="17462" y="4842"/>
                  </a:lnTo>
                  <a:lnTo>
                    <a:pt x="17467" y="4840"/>
                  </a:lnTo>
                  <a:lnTo>
                    <a:pt x="17474" y="4839"/>
                  </a:lnTo>
                  <a:lnTo>
                    <a:pt x="17485" y="4843"/>
                  </a:lnTo>
                  <a:lnTo>
                    <a:pt x="17492" y="4844"/>
                  </a:lnTo>
                  <a:lnTo>
                    <a:pt x="17504" y="4841"/>
                  </a:lnTo>
                  <a:lnTo>
                    <a:pt x="17531" y="4829"/>
                  </a:lnTo>
                  <a:lnTo>
                    <a:pt x="17543" y="4827"/>
                  </a:lnTo>
                  <a:lnTo>
                    <a:pt x="17554" y="4830"/>
                  </a:lnTo>
                  <a:lnTo>
                    <a:pt x="17562" y="4837"/>
                  </a:lnTo>
                  <a:lnTo>
                    <a:pt x="17569" y="4839"/>
                  </a:lnTo>
                  <a:lnTo>
                    <a:pt x="17580" y="4833"/>
                  </a:lnTo>
                  <a:lnTo>
                    <a:pt x="17601" y="4814"/>
                  </a:lnTo>
                  <a:lnTo>
                    <a:pt x="17648" y="4782"/>
                  </a:lnTo>
                  <a:lnTo>
                    <a:pt x="17689" y="4761"/>
                  </a:lnTo>
                  <a:lnTo>
                    <a:pt x="17698" y="4752"/>
                  </a:lnTo>
                  <a:lnTo>
                    <a:pt x="17713" y="4732"/>
                  </a:lnTo>
                  <a:lnTo>
                    <a:pt x="17760" y="4690"/>
                  </a:lnTo>
                  <a:lnTo>
                    <a:pt x="17763" y="4686"/>
                  </a:lnTo>
                  <a:lnTo>
                    <a:pt x="17771" y="4672"/>
                  </a:lnTo>
                  <a:lnTo>
                    <a:pt x="17773" y="4665"/>
                  </a:lnTo>
                  <a:lnTo>
                    <a:pt x="17775" y="4659"/>
                  </a:lnTo>
                  <a:lnTo>
                    <a:pt x="17781" y="4655"/>
                  </a:lnTo>
                  <a:lnTo>
                    <a:pt x="17793" y="4648"/>
                  </a:lnTo>
                  <a:lnTo>
                    <a:pt x="17820" y="4608"/>
                  </a:lnTo>
                  <a:lnTo>
                    <a:pt x="17831" y="4597"/>
                  </a:lnTo>
                  <a:lnTo>
                    <a:pt x="17855" y="4585"/>
                  </a:lnTo>
                  <a:lnTo>
                    <a:pt x="17863" y="4577"/>
                  </a:lnTo>
                  <a:lnTo>
                    <a:pt x="17870" y="4547"/>
                  </a:lnTo>
                  <a:lnTo>
                    <a:pt x="17878" y="4537"/>
                  </a:lnTo>
                  <a:lnTo>
                    <a:pt x="17897" y="4523"/>
                  </a:lnTo>
                  <a:lnTo>
                    <a:pt x="17903" y="4520"/>
                  </a:lnTo>
                  <a:lnTo>
                    <a:pt x="17911" y="4518"/>
                  </a:lnTo>
                  <a:lnTo>
                    <a:pt x="17917" y="4515"/>
                  </a:lnTo>
                  <a:lnTo>
                    <a:pt x="17919" y="4507"/>
                  </a:lnTo>
                  <a:lnTo>
                    <a:pt x="17919" y="4501"/>
                  </a:lnTo>
                  <a:lnTo>
                    <a:pt x="17920" y="4495"/>
                  </a:lnTo>
                  <a:lnTo>
                    <a:pt x="17923" y="4490"/>
                  </a:lnTo>
                  <a:lnTo>
                    <a:pt x="17926" y="4485"/>
                  </a:lnTo>
                  <a:lnTo>
                    <a:pt x="17942" y="4467"/>
                  </a:lnTo>
                  <a:lnTo>
                    <a:pt x="17948" y="4458"/>
                  </a:lnTo>
                  <a:lnTo>
                    <a:pt x="17975" y="4396"/>
                  </a:lnTo>
                  <a:lnTo>
                    <a:pt x="17993" y="4380"/>
                  </a:lnTo>
                  <a:lnTo>
                    <a:pt x="18017" y="4386"/>
                  </a:lnTo>
                  <a:lnTo>
                    <a:pt x="18043" y="4380"/>
                  </a:lnTo>
                  <a:lnTo>
                    <a:pt x="18103" y="4377"/>
                  </a:lnTo>
                  <a:lnTo>
                    <a:pt x="18123" y="4368"/>
                  </a:lnTo>
                  <a:lnTo>
                    <a:pt x="18136" y="4368"/>
                  </a:lnTo>
                  <a:lnTo>
                    <a:pt x="18159" y="4339"/>
                  </a:lnTo>
                  <a:lnTo>
                    <a:pt x="18174" y="4344"/>
                  </a:lnTo>
                  <a:lnTo>
                    <a:pt x="18188" y="4356"/>
                  </a:lnTo>
                  <a:lnTo>
                    <a:pt x="18195" y="4363"/>
                  </a:lnTo>
                  <a:lnTo>
                    <a:pt x="18198" y="4373"/>
                  </a:lnTo>
                  <a:lnTo>
                    <a:pt x="18198" y="4379"/>
                  </a:lnTo>
                  <a:lnTo>
                    <a:pt x="18193" y="4395"/>
                  </a:lnTo>
                  <a:lnTo>
                    <a:pt x="18194" y="4403"/>
                  </a:lnTo>
                  <a:lnTo>
                    <a:pt x="18224" y="4426"/>
                  </a:lnTo>
                  <a:lnTo>
                    <a:pt x="18227" y="4430"/>
                  </a:lnTo>
                  <a:lnTo>
                    <a:pt x="18233" y="4434"/>
                  </a:lnTo>
                  <a:lnTo>
                    <a:pt x="18251" y="4461"/>
                  </a:lnTo>
                  <a:lnTo>
                    <a:pt x="18272" y="4473"/>
                  </a:lnTo>
                  <a:lnTo>
                    <a:pt x="18298" y="4478"/>
                  </a:lnTo>
                  <a:lnTo>
                    <a:pt x="18325" y="4470"/>
                  </a:lnTo>
                  <a:lnTo>
                    <a:pt x="18345" y="4447"/>
                  </a:lnTo>
                  <a:lnTo>
                    <a:pt x="18349" y="4434"/>
                  </a:lnTo>
                  <a:lnTo>
                    <a:pt x="18356" y="4377"/>
                  </a:lnTo>
                  <a:lnTo>
                    <a:pt x="18362" y="4368"/>
                  </a:lnTo>
                  <a:lnTo>
                    <a:pt x="18380" y="4351"/>
                  </a:lnTo>
                  <a:lnTo>
                    <a:pt x="18385" y="4338"/>
                  </a:lnTo>
                  <a:lnTo>
                    <a:pt x="18382" y="4312"/>
                  </a:lnTo>
                  <a:lnTo>
                    <a:pt x="18391" y="4289"/>
                  </a:lnTo>
                  <a:lnTo>
                    <a:pt x="18381" y="4272"/>
                  </a:lnTo>
                  <a:lnTo>
                    <a:pt x="18385" y="4258"/>
                  </a:lnTo>
                  <a:lnTo>
                    <a:pt x="18378" y="4259"/>
                  </a:lnTo>
                  <a:lnTo>
                    <a:pt x="18372" y="4258"/>
                  </a:lnTo>
                  <a:lnTo>
                    <a:pt x="18368" y="4254"/>
                  </a:lnTo>
                  <a:lnTo>
                    <a:pt x="18367" y="4247"/>
                  </a:lnTo>
                  <a:lnTo>
                    <a:pt x="18365" y="4244"/>
                  </a:lnTo>
                  <a:lnTo>
                    <a:pt x="18360" y="4238"/>
                  </a:lnTo>
                  <a:lnTo>
                    <a:pt x="18358" y="4235"/>
                  </a:lnTo>
                  <a:lnTo>
                    <a:pt x="18360" y="4232"/>
                  </a:lnTo>
                  <a:lnTo>
                    <a:pt x="18367" y="4223"/>
                  </a:lnTo>
                  <a:lnTo>
                    <a:pt x="18358" y="4215"/>
                  </a:lnTo>
                  <a:lnTo>
                    <a:pt x="18318" y="4201"/>
                  </a:lnTo>
                  <a:lnTo>
                    <a:pt x="18274" y="4177"/>
                  </a:lnTo>
                  <a:lnTo>
                    <a:pt x="18252" y="4169"/>
                  </a:lnTo>
                  <a:lnTo>
                    <a:pt x="18146" y="4160"/>
                  </a:lnTo>
                  <a:lnTo>
                    <a:pt x="18136" y="4161"/>
                  </a:lnTo>
                  <a:lnTo>
                    <a:pt x="18129" y="4167"/>
                  </a:lnTo>
                  <a:lnTo>
                    <a:pt x="18122" y="4181"/>
                  </a:lnTo>
                  <a:lnTo>
                    <a:pt x="18114" y="4188"/>
                  </a:lnTo>
                  <a:lnTo>
                    <a:pt x="18105" y="4191"/>
                  </a:lnTo>
                  <a:lnTo>
                    <a:pt x="18093" y="4193"/>
                  </a:lnTo>
                  <a:lnTo>
                    <a:pt x="18082" y="4193"/>
                  </a:lnTo>
                  <a:lnTo>
                    <a:pt x="18074" y="4188"/>
                  </a:lnTo>
                  <a:lnTo>
                    <a:pt x="18060" y="4191"/>
                  </a:lnTo>
                  <a:lnTo>
                    <a:pt x="18003" y="4195"/>
                  </a:lnTo>
                  <a:lnTo>
                    <a:pt x="18002" y="4198"/>
                  </a:lnTo>
                  <a:lnTo>
                    <a:pt x="17998" y="4200"/>
                  </a:lnTo>
                  <a:lnTo>
                    <a:pt x="17993" y="4201"/>
                  </a:lnTo>
                  <a:lnTo>
                    <a:pt x="17983" y="4196"/>
                  </a:lnTo>
                  <a:lnTo>
                    <a:pt x="17979" y="4198"/>
                  </a:lnTo>
                  <a:lnTo>
                    <a:pt x="17976" y="4202"/>
                  </a:lnTo>
                  <a:lnTo>
                    <a:pt x="17973" y="4206"/>
                  </a:lnTo>
                  <a:lnTo>
                    <a:pt x="17954" y="4217"/>
                  </a:lnTo>
                  <a:lnTo>
                    <a:pt x="17946" y="4220"/>
                  </a:lnTo>
                  <a:lnTo>
                    <a:pt x="17937" y="4214"/>
                  </a:lnTo>
                  <a:lnTo>
                    <a:pt x="17925" y="4219"/>
                  </a:lnTo>
                  <a:lnTo>
                    <a:pt x="17925" y="4225"/>
                  </a:lnTo>
                  <a:lnTo>
                    <a:pt x="17930" y="4232"/>
                  </a:lnTo>
                  <a:lnTo>
                    <a:pt x="17937" y="4237"/>
                  </a:lnTo>
                  <a:lnTo>
                    <a:pt x="17946" y="4241"/>
                  </a:lnTo>
                  <a:lnTo>
                    <a:pt x="17955" y="4244"/>
                  </a:lnTo>
                  <a:lnTo>
                    <a:pt x="18012" y="4247"/>
                  </a:lnTo>
                  <a:lnTo>
                    <a:pt x="18021" y="4249"/>
                  </a:lnTo>
                  <a:lnTo>
                    <a:pt x="18023" y="4252"/>
                  </a:lnTo>
                  <a:lnTo>
                    <a:pt x="18029" y="4260"/>
                  </a:lnTo>
                  <a:lnTo>
                    <a:pt x="18031" y="4263"/>
                  </a:lnTo>
                  <a:lnTo>
                    <a:pt x="18071" y="4272"/>
                  </a:lnTo>
                  <a:lnTo>
                    <a:pt x="18071" y="4276"/>
                  </a:lnTo>
                  <a:lnTo>
                    <a:pt x="18061" y="4284"/>
                  </a:lnTo>
                  <a:lnTo>
                    <a:pt x="18051" y="4290"/>
                  </a:lnTo>
                  <a:lnTo>
                    <a:pt x="18040" y="4293"/>
                  </a:lnTo>
                  <a:lnTo>
                    <a:pt x="17960" y="4299"/>
                  </a:lnTo>
                  <a:lnTo>
                    <a:pt x="17928" y="4311"/>
                  </a:lnTo>
                  <a:lnTo>
                    <a:pt x="17914" y="4311"/>
                  </a:lnTo>
                  <a:lnTo>
                    <a:pt x="17902" y="4307"/>
                  </a:lnTo>
                  <a:lnTo>
                    <a:pt x="17892" y="4301"/>
                  </a:lnTo>
                  <a:lnTo>
                    <a:pt x="17875" y="4296"/>
                  </a:lnTo>
                  <a:lnTo>
                    <a:pt x="17861" y="4287"/>
                  </a:lnTo>
                  <a:lnTo>
                    <a:pt x="17853" y="4284"/>
                  </a:lnTo>
                  <a:lnTo>
                    <a:pt x="17846" y="4286"/>
                  </a:lnTo>
                  <a:lnTo>
                    <a:pt x="17842" y="4288"/>
                  </a:lnTo>
                  <a:lnTo>
                    <a:pt x="17839" y="4292"/>
                  </a:lnTo>
                  <a:lnTo>
                    <a:pt x="17835" y="4294"/>
                  </a:lnTo>
                  <a:lnTo>
                    <a:pt x="17811" y="4296"/>
                  </a:lnTo>
                  <a:lnTo>
                    <a:pt x="17766" y="4284"/>
                  </a:lnTo>
                  <a:lnTo>
                    <a:pt x="17742" y="4284"/>
                  </a:lnTo>
                  <a:lnTo>
                    <a:pt x="17716" y="4289"/>
                  </a:lnTo>
                  <a:lnTo>
                    <a:pt x="17585" y="4294"/>
                  </a:lnTo>
                  <a:lnTo>
                    <a:pt x="17576" y="4296"/>
                  </a:lnTo>
                  <a:lnTo>
                    <a:pt x="17551" y="4316"/>
                  </a:lnTo>
                  <a:lnTo>
                    <a:pt x="17554" y="4329"/>
                  </a:lnTo>
                  <a:lnTo>
                    <a:pt x="17549" y="4351"/>
                  </a:lnTo>
                  <a:lnTo>
                    <a:pt x="17542" y="4372"/>
                  </a:lnTo>
                  <a:lnTo>
                    <a:pt x="17534" y="4386"/>
                  </a:lnTo>
                  <a:lnTo>
                    <a:pt x="17519" y="4397"/>
                  </a:lnTo>
                  <a:lnTo>
                    <a:pt x="17506" y="4398"/>
                  </a:lnTo>
                  <a:lnTo>
                    <a:pt x="17493" y="4393"/>
                  </a:lnTo>
                  <a:lnTo>
                    <a:pt x="17478" y="4390"/>
                  </a:lnTo>
                  <a:lnTo>
                    <a:pt x="17462" y="4391"/>
                  </a:lnTo>
                  <a:lnTo>
                    <a:pt x="17450" y="4395"/>
                  </a:lnTo>
                  <a:lnTo>
                    <a:pt x="17427" y="4408"/>
                  </a:lnTo>
                  <a:lnTo>
                    <a:pt x="17403" y="4416"/>
                  </a:lnTo>
                  <a:lnTo>
                    <a:pt x="17377" y="4414"/>
                  </a:lnTo>
                  <a:lnTo>
                    <a:pt x="17350" y="4407"/>
                  </a:lnTo>
                  <a:lnTo>
                    <a:pt x="17321" y="4403"/>
                  </a:lnTo>
                  <a:lnTo>
                    <a:pt x="17266" y="4403"/>
                  </a:lnTo>
                  <a:lnTo>
                    <a:pt x="17261" y="4401"/>
                  </a:lnTo>
                  <a:lnTo>
                    <a:pt x="17256" y="4396"/>
                  </a:lnTo>
                  <a:lnTo>
                    <a:pt x="17250" y="4386"/>
                  </a:lnTo>
                  <a:lnTo>
                    <a:pt x="17232" y="4373"/>
                  </a:lnTo>
                  <a:lnTo>
                    <a:pt x="17231" y="4363"/>
                  </a:lnTo>
                  <a:lnTo>
                    <a:pt x="17230" y="4324"/>
                  </a:lnTo>
                  <a:lnTo>
                    <a:pt x="17227" y="4323"/>
                  </a:lnTo>
                  <a:lnTo>
                    <a:pt x="17223" y="4320"/>
                  </a:lnTo>
                  <a:lnTo>
                    <a:pt x="17218" y="4317"/>
                  </a:lnTo>
                  <a:lnTo>
                    <a:pt x="17211" y="4316"/>
                  </a:lnTo>
                  <a:lnTo>
                    <a:pt x="17205" y="4317"/>
                  </a:lnTo>
                  <a:lnTo>
                    <a:pt x="17189" y="4322"/>
                  </a:lnTo>
                  <a:lnTo>
                    <a:pt x="17184" y="4324"/>
                  </a:lnTo>
                  <a:lnTo>
                    <a:pt x="17182" y="4330"/>
                  </a:lnTo>
                  <a:lnTo>
                    <a:pt x="17183" y="4338"/>
                  </a:lnTo>
                  <a:lnTo>
                    <a:pt x="17182" y="4344"/>
                  </a:lnTo>
                  <a:lnTo>
                    <a:pt x="17177" y="4346"/>
                  </a:lnTo>
                  <a:lnTo>
                    <a:pt x="17150" y="4346"/>
                  </a:lnTo>
                  <a:lnTo>
                    <a:pt x="17138" y="4349"/>
                  </a:lnTo>
                  <a:lnTo>
                    <a:pt x="17128" y="4355"/>
                  </a:lnTo>
                  <a:lnTo>
                    <a:pt x="17096" y="4384"/>
                  </a:lnTo>
                  <a:lnTo>
                    <a:pt x="17082" y="4402"/>
                  </a:lnTo>
                  <a:lnTo>
                    <a:pt x="17046" y="4458"/>
                  </a:lnTo>
                  <a:lnTo>
                    <a:pt x="17010" y="4488"/>
                  </a:lnTo>
                  <a:lnTo>
                    <a:pt x="16993" y="4509"/>
                  </a:lnTo>
                  <a:lnTo>
                    <a:pt x="16983" y="4530"/>
                  </a:lnTo>
                  <a:lnTo>
                    <a:pt x="16976" y="4540"/>
                  </a:lnTo>
                  <a:lnTo>
                    <a:pt x="16969" y="4545"/>
                  </a:lnTo>
                  <a:lnTo>
                    <a:pt x="16960" y="4548"/>
                  </a:lnTo>
                  <a:lnTo>
                    <a:pt x="16948" y="4557"/>
                  </a:lnTo>
                  <a:lnTo>
                    <a:pt x="16937" y="4568"/>
                  </a:lnTo>
                  <a:lnTo>
                    <a:pt x="16931" y="4575"/>
                  </a:lnTo>
                  <a:lnTo>
                    <a:pt x="16926" y="4587"/>
                  </a:lnTo>
                  <a:lnTo>
                    <a:pt x="16919" y="4617"/>
                  </a:lnTo>
                  <a:lnTo>
                    <a:pt x="16916" y="4641"/>
                  </a:lnTo>
                  <a:lnTo>
                    <a:pt x="16912" y="4652"/>
                  </a:lnTo>
                  <a:lnTo>
                    <a:pt x="16888" y="4689"/>
                  </a:lnTo>
                  <a:lnTo>
                    <a:pt x="16872" y="4706"/>
                  </a:lnTo>
                  <a:lnTo>
                    <a:pt x="16851" y="4716"/>
                  </a:lnTo>
                  <a:lnTo>
                    <a:pt x="16825" y="4712"/>
                  </a:lnTo>
                  <a:lnTo>
                    <a:pt x="16818" y="4707"/>
                  </a:lnTo>
                  <a:lnTo>
                    <a:pt x="16803" y="4693"/>
                  </a:lnTo>
                  <a:lnTo>
                    <a:pt x="16796" y="4690"/>
                  </a:lnTo>
                  <a:lnTo>
                    <a:pt x="16789" y="4690"/>
                  </a:lnTo>
                  <a:lnTo>
                    <a:pt x="16776" y="4693"/>
                  </a:lnTo>
                  <a:lnTo>
                    <a:pt x="16732" y="4699"/>
                  </a:lnTo>
                  <a:lnTo>
                    <a:pt x="16718" y="4699"/>
                  </a:lnTo>
                  <a:lnTo>
                    <a:pt x="16703" y="4695"/>
                  </a:lnTo>
                  <a:lnTo>
                    <a:pt x="16695" y="4692"/>
                  </a:lnTo>
                  <a:lnTo>
                    <a:pt x="16692" y="4688"/>
                  </a:lnTo>
                  <a:lnTo>
                    <a:pt x="16696" y="4666"/>
                  </a:lnTo>
                  <a:lnTo>
                    <a:pt x="16694" y="4663"/>
                  </a:lnTo>
                  <a:lnTo>
                    <a:pt x="16677" y="4665"/>
                  </a:lnTo>
                  <a:lnTo>
                    <a:pt x="16634" y="4677"/>
                  </a:lnTo>
                  <a:lnTo>
                    <a:pt x="16634" y="4681"/>
                  </a:lnTo>
                  <a:lnTo>
                    <a:pt x="16594" y="4699"/>
                  </a:lnTo>
                  <a:lnTo>
                    <a:pt x="16585" y="4692"/>
                  </a:lnTo>
                  <a:lnTo>
                    <a:pt x="16577" y="4679"/>
                  </a:lnTo>
                  <a:lnTo>
                    <a:pt x="16570" y="4664"/>
                  </a:lnTo>
                  <a:lnTo>
                    <a:pt x="16565" y="4638"/>
                  </a:lnTo>
                  <a:lnTo>
                    <a:pt x="16558" y="4625"/>
                  </a:lnTo>
                  <a:lnTo>
                    <a:pt x="16527" y="4591"/>
                  </a:lnTo>
                  <a:lnTo>
                    <a:pt x="16523" y="4583"/>
                  </a:lnTo>
                  <a:lnTo>
                    <a:pt x="16524" y="4574"/>
                  </a:lnTo>
                  <a:lnTo>
                    <a:pt x="16528" y="4558"/>
                  </a:lnTo>
                  <a:lnTo>
                    <a:pt x="16529" y="4550"/>
                  </a:lnTo>
                  <a:lnTo>
                    <a:pt x="16529" y="4544"/>
                  </a:lnTo>
                  <a:lnTo>
                    <a:pt x="16530" y="4539"/>
                  </a:lnTo>
                  <a:lnTo>
                    <a:pt x="16535" y="4534"/>
                  </a:lnTo>
                  <a:lnTo>
                    <a:pt x="16537" y="4527"/>
                  </a:lnTo>
                  <a:lnTo>
                    <a:pt x="16537" y="4520"/>
                  </a:lnTo>
                  <a:lnTo>
                    <a:pt x="16534" y="4513"/>
                  </a:lnTo>
                  <a:lnTo>
                    <a:pt x="16492" y="4452"/>
                  </a:lnTo>
                  <a:lnTo>
                    <a:pt x="16486" y="4437"/>
                  </a:lnTo>
                  <a:lnTo>
                    <a:pt x="16481" y="4429"/>
                  </a:lnTo>
                  <a:lnTo>
                    <a:pt x="16473" y="4426"/>
                  </a:lnTo>
                  <a:lnTo>
                    <a:pt x="16458" y="4425"/>
                  </a:lnTo>
                  <a:lnTo>
                    <a:pt x="16451" y="4423"/>
                  </a:lnTo>
                  <a:lnTo>
                    <a:pt x="16446" y="4419"/>
                  </a:lnTo>
                  <a:lnTo>
                    <a:pt x="16438" y="4407"/>
                  </a:lnTo>
                  <a:lnTo>
                    <a:pt x="16432" y="4393"/>
                  </a:lnTo>
                  <a:lnTo>
                    <a:pt x="16424" y="4384"/>
                  </a:lnTo>
                  <a:lnTo>
                    <a:pt x="16408" y="4381"/>
                  </a:lnTo>
                  <a:lnTo>
                    <a:pt x="16396" y="4388"/>
                  </a:lnTo>
                  <a:lnTo>
                    <a:pt x="16382" y="4398"/>
                  </a:lnTo>
                  <a:lnTo>
                    <a:pt x="16368" y="4405"/>
                  </a:lnTo>
                  <a:lnTo>
                    <a:pt x="16353" y="4401"/>
                  </a:lnTo>
                  <a:lnTo>
                    <a:pt x="16322" y="4380"/>
                  </a:lnTo>
                  <a:lnTo>
                    <a:pt x="16315" y="4373"/>
                  </a:lnTo>
                  <a:lnTo>
                    <a:pt x="16215" y="4225"/>
                  </a:lnTo>
                  <a:lnTo>
                    <a:pt x="16204" y="4197"/>
                  </a:lnTo>
                  <a:lnTo>
                    <a:pt x="16194" y="4135"/>
                  </a:lnTo>
                  <a:lnTo>
                    <a:pt x="16188" y="4120"/>
                  </a:lnTo>
                  <a:lnTo>
                    <a:pt x="16187" y="4113"/>
                  </a:lnTo>
                  <a:lnTo>
                    <a:pt x="16188" y="4106"/>
                  </a:lnTo>
                  <a:lnTo>
                    <a:pt x="16194" y="4093"/>
                  </a:lnTo>
                  <a:lnTo>
                    <a:pt x="16196" y="4086"/>
                  </a:lnTo>
                  <a:lnTo>
                    <a:pt x="16191" y="4072"/>
                  </a:lnTo>
                  <a:lnTo>
                    <a:pt x="16173" y="4049"/>
                  </a:lnTo>
                  <a:lnTo>
                    <a:pt x="16169" y="4036"/>
                  </a:lnTo>
                  <a:lnTo>
                    <a:pt x="16155" y="3953"/>
                  </a:lnTo>
                  <a:lnTo>
                    <a:pt x="16154" y="3937"/>
                  </a:lnTo>
                  <a:lnTo>
                    <a:pt x="16158" y="3926"/>
                  </a:lnTo>
                  <a:lnTo>
                    <a:pt x="16165" y="3915"/>
                  </a:lnTo>
                  <a:lnTo>
                    <a:pt x="16169" y="3901"/>
                  </a:lnTo>
                  <a:lnTo>
                    <a:pt x="16173" y="3871"/>
                  </a:lnTo>
                  <a:lnTo>
                    <a:pt x="16172" y="3855"/>
                  </a:lnTo>
                  <a:lnTo>
                    <a:pt x="16172" y="3848"/>
                  </a:lnTo>
                  <a:lnTo>
                    <a:pt x="16176" y="3842"/>
                  </a:lnTo>
                  <a:lnTo>
                    <a:pt x="16198" y="3825"/>
                  </a:lnTo>
                  <a:lnTo>
                    <a:pt x="16206" y="3813"/>
                  </a:lnTo>
                  <a:lnTo>
                    <a:pt x="16212" y="3799"/>
                  </a:lnTo>
                  <a:lnTo>
                    <a:pt x="16218" y="3769"/>
                  </a:lnTo>
                  <a:lnTo>
                    <a:pt x="16221" y="3740"/>
                  </a:lnTo>
                  <a:lnTo>
                    <a:pt x="16224" y="3727"/>
                  </a:lnTo>
                  <a:lnTo>
                    <a:pt x="16233" y="3715"/>
                  </a:lnTo>
                  <a:lnTo>
                    <a:pt x="16236" y="3709"/>
                  </a:lnTo>
                  <a:lnTo>
                    <a:pt x="16240" y="3686"/>
                  </a:lnTo>
                  <a:lnTo>
                    <a:pt x="16243" y="3680"/>
                  </a:lnTo>
                  <a:lnTo>
                    <a:pt x="16259" y="3656"/>
                  </a:lnTo>
                  <a:lnTo>
                    <a:pt x="16296" y="3615"/>
                  </a:lnTo>
                  <a:lnTo>
                    <a:pt x="16334" y="3560"/>
                  </a:lnTo>
                  <a:lnTo>
                    <a:pt x="16361" y="3531"/>
                  </a:lnTo>
                  <a:lnTo>
                    <a:pt x="16377" y="3519"/>
                  </a:lnTo>
                  <a:lnTo>
                    <a:pt x="16384" y="3512"/>
                  </a:lnTo>
                  <a:lnTo>
                    <a:pt x="16391" y="3503"/>
                  </a:lnTo>
                  <a:lnTo>
                    <a:pt x="16400" y="3496"/>
                  </a:lnTo>
                  <a:lnTo>
                    <a:pt x="16410" y="3492"/>
                  </a:lnTo>
                  <a:lnTo>
                    <a:pt x="16421" y="3491"/>
                  </a:lnTo>
                  <a:lnTo>
                    <a:pt x="16471" y="3466"/>
                  </a:lnTo>
                  <a:lnTo>
                    <a:pt x="16482" y="3463"/>
                  </a:lnTo>
                  <a:lnTo>
                    <a:pt x="16597" y="3462"/>
                  </a:lnTo>
                  <a:lnTo>
                    <a:pt x="16609" y="3466"/>
                  </a:lnTo>
                  <a:lnTo>
                    <a:pt x="16629" y="3486"/>
                  </a:lnTo>
                  <a:lnTo>
                    <a:pt x="16643" y="3492"/>
                  </a:lnTo>
                  <a:lnTo>
                    <a:pt x="16649" y="3492"/>
                  </a:lnTo>
                  <a:lnTo>
                    <a:pt x="16660" y="3489"/>
                  </a:lnTo>
                  <a:lnTo>
                    <a:pt x="16667" y="3488"/>
                  </a:lnTo>
                  <a:lnTo>
                    <a:pt x="16673" y="3490"/>
                  </a:lnTo>
                  <a:lnTo>
                    <a:pt x="16676" y="3495"/>
                  </a:lnTo>
                  <a:lnTo>
                    <a:pt x="16678" y="3499"/>
                  </a:lnTo>
                  <a:lnTo>
                    <a:pt x="16681" y="3501"/>
                  </a:lnTo>
                  <a:lnTo>
                    <a:pt x="16700" y="3504"/>
                  </a:lnTo>
                  <a:lnTo>
                    <a:pt x="16705" y="3506"/>
                  </a:lnTo>
                  <a:lnTo>
                    <a:pt x="16708" y="3510"/>
                  </a:lnTo>
                  <a:lnTo>
                    <a:pt x="16711" y="3519"/>
                  </a:lnTo>
                  <a:lnTo>
                    <a:pt x="16714" y="3524"/>
                  </a:lnTo>
                  <a:lnTo>
                    <a:pt x="16724" y="3530"/>
                  </a:lnTo>
                  <a:lnTo>
                    <a:pt x="16734" y="3531"/>
                  </a:lnTo>
                  <a:lnTo>
                    <a:pt x="16775" y="3525"/>
                  </a:lnTo>
                  <a:lnTo>
                    <a:pt x="16795" y="3515"/>
                  </a:lnTo>
                  <a:lnTo>
                    <a:pt x="16807" y="3514"/>
                  </a:lnTo>
                  <a:lnTo>
                    <a:pt x="16817" y="3518"/>
                  </a:lnTo>
                  <a:lnTo>
                    <a:pt x="16834" y="3533"/>
                  </a:lnTo>
                  <a:lnTo>
                    <a:pt x="16845" y="3537"/>
                  </a:lnTo>
                  <a:lnTo>
                    <a:pt x="16868" y="3541"/>
                  </a:lnTo>
                  <a:lnTo>
                    <a:pt x="16874" y="3541"/>
                  </a:lnTo>
                  <a:lnTo>
                    <a:pt x="16881" y="3538"/>
                  </a:lnTo>
                  <a:lnTo>
                    <a:pt x="16885" y="3534"/>
                  </a:lnTo>
                  <a:lnTo>
                    <a:pt x="16891" y="3524"/>
                  </a:lnTo>
                  <a:lnTo>
                    <a:pt x="16901" y="3514"/>
                  </a:lnTo>
                  <a:lnTo>
                    <a:pt x="16910" y="3509"/>
                  </a:lnTo>
                  <a:lnTo>
                    <a:pt x="16920" y="3506"/>
                  </a:lnTo>
                  <a:lnTo>
                    <a:pt x="16933" y="3506"/>
                  </a:lnTo>
                  <a:lnTo>
                    <a:pt x="16946" y="3503"/>
                  </a:lnTo>
                  <a:lnTo>
                    <a:pt x="16972" y="3493"/>
                  </a:lnTo>
                  <a:lnTo>
                    <a:pt x="16989" y="3492"/>
                  </a:lnTo>
                  <a:lnTo>
                    <a:pt x="16995" y="3495"/>
                  </a:lnTo>
                  <a:lnTo>
                    <a:pt x="17010" y="3504"/>
                  </a:lnTo>
                  <a:lnTo>
                    <a:pt x="17017" y="3506"/>
                  </a:lnTo>
                  <a:lnTo>
                    <a:pt x="17025" y="3505"/>
                  </a:lnTo>
                  <a:lnTo>
                    <a:pt x="17037" y="3498"/>
                  </a:lnTo>
                  <a:lnTo>
                    <a:pt x="17061" y="3495"/>
                  </a:lnTo>
                  <a:lnTo>
                    <a:pt x="17071" y="3492"/>
                  </a:lnTo>
                  <a:lnTo>
                    <a:pt x="17080" y="3493"/>
                  </a:lnTo>
                  <a:lnTo>
                    <a:pt x="17091" y="3501"/>
                  </a:lnTo>
                  <a:lnTo>
                    <a:pt x="17097" y="3497"/>
                  </a:lnTo>
                  <a:lnTo>
                    <a:pt x="17105" y="3494"/>
                  </a:lnTo>
                  <a:lnTo>
                    <a:pt x="17113" y="3493"/>
                  </a:lnTo>
                  <a:lnTo>
                    <a:pt x="17124" y="3492"/>
                  </a:lnTo>
                  <a:lnTo>
                    <a:pt x="17132" y="3490"/>
                  </a:lnTo>
                  <a:lnTo>
                    <a:pt x="17135" y="3483"/>
                  </a:lnTo>
                  <a:lnTo>
                    <a:pt x="17137" y="3475"/>
                  </a:lnTo>
                  <a:lnTo>
                    <a:pt x="17139" y="3466"/>
                  </a:lnTo>
                  <a:lnTo>
                    <a:pt x="17145" y="3457"/>
                  </a:lnTo>
                  <a:lnTo>
                    <a:pt x="17150" y="3457"/>
                  </a:lnTo>
                  <a:lnTo>
                    <a:pt x="17156" y="3460"/>
                  </a:lnTo>
                  <a:lnTo>
                    <a:pt x="17164" y="3462"/>
                  </a:lnTo>
                  <a:lnTo>
                    <a:pt x="17175" y="3462"/>
                  </a:lnTo>
                  <a:lnTo>
                    <a:pt x="17184" y="3460"/>
                  </a:lnTo>
                  <a:lnTo>
                    <a:pt x="17190" y="3456"/>
                  </a:lnTo>
                  <a:lnTo>
                    <a:pt x="17193" y="3448"/>
                  </a:lnTo>
                  <a:lnTo>
                    <a:pt x="17199" y="3455"/>
                  </a:lnTo>
                  <a:lnTo>
                    <a:pt x="17203" y="3461"/>
                  </a:lnTo>
                  <a:lnTo>
                    <a:pt x="17207" y="3467"/>
                  </a:lnTo>
                  <a:lnTo>
                    <a:pt x="17215" y="3471"/>
                  </a:lnTo>
                  <a:lnTo>
                    <a:pt x="17221" y="3470"/>
                  </a:lnTo>
                  <a:lnTo>
                    <a:pt x="17241" y="3466"/>
                  </a:lnTo>
                  <a:lnTo>
                    <a:pt x="17250" y="3466"/>
                  </a:lnTo>
                  <a:lnTo>
                    <a:pt x="17266" y="3472"/>
                  </a:lnTo>
                  <a:lnTo>
                    <a:pt x="17277" y="3481"/>
                  </a:lnTo>
                  <a:lnTo>
                    <a:pt x="17308" y="3524"/>
                  </a:lnTo>
                  <a:lnTo>
                    <a:pt x="17312" y="3527"/>
                  </a:lnTo>
                  <a:lnTo>
                    <a:pt x="17321" y="3528"/>
                  </a:lnTo>
                  <a:lnTo>
                    <a:pt x="17347" y="3524"/>
                  </a:lnTo>
                  <a:lnTo>
                    <a:pt x="17381" y="3523"/>
                  </a:lnTo>
                  <a:lnTo>
                    <a:pt x="17441" y="3514"/>
                  </a:lnTo>
                  <a:lnTo>
                    <a:pt x="17453" y="3510"/>
                  </a:lnTo>
                  <a:lnTo>
                    <a:pt x="17463" y="3496"/>
                  </a:lnTo>
                  <a:lnTo>
                    <a:pt x="17475" y="3493"/>
                  </a:lnTo>
                  <a:lnTo>
                    <a:pt x="17518" y="3494"/>
                  </a:lnTo>
                  <a:lnTo>
                    <a:pt x="17544" y="3500"/>
                  </a:lnTo>
                  <a:lnTo>
                    <a:pt x="17558" y="3501"/>
                  </a:lnTo>
                  <a:lnTo>
                    <a:pt x="17562" y="3500"/>
                  </a:lnTo>
                  <a:lnTo>
                    <a:pt x="17572" y="3494"/>
                  </a:lnTo>
                  <a:lnTo>
                    <a:pt x="17578" y="3492"/>
                  </a:lnTo>
                  <a:lnTo>
                    <a:pt x="17584" y="3492"/>
                  </a:lnTo>
                  <a:lnTo>
                    <a:pt x="17634" y="3492"/>
                  </a:lnTo>
                  <a:lnTo>
                    <a:pt x="17640" y="3491"/>
                  </a:lnTo>
                  <a:lnTo>
                    <a:pt x="17652" y="3485"/>
                  </a:lnTo>
                  <a:lnTo>
                    <a:pt x="17660" y="3483"/>
                  </a:lnTo>
                  <a:lnTo>
                    <a:pt x="17816" y="3484"/>
                  </a:lnTo>
                  <a:lnTo>
                    <a:pt x="17827" y="3485"/>
                  </a:lnTo>
                  <a:lnTo>
                    <a:pt x="17836" y="3488"/>
                  </a:lnTo>
                  <a:lnTo>
                    <a:pt x="17844" y="3494"/>
                  </a:lnTo>
                  <a:lnTo>
                    <a:pt x="17853" y="3496"/>
                  </a:lnTo>
                  <a:lnTo>
                    <a:pt x="17864" y="3497"/>
                  </a:lnTo>
                  <a:lnTo>
                    <a:pt x="17873" y="3494"/>
                  </a:lnTo>
                  <a:lnTo>
                    <a:pt x="17874" y="3486"/>
                  </a:lnTo>
                  <a:lnTo>
                    <a:pt x="17871" y="3466"/>
                  </a:lnTo>
                  <a:lnTo>
                    <a:pt x="17879" y="3471"/>
                  </a:lnTo>
                  <a:lnTo>
                    <a:pt x="17892" y="3489"/>
                  </a:lnTo>
                  <a:lnTo>
                    <a:pt x="17899" y="3492"/>
                  </a:lnTo>
                  <a:lnTo>
                    <a:pt x="17928" y="3493"/>
                  </a:lnTo>
                  <a:lnTo>
                    <a:pt x="17988" y="3486"/>
                  </a:lnTo>
                  <a:lnTo>
                    <a:pt x="18083" y="3492"/>
                  </a:lnTo>
                  <a:lnTo>
                    <a:pt x="18118" y="3487"/>
                  </a:lnTo>
                  <a:lnTo>
                    <a:pt x="18132" y="3481"/>
                  </a:lnTo>
                  <a:lnTo>
                    <a:pt x="18141" y="3471"/>
                  </a:lnTo>
                  <a:lnTo>
                    <a:pt x="18145" y="3471"/>
                  </a:lnTo>
                  <a:lnTo>
                    <a:pt x="18155" y="3485"/>
                  </a:lnTo>
                  <a:lnTo>
                    <a:pt x="18183" y="3515"/>
                  </a:lnTo>
                  <a:lnTo>
                    <a:pt x="18202" y="3545"/>
                  </a:lnTo>
                  <a:lnTo>
                    <a:pt x="18203" y="3548"/>
                  </a:lnTo>
                  <a:lnTo>
                    <a:pt x="18205" y="3550"/>
                  </a:lnTo>
                  <a:lnTo>
                    <a:pt x="18218" y="3550"/>
                  </a:lnTo>
                  <a:lnTo>
                    <a:pt x="18220" y="3552"/>
                  </a:lnTo>
                  <a:lnTo>
                    <a:pt x="18237" y="3576"/>
                  </a:lnTo>
                  <a:lnTo>
                    <a:pt x="18241" y="3580"/>
                  </a:lnTo>
                  <a:lnTo>
                    <a:pt x="18244" y="3582"/>
                  </a:lnTo>
                  <a:lnTo>
                    <a:pt x="18249" y="3591"/>
                  </a:lnTo>
                  <a:lnTo>
                    <a:pt x="18251" y="3594"/>
                  </a:lnTo>
                  <a:lnTo>
                    <a:pt x="18256" y="3596"/>
                  </a:lnTo>
                  <a:lnTo>
                    <a:pt x="18265" y="3596"/>
                  </a:lnTo>
                  <a:lnTo>
                    <a:pt x="18286" y="3604"/>
                  </a:lnTo>
                  <a:lnTo>
                    <a:pt x="18349" y="3611"/>
                  </a:lnTo>
                  <a:lnTo>
                    <a:pt x="18360" y="3609"/>
                  </a:lnTo>
                  <a:lnTo>
                    <a:pt x="18385" y="3603"/>
                  </a:lnTo>
                  <a:lnTo>
                    <a:pt x="18399" y="3602"/>
                  </a:lnTo>
                  <a:lnTo>
                    <a:pt x="18466" y="3608"/>
                  </a:lnTo>
                  <a:lnTo>
                    <a:pt x="18475" y="3611"/>
                  </a:lnTo>
                  <a:lnTo>
                    <a:pt x="18496" y="3628"/>
                  </a:lnTo>
                  <a:lnTo>
                    <a:pt x="18502" y="3631"/>
                  </a:lnTo>
                  <a:lnTo>
                    <a:pt x="18506" y="3631"/>
                  </a:lnTo>
                  <a:lnTo>
                    <a:pt x="18515" y="3622"/>
                  </a:lnTo>
                  <a:lnTo>
                    <a:pt x="18521" y="3617"/>
                  </a:lnTo>
                  <a:lnTo>
                    <a:pt x="18543" y="3613"/>
                  </a:lnTo>
                  <a:lnTo>
                    <a:pt x="18566" y="3604"/>
                  </a:lnTo>
                  <a:lnTo>
                    <a:pt x="18579" y="3603"/>
                  </a:lnTo>
                  <a:lnTo>
                    <a:pt x="18587" y="3605"/>
                  </a:lnTo>
                  <a:lnTo>
                    <a:pt x="18595" y="3609"/>
                  </a:lnTo>
                  <a:lnTo>
                    <a:pt x="18603" y="3611"/>
                  </a:lnTo>
                  <a:lnTo>
                    <a:pt x="18608" y="3609"/>
                  </a:lnTo>
                  <a:lnTo>
                    <a:pt x="18619" y="3603"/>
                  </a:lnTo>
                  <a:lnTo>
                    <a:pt x="18631" y="3598"/>
                  </a:lnTo>
                  <a:lnTo>
                    <a:pt x="18652" y="3599"/>
                  </a:lnTo>
                  <a:lnTo>
                    <a:pt x="18659" y="3598"/>
                  </a:lnTo>
                  <a:lnTo>
                    <a:pt x="18686" y="3589"/>
                  </a:lnTo>
                  <a:lnTo>
                    <a:pt x="18699" y="3587"/>
                  </a:lnTo>
                  <a:lnTo>
                    <a:pt x="18741" y="3585"/>
                  </a:lnTo>
                  <a:lnTo>
                    <a:pt x="18748" y="3583"/>
                  </a:lnTo>
                  <a:lnTo>
                    <a:pt x="18759" y="3575"/>
                  </a:lnTo>
                  <a:lnTo>
                    <a:pt x="18765" y="3572"/>
                  </a:lnTo>
                  <a:lnTo>
                    <a:pt x="18770" y="3572"/>
                  </a:lnTo>
                  <a:lnTo>
                    <a:pt x="18788" y="3576"/>
                  </a:lnTo>
                  <a:lnTo>
                    <a:pt x="18807" y="3559"/>
                  </a:lnTo>
                  <a:lnTo>
                    <a:pt x="18814" y="3554"/>
                  </a:lnTo>
                  <a:lnTo>
                    <a:pt x="18841" y="3565"/>
                  </a:lnTo>
                  <a:lnTo>
                    <a:pt x="18873" y="3562"/>
                  </a:lnTo>
                  <a:lnTo>
                    <a:pt x="18952" y="3546"/>
                  </a:lnTo>
                  <a:lnTo>
                    <a:pt x="18969" y="3531"/>
                  </a:lnTo>
                  <a:lnTo>
                    <a:pt x="18985" y="3527"/>
                  </a:lnTo>
                  <a:lnTo>
                    <a:pt x="18998" y="3523"/>
                  </a:lnTo>
                  <a:lnTo>
                    <a:pt x="19012" y="3515"/>
                  </a:lnTo>
                  <a:lnTo>
                    <a:pt x="19028" y="3509"/>
                  </a:lnTo>
                  <a:lnTo>
                    <a:pt x="19045" y="3514"/>
                  </a:lnTo>
                  <a:lnTo>
                    <a:pt x="19056" y="3492"/>
                  </a:lnTo>
                  <a:lnTo>
                    <a:pt x="19064" y="3484"/>
                  </a:lnTo>
                  <a:lnTo>
                    <a:pt x="19076" y="3479"/>
                  </a:lnTo>
                  <a:lnTo>
                    <a:pt x="19076" y="3475"/>
                  </a:lnTo>
                  <a:lnTo>
                    <a:pt x="19067" y="3469"/>
                  </a:lnTo>
                  <a:lnTo>
                    <a:pt x="19069" y="3460"/>
                  </a:lnTo>
                  <a:lnTo>
                    <a:pt x="19095" y="3425"/>
                  </a:lnTo>
                  <a:lnTo>
                    <a:pt x="19098" y="3422"/>
                  </a:lnTo>
                  <a:lnTo>
                    <a:pt x="19103" y="3422"/>
                  </a:lnTo>
                  <a:lnTo>
                    <a:pt x="19117" y="3422"/>
                  </a:lnTo>
                  <a:lnTo>
                    <a:pt x="19120" y="3420"/>
                  </a:lnTo>
                  <a:lnTo>
                    <a:pt x="19120" y="3408"/>
                  </a:lnTo>
                  <a:lnTo>
                    <a:pt x="19118" y="3404"/>
                  </a:lnTo>
                  <a:lnTo>
                    <a:pt x="19114" y="3398"/>
                  </a:lnTo>
                  <a:lnTo>
                    <a:pt x="19112" y="3392"/>
                  </a:lnTo>
                  <a:lnTo>
                    <a:pt x="19114" y="3386"/>
                  </a:lnTo>
                  <a:lnTo>
                    <a:pt x="19118" y="3380"/>
                  </a:lnTo>
                  <a:lnTo>
                    <a:pt x="19124" y="3368"/>
                  </a:lnTo>
                  <a:lnTo>
                    <a:pt x="19147" y="3348"/>
                  </a:lnTo>
                  <a:lnTo>
                    <a:pt x="19155" y="3337"/>
                  </a:lnTo>
                  <a:lnTo>
                    <a:pt x="19155" y="3332"/>
                  </a:lnTo>
                  <a:lnTo>
                    <a:pt x="19155" y="3323"/>
                  </a:lnTo>
                  <a:lnTo>
                    <a:pt x="19157" y="3315"/>
                  </a:lnTo>
                  <a:lnTo>
                    <a:pt x="19167" y="3303"/>
                  </a:lnTo>
                  <a:lnTo>
                    <a:pt x="19173" y="3285"/>
                  </a:lnTo>
                  <a:lnTo>
                    <a:pt x="19182" y="3275"/>
                  </a:lnTo>
                  <a:lnTo>
                    <a:pt x="19204" y="3260"/>
                  </a:lnTo>
                  <a:lnTo>
                    <a:pt x="19226" y="3236"/>
                  </a:lnTo>
                  <a:lnTo>
                    <a:pt x="19239" y="3228"/>
                  </a:lnTo>
                  <a:lnTo>
                    <a:pt x="19255" y="3224"/>
                  </a:lnTo>
                  <a:lnTo>
                    <a:pt x="19260" y="3221"/>
                  </a:lnTo>
                  <a:lnTo>
                    <a:pt x="19270" y="3204"/>
                  </a:lnTo>
                  <a:lnTo>
                    <a:pt x="19275" y="3198"/>
                  </a:lnTo>
                  <a:lnTo>
                    <a:pt x="19281" y="3195"/>
                  </a:lnTo>
                  <a:lnTo>
                    <a:pt x="19302" y="3189"/>
                  </a:lnTo>
                  <a:lnTo>
                    <a:pt x="19325" y="3178"/>
                  </a:lnTo>
                  <a:lnTo>
                    <a:pt x="19328" y="3173"/>
                  </a:lnTo>
                  <a:lnTo>
                    <a:pt x="19329" y="3168"/>
                  </a:lnTo>
                  <a:lnTo>
                    <a:pt x="19336" y="3152"/>
                  </a:lnTo>
                  <a:lnTo>
                    <a:pt x="19339" y="3147"/>
                  </a:lnTo>
                  <a:lnTo>
                    <a:pt x="19361" y="3126"/>
                  </a:lnTo>
                  <a:lnTo>
                    <a:pt x="19382" y="3100"/>
                  </a:lnTo>
                  <a:lnTo>
                    <a:pt x="19412" y="3047"/>
                  </a:lnTo>
                  <a:lnTo>
                    <a:pt x="19453" y="2936"/>
                  </a:lnTo>
                  <a:lnTo>
                    <a:pt x="19465" y="2913"/>
                  </a:lnTo>
                  <a:lnTo>
                    <a:pt x="19483" y="2890"/>
                  </a:lnTo>
                  <a:lnTo>
                    <a:pt x="19505" y="2877"/>
                  </a:lnTo>
                  <a:lnTo>
                    <a:pt x="19533" y="2865"/>
                  </a:lnTo>
                  <a:lnTo>
                    <a:pt x="19551" y="2849"/>
                  </a:lnTo>
                  <a:lnTo>
                    <a:pt x="19545" y="2824"/>
                  </a:lnTo>
                  <a:lnTo>
                    <a:pt x="19529" y="2811"/>
                  </a:lnTo>
                  <a:lnTo>
                    <a:pt x="19512" y="2800"/>
                  </a:lnTo>
                  <a:lnTo>
                    <a:pt x="19499" y="2784"/>
                  </a:lnTo>
                  <a:lnTo>
                    <a:pt x="19497" y="2757"/>
                  </a:lnTo>
                  <a:lnTo>
                    <a:pt x="19507" y="2731"/>
                  </a:lnTo>
                  <a:lnTo>
                    <a:pt x="19504" y="2724"/>
                  </a:lnTo>
                  <a:lnTo>
                    <a:pt x="19486" y="2722"/>
                  </a:lnTo>
                  <a:lnTo>
                    <a:pt x="19443" y="2727"/>
                  </a:lnTo>
                  <a:lnTo>
                    <a:pt x="19430" y="2727"/>
                  </a:lnTo>
                  <a:lnTo>
                    <a:pt x="19418" y="2723"/>
                  </a:lnTo>
                  <a:lnTo>
                    <a:pt x="19413" y="2716"/>
                  </a:lnTo>
                  <a:lnTo>
                    <a:pt x="19412" y="2689"/>
                  </a:lnTo>
                  <a:lnTo>
                    <a:pt x="19407" y="2682"/>
                  </a:lnTo>
                  <a:lnTo>
                    <a:pt x="19393" y="2684"/>
                  </a:lnTo>
                  <a:lnTo>
                    <a:pt x="19380" y="2690"/>
                  </a:lnTo>
                  <a:lnTo>
                    <a:pt x="19373" y="2696"/>
                  </a:lnTo>
                  <a:lnTo>
                    <a:pt x="19372" y="2702"/>
                  </a:lnTo>
                  <a:lnTo>
                    <a:pt x="19373" y="2724"/>
                  </a:lnTo>
                  <a:lnTo>
                    <a:pt x="19370" y="2727"/>
                  </a:lnTo>
                  <a:lnTo>
                    <a:pt x="19358" y="2722"/>
                  </a:lnTo>
                  <a:lnTo>
                    <a:pt x="19355" y="2724"/>
                  </a:lnTo>
                  <a:lnTo>
                    <a:pt x="19349" y="2733"/>
                  </a:lnTo>
                  <a:lnTo>
                    <a:pt x="19285" y="2782"/>
                  </a:lnTo>
                  <a:lnTo>
                    <a:pt x="19278" y="2792"/>
                  </a:lnTo>
                  <a:lnTo>
                    <a:pt x="19275" y="2808"/>
                  </a:lnTo>
                  <a:lnTo>
                    <a:pt x="19280" y="2821"/>
                  </a:lnTo>
                  <a:lnTo>
                    <a:pt x="19289" y="2833"/>
                  </a:lnTo>
                  <a:lnTo>
                    <a:pt x="19294" y="2845"/>
                  </a:lnTo>
                  <a:lnTo>
                    <a:pt x="19284" y="2859"/>
                  </a:lnTo>
                  <a:lnTo>
                    <a:pt x="19271" y="2864"/>
                  </a:lnTo>
                  <a:lnTo>
                    <a:pt x="19244" y="2868"/>
                  </a:lnTo>
                  <a:lnTo>
                    <a:pt x="19233" y="2874"/>
                  </a:lnTo>
                  <a:lnTo>
                    <a:pt x="19217" y="2893"/>
                  </a:lnTo>
                  <a:lnTo>
                    <a:pt x="19207" y="2900"/>
                  </a:lnTo>
                  <a:lnTo>
                    <a:pt x="19191" y="2902"/>
                  </a:lnTo>
                  <a:lnTo>
                    <a:pt x="19145" y="2892"/>
                  </a:lnTo>
                  <a:lnTo>
                    <a:pt x="19138" y="2896"/>
                  </a:lnTo>
                  <a:lnTo>
                    <a:pt x="19133" y="2903"/>
                  </a:lnTo>
                  <a:lnTo>
                    <a:pt x="19098" y="2929"/>
                  </a:lnTo>
                  <a:lnTo>
                    <a:pt x="19093" y="2940"/>
                  </a:lnTo>
                  <a:lnTo>
                    <a:pt x="19088" y="2958"/>
                  </a:lnTo>
                  <a:lnTo>
                    <a:pt x="19089" y="2975"/>
                  </a:lnTo>
                  <a:lnTo>
                    <a:pt x="19100" y="2982"/>
                  </a:lnTo>
                  <a:lnTo>
                    <a:pt x="19126" y="2981"/>
                  </a:lnTo>
                  <a:lnTo>
                    <a:pt x="19136" y="2985"/>
                  </a:lnTo>
                  <a:lnTo>
                    <a:pt x="19142" y="2995"/>
                  </a:lnTo>
                  <a:lnTo>
                    <a:pt x="19141" y="3008"/>
                  </a:lnTo>
                  <a:lnTo>
                    <a:pt x="19136" y="3022"/>
                  </a:lnTo>
                  <a:lnTo>
                    <a:pt x="19128" y="3034"/>
                  </a:lnTo>
                  <a:lnTo>
                    <a:pt x="19118" y="3039"/>
                  </a:lnTo>
                  <a:lnTo>
                    <a:pt x="19110" y="3037"/>
                  </a:lnTo>
                  <a:lnTo>
                    <a:pt x="19106" y="3031"/>
                  </a:lnTo>
                  <a:lnTo>
                    <a:pt x="19103" y="3025"/>
                  </a:lnTo>
                  <a:lnTo>
                    <a:pt x="19098" y="3021"/>
                  </a:lnTo>
                  <a:lnTo>
                    <a:pt x="19091" y="3022"/>
                  </a:lnTo>
                  <a:lnTo>
                    <a:pt x="19086" y="3026"/>
                  </a:lnTo>
                  <a:lnTo>
                    <a:pt x="19082" y="3031"/>
                  </a:lnTo>
                  <a:lnTo>
                    <a:pt x="19076" y="3035"/>
                  </a:lnTo>
                  <a:lnTo>
                    <a:pt x="19063" y="3037"/>
                  </a:lnTo>
                  <a:lnTo>
                    <a:pt x="19020" y="3035"/>
                  </a:lnTo>
                  <a:lnTo>
                    <a:pt x="19007" y="3036"/>
                  </a:lnTo>
                  <a:lnTo>
                    <a:pt x="18995" y="3041"/>
                  </a:lnTo>
                  <a:lnTo>
                    <a:pt x="18985" y="3046"/>
                  </a:lnTo>
                  <a:lnTo>
                    <a:pt x="18978" y="3053"/>
                  </a:lnTo>
                  <a:lnTo>
                    <a:pt x="18968" y="3070"/>
                  </a:lnTo>
                  <a:lnTo>
                    <a:pt x="18957" y="3115"/>
                  </a:lnTo>
                  <a:lnTo>
                    <a:pt x="18947" y="3136"/>
                  </a:lnTo>
                  <a:lnTo>
                    <a:pt x="18931" y="3149"/>
                  </a:lnTo>
                  <a:lnTo>
                    <a:pt x="18888" y="3161"/>
                  </a:lnTo>
                  <a:lnTo>
                    <a:pt x="18867" y="3171"/>
                  </a:lnTo>
                  <a:lnTo>
                    <a:pt x="18851" y="3188"/>
                  </a:lnTo>
                  <a:lnTo>
                    <a:pt x="18843" y="3195"/>
                  </a:lnTo>
                  <a:lnTo>
                    <a:pt x="18821" y="3199"/>
                  </a:lnTo>
                  <a:lnTo>
                    <a:pt x="18749" y="3226"/>
                  </a:lnTo>
                  <a:lnTo>
                    <a:pt x="18738" y="3237"/>
                  </a:lnTo>
                  <a:lnTo>
                    <a:pt x="18713" y="3245"/>
                  </a:lnTo>
                  <a:lnTo>
                    <a:pt x="18703" y="3251"/>
                  </a:lnTo>
                  <a:lnTo>
                    <a:pt x="18710" y="3255"/>
                  </a:lnTo>
                  <a:lnTo>
                    <a:pt x="18712" y="3259"/>
                  </a:lnTo>
                  <a:lnTo>
                    <a:pt x="18710" y="3264"/>
                  </a:lnTo>
                  <a:lnTo>
                    <a:pt x="18703" y="3268"/>
                  </a:lnTo>
                  <a:lnTo>
                    <a:pt x="18698" y="3268"/>
                  </a:lnTo>
                  <a:lnTo>
                    <a:pt x="18685" y="3264"/>
                  </a:lnTo>
                  <a:lnTo>
                    <a:pt x="18679" y="3263"/>
                  </a:lnTo>
                  <a:lnTo>
                    <a:pt x="18635" y="3268"/>
                  </a:lnTo>
                  <a:lnTo>
                    <a:pt x="18544" y="3255"/>
                  </a:lnTo>
                  <a:lnTo>
                    <a:pt x="18532" y="3250"/>
                  </a:lnTo>
                  <a:lnTo>
                    <a:pt x="18506" y="3236"/>
                  </a:lnTo>
                  <a:lnTo>
                    <a:pt x="18493" y="3233"/>
                  </a:lnTo>
                  <a:lnTo>
                    <a:pt x="18483" y="3236"/>
                  </a:lnTo>
                  <a:lnTo>
                    <a:pt x="18461" y="3246"/>
                  </a:lnTo>
                  <a:lnTo>
                    <a:pt x="18453" y="3244"/>
                  </a:lnTo>
                  <a:lnTo>
                    <a:pt x="18433" y="3233"/>
                  </a:lnTo>
                  <a:lnTo>
                    <a:pt x="18385" y="3223"/>
                  </a:lnTo>
                  <a:lnTo>
                    <a:pt x="18367" y="3210"/>
                  </a:lnTo>
                  <a:lnTo>
                    <a:pt x="18359" y="3215"/>
                  </a:lnTo>
                  <a:lnTo>
                    <a:pt x="18354" y="3213"/>
                  </a:lnTo>
                  <a:lnTo>
                    <a:pt x="18350" y="3209"/>
                  </a:lnTo>
                  <a:lnTo>
                    <a:pt x="18345" y="3207"/>
                  </a:lnTo>
                  <a:lnTo>
                    <a:pt x="18335" y="3207"/>
                  </a:lnTo>
                  <a:lnTo>
                    <a:pt x="18329" y="3209"/>
                  </a:lnTo>
                  <a:lnTo>
                    <a:pt x="18325" y="3213"/>
                  </a:lnTo>
                  <a:lnTo>
                    <a:pt x="18318" y="3215"/>
                  </a:lnTo>
                  <a:lnTo>
                    <a:pt x="18311" y="3216"/>
                  </a:lnTo>
                  <a:lnTo>
                    <a:pt x="18293" y="3217"/>
                  </a:lnTo>
                  <a:lnTo>
                    <a:pt x="18287" y="3215"/>
                  </a:lnTo>
                  <a:lnTo>
                    <a:pt x="18280" y="3210"/>
                  </a:lnTo>
                  <a:lnTo>
                    <a:pt x="18277" y="3205"/>
                  </a:lnTo>
                  <a:lnTo>
                    <a:pt x="18277" y="3199"/>
                  </a:lnTo>
                  <a:lnTo>
                    <a:pt x="18274" y="3193"/>
                  </a:lnTo>
                  <a:lnTo>
                    <a:pt x="18262" y="3185"/>
                  </a:lnTo>
                  <a:lnTo>
                    <a:pt x="18243" y="3192"/>
                  </a:lnTo>
                  <a:lnTo>
                    <a:pt x="18231" y="3187"/>
                  </a:lnTo>
                  <a:lnTo>
                    <a:pt x="18218" y="3177"/>
                  </a:lnTo>
                  <a:lnTo>
                    <a:pt x="18215" y="3186"/>
                  </a:lnTo>
                  <a:lnTo>
                    <a:pt x="18218" y="3200"/>
                  </a:lnTo>
                  <a:lnTo>
                    <a:pt x="18220" y="3207"/>
                  </a:lnTo>
                  <a:lnTo>
                    <a:pt x="18211" y="3210"/>
                  </a:lnTo>
                  <a:lnTo>
                    <a:pt x="18184" y="3199"/>
                  </a:lnTo>
                  <a:lnTo>
                    <a:pt x="18169" y="3204"/>
                  </a:lnTo>
                  <a:lnTo>
                    <a:pt x="18159" y="3206"/>
                  </a:lnTo>
                  <a:lnTo>
                    <a:pt x="18143" y="3202"/>
                  </a:lnTo>
                  <a:lnTo>
                    <a:pt x="18100" y="3186"/>
                  </a:lnTo>
                  <a:lnTo>
                    <a:pt x="18091" y="3185"/>
                  </a:lnTo>
                  <a:lnTo>
                    <a:pt x="18076" y="3184"/>
                  </a:lnTo>
                  <a:lnTo>
                    <a:pt x="18072" y="3188"/>
                  </a:lnTo>
                  <a:lnTo>
                    <a:pt x="18070" y="3195"/>
                  </a:lnTo>
                  <a:lnTo>
                    <a:pt x="18070" y="3207"/>
                  </a:lnTo>
                  <a:lnTo>
                    <a:pt x="18067" y="3211"/>
                  </a:lnTo>
                  <a:lnTo>
                    <a:pt x="18060" y="3216"/>
                  </a:lnTo>
                  <a:lnTo>
                    <a:pt x="18057" y="3220"/>
                  </a:lnTo>
                  <a:lnTo>
                    <a:pt x="18044" y="3250"/>
                  </a:lnTo>
                  <a:lnTo>
                    <a:pt x="18037" y="3255"/>
                  </a:lnTo>
                  <a:lnTo>
                    <a:pt x="18026" y="3258"/>
                  </a:lnTo>
                  <a:lnTo>
                    <a:pt x="17999" y="3277"/>
                  </a:lnTo>
                  <a:lnTo>
                    <a:pt x="17988" y="3273"/>
                  </a:lnTo>
                  <a:lnTo>
                    <a:pt x="17972" y="3258"/>
                  </a:lnTo>
                  <a:lnTo>
                    <a:pt x="17955" y="3253"/>
                  </a:lnTo>
                  <a:lnTo>
                    <a:pt x="17954" y="3244"/>
                  </a:lnTo>
                  <a:lnTo>
                    <a:pt x="17948" y="3242"/>
                  </a:lnTo>
                  <a:lnTo>
                    <a:pt x="17940" y="3240"/>
                  </a:lnTo>
                  <a:lnTo>
                    <a:pt x="17936" y="3237"/>
                  </a:lnTo>
                  <a:lnTo>
                    <a:pt x="17933" y="3233"/>
                  </a:lnTo>
                  <a:lnTo>
                    <a:pt x="17928" y="3228"/>
                  </a:lnTo>
                  <a:lnTo>
                    <a:pt x="17903" y="3219"/>
                  </a:lnTo>
                  <a:lnTo>
                    <a:pt x="17890" y="3212"/>
                  </a:lnTo>
                  <a:lnTo>
                    <a:pt x="17884" y="3204"/>
                  </a:lnTo>
                  <a:lnTo>
                    <a:pt x="17879" y="3194"/>
                  </a:lnTo>
                  <a:lnTo>
                    <a:pt x="17868" y="3186"/>
                  </a:lnTo>
                  <a:lnTo>
                    <a:pt x="17854" y="3182"/>
                  </a:lnTo>
                  <a:lnTo>
                    <a:pt x="17816" y="3179"/>
                  </a:lnTo>
                  <a:lnTo>
                    <a:pt x="17789" y="3173"/>
                  </a:lnTo>
                  <a:lnTo>
                    <a:pt x="17764" y="3163"/>
                  </a:lnTo>
                  <a:lnTo>
                    <a:pt x="17744" y="3147"/>
                  </a:lnTo>
                  <a:lnTo>
                    <a:pt x="17736" y="3146"/>
                  </a:lnTo>
                  <a:lnTo>
                    <a:pt x="17706" y="3153"/>
                  </a:lnTo>
                  <a:lnTo>
                    <a:pt x="17693" y="3154"/>
                  </a:lnTo>
                  <a:lnTo>
                    <a:pt x="17663" y="3145"/>
                  </a:lnTo>
                  <a:lnTo>
                    <a:pt x="17653" y="3145"/>
                  </a:lnTo>
                  <a:lnTo>
                    <a:pt x="17650" y="3146"/>
                  </a:lnTo>
                  <a:lnTo>
                    <a:pt x="17644" y="3153"/>
                  </a:lnTo>
                  <a:lnTo>
                    <a:pt x="17642" y="3154"/>
                  </a:lnTo>
                  <a:lnTo>
                    <a:pt x="17638" y="3153"/>
                  </a:lnTo>
                  <a:lnTo>
                    <a:pt x="17632" y="3150"/>
                  </a:lnTo>
                  <a:lnTo>
                    <a:pt x="17629" y="3149"/>
                  </a:lnTo>
                  <a:lnTo>
                    <a:pt x="17621" y="3150"/>
                  </a:lnTo>
                  <a:lnTo>
                    <a:pt x="17609" y="3153"/>
                  </a:lnTo>
                  <a:lnTo>
                    <a:pt x="17603" y="3154"/>
                  </a:lnTo>
                  <a:lnTo>
                    <a:pt x="17594" y="3152"/>
                  </a:lnTo>
                  <a:lnTo>
                    <a:pt x="17574" y="3140"/>
                  </a:lnTo>
                  <a:lnTo>
                    <a:pt x="17565" y="3137"/>
                  </a:lnTo>
                  <a:lnTo>
                    <a:pt x="17547" y="3136"/>
                  </a:lnTo>
                  <a:lnTo>
                    <a:pt x="17507" y="3121"/>
                  </a:lnTo>
                  <a:lnTo>
                    <a:pt x="17492" y="3118"/>
                  </a:lnTo>
                  <a:lnTo>
                    <a:pt x="17482" y="3122"/>
                  </a:lnTo>
                  <a:lnTo>
                    <a:pt x="17468" y="3138"/>
                  </a:lnTo>
                  <a:lnTo>
                    <a:pt x="17458" y="3145"/>
                  </a:lnTo>
                  <a:lnTo>
                    <a:pt x="17444" y="3146"/>
                  </a:lnTo>
                  <a:lnTo>
                    <a:pt x="17431" y="3141"/>
                  </a:lnTo>
                  <a:lnTo>
                    <a:pt x="17422" y="3131"/>
                  </a:lnTo>
                  <a:lnTo>
                    <a:pt x="17414" y="3102"/>
                  </a:lnTo>
                  <a:lnTo>
                    <a:pt x="17403" y="3097"/>
                  </a:lnTo>
                  <a:lnTo>
                    <a:pt x="17212" y="3120"/>
                  </a:lnTo>
                  <a:lnTo>
                    <a:pt x="17183" y="3120"/>
                  </a:lnTo>
                  <a:lnTo>
                    <a:pt x="17157" y="3114"/>
                  </a:lnTo>
                  <a:lnTo>
                    <a:pt x="17146" y="3107"/>
                  </a:lnTo>
                  <a:lnTo>
                    <a:pt x="17115" y="3082"/>
                  </a:lnTo>
                  <a:lnTo>
                    <a:pt x="17108" y="3072"/>
                  </a:lnTo>
                  <a:lnTo>
                    <a:pt x="17107" y="3066"/>
                  </a:lnTo>
                  <a:lnTo>
                    <a:pt x="17095" y="3053"/>
                  </a:lnTo>
                  <a:lnTo>
                    <a:pt x="17092" y="3045"/>
                  </a:lnTo>
                  <a:lnTo>
                    <a:pt x="17091" y="3040"/>
                  </a:lnTo>
                  <a:lnTo>
                    <a:pt x="17092" y="3036"/>
                  </a:lnTo>
                  <a:lnTo>
                    <a:pt x="17091" y="3030"/>
                  </a:lnTo>
                  <a:lnTo>
                    <a:pt x="17088" y="3024"/>
                  </a:lnTo>
                  <a:lnTo>
                    <a:pt x="17083" y="3015"/>
                  </a:lnTo>
                  <a:lnTo>
                    <a:pt x="17082" y="3010"/>
                  </a:lnTo>
                  <a:lnTo>
                    <a:pt x="17085" y="3009"/>
                  </a:lnTo>
                  <a:lnTo>
                    <a:pt x="17101" y="3004"/>
                  </a:lnTo>
                  <a:lnTo>
                    <a:pt x="17106" y="3001"/>
                  </a:lnTo>
                  <a:lnTo>
                    <a:pt x="17109" y="2995"/>
                  </a:lnTo>
                  <a:lnTo>
                    <a:pt x="17109" y="2987"/>
                  </a:lnTo>
                  <a:lnTo>
                    <a:pt x="17107" y="2978"/>
                  </a:lnTo>
                  <a:lnTo>
                    <a:pt x="17104" y="2973"/>
                  </a:lnTo>
                  <a:lnTo>
                    <a:pt x="17096" y="2969"/>
                  </a:lnTo>
                  <a:lnTo>
                    <a:pt x="17089" y="2971"/>
                  </a:lnTo>
                  <a:lnTo>
                    <a:pt x="17077" y="2982"/>
                  </a:lnTo>
                  <a:lnTo>
                    <a:pt x="17062" y="2992"/>
                  </a:lnTo>
                  <a:lnTo>
                    <a:pt x="17051" y="2995"/>
                  </a:lnTo>
                  <a:lnTo>
                    <a:pt x="17022" y="2995"/>
                  </a:lnTo>
                  <a:lnTo>
                    <a:pt x="17009" y="2997"/>
                  </a:lnTo>
                  <a:lnTo>
                    <a:pt x="16975" y="3013"/>
                  </a:lnTo>
                  <a:lnTo>
                    <a:pt x="16922" y="2986"/>
                  </a:lnTo>
                  <a:lnTo>
                    <a:pt x="16906" y="2966"/>
                  </a:lnTo>
                  <a:lnTo>
                    <a:pt x="16890" y="2958"/>
                  </a:lnTo>
                  <a:lnTo>
                    <a:pt x="16856" y="2947"/>
                  </a:lnTo>
                  <a:lnTo>
                    <a:pt x="16843" y="2950"/>
                  </a:lnTo>
                  <a:lnTo>
                    <a:pt x="16782" y="2938"/>
                  </a:lnTo>
                  <a:lnTo>
                    <a:pt x="16771" y="2939"/>
                  </a:lnTo>
                  <a:lnTo>
                    <a:pt x="16764" y="2944"/>
                  </a:lnTo>
                  <a:lnTo>
                    <a:pt x="16752" y="2958"/>
                  </a:lnTo>
                  <a:lnTo>
                    <a:pt x="16745" y="2960"/>
                  </a:lnTo>
                  <a:lnTo>
                    <a:pt x="16743" y="2952"/>
                  </a:lnTo>
                  <a:lnTo>
                    <a:pt x="16745" y="2933"/>
                  </a:lnTo>
                  <a:lnTo>
                    <a:pt x="16729" y="2948"/>
                  </a:lnTo>
                  <a:lnTo>
                    <a:pt x="16723" y="2951"/>
                  </a:lnTo>
                  <a:lnTo>
                    <a:pt x="16716" y="2951"/>
                  </a:lnTo>
                  <a:lnTo>
                    <a:pt x="16702" y="2949"/>
                  </a:lnTo>
                  <a:lnTo>
                    <a:pt x="16696" y="2951"/>
                  </a:lnTo>
                  <a:lnTo>
                    <a:pt x="16688" y="2961"/>
                  </a:lnTo>
                  <a:lnTo>
                    <a:pt x="16687" y="2973"/>
                  </a:lnTo>
                  <a:lnTo>
                    <a:pt x="16692" y="2997"/>
                  </a:lnTo>
                  <a:lnTo>
                    <a:pt x="16692" y="3023"/>
                  </a:lnTo>
                  <a:lnTo>
                    <a:pt x="16691" y="3034"/>
                  </a:lnTo>
                  <a:lnTo>
                    <a:pt x="16687" y="3048"/>
                  </a:lnTo>
                  <a:lnTo>
                    <a:pt x="16685" y="3049"/>
                  </a:lnTo>
                  <a:lnTo>
                    <a:pt x="16680" y="3055"/>
                  </a:lnTo>
                  <a:lnTo>
                    <a:pt x="16676" y="3063"/>
                  </a:lnTo>
                  <a:lnTo>
                    <a:pt x="16676" y="3066"/>
                  </a:lnTo>
                  <a:lnTo>
                    <a:pt x="16674" y="3069"/>
                  </a:lnTo>
                  <a:lnTo>
                    <a:pt x="16674" y="3076"/>
                  </a:lnTo>
                  <a:lnTo>
                    <a:pt x="16676" y="3116"/>
                  </a:lnTo>
                  <a:lnTo>
                    <a:pt x="16675" y="3126"/>
                  </a:lnTo>
                  <a:lnTo>
                    <a:pt x="16670" y="3136"/>
                  </a:lnTo>
                  <a:lnTo>
                    <a:pt x="16664" y="3140"/>
                  </a:lnTo>
                  <a:lnTo>
                    <a:pt x="16651" y="3144"/>
                  </a:lnTo>
                  <a:lnTo>
                    <a:pt x="16645" y="3147"/>
                  </a:lnTo>
                  <a:lnTo>
                    <a:pt x="16640" y="3153"/>
                  </a:lnTo>
                  <a:lnTo>
                    <a:pt x="16636" y="3167"/>
                  </a:lnTo>
                  <a:lnTo>
                    <a:pt x="16632" y="3173"/>
                  </a:lnTo>
                  <a:lnTo>
                    <a:pt x="16625" y="3175"/>
                  </a:lnTo>
                  <a:lnTo>
                    <a:pt x="16617" y="3171"/>
                  </a:lnTo>
                  <a:lnTo>
                    <a:pt x="16610" y="3165"/>
                  </a:lnTo>
                  <a:lnTo>
                    <a:pt x="16603" y="3163"/>
                  </a:lnTo>
                  <a:lnTo>
                    <a:pt x="16599" y="3165"/>
                  </a:lnTo>
                  <a:lnTo>
                    <a:pt x="16585" y="3180"/>
                  </a:lnTo>
                  <a:lnTo>
                    <a:pt x="16557" y="3225"/>
                  </a:lnTo>
                  <a:lnTo>
                    <a:pt x="16547" y="3253"/>
                  </a:lnTo>
                  <a:lnTo>
                    <a:pt x="16555" y="3268"/>
                  </a:lnTo>
                  <a:lnTo>
                    <a:pt x="16535" y="3290"/>
                  </a:lnTo>
                  <a:lnTo>
                    <a:pt x="16525" y="3300"/>
                  </a:lnTo>
                  <a:lnTo>
                    <a:pt x="16517" y="3301"/>
                  </a:lnTo>
                  <a:lnTo>
                    <a:pt x="16507" y="3291"/>
                  </a:lnTo>
                  <a:lnTo>
                    <a:pt x="16498" y="3285"/>
                  </a:lnTo>
                  <a:lnTo>
                    <a:pt x="16488" y="3282"/>
                  </a:lnTo>
                  <a:lnTo>
                    <a:pt x="16473" y="3281"/>
                  </a:lnTo>
                  <a:lnTo>
                    <a:pt x="16469" y="3283"/>
                  </a:lnTo>
                  <a:lnTo>
                    <a:pt x="16465" y="3288"/>
                  </a:lnTo>
                  <a:lnTo>
                    <a:pt x="16461" y="3291"/>
                  </a:lnTo>
                  <a:lnTo>
                    <a:pt x="16450" y="3285"/>
                  </a:lnTo>
                  <a:lnTo>
                    <a:pt x="16430" y="3281"/>
                  </a:lnTo>
                  <a:lnTo>
                    <a:pt x="16418" y="3275"/>
                  </a:lnTo>
                  <a:lnTo>
                    <a:pt x="16407" y="3267"/>
                  </a:lnTo>
                  <a:lnTo>
                    <a:pt x="16400" y="3257"/>
                  </a:lnTo>
                  <a:lnTo>
                    <a:pt x="16395" y="3246"/>
                  </a:lnTo>
                  <a:lnTo>
                    <a:pt x="16391" y="3246"/>
                  </a:lnTo>
                  <a:lnTo>
                    <a:pt x="16381" y="3253"/>
                  </a:lnTo>
                  <a:lnTo>
                    <a:pt x="16377" y="3242"/>
                  </a:lnTo>
                  <a:lnTo>
                    <a:pt x="16377" y="3213"/>
                  </a:lnTo>
                  <a:lnTo>
                    <a:pt x="16381" y="3184"/>
                  </a:lnTo>
                  <a:lnTo>
                    <a:pt x="16378" y="3171"/>
                  </a:lnTo>
                  <a:lnTo>
                    <a:pt x="16364" y="3163"/>
                  </a:lnTo>
                  <a:lnTo>
                    <a:pt x="16337" y="3164"/>
                  </a:lnTo>
                  <a:lnTo>
                    <a:pt x="16323" y="3180"/>
                  </a:lnTo>
                  <a:lnTo>
                    <a:pt x="16317" y="3203"/>
                  </a:lnTo>
                  <a:lnTo>
                    <a:pt x="16309" y="3268"/>
                  </a:lnTo>
                  <a:lnTo>
                    <a:pt x="16304" y="3279"/>
                  </a:lnTo>
                  <a:lnTo>
                    <a:pt x="16291" y="3290"/>
                  </a:lnTo>
                  <a:lnTo>
                    <a:pt x="16278" y="3299"/>
                  </a:lnTo>
                  <a:lnTo>
                    <a:pt x="16235" y="3318"/>
                  </a:lnTo>
                  <a:lnTo>
                    <a:pt x="16229" y="3320"/>
                  </a:lnTo>
                  <a:lnTo>
                    <a:pt x="16220" y="3320"/>
                  </a:lnTo>
                  <a:lnTo>
                    <a:pt x="16204" y="3325"/>
                  </a:lnTo>
                  <a:lnTo>
                    <a:pt x="16198" y="3325"/>
                  </a:lnTo>
                  <a:lnTo>
                    <a:pt x="16187" y="3331"/>
                  </a:lnTo>
                  <a:lnTo>
                    <a:pt x="16179" y="3344"/>
                  </a:lnTo>
                  <a:lnTo>
                    <a:pt x="16175" y="3360"/>
                  </a:lnTo>
                  <a:lnTo>
                    <a:pt x="16173" y="3374"/>
                  </a:lnTo>
                  <a:lnTo>
                    <a:pt x="16176" y="3399"/>
                  </a:lnTo>
                  <a:lnTo>
                    <a:pt x="16183" y="3425"/>
                  </a:lnTo>
                  <a:lnTo>
                    <a:pt x="16186" y="3449"/>
                  </a:lnTo>
                  <a:lnTo>
                    <a:pt x="16178" y="3471"/>
                  </a:lnTo>
                  <a:lnTo>
                    <a:pt x="16165" y="3478"/>
                  </a:lnTo>
                  <a:lnTo>
                    <a:pt x="16134" y="3481"/>
                  </a:lnTo>
                  <a:lnTo>
                    <a:pt x="16122" y="3486"/>
                  </a:lnTo>
                  <a:lnTo>
                    <a:pt x="16116" y="3490"/>
                  </a:lnTo>
                  <a:lnTo>
                    <a:pt x="16108" y="3494"/>
                  </a:lnTo>
                  <a:lnTo>
                    <a:pt x="16100" y="3498"/>
                  </a:lnTo>
                  <a:lnTo>
                    <a:pt x="16094" y="3506"/>
                  </a:lnTo>
                  <a:lnTo>
                    <a:pt x="16091" y="3512"/>
                  </a:lnTo>
                  <a:lnTo>
                    <a:pt x="16091" y="3526"/>
                  </a:lnTo>
                  <a:lnTo>
                    <a:pt x="16089" y="3532"/>
                  </a:lnTo>
                  <a:lnTo>
                    <a:pt x="16082" y="3546"/>
                  </a:lnTo>
                  <a:lnTo>
                    <a:pt x="16066" y="3569"/>
                  </a:lnTo>
                  <a:lnTo>
                    <a:pt x="16063" y="3583"/>
                  </a:lnTo>
                  <a:lnTo>
                    <a:pt x="16066" y="3598"/>
                  </a:lnTo>
                  <a:lnTo>
                    <a:pt x="16072" y="3609"/>
                  </a:lnTo>
                  <a:lnTo>
                    <a:pt x="16073" y="3618"/>
                  </a:lnTo>
                  <a:lnTo>
                    <a:pt x="16063" y="3629"/>
                  </a:lnTo>
                  <a:lnTo>
                    <a:pt x="16024" y="3642"/>
                  </a:lnTo>
                  <a:lnTo>
                    <a:pt x="16018" y="3649"/>
                  </a:lnTo>
                  <a:lnTo>
                    <a:pt x="16019" y="3661"/>
                  </a:lnTo>
                  <a:lnTo>
                    <a:pt x="16020" y="3669"/>
                  </a:lnTo>
                  <a:lnTo>
                    <a:pt x="16024" y="3676"/>
                  </a:lnTo>
                  <a:lnTo>
                    <a:pt x="16073" y="3735"/>
                  </a:lnTo>
                  <a:lnTo>
                    <a:pt x="16085" y="3757"/>
                  </a:lnTo>
                  <a:lnTo>
                    <a:pt x="16078" y="3773"/>
                  </a:lnTo>
                  <a:lnTo>
                    <a:pt x="16064" y="3829"/>
                  </a:lnTo>
                  <a:lnTo>
                    <a:pt x="16058" y="3842"/>
                  </a:lnTo>
                  <a:lnTo>
                    <a:pt x="16049" y="3857"/>
                  </a:lnTo>
                  <a:lnTo>
                    <a:pt x="16045" y="3860"/>
                  </a:lnTo>
                  <a:lnTo>
                    <a:pt x="16038" y="3860"/>
                  </a:lnTo>
                  <a:lnTo>
                    <a:pt x="16027" y="3858"/>
                  </a:lnTo>
                  <a:lnTo>
                    <a:pt x="16014" y="3852"/>
                  </a:lnTo>
                  <a:lnTo>
                    <a:pt x="16006" y="3843"/>
                  </a:lnTo>
                  <a:lnTo>
                    <a:pt x="15992" y="3822"/>
                  </a:lnTo>
                  <a:lnTo>
                    <a:pt x="15973" y="3802"/>
                  </a:lnTo>
                  <a:lnTo>
                    <a:pt x="15962" y="3792"/>
                  </a:lnTo>
                  <a:lnTo>
                    <a:pt x="15947" y="3783"/>
                  </a:lnTo>
                  <a:lnTo>
                    <a:pt x="15945" y="3787"/>
                  </a:lnTo>
                  <a:lnTo>
                    <a:pt x="15943" y="3792"/>
                  </a:lnTo>
                  <a:lnTo>
                    <a:pt x="15942" y="3798"/>
                  </a:lnTo>
                  <a:lnTo>
                    <a:pt x="15943" y="3805"/>
                  </a:lnTo>
                  <a:lnTo>
                    <a:pt x="15937" y="3803"/>
                  </a:lnTo>
                  <a:lnTo>
                    <a:pt x="15931" y="3801"/>
                  </a:lnTo>
                  <a:lnTo>
                    <a:pt x="15921" y="3796"/>
                  </a:lnTo>
                  <a:lnTo>
                    <a:pt x="15916" y="3814"/>
                  </a:lnTo>
                  <a:lnTo>
                    <a:pt x="15923" y="3835"/>
                  </a:lnTo>
                  <a:lnTo>
                    <a:pt x="15936" y="3854"/>
                  </a:lnTo>
                  <a:lnTo>
                    <a:pt x="15947" y="3866"/>
                  </a:lnTo>
                  <a:lnTo>
                    <a:pt x="15963" y="3876"/>
                  </a:lnTo>
                  <a:lnTo>
                    <a:pt x="15983" y="3880"/>
                  </a:lnTo>
                  <a:lnTo>
                    <a:pt x="16004" y="3879"/>
                  </a:lnTo>
                  <a:lnTo>
                    <a:pt x="16023" y="3871"/>
                  </a:lnTo>
                  <a:lnTo>
                    <a:pt x="16028" y="3882"/>
                  </a:lnTo>
                  <a:lnTo>
                    <a:pt x="16032" y="3901"/>
                  </a:lnTo>
                  <a:lnTo>
                    <a:pt x="16033" y="3920"/>
                  </a:lnTo>
                  <a:lnTo>
                    <a:pt x="16029" y="3928"/>
                  </a:lnTo>
                  <a:lnTo>
                    <a:pt x="16022" y="3937"/>
                  </a:lnTo>
                  <a:lnTo>
                    <a:pt x="16016" y="3956"/>
                  </a:lnTo>
                  <a:lnTo>
                    <a:pt x="16001" y="4104"/>
                  </a:lnTo>
                  <a:lnTo>
                    <a:pt x="16003" y="4118"/>
                  </a:lnTo>
                  <a:lnTo>
                    <a:pt x="16012" y="4138"/>
                  </a:lnTo>
                  <a:lnTo>
                    <a:pt x="16014" y="4146"/>
                  </a:lnTo>
                  <a:lnTo>
                    <a:pt x="16017" y="4168"/>
                  </a:lnTo>
                  <a:lnTo>
                    <a:pt x="16023" y="4192"/>
                  </a:lnTo>
                  <a:lnTo>
                    <a:pt x="16038" y="4222"/>
                  </a:lnTo>
                  <a:lnTo>
                    <a:pt x="16040" y="4230"/>
                  </a:lnTo>
                  <a:lnTo>
                    <a:pt x="16043" y="4236"/>
                  </a:lnTo>
                  <a:lnTo>
                    <a:pt x="16058" y="4253"/>
                  </a:lnTo>
                  <a:lnTo>
                    <a:pt x="16063" y="4263"/>
                  </a:lnTo>
                  <a:lnTo>
                    <a:pt x="16063" y="4270"/>
                  </a:lnTo>
                  <a:lnTo>
                    <a:pt x="16063" y="4291"/>
                  </a:lnTo>
                  <a:lnTo>
                    <a:pt x="16064" y="4297"/>
                  </a:lnTo>
                  <a:lnTo>
                    <a:pt x="16070" y="4305"/>
                  </a:lnTo>
                  <a:lnTo>
                    <a:pt x="16071" y="4309"/>
                  </a:lnTo>
                  <a:lnTo>
                    <a:pt x="16070" y="4325"/>
                  </a:lnTo>
                  <a:lnTo>
                    <a:pt x="16068" y="4338"/>
                  </a:lnTo>
                  <a:lnTo>
                    <a:pt x="16058" y="4364"/>
                  </a:lnTo>
                  <a:lnTo>
                    <a:pt x="16044" y="4354"/>
                  </a:lnTo>
                  <a:lnTo>
                    <a:pt x="16034" y="4338"/>
                  </a:lnTo>
                  <a:lnTo>
                    <a:pt x="16023" y="4302"/>
                  </a:lnTo>
                  <a:lnTo>
                    <a:pt x="15999" y="4255"/>
                  </a:lnTo>
                  <a:lnTo>
                    <a:pt x="15996" y="4238"/>
                  </a:lnTo>
                  <a:lnTo>
                    <a:pt x="15986" y="4214"/>
                  </a:lnTo>
                  <a:lnTo>
                    <a:pt x="15985" y="4210"/>
                  </a:lnTo>
                  <a:lnTo>
                    <a:pt x="15979" y="4213"/>
                  </a:lnTo>
                  <a:lnTo>
                    <a:pt x="15966" y="4231"/>
                  </a:lnTo>
                  <a:lnTo>
                    <a:pt x="15958" y="4238"/>
                  </a:lnTo>
                  <a:lnTo>
                    <a:pt x="15944" y="4245"/>
                  </a:lnTo>
                  <a:lnTo>
                    <a:pt x="15937" y="4250"/>
                  </a:lnTo>
                  <a:lnTo>
                    <a:pt x="15934" y="4256"/>
                  </a:lnTo>
                  <a:lnTo>
                    <a:pt x="15936" y="4260"/>
                  </a:lnTo>
                  <a:lnTo>
                    <a:pt x="15952" y="4276"/>
                  </a:lnTo>
                  <a:lnTo>
                    <a:pt x="15921" y="4302"/>
                  </a:lnTo>
                  <a:lnTo>
                    <a:pt x="15901" y="4311"/>
                  </a:lnTo>
                  <a:lnTo>
                    <a:pt x="15898" y="4313"/>
                  </a:lnTo>
                  <a:lnTo>
                    <a:pt x="15890" y="4329"/>
                  </a:lnTo>
                  <a:lnTo>
                    <a:pt x="15881" y="4335"/>
                  </a:lnTo>
                  <a:lnTo>
                    <a:pt x="15858" y="4348"/>
                  </a:lnTo>
                  <a:lnTo>
                    <a:pt x="15850" y="4355"/>
                  </a:lnTo>
                  <a:lnTo>
                    <a:pt x="15846" y="4366"/>
                  </a:lnTo>
                  <a:lnTo>
                    <a:pt x="15839" y="4393"/>
                  </a:lnTo>
                  <a:lnTo>
                    <a:pt x="15834" y="4401"/>
                  </a:lnTo>
                  <a:lnTo>
                    <a:pt x="15827" y="4410"/>
                  </a:lnTo>
                  <a:lnTo>
                    <a:pt x="15822" y="4421"/>
                  </a:lnTo>
                  <a:lnTo>
                    <a:pt x="15817" y="4458"/>
                  </a:lnTo>
                  <a:lnTo>
                    <a:pt x="15808" y="4482"/>
                  </a:lnTo>
                  <a:lnTo>
                    <a:pt x="15804" y="4507"/>
                  </a:lnTo>
                  <a:lnTo>
                    <a:pt x="15797" y="4517"/>
                  </a:lnTo>
                  <a:lnTo>
                    <a:pt x="15788" y="4525"/>
                  </a:lnTo>
                  <a:lnTo>
                    <a:pt x="15777" y="4527"/>
                  </a:lnTo>
                  <a:lnTo>
                    <a:pt x="15769" y="4531"/>
                  </a:lnTo>
                  <a:lnTo>
                    <a:pt x="15762" y="4538"/>
                  </a:lnTo>
                  <a:lnTo>
                    <a:pt x="15757" y="4547"/>
                  </a:lnTo>
                  <a:lnTo>
                    <a:pt x="15752" y="4553"/>
                  </a:lnTo>
                  <a:lnTo>
                    <a:pt x="15737" y="4566"/>
                  </a:lnTo>
                  <a:lnTo>
                    <a:pt x="15723" y="4582"/>
                  </a:lnTo>
                  <a:lnTo>
                    <a:pt x="15713" y="4603"/>
                  </a:lnTo>
                  <a:lnTo>
                    <a:pt x="15713" y="4628"/>
                  </a:lnTo>
                  <a:lnTo>
                    <a:pt x="15724" y="4657"/>
                  </a:lnTo>
                  <a:lnTo>
                    <a:pt x="15726" y="4670"/>
                  </a:lnTo>
                  <a:lnTo>
                    <a:pt x="15723" y="4677"/>
                  </a:lnTo>
                  <a:lnTo>
                    <a:pt x="15708" y="4689"/>
                  </a:lnTo>
                  <a:lnTo>
                    <a:pt x="15703" y="4694"/>
                  </a:lnTo>
                  <a:lnTo>
                    <a:pt x="15701" y="4701"/>
                  </a:lnTo>
                  <a:lnTo>
                    <a:pt x="15701" y="4705"/>
                  </a:lnTo>
                  <a:lnTo>
                    <a:pt x="15702" y="4709"/>
                  </a:lnTo>
                  <a:lnTo>
                    <a:pt x="15706" y="4762"/>
                  </a:lnTo>
                  <a:lnTo>
                    <a:pt x="15710" y="4769"/>
                  </a:lnTo>
                  <a:lnTo>
                    <a:pt x="15726" y="4813"/>
                  </a:lnTo>
                  <a:lnTo>
                    <a:pt x="15723" y="4826"/>
                  </a:lnTo>
                  <a:lnTo>
                    <a:pt x="15711" y="4850"/>
                  </a:lnTo>
                  <a:lnTo>
                    <a:pt x="15708" y="4864"/>
                  </a:lnTo>
                  <a:lnTo>
                    <a:pt x="15710" y="4891"/>
                  </a:lnTo>
                  <a:lnTo>
                    <a:pt x="15723" y="4947"/>
                  </a:lnTo>
                  <a:lnTo>
                    <a:pt x="15728" y="4958"/>
                  </a:lnTo>
                  <a:lnTo>
                    <a:pt x="15737" y="4969"/>
                  </a:lnTo>
                  <a:lnTo>
                    <a:pt x="15743" y="4975"/>
                  </a:lnTo>
                  <a:lnTo>
                    <a:pt x="15747" y="4977"/>
                  </a:lnTo>
                  <a:lnTo>
                    <a:pt x="15748" y="4980"/>
                  </a:lnTo>
                  <a:lnTo>
                    <a:pt x="15748" y="4989"/>
                  </a:lnTo>
                  <a:lnTo>
                    <a:pt x="15739" y="5045"/>
                  </a:lnTo>
                  <a:lnTo>
                    <a:pt x="15735" y="5061"/>
                  </a:lnTo>
                  <a:lnTo>
                    <a:pt x="15728" y="5068"/>
                  </a:lnTo>
                  <a:lnTo>
                    <a:pt x="15717" y="5066"/>
                  </a:lnTo>
                  <a:lnTo>
                    <a:pt x="15707" y="5062"/>
                  </a:lnTo>
                  <a:lnTo>
                    <a:pt x="15696" y="5061"/>
                  </a:lnTo>
                  <a:lnTo>
                    <a:pt x="15681" y="5064"/>
                  </a:lnTo>
                  <a:lnTo>
                    <a:pt x="15662" y="5076"/>
                  </a:lnTo>
                  <a:lnTo>
                    <a:pt x="15650" y="5094"/>
                  </a:lnTo>
                  <a:lnTo>
                    <a:pt x="15630" y="5165"/>
                  </a:lnTo>
                  <a:lnTo>
                    <a:pt x="15621" y="5183"/>
                  </a:lnTo>
                  <a:lnTo>
                    <a:pt x="15597" y="5218"/>
                  </a:lnTo>
                  <a:lnTo>
                    <a:pt x="15602" y="5227"/>
                  </a:lnTo>
                  <a:lnTo>
                    <a:pt x="15600" y="5236"/>
                  </a:lnTo>
                  <a:lnTo>
                    <a:pt x="15595" y="5244"/>
                  </a:lnTo>
                  <a:lnTo>
                    <a:pt x="15593" y="5252"/>
                  </a:lnTo>
                  <a:lnTo>
                    <a:pt x="15595" y="5315"/>
                  </a:lnTo>
                  <a:lnTo>
                    <a:pt x="15599" y="5331"/>
                  </a:lnTo>
                  <a:lnTo>
                    <a:pt x="15602" y="5372"/>
                  </a:lnTo>
                  <a:lnTo>
                    <a:pt x="15598" y="5379"/>
                  </a:lnTo>
                  <a:lnTo>
                    <a:pt x="15565" y="5406"/>
                  </a:lnTo>
                  <a:lnTo>
                    <a:pt x="15552" y="5411"/>
                  </a:lnTo>
                  <a:lnTo>
                    <a:pt x="15541" y="5417"/>
                  </a:lnTo>
                  <a:lnTo>
                    <a:pt x="15531" y="5430"/>
                  </a:lnTo>
                  <a:lnTo>
                    <a:pt x="15524" y="5452"/>
                  </a:lnTo>
                  <a:lnTo>
                    <a:pt x="15520" y="5458"/>
                  </a:lnTo>
                  <a:lnTo>
                    <a:pt x="15513" y="5463"/>
                  </a:lnTo>
                  <a:lnTo>
                    <a:pt x="15499" y="5471"/>
                  </a:lnTo>
                  <a:close/>
                  <a:moveTo>
                    <a:pt x="29721" y="9240"/>
                  </a:moveTo>
                  <a:lnTo>
                    <a:pt x="29721" y="9240"/>
                  </a:lnTo>
                  <a:lnTo>
                    <a:pt x="29721" y="9068"/>
                  </a:lnTo>
                  <a:lnTo>
                    <a:pt x="29721" y="8313"/>
                  </a:lnTo>
                  <a:lnTo>
                    <a:pt x="29721" y="8243"/>
                  </a:lnTo>
                  <a:lnTo>
                    <a:pt x="29712" y="8244"/>
                  </a:lnTo>
                  <a:lnTo>
                    <a:pt x="29700" y="8237"/>
                  </a:lnTo>
                  <a:lnTo>
                    <a:pt x="29697" y="8217"/>
                  </a:lnTo>
                  <a:lnTo>
                    <a:pt x="29682" y="8221"/>
                  </a:lnTo>
                  <a:lnTo>
                    <a:pt x="29677" y="8212"/>
                  </a:lnTo>
                  <a:lnTo>
                    <a:pt x="29676" y="8199"/>
                  </a:lnTo>
                  <a:lnTo>
                    <a:pt x="29673" y="8188"/>
                  </a:lnTo>
                  <a:lnTo>
                    <a:pt x="29660" y="8179"/>
                  </a:lnTo>
                  <a:lnTo>
                    <a:pt x="29655" y="8174"/>
                  </a:lnTo>
                  <a:lnTo>
                    <a:pt x="29653" y="8166"/>
                  </a:lnTo>
                  <a:lnTo>
                    <a:pt x="29654" y="8163"/>
                  </a:lnTo>
                  <a:lnTo>
                    <a:pt x="29660" y="8155"/>
                  </a:lnTo>
                  <a:lnTo>
                    <a:pt x="29662" y="8151"/>
                  </a:lnTo>
                  <a:lnTo>
                    <a:pt x="29658" y="8143"/>
                  </a:lnTo>
                  <a:lnTo>
                    <a:pt x="29644" y="8131"/>
                  </a:lnTo>
                  <a:lnTo>
                    <a:pt x="29639" y="8124"/>
                  </a:lnTo>
                  <a:lnTo>
                    <a:pt x="29639" y="8118"/>
                  </a:lnTo>
                  <a:lnTo>
                    <a:pt x="29640" y="8112"/>
                  </a:lnTo>
                  <a:lnTo>
                    <a:pt x="29644" y="8104"/>
                  </a:lnTo>
                  <a:lnTo>
                    <a:pt x="29649" y="8083"/>
                  </a:lnTo>
                  <a:lnTo>
                    <a:pt x="29649" y="8071"/>
                  </a:lnTo>
                  <a:lnTo>
                    <a:pt x="29639" y="8066"/>
                  </a:lnTo>
                  <a:lnTo>
                    <a:pt x="29645" y="8057"/>
                  </a:lnTo>
                  <a:lnTo>
                    <a:pt x="29655" y="8053"/>
                  </a:lnTo>
                  <a:lnTo>
                    <a:pt x="29666" y="8051"/>
                  </a:lnTo>
                  <a:lnTo>
                    <a:pt x="29675" y="8044"/>
                  </a:lnTo>
                  <a:lnTo>
                    <a:pt x="29674" y="8040"/>
                  </a:lnTo>
                  <a:lnTo>
                    <a:pt x="29669" y="8034"/>
                  </a:lnTo>
                  <a:lnTo>
                    <a:pt x="29667" y="8029"/>
                  </a:lnTo>
                  <a:lnTo>
                    <a:pt x="29673" y="8027"/>
                  </a:lnTo>
                  <a:lnTo>
                    <a:pt x="29678" y="8026"/>
                  </a:lnTo>
                  <a:lnTo>
                    <a:pt x="29681" y="8024"/>
                  </a:lnTo>
                  <a:lnTo>
                    <a:pt x="29683" y="8021"/>
                  </a:lnTo>
                  <a:lnTo>
                    <a:pt x="29684" y="8004"/>
                  </a:lnTo>
                  <a:lnTo>
                    <a:pt x="29685" y="7997"/>
                  </a:lnTo>
                  <a:lnTo>
                    <a:pt x="29690" y="7993"/>
                  </a:lnTo>
                  <a:lnTo>
                    <a:pt x="29700" y="7991"/>
                  </a:lnTo>
                  <a:lnTo>
                    <a:pt x="29704" y="7986"/>
                  </a:lnTo>
                  <a:lnTo>
                    <a:pt x="29706" y="7974"/>
                  </a:lnTo>
                  <a:lnTo>
                    <a:pt x="29703" y="7964"/>
                  </a:lnTo>
                  <a:lnTo>
                    <a:pt x="29693" y="7964"/>
                  </a:lnTo>
                  <a:lnTo>
                    <a:pt x="29693" y="7957"/>
                  </a:lnTo>
                  <a:lnTo>
                    <a:pt x="29691" y="7951"/>
                  </a:lnTo>
                  <a:lnTo>
                    <a:pt x="29687" y="7948"/>
                  </a:lnTo>
                  <a:lnTo>
                    <a:pt x="29680" y="7947"/>
                  </a:lnTo>
                  <a:lnTo>
                    <a:pt x="29685" y="7944"/>
                  </a:lnTo>
                  <a:lnTo>
                    <a:pt x="29692" y="7942"/>
                  </a:lnTo>
                  <a:lnTo>
                    <a:pt x="29698" y="7942"/>
                  </a:lnTo>
                  <a:lnTo>
                    <a:pt x="29706" y="7942"/>
                  </a:lnTo>
                  <a:lnTo>
                    <a:pt x="29704" y="7934"/>
                  </a:lnTo>
                  <a:lnTo>
                    <a:pt x="29708" y="7929"/>
                  </a:lnTo>
                  <a:lnTo>
                    <a:pt x="29712" y="7925"/>
                  </a:lnTo>
                  <a:lnTo>
                    <a:pt x="29715" y="7918"/>
                  </a:lnTo>
                  <a:lnTo>
                    <a:pt x="29713" y="7914"/>
                  </a:lnTo>
                  <a:lnTo>
                    <a:pt x="29707" y="7909"/>
                  </a:lnTo>
                  <a:lnTo>
                    <a:pt x="29706" y="7905"/>
                  </a:lnTo>
                  <a:lnTo>
                    <a:pt x="29706" y="7902"/>
                  </a:lnTo>
                  <a:lnTo>
                    <a:pt x="29710" y="7901"/>
                  </a:lnTo>
                  <a:lnTo>
                    <a:pt x="29713" y="7888"/>
                  </a:lnTo>
                  <a:lnTo>
                    <a:pt x="29719" y="7881"/>
                  </a:lnTo>
                  <a:lnTo>
                    <a:pt x="29721" y="7880"/>
                  </a:lnTo>
                  <a:lnTo>
                    <a:pt x="29721" y="7018"/>
                  </a:lnTo>
                  <a:lnTo>
                    <a:pt x="29721" y="6872"/>
                  </a:lnTo>
                  <a:lnTo>
                    <a:pt x="29720" y="6758"/>
                  </a:lnTo>
                  <a:lnTo>
                    <a:pt x="29720" y="6486"/>
                  </a:lnTo>
                  <a:lnTo>
                    <a:pt x="29720" y="6375"/>
                  </a:lnTo>
                  <a:lnTo>
                    <a:pt x="29719" y="6245"/>
                  </a:lnTo>
                  <a:lnTo>
                    <a:pt x="29719" y="6104"/>
                  </a:lnTo>
                  <a:lnTo>
                    <a:pt x="29718" y="5891"/>
                  </a:lnTo>
                  <a:lnTo>
                    <a:pt x="29719" y="5732"/>
                  </a:lnTo>
                  <a:lnTo>
                    <a:pt x="29719" y="5606"/>
                  </a:lnTo>
                  <a:lnTo>
                    <a:pt x="29720" y="5493"/>
                  </a:lnTo>
                  <a:lnTo>
                    <a:pt x="29720" y="5473"/>
                  </a:lnTo>
                  <a:lnTo>
                    <a:pt x="29714" y="5473"/>
                  </a:lnTo>
                  <a:lnTo>
                    <a:pt x="29686" y="5478"/>
                  </a:lnTo>
                  <a:lnTo>
                    <a:pt x="29626" y="5478"/>
                  </a:lnTo>
                  <a:lnTo>
                    <a:pt x="29619" y="5480"/>
                  </a:lnTo>
                  <a:lnTo>
                    <a:pt x="29604" y="5486"/>
                  </a:lnTo>
                  <a:lnTo>
                    <a:pt x="29598" y="5487"/>
                  </a:lnTo>
                  <a:lnTo>
                    <a:pt x="29591" y="5485"/>
                  </a:lnTo>
                  <a:lnTo>
                    <a:pt x="29579" y="5476"/>
                  </a:lnTo>
                  <a:lnTo>
                    <a:pt x="29576" y="5473"/>
                  </a:lnTo>
                  <a:lnTo>
                    <a:pt x="29570" y="5477"/>
                  </a:lnTo>
                  <a:lnTo>
                    <a:pt x="29569" y="5483"/>
                  </a:lnTo>
                  <a:lnTo>
                    <a:pt x="29568" y="5491"/>
                  </a:lnTo>
                  <a:lnTo>
                    <a:pt x="29565" y="5496"/>
                  </a:lnTo>
                  <a:lnTo>
                    <a:pt x="29558" y="5495"/>
                  </a:lnTo>
                  <a:lnTo>
                    <a:pt x="29551" y="5490"/>
                  </a:lnTo>
                  <a:lnTo>
                    <a:pt x="29545" y="5484"/>
                  </a:lnTo>
                  <a:lnTo>
                    <a:pt x="29542" y="5478"/>
                  </a:lnTo>
                  <a:lnTo>
                    <a:pt x="29566" y="5450"/>
                  </a:lnTo>
                  <a:lnTo>
                    <a:pt x="29569" y="5441"/>
                  </a:lnTo>
                  <a:lnTo>
                    <a:pt x="29572" y="5419"/>
                  </a:lnTo>
                  <a:lnTo>
                    <a:pt x="29571" y="5408"/>
                  </a:lnTo>
                  <a:lnTo>
                    <a:pt x="29562" y="5403"/>
                  </a:lnTo>
                  <a:lnTo>
                    <a:pt x="29483" y="5370"/>
                  </a:lnTo>
                  <a:lnTo>
                    <a:pt x="29413" y="5367"/>
                  </a:lnTo>
                  <a:lnTo>
                    <a:pt x="29402" y="5365"/>
                  </a:lnTo>
                  <a:lnTo>
                    <a:pt x="29341" y="5343"/>
                  </a:lnTo>
                  <a:lnTo>
                    <a:pt x="29334" y="5341"/>
                  </a:lnTo>
                  <a:lnTo>
                    <a:pt x="29325" y="5348"/>
                  </a:lnTo>
                  <a:lnTo>
                    <a:pt x="29328" y="5352"/>
                  </a:lnTo>
                  <a:lnTo>
                    <a:pt x="29336" y="5357"/>
                  </a:lnTo>
                  <a:lnTo>
                    <a:pt x="29338" y="5363"/>
                  </a:lnTo>
                  <a:lnTo>
                    <a:pt x="29335" y="5371"/>
                  </a:lnTo>
                  <a:lnTo>
                    <a:pt x="29330" y="5376"/>
                  </a:lnTo>
                  <a:lnTo>
                    <a:pt x="29323" y="5376"/>
                  </a:lnTo>
                  <a:lnTo>
                    <a:pt x="29316" y="5372"/>
                  </a:lnTo>
                  <a:lnTo>
                    <a:pt x="29305" y="5380"/>
                  </a:lnTo>
                  <a:lnTo>
                    <a:pt x="29291" y="5375"/>
                  </a:lnTo>
                  <a:lnTo>
                    <a:pt x="29276" y="5365"/>
                  </a:lnTo>
                  <a:lnTo>
                    <a:pt x="29236" y="5348"/>
                  </a:lnTo>
                  <a:lnTo>
                    <a:pt x="29226" y="5346"/>
                  </a:lnTo>
                  <a:lnTo>
                    <a:pt x="29201" y="5311"/>
                  </a:lnTo>
                  <a:lnTo>
                    <a:pt x="29199" y="5305"/>
                  </a:lnTo>
                  <a:lnTo>
                    <a:pt x="29198" y="5301"/>
                  </a:lnTo>
                  <a:lnTo>
                    <a:pt x="29197" y="5297"/>
                  </a:lnTo>
                  <a:lnTo>
                    <a:pt x="29192" y="5294"/>
                  </a:lnTo>
                  <a:lnTo>
                    <a:pt x="29188" y="5295"/>
                  </a:lnTo>
                  <a:lnTo>
                    <a:pt x="29187" y="5304"/>
                  </a:lnTo>
                  <a:lnTo>
                    <a:pt x="29183" y="5307"/>
                  </a:lnTo>
                  <a:lnTo>
                    <a:pt x="29168" y="5298"/>
                  </a:lnTo>
                  <a:lnTo>
                    <a:pt x="29157" y="5293"/>
                  </a:lnTo>
                  <a:lnTo>
                    <a:pt x="29153" y="5295"/>
                  </a:lnTo>
                  <a:lnTo>
                    <a:pt x="29145" y="5308"/>
                  </a:lnTo>
                  <a:lnTo>
                    <a:pt x="29128" y="5315"/>
                  </a:lnTo>
                  <a:lnTo>
                    <a:pt x="29002" y="5327"/>
                  </a:lnTo>
                  <a:lnTo>
                    <a:pt x="28975" y="5324"/>
                  </a:lnTo>
                  <a:lnTo>
                    <a:pt x="28948" y="5315"/>
                  </a:lnTo>
                  <a:lnTo>
                    <a:pt x="28882" y="5276"/>
                  </a:lnTo>
                  <a:lnTo>
                    <a:pt x="28776" y="5236"/>
                  </a:lnTo>
                  <a:lnTo>
                    <a:pt x="28746" y="5213"/>
                  </a:lnTo>
                  <a:lnTo>
                    <a:pt x="28738" y="5209"/>
                  </a:lnTo>
                  <a:lnTo>
                    <a:pt x="28728" y="5207"/>
                  </a:lnTo>
                  <a:lnTo>
                    <a:pt x="28692" y="5187"/>
                  </a:lnTo>
                  <a:lnTo>
                    <a:pt x="28626" y="5166"/>
                  </a:lnTo>
                  <a:lnTo>
                    <a:pt x="28512" y="5096"/>
                  </a:lnTo>
                  <a:lnTo>
                    <a:pt x="28410" y="5062"/>
                  </a:lnTo>
                  <a:lnTo>
                    <a:pt x="28397" y="5060"/>
                  </a:lnTo>
                  <a:lnTo>
                    <a:pt x="28354" y="5059"/>
                  </a:lnTo>
                  <a:lnTo>
                    <a:pt x="28341" y="5055"/>
                  </a:lnTo>
                  <a:lnTo>
                    <a:pt x="28316" y="5036"/>
                  </a:lnTo>
                  <a:lnTo>
                    <a:pt x="28272" y="4987"/>
                  </a:lnTo>
                  <a:lnTo>
                    <a:pt x="28227" y="4952"/>
                  </a:lnTo>
                  <a:lnTo>
                    <a:pt x="28197" y="4945"/>
                  </a:lnTo>
                  <a:lnTo>
                    <a:pt x="28183" y="4939"/>
                  </a:lnTo>
                  <a:lnTo>
                    <a:pt x="28137" y="4932"/>
                  </a:lnTo>
                  <a:lnTo>
                    <a:pt x="28027" y="4901"/>
                  </a:lnTo>
                  <a:lnTo>
                    <a:pt x="27945" y="4862"/>
                  </a:lnTo>
                  <a:lnTo>
                    <a:pt x="27873" y="4841"/>
                  </a:lnTo>
                  <a:lnTo>
                    <a:pt x="27845" y="4837"/>
                  </a:lnTo>
                  <a:lnTo>
                    <a:pt x="27834" y="4830"/>
                  </a:lnTo>
                  <a:lnTo>
                    <a:pt x="27804" y="4800"/>
                  </a:lnTo>
                  <a:lnTo>
                    <a:pt x="27798" y="4797"/>
                  </a:lnTo>
                  <a:lnTo>
                    <a:pt x="27790" y="4796"/>
                  </a:lnTo>
                  <a:lnTo>
                    <a:pt x="27786" y="4793"/>
                  </a:lnTo>
                  <a:lnTo>
                    <a:pt x="27774" y="4781"/>
                  </a:lnTo>
                  <a:lnTo>
                    <a:pt x="27768" y="4778"/>
                  </a:lnTo>
                  <a:lnTo>
                    <a:pt x="27753" y="4760"/>
                  </a:lnTo>
                  <a:lnTo>
                    <a:pt x="27748" y="4756"/>
                  </a:lnTo>
                  <a:lnTo>
                    <a:pt x="27721" y="4747"/>
                  </a:lnTo>
                  <a:lnTo>
                    <a:pt x="27692" y="4748"/>
                  </a:lnTo>
                  <a:lnTo>
                    <a:pt x="27664" y="4756"/>
                  </a:lnTo>
                  <a:lnTo>
                    <a:pt x="27494" y="4829"/>
                  </a:lnTo>
                  <a:lnTo>
                    <a:pt x="27484" y="4831"/>
                  </a:lnTo>
                  <a:lnTo>
                    <a:pt x="27480" y="4833"/>
                  </a:lnTo>
                  <a:lnTo>
                    <a:pt x="27472" y="4844"/>
                  </a:lnTo>
                  <a:lnTo>
                    <a:pt x="27468" y="4848"/>
                  </a:lnTo>
                  <a:lnTo>
                    <a:pt x="27464" y="4851"/>
                  </a:lnTo>
                  <a:lnTo>
                    <a:pt x="27450" y="4857"/>
                  </a:lnTo>
                  <a:lnTo>
                    <a:pt x="27375" y="4901"/>
                  </a:lnTo>
                  <a:lnTo>
                    <a:pt x="27242" y="4950"/>
                  </a:lnTo>
                  <a:lnTo>
                    <a:pt x="27230" y="4957"/>
                  </a:lnTo>
                  <a:lnTo>
                    <a:pt x="27225" y="4965"/>
                  </a:lnTo>
                  <a:lnTo>
                    <a:pt x="27225" y="4994"/>
                  </a:lnTo>
                  <a:lnTo>
                    <a:pt x="27222" y="5007"/>
                  </a:lnTo>
                  <a:lnTo>
                    <a:pt x="27216" y="5016"/>
                  </a:lnTo>
                  <a:lnTo>
                    <a:pt x="27251" y="5042"/>
                  </a:lnTo>
                  <a:lnTo>
                    <a:pt x="27258" y="5045"/>
                  </a:lnTo>
                  <a:lnTo>
                    <a:pt x="27275" y="5051"/>
                  </a:lnTo>
                  <a:lnTo>
                    <a:pt x="27282" y="5055"/>
                  </a:lnTo>
                  <a:lnTo>
                    <a:pt x="27285" y="5064"/>
                  </a:lnTo>
                  <a:lnTo>
                    <a:pt x="27286" y="5074"/>
                  </a:lnTo>
                  <a:lnTo>
                    <a:pt x="27283" y="5082"/>
                  </a:lnTo>
                  <a:lnTo>
                    <a:pt x="27276" y="5086"/>
                  </a:lnTo>
                  <a:lnTo>
                    <a:pt x="27274" y="5090"/>
                  </a:lnTo>
                  <a:lnTo>
                    <a:pt x="27281" y="5100"/>
                  </a:lnTo>
                  <a:lnTo>
                    <a:pt x="27296" y="5112"/>
                  </a:lnTo>
                  <a:lnTo>
                    <a:pt x="27301" y="5127"/>
                  </a:lnTo>
                  <a:lnTo>
                    <a:pt x="27296" y="5135"/>
                  </a:lnTo>
                  <a:lnTo>
                    <a:pt x="27276" y="5150"/>
                  </a:lnTo>
                  <a:lnTo>
                    <a:pt x="27265" y="5156"/>
                  </a:lnTo>
                  <a:lnTo>
                    <a:pt x="27250" y="5159"/>
                  </a:lnTo>
                  <a:lnTo>
                    <a:pt x="27165" y="5163"/>
                  </a:lnTo>
                  <a:lnTo>
                    <a:pt x="27138" y="5169"/>
                  </a:lnTo>
                  <a:lnTo>
                    <a:pt x="27118" y="5179"/>
                  </a:lnTo>
                  <a:lnTo>
                    <a:pt x="27115" y="5185"/>
                  </a:lnTo>
                  <a:lnTo>
                    <a:pt x="27113" y="5192"/>
                  </a:lnTo>
                  <a:lnTo>
                    <a:pt x="27110" y="5198"/>
                  </a:lnTo>
                  <a:lnTo>
                    <a:pt x="27103" y="5201"/>
                  </a:lnTo>
                  <a:lnTo>
                    <a:pt x="27064" y="5208"/>
                  </a:lnTo>
                  <a:lnTo>
                    <a:pt x="27030" y="5231"/>
                  </a:lnTo>
                  <a:lnTo>
                    <a:pt x="27024" y="5233"/>
                  </a:lnTo>
                  <a:lnTo>
                    <a:pt x="27006" y="5236"/>
                  </a:lnTo>
                  <a:lnTo>
                    <a:pt x="27002" y="5238"/>
                  </a:lnTo>
                  <a:lnTo>
                    <a:pt x="26998" y="5243"/>
                  </a:lnTo>
                  <a:lnTo>
                    <a:pt x="26994" y="5247"/>
                  </a:lnTo>
                  <a:lnTo>
                    <a:pt x="26988" y="5249"/>
                  </a:lnTo>
                  <a:lnTo>
                    <a:pt x="26980" y="5248"/>
                  </a:lnTo>
                  <a:lnTo>
                    <a:pt x="26967" y="5241"/>
                  </a:lnTo>
                  <a:lnTo>
                    <a:pt x="26959" y="5240"/>
                  </a:lnTo>
                  <a:lnTo>
                    <a:pt x="26946" y="5254"/>
                  </a:lnTo>
                  <a:lnTo>
                    <a:pt x="26921" y="5246"/>
                  </a:lnTo>
                  <a:lnTo>
                    <a:pt x="26912" y="5245"/>
                  </a:lnTo>
                  <a:lnTo>
                    <a:pt x="26908" y="5246"/>
                  </a:lnTo>
                  <a:lnTo>
                    <a:pt x="26900" y="5249"/>
                  </a:lnTo>
                  <a:lnTo>
                    <a:pt x="26895" y="5249"/>
                  </a:lnTo>
                  <a:lnTo>
                    <a:pt x="26893" y="5248"/>
                  </a:lnTo>
                  <a:lnTo>
                    <a:pt x="26888" y="5240"/>
                  </a:lnTo>
                  <a:lnTo>
                    <a:pt x="26871" y="5237"/>
                  </a:lnTo>
                  <a:lnTo>
                    <a:pt x="26855" y="5236"/>
                  </a:lnTo>
                  <a:lnTo>
                    <a:pt x="26848" y="5233"/>
                  </a:lnTo>
                  <a:lnTo>
                    <a:pt x="26848" y="5224"/>
                  </a:lnTo>
                  <a:lnTo>
                    <a:pt x="26850" y="5215"/>
                  </a:lnTo>
                  <a:lnTo>
                    <a:pt x="26848" y="5209"/>
                  </a:lnTo>
                  <a:lnTo>
                    <a:pt x="26841" y="5210"/>
                  </a:lnTo>
                  <a:lnTo>
                    <a:pt x="26822" y="5220"/>
                  </a:lnTo>
                  <a:lnTo>
                    <a:pt x="26814" y="5223"/>
                  </a:lnTo>
                  <a:lnTo>
                    <a:pt x="26781" y="5223"/>
                  </a:lnTo>
                  <a:lnTo>
                    <a:pt x="26764" y="5228"/>
                  </a:lnTo>
                  <a:lnTo>
                    <a:pt x="26749" y="5238"/>
                  </a:lnTo>
                  <a:lnTo>
                    <a:pt x="26737" y="5249"/>
                  </a:lnTo>
                  <a:lnTo>
                    <a:pt x="26728" y="5262"/>
                  </a:lnTo>
                  <a:lnTo>
                    <a:pt x="26724" y="5270"/>
                  </a:lnTo>
                  <a:lnTo>
                    <a:pt x="26723" y="5273"/>
                  </a:lnTo>
                  <a:lnTo>
                    <a:pt x="26725" y="5293"/>
                  </a:lnTo>
                  <a:lnTo>
                    <a:pt x="26728" y="5306"/>
                  </a:lnTo>
                  <a:lnTo>
                    <a:pt x="26728" y="5313"/>
                  </a:lnTo>
                  <a:lnTo>
                    <a:pt x="26726" y="5324"/>
                  </a:lnTo>
                  <a:lnTo>
                    <a:pt x="26719" y="5335"/>
                  </a:lnTo>
                  <a:lnTo>
                    <a:pt x="26699" y="5358"/>
                  </a:lnTo>
                  <a:lnTo>
                    <a:pt x="26693" y="5366"/>
                  </a:lnTo>
                  <a:lnTo>
                    <a:pt x="26690" y="5377"/>
                  </a:lnTo>
                  <a:lnTo>
                    <a:pt x="26686" y="5421"/>
                  </a:lnTo>
                  <a:lnTo>
                    <a:pt x="26682" y="5435"/>
                  </a:lnTo>
                  <a:lnTo>
                    <a:pt x="26675" y="5448"/>
                  </a:lnTo>
                  <a:lnTo>
                    <a:pt x="26656" y="5471"/>
                  </a:lnTo>
                  <a:lnTo>
                    <a:pt x="26631" y="5489"/>
                  </a:lnTo>
                  <a:lnTo>
                    <a:pt x="26574" y="5514"/>
                  </a:lnTo>
                  <a:lnTo>
                    <a:pt x="26558" y="5517"/>
                  </a:lnTo>
                  <a:lnTo>
                    <a:pt x="26550" y="5520"/>
                  </a:lnTo>
                  <a:lnTo>
                    <a:pt x="26547" y="5525"/>
                  </a:lnTo>
                  <a:lnTo>
                    <a:pt x="26544" y="5530"/>
                  </a:lnTo>
                  <a:lnTo>
                    <a:pt x="26539" y="5533"/>
                  </a:lnTo>
                  <a:lnTo>
                    <a:pt x="26533" y="5535"/>
                  </a:lnTo>
                  <a:lnTo>
                    <a:pt x="26527" y="5535"/>
                  </a:lnTo>
                  <a:lnTo>
                    <a:pt x="26518" y="5542"/>
                  </a:lnTo>
                  <a:lnTo>
                    <a:pt x="26512" y="5568"/>
                  </a:lnTo>
                  <a:lnTo>
                    <a:pt x="26502" y="5566"/>
                  </a:lnTo>
                  <a:lnTo>
                    <a:pt x="26498" y="5571"/>
                  </a:lnTo>
                  <a:lnTo>
                    <a:pt x="26484" y="5582"/>
                  </a:lnTo>
                  <a:lnTo>
                    <a:pt x="26480" y="5586"/>
                  </a:lnTo>
                  <a:lnTo>
                    <a:pt x="26480" y="5615"/>
                  </a:lnTo>
                  <a:lnTo>
                    <a:pt x="26478" y="5626"/>
                  </a:lnTo>
                  <a:lnTo>
                    <a:pt x="26472" y="5635"/>
                  </a:lnTo>
                  <a:lnTo>
                    <a:pt x="26456" y="5652"/>
                  </a:lnTo>
                  <a:lnTo>
                    <a:pt x="26455" y="5660"/>
                  </a:lnTo>
                  <a:lnTo>
                    <a:pt x="26462" y="5683"/>
                  </a:lnTo>
                  <a:lnTo>
                    <a:pt x="26462" y="5694"/>
                  </a:lnTo>
                  <a:lnTo>
                    <a:pt x="26456" y="5708"/>
                  </a:lnTo>
                  <a:lnTo>
                    <a:pt x="26445" y="5721"/>
                  </a:lnTo>
                  <a:lnTo>
                    <a:pt x="26431" y="5730"/>
                  </a:lnTo>
                  <a:lnTo>
                    <a:pt x="26402" y="5738"/>
                  </a:lnTo>
                  <a:lnTo>
                    <a:pt x="26385" y="5758"/>
                  </a:lnTo>
                  <a:lnTo>
                    <a:pt x="26374" y="5764"/>
                  </a:lnTo>
                  <a:lnTo>
                    <a:pt x="26358" y="5760"/>
                  </a:lnTo>
                  <a:lnTo>
                    <a:pt x="26354" y="5761"/>
                  </a:lnTo>
                  <a:lnTo>
                    <a:pt x="26353" y="5762"/>
                  </a:lnTo>
                  <a:lnTo>
                    <a:pt x="26351" y="5764"/>
                  </a:lnTo>
                  <a:lnTo>
                    <a:pt x="26346" y="5766"/>
                  </a:lnTo>
                  <a:lnTo>
                    <a:pt x="26343" y="5770"/>
                  </a:lnTo>
                  <a:lnTo>
                    <a:pt x="26340" y="5775"/>
                  </a:lnTo>
                  <a:lnTo>
                    <a:pt x="26339" y="5780"/>
                  </a:lnTo>
                  <a:lnTo>
                    <a:pt x="26343" y="5789"/>
                  </a:lnTo>
                  <a:lnTo>
                    <a:pt x="26350" y="5794"/>
                  </a:lnTo>
                  <a:lnTo>
                    <a:pt x="26353" y="5800"/>
                  </a:lnTo>
                  <a:lnTo>
                    <a:pt x="26343" y="5813"/>
                  </a:lnTo>
                  <a:lnTo>
                    <a:pt x="26321" y="5826"/>
                  </a:lnTo>
                  <a:lnTo>
                    <a:pt x="26270" y="5845"/>
                  </a:lnTo>
                  <a:lnTo>
                    <a:pt x="26245" y="5862"/>
                  </a:lnTo>
                  <a:lnTo>
                    <a:pt x="26227" y="5886"/>
                  </a:lnTo>
                  <a:lnTo>
                    <a:pt x="26226" y="5890"/>
                  </a:lnTo>
                  <a:lnTo>
                    <a:pt x="26228" y="5896"/>
                  </a:lnTo>
                  <a:lnTo>
                    <a:pt x="26227" y="5904"/>
                  </a:lnTo>
                  <a:lnTo>
                    <a:pt x="26225" y="5911"/>
                  </a:lnTo>
                  <a:lnTo>
                    <a:pt x="26221" y="5917"/>
                  </a:lnTo>
                  <a:lnTo>
                    <a:pt x="26194" y="5946"/>
                  </a:lnTo>
                  <a:lnTo>
                    <a:pt x="26183" y="5954"/>
                  </a:lnTo>
                  <a:lnTo>
                    <a:pt x="26173" y="5960"/>
                  </a:lnTo>
                  <a:lnTo>
                    <a:pt x="26161" y="5964"/>
                  </a:lnTo>
                  <a:lnTo>
                    <a:pt x="26117" y="5970"/>
                  </a:lnTo>
                  <a:lnTo>
                    <a:pt x="26091" y="5979"/>
                  </a:lnTo>
                  <a:lnTo>
                    <a:pt x="26077" y="5981"/>
                  </a:lnTo>
                  <a:lnTo>
                    <a:pt x="26065" y="5979"/>
                  </a:lnTo>
                  <a:lnTo>
                    <a:pt x="26048" y="5970"/>
                  </a:lnTo>
                  <a:lnTo>
                    <a:pt x="26035" y="5967"/>
                  </a:lnTo>
                  <a:lnTo>
                    <a:pt x="25929" y="5963"/>
                  </a:lnTo>
                  <a:lnTo>
                    <a:pt x="25920" y="5960"/>
                  </a:lnTo>
                  <a:lnTo>
                    <a:pt x="25901" y="5948"/>
                  </a:lnTo>
                  <a:lnTo>
                    <a:pt x="25886" y="5945"/>
                  </a:lnTo>
                  <a:lnTo>
                    <a:pt x="25858" y="5947"/>
                  </a:lnTo>
                  <a:lnTo>
                    <a:pt x="25847" y="5942"/>
                  </a:lnTo>
                  <a:lnTo>
                    <a:pt x="25840" y="5924"/>
                  </a:lnTo>
                  <a:lnTo>
                    <a:pt x="25831" y="5914"/>
                  </a:lnTo>
                  <a:lnTo>
                    <a:pt x="25828" y="5910"/>
                  </a:lnTo>
                  <a:lnTo>
                    <a:pt x="25828" y="5904"/>
                  </a:lnTo>
                  <a:lnTo>
                    <a:pt x="25832" y="5891"/>
                  </a:lnTo>
                  <a:lnTo>
                    <a:pt x="25833" y="5884"/>
                  </a:lnTo>
                  <a:lnTo>
                    <a:pt x="25812" y="5898"/>
                  </a:lnTo>
                  <a:lnTo>
                    <a:pt x="25801" y="5903"/>
                  </a:lnTo>
                  <a:lnTo>
                    <a:pt x="25791" y="5899"/>
                  </a:lnTo>
                  <a:lnTo>
                    <a:pt x="25783" y="5891"/>
                  </a:lnTo>
                  <a:lnTo>
                    <a:pt x="25779" y="5887"/>
                  </a:lnTo>
                  <a:lnTo>
                    <a:pt x="25776" y="5880"/>
                  </a:lnTo>
                  <a:lnTo>
                    <a:pt x="25776" y="5879"/>
                  </a:lnTo>
                  <a:lnTo>
                    <a:pt x="25775" y="5871"/>
                  </a:lnTo>
                  <a:lnTo>
                    <a:pt x="25776" y="5870"/>
                  </a:lnTo>
                  <a:lnTo>
                    <a:pt x="25774" y="5867"/>
                  </a:lnTo>
                  <a:lnTo>
                    <a:pt x="25772" y="5865"/>
                  </a:lnTo>
                  <a:lnTo>
                    <a:pt x="25771" y="5862"/>
                  </a:lnTo>
                  <a:lnTo>
                    <a:pt x="25767" y="5835"/>
                  </a:lnTo>
                  <a:lnTo>
                    <a:pt x="25762" y="5825"/>
                  </a:lnTo>
                  <a:lnTo>
                    <a:pt x="25739" y="5818"/>
                  </a:lnTo>
                  <a:lnTo>
                    <a:pt x="25738" y="5809"/>
                  </a:lnTo>
                  <a:lnTo>
                    <a:pt x="25744" y="5784"/>
                  </a:lnTo>
                  <a:lnTo>
                    <a:pt x="25743" y="5763"/>
                  </a:lnTo>
                  <a:lnTo>
                    <a:pt x="25744" y="5756"/>
                  </a:lnTo>
                  <a:lnTo>
                    <a:pt x="25748" y="5750"/>
                  </a:lnTo>
                  <a:lnTo>
                    <a:pt x="25751" y="5747"/>
                  </a:lnTo>
                  <a:lnTo>
                    <a:pt x="25755" y="5745"/>
                  </a:lnTo>
                  <a:lnTo>
                    <a:pt x="25757" y="5742"/>
                  </a:lnTo>
                  <a:lnTo>
                    <a:pt x="25761" y="5732"/>
                  </a:lnTo>
                  <a:lnTo>
                    <a:pt x="25767" y="5692"/>
                  </a:lnTo>
                  <a:lnTo>
                    <a:pt x="25760" y="5666"/>
                  </a:lnTo>
                  <a:lnTo>
                    <a:pt x="25745" y="5675"/>
                  </a:lnTo>
                  <a:lnTo>
                    <a:pt x="25709" y="5716"/>
                  </a:lnTo>
                  <a:lnTo>
                    <a:pt x="25680" y="5721"/>
                  </a:lnTo>
                  <a:lnTo>
                    <a:pt x="25663" y="5704"/>
                  </a:lnTo>
                  <a:lnTo>
                    <a:pt x="25641" y="5618"/>
                  </a:lnTo>
                  <a:lnTo>
                    <a:pt x="25636" y="5449"/>
                  </a:lnTo>
                  <a:lnTo>
                    <a:pt x="25629" y="5425"/>
                  </a:lnTo>
                  <a:lnTo>
                    <a:pt x="25623" y="5416"/>
                  </a:lnTo>
                  <a:lnTo>
                    <a:pt x="25613" y="5408"/>
                  </a:lnTo>
                  <a:lnTo>
                    <a:pt x="25601" y="5401"/>
                  </a:lnTo>
                  <a:lnTo>
                    <a:pt x="25588" y="5399"/>
                  </a:lnTo>
                  <a:lnTo>
                    <a:pt x="25583" y="5396"/>
                  </a:lnTo>
                  <a:lnTo>
                    <a:pt x="25570" y="5386"/>
                  </a:lnTo>
                  <a:lnTo>
                    <a:pt x="25563" y="5385"/>
                  </a:lnTo>
                  <a:lnTo>
                    <a:pt x="25556" y="5390"/>
                  </a:lnTo>
                  <a:lnTo>
                    <a:pt x="25556" y="5395"/>
                  </a:lnTo>
                  <a:lnTo>
                    <a:pt x="25560" y="5400"/>
                  </a:lnTo>
                  <a:lnTo>
                    <a:pt x="25568" y="5403"/>
                  </a:lnTo>
                  <a:lnTo>
                    <a:pt x="25539" y="5414"/>
                  </a:lnTo>
                  <a:lnTo>
                    <a:pt x="25531" y="5420"/>
                  </a:lnTo>
                  <a:lnTo>
                    <a:pt x="25523" y="5434"/>
                  </a:lnTo>
                  <a:lnTo>
                    <a:pt x="25519" y="5446"/>
                  </a:lnTo>
                  <a:lnTo>
                    <a:pt x="25517" y="5461"/>
                  </a:lnTo>
                  <a:lnTo>
                    <a:pt x="25516" y="5477"/>
                  </a:lnTo>
                  <a:lnTo>
                    <a:pt x="25519" y="5496"/>
                  </a:lnTo>
                  <a:lnTo>
                    <a:pt x="25521" y="5502"/>
                  </a:lnTo>
                  <a:lnTo>
                    <a:pt x="25530" y="5518"/>
                  </a:lnTo>
                  <a:lnTo>
                    <a:pt x="25533" y="5527"/>
                  </a:lnTo>
                  <a:lnTo>
                    <a:pt x="25533" y="5535"/>
                  </a:lnTo>
                  <a:lnTo>
                    <a:pt x="25532" y="5553"/>
                  </a:lnTo>
                  <a:lnTo>
                    <a:pt x="25533" y="5562"/>
                  </a:lnTo>
                  <a:lnTo>
                    <a:pt x="25535" y="5570"/>
                  </a:lnTo>
                  <a:lnTo>
                    <a:pt x="25543" y="5582"/>
                  </a:lnTo>
                  <a:lnTo>
                    <a:pt x="25546" y="5588"/>
                  </a:lnTo>
                  <a:lnTo>
                    <a:pt x="25550" y="5616"/>
                  </a:lnTo>
                  <a:lnTo>
                    <a:pt x="25555" y="5624"/>
                  </a:lnTo>
                  <a:lnTo>
                    <a:pt x="25537" y="5636"/>
                  </a:lnTo>
                  <a:lnTo>
                    <a:pt x="25526" y="5641"/>
                  </a:lnTo>
                  <a:lnTo>
                    <a:pt x="25510" y="5642"/>
                  </a:lnTo>
                  <a:lnTo>
                    <a:pt x="25510" y="5637"/>
                  </a:lnTo>
                  <a:lnTo>
                    <a:pt x="25495" y="5607"/>
                  </a:lnTo>
                  <a:lnTo>
                    <a:pt x="25489" y="5588"/>
                  </a:lnTo>
                  <a:lnTo>
                    <a:pt x="25482" y="5580"/>
                  </a:lnTo>
                  <a:lnTo>
                    <a:pt x="25475" y="5573"/>
                  </a:lnTo>
                  <a:lnTo>
                    <a:pt x="25470" y="5566"/>
                  </a:lnTo>
                  <a:lnTo>
                    <a:pt x="25463" y="5525"/>
                  </a:lnTo>
                  <a:lnTo>
                    <a:pt x="25457" y="5508"/>
                  </a:lnTo>
                  <a:lnTo>
                    <a:pt x="25444" y="5496"/>
                  </a:lnTo>
                  <a:lnTo>
                    <a:pt x="25445" y="5484"/>
                  </a:lnTo>
                  <a:lnTo>
                    <a:pt x="25433" y="5458"/>
                  </a:lnTo>
                  <a:lnTo>
                    <a:pt x="25428" y="5436"/>
                  </a:lnTo>
                  <a:lnTo>
                    <a:pt x="25424" y="5423"/>
                  </a:lnTo>
                  <a:lnTo>
                    <a:pt x="25417" y="5412"/>
                  </a:lnTo>
                  <a:lnTo>
                    <a:pt x="25412" y="5408"/>
                  </a:lnTo>
                  <a:lnTo>
                    <a:pt x="25404" y="5404"/>
                  </a:lnTo>
                  <a:lnTo>
                    <a:pt x="25394" y="5395"/>
                  </a:lnTo>
                  <a:lnTo>
                    <a:pt x="25385" y="5386"/>
                  </a:lnTo>
                  <a:lnTo>
                    <a:pt x="25378" y="5371"/>
                  </a:lnTo>
                  <a:lnTo>
                    <a:pt x="25350" y="5350"/>
                  </a:lnTo>
                  <a:lnTo>
                    <a:pt x="25342" y="5341"/>
                  </a:lnTo>
                  <a:lnTo>
                    <a:pt x="25335" y="5331"/>
                  </a:lnTo>
                  <a:lnTo>
                    <a:pt x="25330" y="5320"/>
                  </a:lnTo>
                  <a:lnTo>
                    <a:pt x="25328" y="5309"/>
                  </a:lnTo>
                  <a:lnTo>
                    <a:pt x="25326" y="5303"/>
                  </a:lnTo>
                  <a:lnTo>
                    <a:pt x="25317" y="5293"/>
                  </a:lnTo>
                  <a:lnTo>
                    <a:pt x="25314" y="5287"/>
                  </a:lnTo>
                  <a:lnTo>
                    <a:pt x="25315" y="5281"/>
                  </a:lnTo>
                  <a:lnTo>
                    <a:pt x="25319" y="5267"/>
                  </a:lnTo>
                  <a:lnTo>
                    <a:pt x="25317" y="5254"/>
                  </a:lnTo>
                  <a:lnTo>
                    <a:pt x="25308" y="5234"/>
                  </a:lnTo>
                  <a:lnTo>
                    <a:pt x="25306" y="5221"/>
                  </a:lnTo>
                  <a:lnTo>
                    <a:pt x="25307" y="5212"/>
                  </a:lnTo>
                  <a:lnTo>
                    <a:pt x="25308" y="5206"/>
                  </a:lnTo>
                  <a:lnTo>
                    <a:pt x="25308" y="5200"/>
                  </a:lnTo>
                  <a:lnTo>
                    <a:pt x="25306" y="5192"/>
                  </a:lnTo>
                  <a:lnTo>
                    <a:pt x="25302" y="5187"/>
                  </a:lnTo>
                  <a:lnTo>
                    <a:pt x="25292" y="5181"/>
                  </a:lnTo>
                  <a:lnTo>
                    <a:pt x="25288" y="5174"/>
                  </a:lnTo>
                  <a:lnTo>
                    <a:pt x="25287" y="5161"/>
                  </a:lnTo>
                  <a:lnTo>
                    <a:pt x="25297" y="5119"/>
                  </a:lnTo>
                  <a:lnTo>
                    <a:pt x="25299" y="5117"/>
                  </a:lnTo>
                  <a:lnTo>
                    <a:pt x="25303" y="5117"/>
                  </a:lnTo>
                  <a:lnTo>
                    <a:pt x="25308" y="5118"/>
                  </a:lnTo>
                  <a:lnTo>
                    <a:pt x="25311" y="5117"/>
                  </a:lnTo>
                  <a:lnTo>
                    <a:pt x="25311" y="5113"/>
                  </a:lnTo>
                  <a:lnTo>
                    <a:pt x="25309" y="5109"/>
                  </a:lnTo>
                  <a:lnTo>
                    <a:pt x="25307" y="5106"/>
                  </a:lnTo>
                  <a:lnTo>
                    <a:pt x="25306" y="5104"/>
                  </a:lnTo>
                  <a:lnTo>
                    <a:pt x="25307" y="5097"/>
                  </a:lnTo>
                  <a:lnTo>
                    <a:pt x="25304" y="5048"/>
                  </a:lnTo>
                  <a:lnTo>
                    <a:pt x="25277" y="4919"/>
                  </a:lnTo>
                  <a:lnTo>
                    <a:pt x="25268" y="4893"/>
                  </a:lnTo>
                  <a:lnTo>
                    <a:pt x="25266" y="4883"/>
                  </a:lnTo>
                  <a:lnTo>
                    <a:pt x="25268" y="4876"/>
                  </a:lnTo>
                  <a:lnTo>
                    <a:pt x="25272" y="4871"/>
                  </a:lnTo>
                  <a:lnTo>
                    <a:pt x="25278" y="4867"/>
                  </a:lnTo>
                  <a:lnTo>
                    <a:pt x="25286" y="4866"/>
                  </a:lnTo>
                  <a:lnTo>
                    <a:pt x="25292" y="4864"/>
                  </a:lnTo>
                  <a:lnTo>
                    <a:pt x="25300" y="4855"/>
                  </a:lnTo>
                  <a:lnTo>
                    <a:pt x="25310" y="4849"/>
                  </a:lnTo>
                  <a:lnTo>
                    <a:pt x="25344" y="4813"/>
                  </a:lnTo>
                  <a:lnTo>
                    <a:pt x="25350" y="4805"/>
                  </a:lnTo>
                  <a:lnTo>
                    <a:pt x="25353" y="4794"/>
                  </a:lnTo>
                  <a:lnTo>
                    <a:pt x="25359" y="4751"/>
                  </a:lnTo>
                  <a:lnTo>
                    <a:pt x="25359" y="4725"/>
                  </a:lnTo>
                  <a:lnTo>
                    <a:pt x="25365" y="4712"/>
                  </a:lnTo>
                  <a:lnTo>
                    <a:pt x="25392" y="4670"/>
                  </a:lnTo>
                  <a:lnTo>
                    <a:pt x="25383" y="4657"/>
                  </a:lnTo>
                  <a:lnTo>
                    <a:pt x="25342" y="4581"/>
                  </a:lnTo>
                  <a:lnTo>
                    <a:pt x="25335" y="4575"/>
                  </a:lnTo>
                  <a:lnTo>
                    <a:pt x="25325" y="4572"/>
                  </a:lnTo>
                  <a:lnTo>
                    <a:pt x="25313" y="4563"/>
                  </a:lnTo>
                  <a:lnTo>
                    <a:pt x="25302" y="4551"/>
                  </a:lnTo>
                  <a:lnTo>
                    <a:pt x="25292" y="4540"/>
                  </a:lnTo>
                  <a:lnTo>
                    <a:pt x="25283" y="4519"/>
                  </a:lnTo>
                  <a:lnTo>
                    <a:pt x="25277" y="4512"/>
                  </a:lnTo>
                  <a:lnTo>
                    <a:pt x="25273" y="4505"/>
                  </a:lnTo>
                  <a:lnTo>
                    <a:pt x="25271" y="4491"/>
                  </a:lnTo>
                  <a:lnTo>
                    <a:pt x="25268" y="4485"/>
                  </a:lnTo>
                  <a:lnTo>
                    <a:pt x="25260" y="4474"/>
                  </a:lnTo>
                  <a:lnTo>
                    <a:pt x="25233" y="4418"/>
                  </a:lnTo>
                  <a:lnTo>
                    <a:pt x="25239" y="4414"/>
                  </a:lnTo>
                  <a:lnTo>
                    <a:pt x="25248" y="4411"/>
                  </a:lnTo>
                  <a:lnTo>
                    <a:pt x="25253" y="4401"/>
                  </a:lnTo>
                  <a:lnTo>
                    <a:pt x="25254" y="4385"/>
                  </a:lnTo>
                  <a:lnTo>
                    <a:pt x="25258" y="4377"/>
                  </a:lnTo>
                  <a:lnTo>
                    <a:pt x="25267" y="4374"/>
                  </a:lnTo>
                  <a:lnTo>
                    <a:pt x="25308" y="4370"/>
                  </a:lnTo>
                  <a:lnTo>
                    <a:pt x="25321" y="4365"/>
                  </a:lnTo>
                  <a:lnTo>
                    <a:pt x="25321" y="4357"/>
                  </a:lnTo>
                  <a:lnTo>
                    <a:pt x="25316" y="4354"/>
                  </a:lnTo>
                  <a:lnTo>
                    <a:pt x="25297" y="4346"/>
                  </a:lnTo>
                  <a:lnTo>
                    <a:pt x="25291" y="4341"/>
                  </a:lnTo>
                  <a:lnTo>
                    <a:pt x="25281" y="4329"/>
                  </a:lnTo>
                  <a:lnTo>
                    <a:pt x="25275" y="4324"/>
                  </a:lnTo>
                  <a:lnTo>
                    <a:pt x="25268" y="4321"/>
                  </a:lnTo>
                  <a:lnTo>
                    <a:pt x="25253" y="4318"/>
                  </a:lnTo>
                  <a:lnTo>
                    <a:pt x="25247" y="4313"/>
                  </a:lnTo>
                  <a:lnTo>
                    <a:pt x="25207" y="4273"/>
                  </a:lnTo>
                  <a:lnTo>
                    <a:pt x="25195" y="4267"/>
                  </a:lnTo>
                  <a:lnTo>
                    <a:pt x="25187" y="4271"/>
                  </a:lnTo>
                  <a:lnTo>
                    <a:pt x="25177" y="4272"/>
                  </a:lnTo>
                  <a:lnTo>
                    <a:pt x="25150" y="4272"/>
                  </a:lnTo>
                  <a:lnTo>
                    <a:pt x="25113" y="4277"/>
                  </a:lnTo>
                  <a:lnTo>
                    <a:pt x="25105" y="4280"/>
                  </a:lnTo>
                  <a:lnTo>
                    <a:pt x="25100" y="4280"/>
                  </a:lnTo>
                  <a:lnTo>
                    <a:pt x="25089" y="4270"/>
                  </a:lnTo>
                  <a:lnTo>
                    <a:pt x="25084" y="4267"/>
                  </a:lnTo>
                  <a:lnTo>
                    <a:pt x="25075" y="4264"/>
                  </a:lnTo>
                  <a:lnTo>
                    <a:pt x="25064" y="4263"/>
                  </a:lnTo>
                  <a:lnTo>
                    <a:pt x="25055" y="4266"/>
                  </a:lnTo>
                  <a:lnTo>
                    <a:pt x="25049" y="4272"/>
                  </a:lnTo>
                  <a:lnTo>
                    <a:pt x="25054" y="4281"/>
                  </a:lnTo>
                  <a:lnTo>
                    <a:pt x="25045" y="4285"/>
                  </a:lnTo>
                  <a:lnTo>
                    <a:pt x="24988" y="4282"/>
                  </a:lnTo>
                  <a:lnTo>
                    <a:pt x="24973" y="4279"/>
                  </a:lnTo>
                  <a:lnTo>
                    <a:pt x="24962" y="4274"/>
                  </a:lnTo>
                  <a:lnTo>
                    <a:pt x="24954" y="4269"/>
                  </a:lnTo>
                  <a:lnTo>
                    <a:pt x="24950" y="4269"/>
                  </a:lnTo>
                  <a:lnTo>
                    <a:pt x="24946" y="4273"/>
                  </a:lnTo>
                  <a:lnTo>
                    <a:pt x="24942" y="4276"/>
                  </a:lnTo>
                  <a:lnTo>
                    <a:pt x="24938" y="4284"/>
                  </a:lnTo>
                  <a:lnTo>
                    <a:pt x="24934" y="4285"/>
                  </a:lnTo>
                  <a:lnTo>
                    <a:pt x="24930" y="4283"/>
                  </a:lnTo>
                  <a:lnTo>
                    <a:pt x="24927" y="4281"/>
                  </a:lnTo>
                  <a:lnTo>
                    <a:pt x="24924" y="4280"/>
                  </a:lnTo>
                  <a:lnTo>
                    <a:pt x="24817" y="4267"/>
                  </a:lnTo>
                  <a:lnTo>
                    <a:pt x="24809" y="4263"/>
                  </a:lnTo>
                  <a:lnTo>
                    <a:pt x="24780" y="4246"/>
                  </a:lnTo>
                  <a:lnTo>
                    <a:pt x="24774" y="4238"/>
                  </a:lnTo>
                  <a:lnTo>
                    <a:pt x="24767" y="4223"/>
                  </a:lnTo>
                  <a:lnTo>
                    <a:pt x="24750" y="4206"/>
                  </a:lnTo>
                  <a:lnTo>
                    <a:pt x="24664" y="4144"/>
                  </a:lnTo>
                  <a:lnTo>
                    <a:pt x="24657" y="4144"/>
                  </a:lnTo>
                  <a:lnTo>
                    <a:pt x="24643" y="4145"/>
                  </a:lnTo>
                  <a:lnTo>
                    <a:pt x="24637" y="4144"/>
                  </a:lnTo>
                  <a:lnTo>
                    <a:pt x="24632" y="4141"/>
                  </a:lnTo>
                  <a:lnTo>
                    <a:pt x="24625" y="4133"/>
                  </a:lnTo>
                  <a:lnTo>
                    <a:pt x="24621" y="4131"/>
                  </a:lnTo>
                  <a:lnTo>
                    <a:pt x="24608" y="4131"/>
                  </a:lnTo>
                  <a:lnTo>
                    <a:pt x="24600" y="4131"/>
                  </a:lnTo>
                  <a:lnTo>
                    <a:pt x="24595" y="4129"/>
                  </a:lnTo>
                  <a:lnTo>
                    <a:pt x="24585" y="4122"/>
                  </a:lnTo>
                  <a:lnTo>
                    <a:pt x="24563" y="4111"/>
                  </a:lnTo>
                  <a:lnTo>
                    <a:pt x="24553" y="4104"/>
                  </a:lnTo>
                  <a:lnTo>
                    <a:pt x="24550" y="4099"/>
                  </a:lnTo>
                  <a:lnTo>
                    <a:pt x="24550" y="4093"/>
                  </a:lnTo>
                  <a:lnTo>
                    <a:pt x="24547" y="4088"/>
                  </a:lnTo>
                  <a:lnTo>
                    <a:pt x="24537" y="4086"/>
                  </a:lnTo>
                  <a:lnTo>
                    <a:pt x="24522" y="4094"/>
                  </a:lnTo>
                  <a:lnTo>
                    <a:pt x="24515" y="4096"/>
                  </a:lnTo>
                  <a:lnTo>
                    <a:pt x="24502" y="4094"/>
                  </a:lnTo>
                  <a:lnTo>
                    <a:pt x="24375" y="4034"/>
                  </a:lnTo>
                  <a:lnTo>
                    <a:pt x="24356" y="4039"/>
                  </a:lnTo>
                  <a:lnTo>
                    <a:pt x="24199" y="4025"/>
                  </a:lnTo>
                  <a:lnTo>
                    <a:pt x="24173" y="4029"/>
                  </a:lnTo>
                  <a:lnTo>
                    <a:pt x="24119" y="4046"/>
                  </a:lnTo>
                  <a:lnTo>
                    <a:pt x="24103" y="4047"/>
                  </a:lnTo>
                  <a:lnTo>
                    <a:pt x="24091" y="4049"/>
                  </a:lnTo>
                  <a:lnTo>
                    <a:pt x="24070" y="4060"/>
                  </a:lnTo>
                  <a:lnTo>
                    <a:pt x="24046" y="4069"/>
                  </a:lnTo>
                  <a:lnTo>
                    <a:pt x="24024" y="4080"/>
                  </a:lnTo>
                  <a:lnTo>
                    <a:pt x="24014" y="4082"/>
                  </a:lnTo>
                  <a:lnTo>
                    <a:pt x="23981" y="4104"/>
                  </a:lnTo>
                  <a:lnTo>
                    <a:pt x="23976" y="4113"/>
                  </a:lnTo>
                  <a:lnTo>
                    <a:pt x="23965" y="4139"/>
                  </a:lnTo>
                  <a:lnTo>
                    <a:pt x="23961" y="4144"/>
                  </a:lnTo>
                  <a:lnTo>
                    <a:pt x="23953" y="4146"/>
                  </a:lnTo>
                  <a:lnTo>
                    <a:pt x="23919" y="4157"/>
                  </a:lnTo>
                  <a:lnTo>
                    <a:pt x="23903" y="4166"/>
                  </a:lnTo>
                  <a:lnTo>
                    <a:pt x="23886" y="4181"/>
                  </a:lnTo>
                  <a:lnTo>
                    <a:pt x="23857" y="4210"/>
                  </a:lnTo>
                  <a:lnTo>
                    <a:pt x="23842" y="4241"/>
                  </a:lnTo>
                  <a:lnTo>
                    <a:pt x="23837" y="4246"/>
                  </a:lnTo>
                  <a:lnTo>
                    <a:pt x="23828" y="4247"/>
                  </a:lnTo>
                  <a:lnTo>
                    <a:pt x="23774" y="4264"/>
                  </a:lnTo>
                  <a:lnTo>
                    <a:pt x="23652" y="4288"/>
                  </a:lnTo>
                  <a:lnTo>
                    <a:pt x="23644" y="4291"/>
                  </a:lnTo>
                  <a:lnTo>
                    <a:pt x="23639" y="4297"/>
                  </a:lnTo>
                  <a:lnTo>
                    <a:pt x="23628" y="4302"/>
                  </a:lnTo>
                  <a:lnTo>
                    <a:pt x="23615" y="4305"/>
                  </a:lnTo>
                  <a:lnTo>
                    <a:pt x="23604" y="4307"/>
                  </a:lnTo>
                  <a:lnTo>
                    <a:pt x="23604" y="4300"/>
                  </a:lnTo>
                  <a:lnTo>
                    <a:pt x="23608" y="4292"/>
                  </a:lnTo>
                  <a:lnTo>
                    <a:pt x="23622" y="4276"/>
                  </a:lnTo>
                  <a:lnTo>
                    <a:pt x="23615" y="4274"/>
                  </a:lnTo>
                  <a:lnTo>
                    <a:pt x="23605" y="4273"/>
                  </a:lnTo>
                  <a:lnTo>
                    <a:pt x="23595" y="4273"/>
                  </a:lnTo>
                  <a:lnTo>
                    <a:pt x="23591" y="4278"/>
                  </a:lnTo>
                  <a:lnTo>
                    <a:pt x="23586" y="4282"/>
                  </a:lnTo>
                  <a:lnTo>
                    <a:pt x="23561" y="4284"/>
                  </a:lnTo>
                  <a:lnTo>
                    <a:pt x="23553" y="4287"/>
                  </a:lnTo>
                  <a:lnTo>
                    <a:pt x="23546" y="4290"/>
                  </a:lnTo>
                  <a:lnTo>
                    <a:pt x="23528" y="4295"/>
                  </a:lnTo>
                  <a:lnTo>
                    <a:pt x="23521" y="4305"/>
                  </a:lnTo>
                  <a:lnTo>
                    <a:pt x="23512" y="4309"/>
                  </a:lnTo>
                  <a:lnTo>
                    <a:pt x="23485" y="4312"/>
                  </a:lnTo>
                  <a:lnTo>
                    <a:pt x="23427" y="4329"/>
                  </a:lnTo>
                  <a:lnTo>
                    <a:pt x="23422" y="4346"/>
                  </a:lnTo>
                  <a:lnTo>
                    <a:pt x="23432" y="4363"/>
                  </a:lnTo>
                  <a:lnTo>
                    <a:pt x="23459" y="4390"/>
                  </a:lnTo>
                  <a:lnTo>
                    <a:pt x="23445" y="4398"/>
                  </a:lnTo>
                  <a:lnTo>
                    <a:pt x="23440" y="4399"/>
                  </a:lnTo>
                  <a:lnTo>
                    <a:pt x="23446" y="4412"/>
                  </a:lnTo>
                  <a:lnTo>
                    <a:pt x="23442" y="4437"/>
                  </a:lnTo>
                  <a:lnTo>
                    <a:pt x="23445" y="4447"/>
                  </a:lnTo>
                  <a:lnTo>
                    <a:pt x="23436" y="4454"/>
                  </a:lnTo>
                  <a:lnTo>
                    <a:pt x="23434" y="4463"/>
                  </a:lnTo>
                  <a:lnTo>
                    <a:pt x="23437" y="4485"/>
                  </a:lnTo>
                  <a:lnTo>
                    <a:pt x="23434" y="4496"/>
                  </a:lnTo>
                  <a:lnTo>
                    <a:pt x="23425" y="4513"/>
                  </a:lnTo>
                  <a:lnTo>
                    <a:pt x="23423" y="4520"/>
                  </a:lnTo>
                  <a:lnTo>
                    <a:pt x="23420" y="4526"/>
                  </a:lnTo>
                  <a:lnTo>
                    <a:pt x="23401" y="4549"/>
                  </a:lnTo>
                  <a:lnTo>
                    <a:pt x="23392" y="4578"/>
                  </a:lnTo>
                  <a:lnTo>
                    <a:pt x="23388" y="4584"/>
                  </a:lnTo>
                  <a:lnTo>
                    <a:pt x="23370" y="4589"/>
                  </a:lnTo>
                  <a:lnTo>
                    <a:pt x="23318" y="4597"/>
                  </a:lnTo>
                  <a:lnTo>
                    <a:pt x="23307" y="4604"/>
                  </a:lnTo>
                  <a:lnTo>
                    <a:pt x="23297" y="4617"/>
                  </a:lnTo>
                  <a:lnTo>
                    <a:pt x="23296" y="4619"/>
                  </a:lnTo>
                  <a:lnTo>
                    <a:pt x="23289" y="4622"/>
                  </a:lnTo>
                  <a:lnTo>
                    <a:pt x="23288" y="4627"/>
                  </a:lnTo>
                  <a:lnTo>
                    <a:pt x="23290" y="4637"/>
                  </a:lnTo>
                  <a:lnTo>
                    <a:pt x="23273" y="4684"/>
                  </a:lnTo>
                  <a:lnTo>
                    <a:pt x="23270" y="4688"/>
                  </a:lnTo>
                  <a:lnTo>
                    <a:pt x="23261" y="4696"/>
                  </a:lnTo>
                  <a:lnTo>
                    <a:pt x="23240" y="4705"/>
                  </a:lnTo>
                  <a:lnTo>
                    <a:pt x="23237" y="4710"/>
                  </a:lnTo>
                  <a:lnTo>
                    <a:pt x="23238" y="4723"/>
                  </a:lnTo>
                  <a:lnTo>
                    <a:pt x="23244" y="4732"/>
                  </a:lnTo>
                  <a:lnTo>
                    <a:pt x="23255" y="4736"/>
                  </a:lnTo>
                  <a:lnTo>
                    <a:pt x="23272" y="4738"/>
                  </a:lnTo>
                  <a:lnTo>
                    <a:pt x="23326" y="4735"/>
                  </a:lnTo>
                  <a:lnTo>
                    <a:pt x="23352" y="4736"/>
                  </a:lnTo>
                  <a:lnTo>
                    <a:pt x="23378" y="4747"/>
                  </a:lnTo>
                  <a:lnTo>
                    <a:pt x="23385" y="4752"/>
                  </a:lnTo>
                  <a:lnTo>
                    <a:pt x="23391" y="4756"/>
                  </a:lnTo>
                  <a:lnTo>
                    <a:pt x="23395" y="4763"/>
                  </a:lnTo>
                  <a:lnTo>
                    <a:pt x="23398" y="4780"/>
                  </a:lnTo>
                  <a:lnTo>
                    <a:pt x="23403" y="4781"/>
                  </a:lnTo>
                  <a:lnTo>
                    <a:pt x="23416" y="4776"/>
                  </a:lnTo>
                  <a:lnTo>
                    <a:pt x="23437" y="4765"/>
                  </a:lnTo>
                  <a:lnTo>
                    <a:pt x="23459" y="4760"/>
                  </a:lnTo>
                  <a:lnTo>
                    <a:pt x="23467" y="4755"/>
                  </a:lnTo>
                  <a:lnTo>
                    <a:pt x="23479" y="4746"/>
                  </a:lnTo>
                  <a:lnTo>
                    <a:pt x="23488" y="4736"/>
                  </a:lnTo>
                  <a:lnTo>
                    <a:pt x="23487" y="4727"/>
                  </a:lnTo>
                  <a:lnTo>
                    <a:pt x="23459" y="4708"/>
                  </a:lnTo>
                  <a:lnTo>
                    <a:pt x="23448" y="4697"/>
                  </a:lnTo>
                  <a:lnTo>
                    <a:pt x="23449" y="4685"/>
                  </a:lnTo>
                  <a:lnTo>
                    <a:pt x="23479" y="4703"/>
                  </a:lnTo>
                  <a:lnTo>
                    <a:pt x="23491" y="4704"/>
                  </a:lnTo>
                  <a:lnTo>
                    <a:pt x="23511" y="4699"/>
                  </a:lnTo>
                  <a:lnTo>
                    <a:pt x="23518" y="4703"/>
                  </a:lnTo>
                  <a:lnTo>
                    <a:pt x="23526" y="4711"/>
                  </a:lnTo>
                  <a:lnTo>
                    <a:pt x="23530" y="4719"/>
                  </a:lnTo>
                  <a:lnTo>
                    <a:pt x="23527" y="4727"/>
                  </a:lnTo>
                  <a:lnTo>
                    <a:pt x="23521" y="4734"/>
                  </a:lnTo>
                  <a:lnTo>
                    <a:pt x="23522" y="4738"/>
                  </a:lnTo>
                  <a:lnTo>
                    <a:pt x="23527" y="4741"/>
                  </a:lnTo>
                  <a:lnTo>
                    <a:pt x="23529" y="4745"/>
                  </a:lnTo>
                  <a:lnTo>
                    <a:pt x="23532" y="4747"/>
                  </a:lnTo>
                  <a:lnTo>
                    <a:pt x="23547" y="4765"/>
                  </a:lnTo>
                  <a:lnTo>
                    <a:pt x="23552" y="4767"/>
                  </a:lnTo>
                  <a:lnTo>
                    <a:pt x="23559" y="4769"/>
                  </a:lnTo>
                  <a:lnTo>
                    <a:pt x="23565" y="4768"/>
                  </a:lnTo>
                  <a:lnTo>
                    <a:pt x="23573" y="4765"/>
                  </a:lnTo>
                  <a:lnTo>
                    <a:pt x="23571" y="4757"/>
                  </a:lnTo>
                  <a:lnTo>
                    <a:pt x="23573" y="4753"/>
                  </a:lnTo>
                  <a:lnTo>
                    <a:pt x="23579" y="4749"/>
                  </a:lnTo>
                  <a:lnTo>
                    <a:pt x="23587" y="4747"/>
                  </a:lnTo>
                  <a:lnTo>
                    <a:pt x="23594" y="4747"/>
                  </a:lnTo>
                  <a:lnTo>
                    <a:pt x="23598" y="4748"/>
                  </a:lnTo>
                  <a:lnTo>
                    <a:pt x="23602" y="4750"/>
                  </a:lnTo>
                  <a:lnTo>
                    <a:pt x="23606" y="4751"/>
                  </a:lnTo>
                  <a:lnTo>
                    <a:pt x="23627" y="4751"/>
                  </a:lnTo>
                  <a:lnTo>
                    <a:pt x="23641" y="4753"/>
                  </a:lnTo>
                  <a:lnTo>
                    <a:pt x="23651" y="4758"/>
                  </a:lnTo>
                  <a:lnTo>
                    <a:pt x="23667" y="4773"/>
                  </a:lnTo>
                  <a:lnTo>
                    <a:pt x="23677" y="4780"/>
                  </a:lnTo>
                  <a:lnTo>
                    <a:pt x="23689" y="4782"/>
                  </a:lnTo>
                  <a:lnTo>
                    <a:pt x="23701" y="4781"/>
                  </a:lnTo>
                  <a:lnTo>
                    <a:pt x="23713" y="4776"/>
                  </a:lnTo>
                  <a:lnTo>
                    <a:pt x="23725" y="4773"/>
                  </a:lnTo>
                  <a:lnTo>
                    <a:pt x="23738" y="4778"/>
                  </a:lnTo>
                  <a:lnTo>
                    <a:pt x="23727" y="4788"/>
                  </a:lnTo>
                  <a:lnTo>
                    <a:pt x="23728" y="4802"/>
                  </a:lnTo>
                  <a:lnTo>
                    <a:pt x="23738" y="4812"/>
                  </a:lnTo>
                  <a:lnTo>
                    <a:pt x="23755" y="4813"/>
                  </a:lnTo>
                  <a:lnTo>
                    <a:pt x="23769" y="4807"/>
                  </a:lnTo>
                  <a:lnTo>
                    <a:pt x="23777" y="4797"/>
                  </a:lnTo>
                  <a:lnTo>
                    <a:pt x="23781" y="4782"/>
                  </a:lnTo>
                  <a:lnTo>
                    <a:pt x="23782" y="4765"/>
                  </a:lnTo>
                  <a:lnTo>
                    <a:pt x="23795" y="4779"/>
                  </a:lnTo>
                  <a:lnTo>
                    <a:pt x="23792" y="4798"/>
                  </a:lnTo>
                  <a:lnTo>
                    <a:pt x="23786" y="4818"/>
                  </a:lnTo>
                  <a:lnTo>
                    <a:pt x="23790" y="4835"/>
                  </a:lnTo>
                  <a:lnTo>
                    <a:pt x="23801" y="4829"/>
                  </a:lnTo>
                  <a:lnTo>
                    <a:pt x="23826" y="4805"/>
                  </a:lnTo>
                  <a:lnTo>
                    <a:pt x="23833" y="4800"/>
                  </a:lnTo>
                  <a:lnTo>
                    <a:pt x="23841" y="4799"/>
                  </a:lnTo>
                  <a:lnTo>
                    <a:pt x="23845" y="4802"/>
                  </a:lnTo>
                  <a:lnTo>
                    <a:pt x="23839" y="4813"/>
                  </a:lnTo>
                  <a:lnTo>
                    <a:pt x="23856" y="4809"/>
                  </a:lnTo>
                  <a:lnTo>
                    <a:pt x="23893" y="4791"/>
                  </a:lnTo>
                  <a:lnTo>
                    <a:pt x="23905" y="4791"/>
                  </a:lnTo>
                  <a:lnTo>
                    <a:pt x="23902" y="4797"/>
                  </a:lnTo>
                  <a:lnTo>
                    <a:pt x="23888" y="4811"/>
                  </a:lnTo>
                  <a:lnTo>
                    <a:pt x="23884" y="4813"/>
                  </a:lnTo>
                  <a:lnTo>
                    <a:pt x="23865" y="4817"/>
                  </a:lnTo>
                  <a:lnTo>
                    <a:pt x="23861" y="4820"/>
                  </a:lnTo>
                  <a:lnTo>
                    <a:pt x="23859" y="4824"/>
                  </a:lnTo>
                  <a:lnTo>
                    <a:pt x="23850" y="4831"/>
                  </a:lnTo>
                  <a:lnTo>
                    <a:pt x="23848" y="4837"/>
                  </a:lnTo>
                  <a:lnTo>
                    <a:pt x="23843" y="4864"/>
                  </a:lnTo>
                  <a:lnTo>
                    <a:pt x="23845" y="4867"/>
                  </a:lnTo>
                  <a:lnTo>
                    <a:pt x="23849" y="4871"/>
                  </a:lnTo>
                  <a:lnTo>
                    <a:pt x="23853" y="4874"/>
                  </a:lnTo>
                  <a:lnTo>
                    <a:pt x="23858" y="4877"/>
                  </a:lnTo>
                  <a:lnTo>
                    <a:pt x="23856" y="4880"/>
                  </a:lnTo>
                  <a:lnTo>
                    <a:pt x="23853" y="4884"/>
                  </a:lnTo>
                  <a:lnTo>
                    <a:pt x="23852" y="4888"/>
                  </a:lnTo>
                  <a:lnTo>
                    <a:pt x="23858" y="4897"/>
                  </a:lnTo>
                  <a:lnTo>
                    <a:pt x="23863" y="4899"/>
                  </a:lnTo>
                  <a:lnTo>
                    <a:pt x="23870" y="4899"/>
                  </a:lnTo>
                  <a:lnTo>
                    <a:pt x="23896" y="4893"/>
                  </a:lnTo>
                  <a:lnTo>
                    <a:pt x="23917" y="4880"/>
                  </a:lnTo>
                  <a:lnTo>
                    <a:pt x="23932" y="4879"/>
                  </a:lnTo>
                  <a:lnTo>
                    <a:pt x="23931" y="4884"/>
                  </a:lnTo>
                  <a:lnTo>
                    <a:pt x="23930" y="4885"/>
                  </a:lnTo>
                  <a:lnTo>
                    <a:pt x="23929" y="4884"/>
                  </a:lnTo>
                  <a:lnTo>
                    <a:pt x="23928" y="4883"/>
                  </a:lnTo>
                  <a:lnTo>
                    <a:pt x="23931" y="4899"/>
                  </a:lnTo>
                  <a:lnTo>
                    <a:pt x="23928" y="4908"/>
                  </a:lnTo>
                  <a:lnTo>
                    <a:pt x="23921" y="4915"/>
                  </a:lnTo>
                  <a:lnTo>
                    <a:pt x="23910" y="4923"/>
                  </a:lnTo>
                  <a:lnTo>
                    <a:pt x="23901" y="4933"/>
                  </a:lnTo>
                  <a:lnTo>
                    <a:pt x="23893" y="4945"/>
                  </a:lnTo>
                  <a:lnTo>
                    <a:pt x="23884" y="4955"/>
                  </a:lnTo>
                  <a:lnTo>
                    <a:pt x="23870" y="4963"/>
                  </a:lnTo>
                  <a:lnTo>
                    <a:pt x="23877" y="4977"/>
                  </a:lnTo>
                  <a:lnTo>
                    <a:pt x="23879" y="4983"/>
                  </a:lnTo>
                  <a:lnTo>
                    <a:pt x="23879" y="4991"/>
                  </a:lnTo>
                  <a:lnTo>
                    <a:pt x="23877" y="5013"/>
                  </a:lnTo>
                  <a:lnTo>
                    <a:pt x="23879" y="5020"/>
                  </a:lnTo>
                  <a:lnTo>
                    <a:pt x="23884" y="5026"/>
                  </a:lnTo>
                  <a:lnTo>
                    <a:pt x="23889" y="5028"/>
                  </a:lnTo>
                  <a:lnTo>
                    <a:pt x="23894" y="5029"/>
                  </a:lnTo>
                  <a:lnTo>
                    <a:pt x="23899" y="5031"/>
                  </a:lnTo>
                  <a:lnTo>
                    <a:pt x="23902" y="5037"/>
                  </a:lnTo>
                  <a:lnTo>
                    <a:pt x="23901" y="5044"/>
                  </a:lnTo>
                  <a:lnTo>
                    <a:pt x="23898" y="5051"/>
                  </a:lnTo>
                  <a:lnTo>
                    <a:pt x="23896" y="5057"/>
                  </a:lnTo>
                  <a:lnTo>
                    <a:pt x="23899" y="5065"/>
                  </a:lnTo>
                  <a:lnTo>
                    <a:pt x="23906" y="5070"/>
                  </a:lnTo>
                  <a:lnTo>
                    <a:pt x="23919" y="5077"/>
                  </a:lnTo>
                  <a:lnTo>
                    <a:pt x="23934" y="5099"/>
                  </a:lnTo>
                  <a:lnTo>
                    <a:pt x="23951" y="5097"/>
                  </a:lnTo>
                  <a:lnTo>
                    <a:pt x="23981" y="5088"/>
                  </a:lnTo>
                  <a:lnTo>
                    <a:pt x="23999" y="5086"/>
                  </a:lnTo>
                  <a:lnTo>
                    <a:pt x="23983" y="5092"/>
                  </a:lnTo>
                  <a:lnTo>
                    <a:pt x="23975" y="5097"/>
                  </a:lnTo>
                  <a:lnTo>
                    <a:pt x="23972" y="5106"/>
                  </a:lnTo>
                  <a:lnTo>
                    <a:pt x="23969" y="5112"/>
                  </a:lnTo>
                  <a:lnTo>
                    <a:pt x="23951" y="5121"/>
                  </a:lnTo>
                  <a:lnTo>
                    <a:pt x="23945" y="5126"/>
                  </a:lnTo>
                  <a:lnTo>
                    <a:pt x="23948" y="5141"/>
                  </a:lnTo>
                  <a:lnTo>
                    <a:pt x="23964" y="5155"/>
                  </a:lnTo>
                  <a:lnTo>
                    <a:pt x="24055" y="5194"/>
                  </a:lnTo>
                  <a:lnTo>
                    <a:pt x="24069" y="5205"/>
                  </a:lnTo>
                  <a:lnTo>
                    <a:pt x="24080" y="5219"/>
                  </a:lnTo>
                  <a:lnTo>
                    <a:pt x="24088" y="5234"/>
                  </a:lnTo>
                  <a:lnTo>
                    <a:pt x="24098" y="5248"/>
                  </a:lnTo>
                  <a:lnTo>
                    <a:pt x="24114" y="5258"/>
                  </a:lnTo>
                  <a:lnTo>
                    <a:pt x="24142" y="5261"/>
                  </a:lnTo>
                  <a:lnTo>
                    <a:pt x="24165" y="5252"/>
                  </a:lnTo>
                  <a:lnTo>
                    <a:pt x="24211" y="5227"/>
                  </a:lnTo>
                  <a:lnTo>
                    <a:pt x="24255" y="5219"/>
                  </a:lnTo>
                  <a:lnTo>
                    <a:pt x="24267" y="5212"/>
                  </a:lnTo>
                  <a:lnTo>
                    <a:pt x="24279" y="5207"/>
                  </a:lnTo>
                  <a:lnTo>
                    <a:pt x="24294" y="5210"/>
                  </a:lnTo>
                  <a:lnTo>
                    <a:pt x="24306" y="5217"/>
                  </a:lnTo>
                  <a:lnTo>
                    <a:pt x="24313" y="5223"/>
                  </a:lnTo>
                  <a:lnTo>
                    <a:pt x="24318" y="5236"/>
                  </a:lnTo>
                  <a:lnTo>
                    <a:pt x="24322" y="5252"/>
                  </a:lnTo>
                  <a:lnTo>
                    <a:pt x="24329" y="5266"/>
                  </a:lnTo>
                  <a:lnTo>
                    <a:pt x="24342" y="5271"/>
                  </a:lnTo>
                  <a:lnTo>
                    <a:pt x="24349" y="5273"/>
                  </a:lnTo>
                  <a:lnTo>
                    <a:pt x="24354" y="5278"/>
                  </a:lnTo>
                  <a:lnTo>
                    <a:pt x="24357" y="5282"/>
                  </a:lnTo>
                  <a:lnTo>
                    <a:pt x="24362" y="5285"/>
                  </a:lnTo>
                  <a:lnTo>
                    <a:pt x="24369" y="5284"/>
                  </a:lnTo>
                  <a:lnTo>
                    <a:pt x="24415" y="5254"/>
                  </a:lnTo>
                  <a:lnTo>
                    <a:pt x="24430" y="5248"/>
                  </a:lnTo>
                  <a:lnTo>
                    <a:pt x="24444" y="5245"/>
                  </a:lnTo>
                  <a:lnTo>
                    <a:pt x="24460" y="5247"/>
                  </a:lnTo>
                  <a:lnTo>
                    <a:pt x="24500" y="5267"/>
                  </a:lnTo>
                  <a:lnTo>
                    <a:pt x="24527" y="5270"/>
                  </a:lnTo>
                  <a:lnTo>
                    <a:pt x="24551" y="5262"/>
                  </a:lnTo>
                  <a:lnTo>
                    <a:pt x="24576" y="5252"/>
                  </a:lnTo>
                  <a:lnTo>
                    <a:pt x="24606" y="5245"/>
                  </a:lnTo>
                  <a:lnTo>
                    <a:pt x="24636" y="5244"/>
                  </a:lnTo>
                  <a:lnTo>
                    <a:pt x="24651" y="5241"/>
                  </a:lnTo>
                  <a:lnTo>
                    <a:pt x="24673" y="5227"/>
                  </a:lnTo>
                  <a:lnTo>
                    <a:pt x="24688" y="5225"/>
                  </a:lnTo>
                  <a:lnTo>
                    <a:pt x="24713" y="5227"/>
                  </a:lnTo>
                  <a:lnTo>
                    <a:pt x="24741" y="5220"/>
                  </a:lnTo>
                  <a:lnTo>
                    <a:pt x="24755" y="5219"/>
                  </a:lnTo>
                  <a:lnTo>
                    <a:pt x="24761" y="5225"/>
                  </a:lnTo>
                  <a:lnTo>
                    <a:pt x="24768" y="5230"/>
                  </a:lnTo>
                  <a:lnTo>
                    <a:pt x="24784" y="5230"/>
                  </a:lnTo>
                  <a:lnTo>
                    <a:pt x="24814" y="5227"/>
                  </a:lnTo>
                  <a:lnTo>
                    <a:pt x="24827" y="5230"/>
                  </a:lnTo>
                  <a:lnTo>
                    <a:pt x="24851" y="5240"/>
                  </a:lnTo>
                  <a:lnTo>
                    <a:pt x="24871" y="5236"/>
                  </a:lnTo>
                  <a:lnTo>
                    <a:pt x="24886" y="5236"/>
                  </a:lnTo>
                  <a:lnTo>
                    <a:pt x="24896" y="5233"/>
                  </a:lnTo>
                  <a:lnTo>
                    <a:pt x="24889" y="5223"/>
                  </a:lnTo>
                  <a:lnTo>
                    <a:pt x="24889" y="5218"/>
                  </a:lnTo>
                  <a:lnTo>
                    <a:pt x="24900" y="5222"/>
                  </a:lnTo>
                  <a:lnTo>
                    <a:pt x="24908" y="5241"/>
                  </a:lnTo>
                  <a:lnTo>
                    <a:pt x="24918" y="5245"/>
                  </a:lnTo>
                  <a:lnTo>
                    <a:pt x="24928" y="5240"/>
                  </a:lnTo>
                  <a:lnTo>
                    <a:pt x="24936" y="5229"/>
                  </a:lnTo>
                  <a:lnTo>
                    <a:pt x="24947" y="5205"/>
                  </a:lnTo>
                  <a:lnTo>
                    <a:pt x="24949" y="5213"/>
                  </a:lnTo>
                  <a:lnTo>
                    <a:pt x="24947" y="5240"/>
                  </a:lnTo>
                  <a:lnTo>
                    <a:pt x="24960" y="5234"/>
                  </a:lnTo>
                  <a:lnTo>
                    <a:pt x="24966" y="5232"/>
                  </a:lnTo>
                  <a:lnTo>
                    <a:pt x="24971" y="5234"/>
                  </a:lnTo>
                  <a:lnTo>
                    <a:pt x="24976" y="5237"/>
                  </a:lnTo>
                  <a:lnTo>
                    <a:pt x="24981" y="5239"/>
                  </a:lnTo>
                  <a:lnTo>
                    <a:pt x="24985" y="5238"/>
                  </a:lnTo>
                  <a:lnTo>
                    <a:pt x="24986" y="5234"/>
                  </a:lnTo>
                  <a:lnTo>
                    <a:pt x="24992" y="5225"/>
                  </a:lnTo>
                  <a:lnTo>
                    <a:pt x="25002" y="5219"/>
                  </a:lnTo>
                  <a:lnTo>
                    <a:pt x="25013" y="5215"/>
                  </a:lnTo>
                  <a:lnTo>
                    <a:pt x="25018" y="5212"/>
                  </a:lnTo>
                  <a:lnTo>
                    <a:pt x="25022" y="5200"/>
                  </a:lnTo>
                  <a:lnTo>
                    <a:pt x="25033" y="5197"/>
                  </a:lnTo>
                  <a:lnTo>
                    <a:pt x="25058" y="5196"/>
                  </a:lnTo>
                  <a:lnTo>
                    <a:pt x="25063" y="5194"/>
                  </a:lnTo>
                  <a:lnTo>
                    <a:pt x="25080" y="5183"/>
                  </a:lnTo>
                  <a:lnTo>
                    <a:pt x="25086" y="5182"/>
                  </a:lnTo>
                  <a:lnTo>
                    <a:pt x="25096" y="5181"/>
                  </a:lnTo>
                  <a:lnTo>
                    <a:pt x="25102" y="5179"/>
                  </a:lnTo>
                  <a:lnTo>
                    <a:pt x="25106" y="5175"/>
                  </a:lnTo>
                  <a:lnTo>
                    <a:pt x="25115" y="5159"/>
                  </a:lnTo>
                  <a:lnTo>
                    <a:pt x="25118" y="5156"/>
                  </a:lnTo>
                  <a:lnTo>
                    <a:pt x="25125" y="5157"/>
                  </a:lnTo>
                  <a:lnTo>
                    <a:pt x="25132" y="5159"/>
                  </a:lnTo>
                  <a:lnTo>
                    <a:pt x="25135" y="5159"/>
                  </a:lnTo>
                  <a:lnTo>
                    <a:pt x="25145" y="5156"/>
                  </a:lnTo>
                  <a:lnTo>
                    <a:pt x="25160" y="5155"/>
                  </a:lnTo>
                  <a:lnTo>
                    <a:pt x="25171" y="5156"/>
                  </a:lnTo>
                  <a:lnTo>
                    <a:pt x="25171" y="5163"/>
                  </a:lnTo>
                  <a:lnTo>
                    <a:pt x="25168" y="5168"/>
                  </a:lnTo>
                  <a:lnTo>
                    <a:pt x="25166" y="5179"/>
                  </a:lnTo>
                  <a:lnTo>
                    <a:pt x="25164" y="5183"/>
                  </a:lnTo>
                  <a:lnTo>
                    <a:pt x="25159" y="5186"/>
                  </a:lnTo>
                  <a:lnTo>
                    <a:pt x="25145" y="5190"/>
                  </a:lnTo>
                  <a:lnTo>
                    <a:pt x="25142" y="5192"/>
                  </a:lnTo>
                  <a:lnTo>
                    <a:pt x="25144" y="5200"/>
                  </a:lnTo>
                  <a:lnTo>
                    <a:pt x="25154" y="5200"/>
                  </a:lnTo>
                  <a:lnTo>
                    <a:pt x="25165" y="5196"/>
                  </a:lnTo>
                  <a:lnTo>
                    <a:pt x="25173" y="5192"/>
                  </a:lnTo>
                  <a:lnTo>
                    <a:pt x="25178" y="5196"/>
                  </a:lnTo>
                  <a:lnTo>
                    <a:pt x="25166" y="5202"/>
                  </a:lnTo>
                  <a:lnTo>
                    <a:pt x="25156" y="5210"/>
                  </a:lnTo>
                  <a:lnTo>
                    <a:pt x="25146" y="5215"/>
                  </a:lnTo>
                  <a:lnTo>
                    <a:pt x="25133" y="5209"/>
                  </a:lnTo>
                  <a:lnTo>
                    <a:pt x="25129" y="5219"/>
                  </a:lnTo>
                  <a:lnTo>
                    <a:pt x="25121" y="5228"/>
                  </a:lnTo>
                  <a:lnTo>
                    <a:pt x="25111" y="5234"/>
                  </a:lnTo>
                  <a:lnTo>
                    <a:pt x="25089" y="5240"/>
                  </a:lnTo>
                  <a:lnTo>
                    <a:pt x="25080" y="5247"/>
                  </a:lnTo>
                  <a:lnTo>
                    <a:pt x="25076" y="5255"/>
                  </a:lnTo>
                  <a:lnTo>
                    <a:pt x="25078" y="5258"/>
                  </a:lnTo>
                  <a:lnTo>
                    <a:pt x="25085" y="5261"/>
                  </a:lnTo>
                  <a:lnTo>
                    <a:pt x="25096" y="5277"/>
                  </a:lnTo>
                  <a:lnTo>
                    <a:pt x="25107" y="5280"/>
                  </a:lnTo>
                  <a:lnTo>
                    <a:pt x="25116" y="5276"/>
                  </a:lnTo>
                  <a:lnTo>
                    <a:pt x="25128" y="5268"/>
                  </a:lnTo>
                  <a:lnTo>
                    <a:pt x="25147" y="5254"/>
                  </a:lnTo>
                  <a:lnTo>
                    <a:pt x="25151" y="5254"/>
                  </a:lnTo>
                  <a:lnTo>
                    <a:pt x="25164" y="5264"/>
                  </a:lnTo>
                  <a:lnTo>
                    <a:pt x="25171" y="5251"/>
                  </a:lnTo>
                  <a:lnTo>
                    <a:pt x="25178" y="5218"/>
                  </a:lnTo>
                  <a:lnTo>
                    <a:pt x="25182" y="5230"/>
                  </a:lnTo>
                  <a:lnTo>
                    <a:pt x="25184" y="5246"/>
                  </a:lnTo>
                  <a:lnTo>
                    <a:pt x="25182" y="5263"/>
                  </a:lnTo>
                  <a:lnTo>
                    <a:pt x="25178" y="5276"/>
                  </a:lnTo>
                  <a:lnTo>
                    <a:pt x="25168" y="5286"/>
                  </a:lnTo>
                  <a:lnTo>
                    <a:pt x="25154" y="5293"/>
                  </a:lnTo>
                  <a:lnTo>
                    <a:pt x="25124" y="5302"/>
                  </a:lnTo>
                  <a:lnTo>
                    <a:pt x="25124" y="5307"/>
                  </a:lnTo>
                  <a:lnTo>
                    <a:pt x="25141" y="5306"/>
                  </a:lnTo>
                  <a:lnTo>
                    <a:pt x="25170" y="5298"/>
                  </a:lnTo>
                  <a:lnTo>
                    <a:pt x="25186" y="5297"/>
                  </a:lnTo>
                  <a:lnTo>
                    <a:pt x="25174" y="5308"/>
                  </a:lnTo>
                  <a:lnTo>
                    <a:pt x="25142" y="5321"/>
                  </a:lnTo>
                  <a:lnTo>
                    <a:pt x="25145" y="5330"/>
                  </a:lnTo>
                  <a:lnTo>
                    <a:pt x="25159" y="5337"/>
                  </a:lnTo>
                  <a:lnTo>
                    <a:pt x="25177" y="5338"/>
                  </a:lnTo>
                  <a:lnTo>
                    <a:pt x="25213" y="5337"/>
                  </a:lnTo>
                  <a:lnTo>
                    <a:pt x="25201" y="5348"/>
                  </a:lnTo>
                  <a:lnTo>
                    <a:pt x="25181" y="5350"/>
                  </a:lnTo>
                  <a:lnTo>
                    <a:pt x="25135" y="5346"/>
                  </a:lnTo>
                  <a:lnTo>
                    <a:pt x="25124" y="5352"/>
                  </a:lnTo>
                  <a:lnTo>
                    <a:pt x="25130" y="5366"/>
                  </a:lnTo>
                  <a:lnTo>
                    <a:pt x="25143" y="5382"/>
                  </a:lnTo>
                  <a:lnTo>
                    <a:pt x="25151" y="5394"/>
                  </a:lnTo>
                  <a:lnTo>
                    <a:pt x="25147" y="5394"/>
                  </a:lnTo>
                  <a:lnTo>
                    <a:pt x="25141" y="5387"/>
                  </a:lnTo>
                  <a:lnTo>
                    <a:pt x="25123" y="5372"/>
                  </a:lnTo>
                  <a:lnTo>
                    <a:pt x="25120" y="5365"/>
                  </a:lnTo>
                  <a:lnTo>
                    <a:pt x="25113" y="5360"/>
                  </a:lnTo>
                  <a:lnTo>
                    <a:pt x="25098" y="5361"/>
                  </a:lnTo>
                  <a:lnTo>
                    <a:pt x="25069" y="5367"/>
                  </a:lnTo>
                  <a:lnTo>
                    <a:pt x="25057" y="5367"/>
                  </a:lnTo>
                  <a:lnTo>
                    <a:pt x="25047" y="5369"/>
                  </a:lnTo>
                  <a:lnTo>
                    <a:pt x="25042" y="5374"/>
                  </a:lnTo>
                  <a:lnTo>
                    <a:pt x="25049" y="5385"/>
                  </a:lnTo>
                  <a:lnTo>
                    <a:pt x="25059" y="5391"/>
                  </a:lnTo>
                  <a:lnTo>
                    <a:pt x="25082" y="5390"/>
                  </a:lnTo>
                  <a:lnTo>
                    <a:pt x="25093" y="5394"/>
                  </a:lnTo>
                  <a:lnTo>
                    <a:pt x="25087" y="5401"/>
                  </a:lnTo>
                  <a:lnTo>
                    <a:pt x="25084" y="5407"/>
                  </a:lnTo>
                  <a:lnTo>
                    <a:pt x="25083" y="5413"/>
                  </a:lnTo>
                  <a:lnTo>
                    <a:pt x="25084" y="5420"/>
                  </a:lnTo>
                  <a:lnTo>
                    <a:pt x="25086" y="5422"/>
                  </a:lnTo>
                  <a:lnTo>
                    <a:pt x="25095" y="5432"/>
                  </a:lnTo>
                  <a:lnTo>
                    <a:pt x="25095" y="5434"/>
                  </a:lnTo>
                  <a:lnTo>
                    <a:pt x="25099" y="5441"/>
                  </a:lnTo>
                  <a:lnTo>
                    <a:pt x="25093" y="5481"/>
                  </a:lnTo>
                  <a:lnTo>
                    <a:pt x="25093" y="5494"/>
                  </a:lnTo>
                  <a:lnTo>
                    <a:pt x="25092" y="5505"/>
                  </a:lnTo>
                  <a:lnTo>
                    <a:pt x="25088" y="5508"/>
                  </a:lnTo>
                  <a:lnTo>
                    <a:pt x="25080" y="5500"/>
                  </a:lnTo>
                  <a:lnTo>
                    <a:pt x="25071" y="5471"/>
                  </a:lnTo>
                  <a:lnTo>
                    <a:pt x="25058" y="5452"/>
                  </a:lnTo>
                  <a:lnTo>
                    <a:pt x="25047" y="5427"/>
                  </a:lnTo>
                  <a:lnTo>
                    <a:pt x="25039" y="5419"/>
                  </a:lnTo>
                  <a:lnTo>
                    <a:pt x="25024" y="5417"/>
                  </a:lnTo>
                  <a:lnTo>
                    <a:pt x="25022" y="5422"/>
                  </a:lnTo>
                  <a:lnTo>
                    <a:pt x="25022" y="5458"/>
                  </a:lnTo>
                  <a:lnTo>
                    <a:pt x="25020" y="5472"/>
                  </a:lnTo>
                  <a:lnTo>
                    <a:pt x="25012" y="5497"/>
                  </a:lnTo>
                  <a:lnTo>
                    <a:pt x="25009" y="5509"/>
                  </a:lnTo>
                  <a:lnTo>
                    <a:pt x="25010" y="5522"/>
                  </a:lnTo>
                  <a:lnTo>
                    <a:pt x="25011" y="5532"/>
                  </a:lnTo>
                  <a:lnTo>
                    <a:pt x="25011" y="5540"/>
                  </a:lnTo>
                  <a:lnTo>
                    <a:pt x="25005" y="5549"/>
                  </a:lnTo>
                  <a:lnTo>
                    <a:pt x="24996" y="5519"/>
                  </a:lnTo>
                  <a:lnTo>
                    <a:pt x="24998" y="5511"/>
                  </a:lnTo>
                  <a:lnTo>
                    <a:pt x="25001" y="5505"/>
                  </a:lnTo>
                  <a:lnTo>
                    <a:pt x="25000" y="5465"/>
                  </a:lnTo>
                  <a:lnTo>
                    <a:pt x="24999" y="5457"/>
                  </a:lnTo>
                  <a:lnTo>
                    <a:pt x="24995" y="5450"/>
                  </a:lnTo>
                  <a:lnTo>
                    <a:pt x="24978" y="5436"/>
                  </a:lnTo>
                  <a:lnTo>
                    <a:pt x="24973" y="5434"/>
                  </a:lnTo>
                  <a:lnTo>
                    <a:pt x="24970" y="5434"/>
                  </a:lnTo>
                  <a:lnTo>
                    <a:pt x="24966" y="5436"/>
                  </a:lnTo>
                  <a:lnTo>
                    <a:pt x="24961" y="5435"/>
                  </a:lnTo>
                  <a:lnTo>
                    <a:pt x="24956" y="5430"/>
                  </a:lnTo>
                  <a:lnTo>
                    <a:pt x="24948" y="5438"/>
                  </a:lnTo>
                  <a:lnTo>
                    <a:pt x="24942" y="5443"/>
                  </a:lnTo>
                  <a:lnTo>
                    <a:pt x="24929" y="5448"/>
                  </a:lnTo>
                  <a:lnTo>
                    <a:pt x="24925" y="5448"/>
                  </a:lnTo>
                  <a:lnTo>
                    <a:pt x="24917" y="5448"/>
                  </a:lnTo>
                  <a:lnTo>
                    <a:pt x="24914" y="5450"/>
                  </a:lnTo>
                  <a:lnTo>
                    <a:pt x="24912" y="5453"/>
                  </a:lnTo>
                  <a:lnTo>
                    <a:pt x="24912" y="5462"/>
                  </a:lnTo>
                  <a:lnTo>
                    <a:pt x="24911" y="5465"/>
                  </a:lnTo>
                  <a:lnTo>
                    <a:pt x="24899" y="5466"/>
                  </a:lnTo>
                  <a:lnTo>
                    <a:pt x="24894" y="5455"/>
                  </a:lnTo>
                  <a:lnTo>
                    <a:pt x="24893" y="5441"/>
                  </a:lnTo>
                  <a:lnTo>
                    <a:pt x="24885" y="5431"/>
                  </a:lnTo>
                  <a:lnTo>
                    <a:pt x="24882" y="5424"/>
                  </a:lnTo>
                  <a:lnTo>
                    <a:pt x="24877" y="5419"/>
                  </a:lnTo>
                  <a:lnTo>
                    <a:pt x="24870" y="5423"/>
                  </a:lnTo>
                  <a:lnTo>
                    <a:pt x="24867" y="5429"/>
                  </a:lnTo>
                  <a:lnTo>
                    <a:pt x="24868" y="5438"/>
                  </a:lnTo>
                  <a:lnTo>
                    <a:pt x="24870" y="5446"/>
                  </a:lnTo>
                  <a:lnTo>
                    <a:pt x="24872" y="5454"/>
                  </a:lnTo>
                  <a:lnTo>
                    <a:pt x="24869" y="5483"/>
                  </a:lnTo>
                  <a:lnTo>
                    <a:pt x="24864" y="5496"/>
                  </a:lnTo>
                  <a:lnTo>
                    <a:pt x="24855" y="5500"/>
                  </a:lnTo>
                  <a:lnTo>
                    <a:pt x="24860" y="5485"/>
                  </a:lnTo>
                  <a:lnTo>
                    <a:pt x="24862" y="5470"/>
                  </a:lnTo>
                  <a:lnTo>
                    <a:pt x="24858" y="5438"/>
                  </a:lnTo>
                  <a:lnTo>
                    <a:pt x="24860" y="5413"/>
                  </a:lnTo>
                  <a:lnTo>
                    <a:pt x="24858" y="5408"/>
                  </a:lnTo>
                  <a:lnTo>
                    <a:pt x="24851" y="5405"/>
                  </a:lnTo>
                  <a:lnTo>
                    <a:pt x="24847" y="5411"/>
                  </a:lnTo>
                  <a:lnTo>
                    <a:pt x="24829" y="5452"/>
                  </a:lnTo>
                  <a:lnTo>
                    <a:pt x="24825" y="5468"/>
                  </a:lnTo>
                  <a:lnTo>
                    <a:pt x="24823" y="5483"/>
                  </a:lnTo>
                  <a:lnTo>
                    <a:pt x="24827" y="5511"/>
                  </a:lnTo>
                  <a:lnTo>
                    <a:pt x="24824" y="5521"/>
                  </a:lnTo>
                  <a:lnTo>
                    <a:pt x="24810" y="5522"/>
                  </a:lnTo>
                  <a:lnTo>
                    <a:pt x="24814" y="5507"/>
                  </a:lnTo>
                  <a:lnTo>
                    <a:pt x="24814" y="5452"/>
                  </a:lnTo>
                  <a:lnTo>
                    <a:pt x="24817" y="5434"/>
                  </a:lnTo>
                  <a:lnTo>
                    <a:pt x="24816" y="5426"/>
                  </a:lnTo>
                  <a:lnTo>
                    <a:pt x="24810" y="5417"/>
                  </a:lnTo>
                  <a:lnTo>
                    <a:pt x="24802" y="5411"/>
                  </a:lnTo>
                  <a:lnTo>
                    <a:pt x="24792" y="5406"/>
                  </a:lnTo>
                  <a:lnTo>
                    <a:pt x="24782" y="5406"/>
                  </a:lnTo>
                  <a:lnTo>
                    <a:pt x="24774" y="5412"/>
                  </a:lnTo>
                  <a:lnTo>
                    <a:pt x="24771" y="5404"/>
                  </a:lnTo>
                  <a:lnTo>
                    <a:pt x="24769" y="5381"/>
                  </a:lnTo>
                  <a:lnTo>
                    <a:pt x="24765" y="5372"/>
                  </a:lnTo>
                  <a:lnTo>
                    <a:pt x="24730" y="5355"/>
                  </a:lnTo>
                  <a:lnTo>
                    <a:pt x="24718" y="5355"/>
                  </a:lnTo>
                  <a:lnTo>
                    <a:pt x="24701" y="5361"/>
                  </a:lnTo>
                  <a:lnTo>
                    <a:pt x="24690" y="5363"/>
                  </a:lnTo>
                  <a:lnTo>
                    <a:pt x="24685" y="5362"/>
                  </a:lnTo>
                  <a:lnTo>
                    <a:pt x="24680" y="5360"/>
                  </a:lnTo>
                  <a:lnTo>
                    <a:pt x="24675" y="5359"/>
                  </a:lnTo>
                  <a:lnTo>
                    <a:pt x="24670" y="5361"/>
                  </a:lnTo>
                  <a:lnTo>
                    <a:pt x="24666" y="5364"/>
                  </a:lnTo>
                  <a:lnTo>
                    <a:pt x="24661" y="5366"/>
                  </a:lnTo>
                  <a:lnTo>
                    <a:pt x="24656" y="5367"/>
                  </a:lnTo>
                  <a:lnTo>
                    <a:pt x="24652" y="5367"/>
                  </a:lnTo>
                  <a:lnTo>
                    <a:pt x="24636" y="5372"/>
                  </a:lnTo>
                  <a:lnTo>
                    <a:pt x="24585" y="5396"/>
                  </a:lnTo>
                  <a:lnTo>
                    <a:pt x="24574" y="5406"/>
                  </a:lnTo>
                  <a:lnTo>
                    <a:pt x="24569" y="5418"/>
                  </a:lnTo>
                  <a:lnTo>
                    <a:pt x="24531" y="5460"/>
                  </a:lnTo>
                  <a:lnTo>
                    <a:pt x="24517" y="5491"/>
                  </a:lnTo>
                  <a:lnTo>
                    <a:pt x="24501" y="5503"/>
                  </a:lnTo>
                  <a:lnTo>
                    <a:pt x="24468" y="5549"/>
                  </a:lnTo>
                  <a:lnTo>
                    <a:pt x="24457" y="5560"/>
                  </a:lnTo>
                  <a:lnTo>
                    <a:pt x="24419" y="5588"/>
                  </a:lnTo>
                  <a:lnTo>
                    <a:pt x="24411" y="5593"/>
                  </a:lnTo>
                  <a:lnTo>
                    <a:pt x="24405" y="5600"/>
                  </a:lnTo>
                  <a:lnTo>
                    <a:pt x="24393" y="5608"/>
                  </a:lnTo>
                  <a:lnTo>
                    <a:pt x="24388" y="5610"/>
                  </a:lnTo>
                  <a:lnTo>
                    <a:pt x="24380" y="5611"/>
                  </a:lnTo>
                  <a:lnTo>
                    <a:pt x="24356" y="5603"/>
                  </a:lnTo>
                  <a:lnTo>
                    <a:pt x="24318" y="5564"/>
                  </a:lnTo>
                  <a:lnTo>
                    <a:pt x="24295" y="5549"/>
                  </a:lnTo>
                  <a:lnTo>
                    <a:pt x="24283" y="5547"/>
                  </a:lnTo>
                  <a:lnTo>
                    <a:pt x="24269" y="5546"/>
                  </a:lnTo>
                  <a:lnTo>
                    <a:pt x="24256" y="5544"/>
                  </a:lnTo>
                  <a:lnTo>
                    <a:pt x="24251" y="5538"/>
                  </a:lnTo>
                  <a:lnTo>
                    <a:pt x="24244" y="5536"/>
                  </a:lnTo>
                  <a:lnTo>
                    <a:pt x="24230" y="5537"/>
                  </a:lnTo>
                  <a:lnTo>
                    <a:pt x="24220" y="5542"/>
                  </a:lnTo>
                  <a:lnTo>
                    <a:pt x="24224" y="5553"/>
                  </a:lnTo>
                  <a:lnTo>
                    <a:pt x="24224" y="5557"/>
                  </a:lnTo>
                  <a:lnTo>
                    <a:pt x="24214" y="5558"/>
                  </a:lnTo>
                  <a:lnTo>
                    <a:pt x="24200" y="5566"/>
                  </a:lnTo>
                  <a:lnTo>
                    <a:pt x="24189" y="5566"/>
                  </a:lnTo>
                  <a:lnTo>
                    <a:pt x="24197" y="5558"/>
                  </a:lnTo>
                  <a:lnTo>
                    <a:pt x="24195" y="5551"/>
                  </a:lnTo>
                  <a:lnTo>
                    <a:pt x="24191" y="5544"/>
                  </a:lnTo>
                  <a:lnTo>
                    <a:pt x="24194" y="5535"/>
                  </a:lnTo>
                  <a:lnTo>
                    <a:pt x="24184" y="5535"/>
                  </a:lnTo>
                  <a:lnTo>
                    <a:pt x="24181" y="5535"/>
                  </a:lnTo>
                  <a:lnTo>
                    <a:pt x="24185" y="5535"/>
                  </a:lnTo>
                  <a:lnTo>
                    <a:pt x="24164" y="5537"/>
                  </a:lnTo>
                  <a:lnTo>
                    <a:pt x="24154" y="5535"/>
                  </a:lnTo>
                  <a:lnTo>
                    <a:pt x="24127" y="5525"/>
                  </a:lnTo>
                  <a:lnTo>
                    <a:pt x="24118" y="5522"/>
                  </a:lnTo>
                  <a:lnTo>
                    <a:pt x="24047" y="5522"/>
                  </a:lnTo>
                  <a:lnTo>
                    <a:pt x="24043" y="5523"/>
                  </a:lnTo>
                  <a:lnTo>
                    <a:pt x="24034" y="5527"/>
                  </a:lnTo>
                  <a:lnTo>
                    <a:pt x="24021" y="5527"/>
                  </a:lnTo>
                  <a:lnTo>
                    <a:pt x="23995" y="5536"/>
                  </a:lnTo>
                  <a:lnTo>
                    <a:pt x="23990" y="5540"/>
                  </a:lnTo>
                  <a:lnTo>
                    <a:pt x="23988" y="5550"/>
                  </a:lnTo>
                  <a:lnTo>
                    <a:pt x="24020" y="5547"/>
                  </a:lnTo>
                  <a:lnTo>
                    <a:pt x="24034" y="5553"/>
                  </a:lnTo>
                  <a:lnTo>
                    <a:pt x="24018" y="5559"/>
                  </a:lnTo>
                  <a:lnTo>
                    <a:pt x="24001" y="5562"/>
                  </a:lnTo>
                  <a:lnTo>
                    <a:pt x="23974" y="5560"/>
                  </a:lnTo>
                  <a:lnTo>
                    <a:pt x="23968" y="5562"/>
                  </a:lnTo>
                  <a:lnTo>
                    <a:pt x="23971" y="5571"/>
                  </a:lnTo>
                  <a:lnTo>
                    <a:pt x="23970" y="5575"/>
                  </a:lnTo>
                  <a:lnTo>
                    <a:pt x="23965" y="5573"/>
                  </a:lnTo>
                  <a:lnTo>
                    <a:pt x="23959" y="5566"/>
                  </a:lnTo>
                  <a:lnTo>
                    <a:pt x="23954" y="5575"/>
                  </a:lnTo>
                  <a:lnTo>
                    <a:pt x="23945" y="5577"/>
                  </a:lnTo>
                  <a:lnTo>
                    <a:pt x="23934" y="5575"/>
                  </a:lnTo>
                  <a:lnTo>
                    <a:pt x="23923" y="5575"/>
                  </a:lnTo>
                  <a:lnTo>
                    <a:pt x="23899" y="5587"/>
                  </a:lnTo>
                  <a:lnTo>
                    <a:pt x="23890" y="5594"/>
                  </a:lnTo>
                  <a:lnTo>
                    <a:pt x="23894" y="5597"/>
                  </a:lnTo>
                  <a:lnTo>
                    <a:pt x="23925" y="5596"/>
                  </a:lnTo>
                  <a:lnTo>
                    <a:pt x="23939" y="5598"/>
                  </a:lnTo>
                  <a:lnTo>
                    <a:pt x="23945" y="5604"/>
                  </a:lnTo>
                  <a:lnTo>
                    <a:pt x="23941" y="5613"/>
                  </a:lnTo>
                  <a:lnTo>
                    <a:pt x="23931" y="5620"/>
                  </a:lnTo>
                  <a:lnTo>
                    <a:pt x="23920" y="5626"/>
                  </a:lnTo>
                  <a:lnTo>
                    <a:pt x="23910" y="5628"/>
                  </a:lnTo>
                  <a:lnTo>
                    <a:pt x="23910" y="5633"/>
                  </a:lnTo>
                  <a:lnTo>
                    <a:pt x="23920" y="5636"/>
                  </a:lnTo>
                  <a:lnTo>
                    <a:pt x="23932" y="5637"/>
                  </a:lnTo>
                  <a:lnTo>
                    <a:pt x="23928" y="5652"/>
                  </a:lnTo>
                  <a:lnTo>
                    <a:pt x="23925" y="5657"/>
                  </a:lnTo>
                  <a:lnTo>
                    <a:pt x="23919" y="5663"/>
                  </a:lnTo>
                  <a:lnTo>
                    <a:pt x="23913" y="5668"/>
                  </a:lnTo>
                  <a:lnTo>
                    <a:pt x="23907" y="5671"/>
                  </a:lnTo>
                  <a:lnTo>
                    <a:pt x="23902" y="5675"/>
                  </a:lnTo>
                  <a:lnTo>
                    <a:pt x="23901" y="5685"/>
                  </a:lnTo>
                  <a:lnTo>
                    <a:pt x="23905" y="5685"/>
                  </a:lnTo>
                  <a:lnTo>
                    <a:pt x="23915" y="5676"/>
                  </a:lnTo>
                  <a:lnTo>
                    <a:pt x="23942" y="5683"/>
                  </a:lnTo>
                  <a:lnTo>
                    <a:pt x="23954" y="5677"/>
                  </a:lnTo>
                  <a:lnTo>
                    <a:pt x="23964" y="5699"/>
                  </a:lnTo>
                  <a:lnTo>
                    <a:pt x="23966" y="5703"/>
                  </a:lnTo>
                  <a:lnTo>
                    <a:pt x="23982" y="5705"/>
                  </a:lnTo>
                  <a:lnTo>
                    <a:pt x="23989" y="5701"/>
                  </a:lnTo>
                  <a:lnTo>
                    <a:pt x="23986" y="5690"/>
                  </a:lnTo>
                  <a:lnTo>
                    <a:pt x="23991" y="5692"/>
                  </a:lnTo>
                  <a:lnTo>
                    <a:pt x="23996" y="5693"/>
                  </a:lnTo>
                  <a:lnTo>
                    <a:pt x="24002" y="5693"/>
                  </a:lnTo>
                  <a:lnTo>
                    <a:pt x="24008" y="5690"/>
                  </a:lnTo>
                  <a:lnTo>
                    <a:pt x="24014" y="5696"/>
                  </a:lnTo>
                  <a:lnTo>
                    <a:pt x="24026" y="5696"/>
                  </a:lnTo>
                  <a:lnTo>
                    <a:pt x="24036" y="5689"/>
                  </a:lnTo>
                  <a:lnTo>
                    <a:pt x="24038" y="5677"/>
                  </a:lnTo>
                  <a:lnTo>
                    <a:pt x="24046" y="5680"/>
                  </a:lnTo>
                  <a:lnTo>
                    <a:pt x="24052" y="5685"/>
                  </a:lnTo>
                  <a:lnTo>
                    <a:pt x="24059" y="5688"/>
                  </a:lnTo>
                  <a:lnTo>
                    <a:pt x="24067" y="5690"/>
                  </a:lnTo>
                  <a:lnTo>
                    <a:pt x="24089" y="5689"/>
                  </a:lnTo>
                  <a:lnTo>
                    <a:pt x="24096" y="5690"/>
                  </a:lnTo>
                  <a:lnTo>
                    <a:pt x="24127" y="5696"/>
                  </a:lnTo>
                  <a:lnTo>
                    <a:pt x="24138" y="5703"/>
                  </a:lnTo>
                  <a:lnTo>
                    <a:pt x="24137" y="5716"/>
                  </a:lnTo>
                  <a:lnTo>
                    <a:pt x="24153" y="5721"/>
                  </a:lnTo>
                  <a:lnTo>
                    <a:pt x="24224" y="5760"/>
                  </a:lnTo>
                  <a:lnTo>
                    <a:pt x="24229" y="5765"/>
                  </a:lnTo>
                  <a:lnTo>
                    <a:pt x="24233" y="5771"/>
                  </a:lnTo>
                  <a:lnTo>
                    <a:pt x="24237" y="5776"/>
                  </a:lnTo>
                  <a:lnTo>
                    <a:pt x="24245" y="5778"/>
                  </a:lnTo>
                  <a:lnTo>
                    <a:pt x="24249" y="5781"/>
                  </a:lnTo>
                  <a:lnTo>
                    <a:pt x="24262" y="5793"/>
                  </a:lnTo>
                  <a:lnTo>
                    <a:pt x="24267" y="5796"/>
                  </a:lnTo>
                  <a:lnTo>
                    <a:pt x="24274" y="5799"/>
                  </a:lnTo>
                  <a:lnTo>
                    <a:pt x="24278" y="5807"/>
                  </a:lnTo>
                  <a:lnTo>
                    <a:pt x="24281" y="5814"/>
                  </a:lnTo>
                  <a:lnTo>
                    <a:pt x="24284" y="5818"/>
                  </a:lnTo>
                  <a:lnTo>
                    <a:pt x="24287" y="5822"/>
                  </a:lnTo>
                  <a:lnTo>
                    <a:pt x="24293" y="5840"/>
                  </a:lnTo>
                  <a:lnTo>
                    <a:pt x="24298" y="5844"/>
                  </a:lnTo>
                  <a:lnTo>
                    <a:pt x="24302" y="5846"/>
                  </a:lnTo>
                  <a:lnTo>
                    <a:pt x="24318" y="5854"/>
                  </a:lnTo>
                  <a:lnTo>
                    <a:pt x="24322" y="5857"/>
                  </a:lnTo>
                  <a:lnTo>
                    <a:pt x="24324" y="5869"/>
                  </a:lnTo>
                  <a:lnTo>
                    <a:pt x="24315" y="5875"/>
                  </a:lnTo>
                  <a:lnTo>
                    <a:pt x="24306" y="5879"/>
                  </a:lnTo>
                  <a:lnTo>
                    <a:pt x="24307" y="5886"/>
                  </a:lnTo>
                  <a:lnTo>
                    <a:pt x="24322" y="5899"/>
                  </a:lnTo>
                  <a:lnTo>
                    <a:pt x="24327" y="5906"/>
                  </a:lnTo>
                  <a:lnTo>
                    <a:pt x="24336" y="5926"/>
                  </a:lnTo>
                  <a:lnTo>
                    <a:pt x="24340" y="5932"/>
                  </a:lnTo>
                  <a:lnTo>
                    <a:pt x="24351" y="5942"/>
                  </a:lnTo>
                  <a:lnTo>
                    <a:pt x="24364" y="5948"/>
                  </a:lnTo>
                  <a:lnTo>
                    <a:pt x="24378" y="5949"/>
                  </a:lnTo>
                  <a:lnTo>
                    <a:pt x="24391" y="5943"/>
                  </a:lnTo>
                  <a:lnTo>
                    <a:pt x="24394" y="5937"/>
                  </a:lnTo>
                  <a:lnTo>
                    <a:pt x="24388" y="5922"/>
                  </a:lnTo>
                  <a:lnTo>
                    <a:pt x="24389" y="5914"/>
                  </a:lnTo>
                  <a:lnTo>
                    <a:pt x="24391" y="5910"/>
                  </a:lnTo>
                  <a:lnTo>
                    <a:pt x="24396" y="5908"/>
                  </a:lnTo>
                  <a:lnTo>
                    <a:pt x="24417" y="5904"/>
                  </a:lnTo>
                  <a:lnTo>
                    <a:pt x="24430" y="5905"/>
                  </a:lnTo>
                  <a:lnTo>
                    <a:pt x="24442" y="5911"/>
                  </a:lnTo>
                  <a:lnTo>
                    <a:pt x="24446" y="5926"/>
                  </a:lnTo>
                  <a:lnTo>
                    <a:pt x="24442" y="5966"/>
                  </a:lnTo>
                  <a:lnTo>
                    <a:pt x="24442" y="5981"/>
                  </a:lnTo>
                  <a:lnTo>
                    <a:pt x="24448" y="6012"/>
                  </a:lnTo>
                  <a:lnTo>
                    <a:pt x="24455" y="6027"/>
                  </a:lnTo>
                  <a:lnTo>
                    <a:pt x="24466" y="6033"/>
                  </a:lnTo>
                  <a:lnTo>
                    <a:pt x="24480" y="6034"/>
                  </a:lnTo>
                  <a:lnTo>
                    <a:pt x="24486" y="6036"/>
                  </a:lnTo>
                  <a:lnTo>
                    <a:pt x="24495" y="6060"/>
                  </a:lnTo>
                  <a:lnTo>
                    <a:pt x="24499" y="6067"/>
                  </a:lnTo>
                  <a:lnTo>
                    <a:pt x="24504" y="6071"/>
                  </a:lnTo>
                  <a:lnTo>
                    <a:pt x="24509" y="6074"/>
                  </a:lnTo>
                  <a:lnTo>
                    <a:pt x="24515" y="6080"/>
                  </a:lnTo>
                  <a:lnTo>
                    <a:pt x="24519" y="6087"/>
                  </a:lnTo>
                  <a:lnTo>
                    <a:pt x="24516" y="6091"/>
                  </a:lnTo>
                  <a:lnTo>
                    <a:pt x="24506" y="6097"/>
                  </a:lnTo>
                  <a:lnTo>
                    <a:pt x="24496" y="6108"/>
                  </a:lnTo>
                  <a:lnTo>
                    <a:pt x="24493" y="6113"/>
                  </a:lnTo>
                  <a:lnTo>
                    <a:pt x="24491" y="6122"/>
                  </a:lnTo>
                  <a:lnTo>
                    <a:pt x="24491" y="6128"/>
                  </a:lnTo>
                  <a:lnTo>
                    <a:pt x="24493" y="6134"/>
                  </a:lnTo>
                  <a:lnTo>
                    <a:pt x="24492" y="6139"/>
                  </a:lnTo>
                  <a:lnTo>
                    <a:pt x="24486" y="6144"/>
                  </a:lnTo>
                  <a:lnTo>
                    <a:pt x="24461" y="6146"/>
                  </a:lnTo>
                  <a:lnTo>
                    <a:pt x="24432" y="6138"/>
                  </a:lnTo>
                  <a:lnTo>
                    <a:pt x="24406" y="6134"/>
                  </a:lnTo>
                  <a:lnTo>
                    <a:pt x="24389" y="6148"/>
                  </a:lnTo>
                  <a:lnTo>
                    <a:pt x="24389" y="6169"/>
                  </a:lnTo>
                  <a:lnTo>
                    <a:pt x="24424" y="6241"/>
                  </a:lnTo>
                  <a:lnTo>
                    <a:pt x="24425" y="6248"/>
                  </a:lnTo>
                  <a:lnTo>
                    <a:pt x="24424" y="6269"/>
                  </a:lnTo>
                  <a:lnTo>
                    <a:pt x="24426" y="6273"/>
                  </a:lnTo>
                  <a:lnTo>
                    <a:pt x="24435" y="6283"/>
                  </a:lnTo>
                  <a:lnTo>
                    <a:pt x="24450" y="6320"/>
                  </a:lnTo>
                  <a:lnTo>
                    <a:pt x="24451" y="6327"/>
                  </a:lnTo>
                  <a:lnTo>
                    <a:pt x="24451" y="6334"/>
                  </a:lnTo>
                  <a:lnTo>
                    <a:pt x="24439" y="6324"/>
                  </a:lnTo>
                  <a:lnTo>
                    <a:pt x="24432" y="6321"/>
                  </a:lnTo>
                  <a:lnTo>
                    <a:pt x="24429" y="6327"/>
                  </a:lnTo>
                  <a:lnTo>
                    <a:pt x="24431" y="6335"/>
                  </a:lnTo>
                  <a:lnTo>
                    <a:pt x="24438" y="6342"/>
                  </a:lnTo>
                  <a:lnTo>
                    <a:pt x="24445" y="6346"/>
                  </a:lnTo>
                  <a:lnTo>
                    <a:pt x="24451" y="6351"/>
                  </a:lnTo>
                  <a:lnTo>
                    <a:pt x="24454" y="6358"/>
                  </a:lnTo>
                  <a:lnTo>
                    <a:pt x="24461" y="6373"/>
                  </a:lnTo>
                  <a:lnTo>
                    <a:pt x="24466" y="6380"/>
                  </a:lnTo>
                  <a:lnTo>
                    <a:pt x="24473" y="6384"/>
                  </a:lnTo>
                  <a:lnTo>
                    <a:pt x="24486" y="6392"/>
                  </a:lnTo>
                  <a:lnTo>
                    <a:pt x="24493" y="6398"/>
                  </a:lnTo>
                  <a:lnTo>
                    <a:pt x="24497" y="6405"/>
                  </a:lnTo>
                  <a:lnTo>
                    <a:pt x="24496" y="6418"/>
                  </a:lnTo>
                  <a:lnTo>
                    <a:pt x="24500" y="6426"/>
                  </a:lnTo>
                  <a:lnTo>
                    <a:pt x="24504" y="6431"/>
                  </a:lnTo>
                  <a:lnTo>
                    <a:pt x="24507" y="6432"/>
                  </a:lnTo>
                  <a:lnTo>
                    <a:pt x="24511" y="6433"/>
                  </a:lnTo>
                  <a:lnTo>
                    <a:pt x="24544" y="6446"/>
                  </a:lnTo>
                  <a:lnTo>
                    <a:pt x="24557" y="6447"/>
                  </a:lnTo>
                  <a:lnTo>
                    <a:pt x="24568" y="6441"/>
                  </a:lnTo>
                  <a:lnTo>
                    <a:pt x="24586" y="6419"/>
                  </a:lnTo>
                  <a:lnTo>
                    <a:pt x="24597" y="6413"/>
                  </a:lnTo>
                  <a:lnTo>
                    <a:pt x="24614" y="6413"/>
                  </a:lnTo>
                  <a:lnTo>
                    <a:pt x="24669" y="6423"/>
                  </a:lnTo>
                  <a:lnTo>
                    <a:pt x="24700" y="6424"/>
                  </a:lnTo>
                  <a:lnTo>
                    <a:pt x="24726" y="6417"/>
                  </a:lnTo>
                  <a:lnTo>
                    <a:pt x="24737" y="6407"/>
                  </a:lnTo>
                  <a:lnTo>
                    <a:pt x="24814" y="6325"/>
                  </a:lnTo>
                  <a:lnTo>
                    <a:pt x="24824" y="6307"/>
                  </a:lnTo>
                  <a:lnTo>
                    <a:pt x="24830" y="6300"/>
                  </a:lnTo>
                  <a:lnTo>
                    <a:pt x="24835" y="6297"/>
                  </a:lnTo>
                  <a:lnTo>
                    <a:pt x="24850" y="6292"/>
                  </a:lnTo>
                  <a:lnTo>
                    <a:pt x="24856" y="6287"/>
                  </a:lnTo>
                  <a:lnTo>
                    <a:pt x="24858" y="6275"/>
                  </a:lnTo>
                  <a:lnTo>
                    <a:pt x="24848" y="6263"/>
                  </a:lnTo>
                  <a:lnTo>
                    <a:pt x="24828" y="6245"/>
                  </a:lnTo>
                  <a:lnTo>
                    <a:pt x="24820" y="6217"/>
                  </a:lnTo>
                  <a:lnTo>
                    <a:pt x="24828" y="6195"/>
                  </a:lnTo>
                  <a:lnTo>
                    <a:pt x="24890" y="6131"/>
                  </a:lnTo>
                  <a:lnTo>
                    <a:pt x="24901" y="6126"/>
                  </a:lnTo>
                  <a:lnTo>
                    <a:pt x="24912" y="6123"/>
                  </a:lnTo>
                  <a:lnTo>
                    <a:pt x="24925" y="6114"/>
                  </a:lnTo>
                  <a:lnTo>
                    <a:pt x="24936" y="6104"/>
                  </a:lnTo>
                  <a:lnTo>
                    <a:pt x="24942" y="6095"/>
                  </a:lnTo>
                  <a:lnTo>
                    <a:pt x="24946" y="6081"/>
                  </a:lnTo>
                  <a:lnTo>
                    <a:pt x="24945" y="6066"/>
                  </a:lnTo>
                  <a:lnTo>
                    <a:pt x="24940" y="6052"/>
                  </a:lnTo>
                  <a:lnTo>
                    <a:pt x="24931" y="6040"/>
                  </a:lnTo>
                  <a:lnTo>
                    <a:pt x="24919" y="6032"/>
                  </a:lnTo>
                  <a:lnTo>
                    <a:pt x="24894" y="6023"/>
                  </a:lnTo>
                  <a:lnTo>
                    <a:pt x="24881" y="6016"/>
                  </a:lnTo>
                  <a:lnTo>
                    <a:pt x="24881" y="6012"/>
                  </a:lnTo>
                  <a:lnTo>
                    <a:pt x="24894" y="6012"/>
                  </a:lnTo>
                  <a:lnTo>
                    <a:pt x="24899" y="6008"/>
                  </a:lnTo>
                  <a:lnTo>
                    <a:pt x="24899" y="5990"/>
                  </a:lnTo>
                  <a:lnTo>
                    <a:pt x="24895" y="5978"/>
                  </a:lnTo>
                  <a:lnTo>
                    <a:pt x="24896" y="5974"/>
                  </a:lnTo>
                  <a:lnTo>
                    <a:pt x="24903" y="5976"/>
                  </a:lnTo>
                  <a:lnTo>
                    <a:pt x="24905" y="5979"/>
                  </a:lnTo>
                  <a:lnTo>
                    <a:pt x="24916" y="6003"/>
                  </a:lnTo>
                  <a:lnTo>
                    <a:pt x="24920" y="6008"/>
                  </a:lnTo>
                  <a:lnTo>
                    <a:pt x="24925" y="6009"/>
                  </a:lnTo>
                  <a:lnTo>
                    <a:pt x="24960" y="6002"/>
                  </a:lnTo>
                  <a:lnTo>
                    <a:pt x="24969" y="5998"/>
                  </a:lnTo>
                  <a:lnTo>
                    <a:pt x="24992" y="5963"/>
                  </a:lnTo>
                  <a:lnTo>
                    <a:pt x="24987" y="5852"/>
                  </a:lnTo>
                  <a:lnTo>
                    <a:pt x="24995" y="5809"/>
                  </a:lnTo>
                  <a:lnTo>
                    <a:pt x="25010" y="5790"/>
                  </a:lnTo>
                  <a:lnTo>
                    <a:pt x="25029" y="5771"/>
                  </a:lnTo>
                  <a:lnTo>
                    <a:pt x="25038" y="5764"/>
                  </a:lnTo>
                  <a:lnTo>
                    <a:pt x="25082" y="5742"/>
                  </a:lnTo>
                  <a:lnTo>
                    <a:pt x="25086" y="5737"/>
                  </a:lnTo>
                  <a:lnTo>
                    <a:pt x="25091" y="5720"/>
                  </a:lnTo>
                  <a:lnTo>
                    <a:pt x="25099" y="5704"/>
                  </a:lnTo>
                  <a:lnTo>
                    <a:pt x="25100" y="5701"/>
                  </a:lnTo>
                  <a:lnTo>
                    <a:pt x="25092" y="5688"/>
                  </a:lnTo>
                  <a:lnTo>
                    <a:pt x="25097" y="5685"/>
                  </a:lnTo>
                  <a:lnTo>
                    <a:pt x="25109" y="5684"/>
                  </a:lnTo>
                  <a:lnTo>
                    <a:pt x="25120" y="5681"/>
                  </a:lnTo>
                  <a:lnTo>
                    <a:pt x="25124" y="5686"/>
                  </a:lnTo>
                  <a:lnTo>
                    <a:pt x="25129" y="5692"/>
                  </a:lnTo>
                  <a:lnTo>
                    <a:pt x="25132" y="5700"/>
                  </a:lnTo>
                  <a:lnTo>
                    <a:pt x="25133" y="5707"/>
                  </a:lnTo>
                  <a:lnTo>
                    <a:pt x="25131" y="5717"/>
                  </a:lnTo>
                  <a:lnTo>
                    <a:pt x="25121" y="5736"/>
                  </a:lnTo>
                  <a:lnTo>
                    <a:pt x="25120" y="5747"/>
                  </a:lnTo>
                  <a:lnTo>
                    <a:pt x="25122" y="5757"/>
                  </a:lnTo>
                  <a:lnTo>
                    <a:pt x="25126" y="5766"/>
                  </a:lnTo>
                  <a:lnTo>
                    <a:pt x="25132" y="5772"/>
                  </a:lnTo>
                  <a:lnTo>
                    <a:pt x="25137" y="5778"/>
                  </a:lnTo>
                  <a:lnTo>
                    <a:pt x="25142" y="5780"/>
                  </a:lnTo>
                  <a:lnTo>
                    <a:pt x="25148" y="5781"/>
                  </a:lnTo>
                  <a:lnTo>
                    <a:pt x="25153" y="5784"/>
                  </a:lnTo>
                  <a:lnTo>
                    <a:pt x="25155" y="5789"/>
                  </a:lnTo>
                  <a:lnTo>
                    <a:pt x="25156" y="5795"/>
                  </a:lnTo>
                  <a:lnTo>
                    <a:pt x="25158" y="5799"/>
                  </a:lnTo>
                  <a:lnTo>
                    <a:pt x="25161" y="5802"/>
                  </a:lnTo>
                  <a:lnTo>
                    <a:pt x="25164" y="5804"/>
                  </a:lnTo>
                  <a:lnTo>
                    <a:pt x="25154" y="5812"/>
                  </a:lnTo>
                  <a:lnTo>
                    <a:pt x="25145" y="5803"/>
                  </a:lnTo>
                  <a:lnTo>
                    <a:pt x="25134" y="5789"/>
                  </a:lnTo>
                  <a:lnTo>
                    <a:pt x="25122" y="5782"/>
                  </a:lnTo>
                  <a:lnTo>
                    <a:pt x="25111" y="5786"/>
                  </a:lnTo>
                  <a:lnTo>
                    <a:pt x="25095" y="5805"/>
                  </a:lnTo>
                  <a:lnTo>
                    <a:pt x="25082" y="5809"/>
                  </a:lnTo>
                  <a:lnTo>
                    <a:pt x="25070" y="5815"/>
                  </a:lnTo>
                  <a:lnTo>
                    <a:pt x="25062" y="5843"/>
                  </a:lnTo>
                  <a:lnTo>
                    <a:pt x="25054" y="5853"/>
                  </a:lnTo>
                  <a:lnTo>
                    <a:pt x="25039" y="5848"/>
                  </a:lnTo>
                  <a:lnTo>
                    <a:pt x="25030" y="5848"/>
                  </a:lnTo>
                  <a:lnTo>
                    <a:pt x="25027" y="5855"/>
                  </a:lnTo>
                  <a:lnTo>
                    <a:pt x="25026" y="5869"/>
                  </a:lnTo>
                  <a:lnTo>
                    <a:pt x="25025" y="5875"/>
                  </a:lnTo>
                  <a:lnTo>
                    <a:pt x="25022" y="5880"/>
                  </a:lnTo>
                  <a:lnTo>
                    <a:pt x="25010" y="5869"/>
                  </a:lnTo>
                  <a:lnTo>
                    <a:pt x="25005" y="5880"/>
                  </a:lnTo>
                  <a:lnTo>
                    <a:pt x="25005" y="5927"/>
                  </a:lnTo>
                  <a:lnTo>
                    <a:pt x="25016" y="5974"/>
                  </a:lnTo>
                  <a:lnTo>
                    <a:pt x="25017" y="5990"/>
                  </a:lnTo>
                  <a:lnTo>
                    <a:pt x="25014" y="6005"/>
                  </a:lnTo>
                  <a:lnTo>
                    <a:pt x="25002" y="6012"/>
                  </a:lnTo>
                  <a:lnTo>
                    <a:pt x="24986" y="6016"/>
                  </a:lnTo>
                  <a:lnTo>
                    <a:pt x="24978" y="6027"/>
                  </a:lnTo>
                  <a:lnTo>
                    <a:pt x="24978" y="6042"/>
                  </a:lnTo>
                  <a:lnTo>
                    <a:pt x="24983" y="6055"/>
                  </a:lnTo>
                  <a:lnTo>
                    <a:pt x="25010" y="6093"/>
                  </a:lnTo>
                  <a:lnTo>
                    <a:pt x="25015" y="6110"/>
                  </a:lnTo>
                  <a:lnTo>
                    <a:pt x="25021" y="6123"/>
                  </a:lnTo>
                  <a:lnTo>
                    <a:pt x="25022" y="6130"/>
                  </a:lnTo>
                  <a:lnTo>
                    <a:pt x="25021" y="6136"/>
                  </a:lnTo>
                  <a:lnTo>
                    <a:pt x="25013" y="6148"/>
                  </a:lnTo>
                  <a:lnTo>
                    <a:pt x="25018" y="6163"/>
                  </a:lnTo>
                  <a:lnTo>
                    <a:pt x="25027" y="6163"/>
                  </a:lnTo>
                  <a:lnTo>
                    <a:pt x="25037" y="6157"/>
                  </a:lnTo>
                  <a:lnTo>
                    <a:pt x="25047" y="6153"/>
                  </a:lnTo>
                  <a:lnTo>
                    <a:pt x="25057" y="6155"/>
                  </a:lnTo>
                  <a:lnTo>
                    <a:pt x="25066" y="6161"/>
                  </a:lnTo>
                  <a:lnTo>
                    <a:pt x="25074" y="6168"/>
                  </a:lnTo>
                  <a:lnTo>
                    <a:pt x="25080" y="6175"/>
                  </a:lnTo>
                  <a:lnTo>
                    <a:pt x="25087" y="6194"/>
                  </a:lnTo>
                  <a:lnTo>
                    <a:pt x="25091" y="6197"/>
                  </a:lnTo>
                  <a:lnTo>
                    <a:pt x="25100" y="6195"/>
                  </a:lnTo>
                  <a:lnTo>
                    <a:pt x="25099" y="6190"/>
                  </a:lnTo>
                  <a:lnTo>
                    <a:pt x="25096" y="6184"/>
                  </a:lnTo>
                  <a:lnTo>
                    <a:pt x="25090" y="6165"/>
                  </a:lnTo>
                  <a:lnTo>
                    <a:pt x="25083" y="6151"/>
                  </a:lnTo>
                  <a:lnTo>
                    <a:pt x="25078" y="6137"/>
                  </a:lnTo>
                  <a:lnTo>
                    <a:pt x="25080" y="6122"/>
                  </a:lnTo>
                  <a:lnTo>
                    <a:pt x="25084" y="6118"/>
                  </a:lnTo>
                  <a:lnTo>
                    <a:pt x="25089" y="6113"/>
                  </a:lnTo>
                  <a:lnTo>
                    <a:pt x="25095" y="6110"/>
                  </a:lnTo>
                  <a:lnTo>
                    <a:pt x="25100" y="6109"/>
                  </a:lnTo>
                  <a:lnTo>
                    <a:pt x="25105" y="6110"/>
                  </a:lnTo>
                  <a:lnTo>
                    <a:pt x="25107" y="6115"/>
                  </a:lnTo>
                  <a:lnTo>
                    <a:pt x="25107" y="6128"/>
                  </a:lnTo>
                  <a:lnTo>
                    <a:pt x="25109" y="6141"/>
                  </a:lnTo>
                  <a:lnTo>
                    <a:pt x="25115" y="6151"/>
                  </a:lnTo>
                  <a:lnTo>
                    <a:pt x="25143" y="6182"/>
                  </a:lnTo>
                  <a:lnTo>
                    <a:pt x="25154" y="6200"/>
                  </a:lnTo>
                  <a:lnTo>
                    <a:pt x="25183" y="6269"/>
                  </a:lnTo>
                  <a:lnTo>
                    <a:pt x="25191" y="6277"/>
                  </a:lnTo>
                  <a:lnTo>
                    <a:pt x="25202" y="6281"/>
                  </a:lnTo>
                  <a:lnTo>
                    <a:pt x="25209" y="6275"/>
                  </a:lnTo>
                  <a:lnTo>
                    <a:pt x="25225" y="6248"/>
                  </a:lnTo>
                  <a:lnTo>
                    <a:pt x="25235" y="6241"/>
                  </a:lnTo>
                  <a:lnTo>
                    <a:pt x="25247" y="6244"/>
                  </a:lnTo>
                  <a:lnTo>
                    <a:pt x="25258" y="6253"/>
                  </a:lnTo>
                  <a:lnTo>
                    <a:pt x="25269" y="6261"/>
                  </a:lnTo>
                  <a:lnTo>
                    <a:pt x="25281" y="6256"/>
                  </a:lnTo>
                  <a:lnTo>
                    <a:pt x="25289" y="6248"/>
                  </a:lnTo>
                  <a:lnTo>
                    <a:pt x="25292" y="6244"/>
                  </a:lnTo>
                  <a:lnTo>
                    <a:pt x="25292" y="6232"/>
                  </a:lnTo>
                  <a:lnTo>
                    <a:pt x="25292" y="6225"/>
                  </a:lnTo>
                  <a:lnTo>
                    <a:pt x="25290" y="6220"/>
                  </a:lnTo>
                  <a:lnTo>
                    <a:pt x="25289" y="6215"/>
                  </a:lnTo>
                  <a:lnTo>
                    <a:pt x="25292" y="6210"/>
                  </a:lnTo>
                  <a:lnTo>
                    <a:pt x="25305" y="6218"/>
                  </a:lnTo>
                  <a:lnTo>
                    <a:pt x="25315" y="6227"/>
                  </a:lnTo>
                  <a:lnTo>
                    <a:pt x="25322" y="6237"/>
                  </a:lnTo>
                  <a:lnTo>
                    <a:pt x="25333" y="6262"/>
                  </a:lnTo>
                  <a:lnTo>
                    <a:pt x="25335" y="6268"/>
                  </a:lnTo>
                  <a:lnTo>
                    <a:pt x="25330" y="6273"/>
                  </a:lnTo>
                  <a:lnTo>
                    <a:pt x="25303" y="6293"/>
                  </a:lnTo>
                  <a:lnTo>
                    <a:pt x="25297" y="6303"/>
                  </a:lnTo>
                  <a:lnTo>
                    <a:pt x="25301" y="6311"/>
                  </a:lnTo>
                  <a:lnTo>
                    <a:pt x="25306" y="6309"/>
                  </a:lnTo>
                  <a:lnTo>
                    <a:pt x="25313" y="6305"/>
                  </a:lnTo>
                  <a:lnTo>
                    <a:pt x="25320" y="6302"/>
                  </a:lnTo>
                  <a:lnTo>
                    <a:pt x="25323" y="6305"/>
                  </a:lnTo>
                  <a:lnTo>
                    <a:pt x="25324" y="6310"/>
                  </a:lnTo>
                  <a:lnTo>
                    <a:pt x="25327" y="6321"/>
                  </a:lnTo>
                  <a:lnTo>
                    <a:pt x="25328" y="6327"/>
                  </a:lnTo>
                  <a:lnTo>
                    <a:pt x="25334" y="6337"/>
                  </a:lnTo>
                  <a:lnTo>
                    <a:pt x="25347" y="6345"/>
                  </a:lnTo>
                  <a:lnTo>
                    <a:pt x="25362" y="6350"/>
                  </a:lnTo>
                  <a:lnTo>
                    <a:pt x="25374" y="6351"/>
                  </a:lnTo>
                  <a:lnTo>
                    <a:pt x="25386" y="6355"/>
                  </a:lnTo>
                  <a:lnTo>
                    <a:pt x="25393" y="6365"/>
                  </a:lnTo>
                  <a:lnTo>
                    <a:pt x="25399" y="6374"/>
                  </a:lnTo>
                  <a:lnTo>
                    <a:pt x="25406" y="6378"/>
                  </a:lnTo>
                  <a:lnTo>
                    <a:pt x="25408" y="6380"/>
                  </a:lnTo>
                  <a:lnTo>
                    <a:pt x="25410" y="6384"/>
                  </a:lnTo>
                  <a:lnTo>
                    <a:pt x="25414" y="6387"/>
                  </a:lnTo>
                  <a:lnTo>
                    <a:pt x="25421" y="6387"/>
                  </a:lnTo>
                  <a:lnTo>
                    <a:pt x="25430" y="6371"/>
                  </a:lnTo>
                  <a:lnTo>
                    <a:pt x="25428" y="6362"/>
                  </a:lnTo>
                  <a:lnTo>
                    <a:pt x="25423" y="6353"/>
                  </a:lnTo>
                  <a:lnTo>
                    <a:pt x="25416" y="6347"/>
                  </a:lnTo>
                  <a:lnTo>
                    <a:pt x="25408" y="6343"/>
                  </a:lnTo>
                  <a:lnTo>
                    <a:pt x="25408" y="6338"/>
                  </a:lnTo>
                  <a:lnTo>
                    <a:pt x="25436" y="6337"/>
                  </a:lnTo>
                  <a:lnTo>
                    <a:pt x="25443" y="6326"/>
                  </a:lnTo>
                  <a:lnTo>
                    <a:pt x="25437" y="6309"/>
                  </a:lnTo>
                  <a:lnTo>
                    <a:pt x="25426" y="6289"/>
                  </a:lnTo>
                  <a:lnTo>
                    <a:pt x="25453" y="6309"/>
                  </a:lnTo>
                  <a:lnTo>
                    <a:pt x="25464" y="6311"/>
                  </a:lnTo>
                  <a:lnTo>
                    <a:pt x="25479" y="6312"/>
                  </a:lnTo>
                  <a:lnTo>
                    <a:pt x="25488" y="6314"/>
                  </a:lnTo>
                  <a:lnTo>
                    <a:pt x="25492" y="6318"/>
                  </a:lnTo>
                  <a:lnTo>
                    <a:pt x="25499" y="6327"/>
                  </a:lnTo>
                  <a:lnTo>
                    <a:pt x="25512" y="6337"/>
                  </a:lnTo>
                  <a:lnTo>
                    <a:pt x="25519" y="6349"/>
                  </a:lnTo>
                  <a:lnTo>
                    <a:pt x="25510" y="6360"/>
                  </a:lnTo>
                  <a:lnTo>
                    <a:pt x="25523" y="6368"/>
                  </a:lnTo>
                  <a:lnTo>
                    <a:pt x="25539" y="6384"/>
                  </a:lnTo>
                  <a:lnTo>
                    <a:pt x="25550" y="6391"/>
                  </a:lnTo>
                  <a:lnTo>
                    <a:pt x="25554" y="6388"/>
                  </a:lnTo>
                  <a:lnTo>
                    <a:pt x="25590" y="6379"/>
                  </a:lnTo>
                  <a:lnTo>
                    <a:pt x="25599" y="6374"/>
                  </a:lnTo>
                  <a:lnTo>
                    <a:pt x="25605" y="6366"/>
                  </a:lnTo>
                  <a:lnTo>
                    <a:pt x="25607" y="6353"/>
                  </a:lnTo>
                  <a:lnTo>
                    <a:pt x="25611" y="6345"/>
                  </a:lnTo>
                  <a:lnTo>
                    <a:pt x="25620" y="6338"/>
                  </a:lnTo>
                  <a:lnTo>
                    <a:pt x="25638" y="6329"/>
                  </a:lnTo>
                  <a:lnTo>
                    <a:pt x="25641" y="6325"/>
                  </a:lnTo>
                  <a:lnTo>
                    <a:pt x="25643" y="6318"/>
                  </a:lnTo>
                  <a:lnTo>
                    <a:pt x="25647" y="6315"/>
                  </a:lnTo>
                  <a:lnTo>
                    <a:pt x="25654" y="6318"/>
                  </a:lnTo>
                  <a:lnTo>
                    <a:pt x="25658" y="6319"/>
                  </a:lnTo>
                  <a:lnTo>
                    <a:pt x="25708" y="6321"/>
                  </a:lnTo>
                  <a:lnTo>
                    <a:pt x="25756" y="6329"/>
                  </a:lnTo>
                  <a:lnTo>
                    <a:pt x="25785" y="6329"/>
                  </a:lnTo>
                  <a:lnTo>
                    <a:pt x="25789" y="6328"/>
                  </a:lnTo>
                  <a:lnTo>
                    <a:pt x="25793" y="6326"/>
                  </a:lnTo>
                  <a:lnTo>
                    <a:pt x="25797" y="6324"/>
                  </a:lnTo>
                  <a:lnTo>
                    <a:pt x="25802" y="6325"/>
                  </a:lnTo>
                  <a:lnTo>
                    <a:pt x="25805" y="6327"/>
                  </a:lnTo>
                  <a:lnTo>
                    <a:pt x="25805" y="6329"/>
                  </a:lnTo>
                  <a:lnTo>
                    <a:pt x="25805" y="6332"/>
                  </a:lnTo>
                  <a:lnTo>
                    <a:pt x="25807" y="6334"/>
                  </a:lnTo>
                  <a:lnTo>
                    <a:pt x="25806" y="6334"/>
                  </a:lnTo>
                  <a:lnTo>
                    <a:pt x="25807" y="6337"/>
                  </a:lnTo>
                  <a:lnTo>
                    <a:pt x="25812" y="6341"/>
                  </a:lnTo>
                  <a:lnTo>
                    <a:pt x="25820" y="6343"/>
                  </a:lnTo>
                  <a:lnTo>
                    <a:pt x="25825" y="6340"/>
                  </a:lnTo>
                  <a:lnTo>
                    <a:pt x="25831" y="6335"/>
                  </a:lnTo>
                  <a:lnTo>
                    <a:pt x="25836" y="6333"/>
                  </a:lnTo>
                  <a:lnTo>
                    <a:pt x="25838" y="6340"/>
                  </a:lnTo>
                  <a:lnTo>
                    <a:pt x="25836" y="6343"/>
                  </a:lnTo>
                  <a:lnTo>
                    <a:pt x="25822" y="6351"/>
                  </a:lnTo>
                  <a:lnTo>
                    <a:pt x="25819" y="6353"/>
                  </a:lnTo>
                  <a:lnTo>
                    <a:pt x="25815" y="6356"/>
                  </a:lnTo>
                  <a:lnTo>
                    <a:pt x="25810" y="6359"/>
                  </a:lnTo>
                  <a:lnTo>
                    <a:pt x="25802" y="6360"/>
                  </a:lnTo>
                  <a:lnTo>
                    <a:pt x="25797" y="6358"/>
                  </a:lnTo>
                  <a:lnTo>
                    <a:pt x="25780" y="6346"/>
                  </a:lnTo>
                  <a:lnTo>
                    <a:pt x="25769" y="6344"/>
                  </a:lnTo>
                  <a:lnTo>
                    <a:pt x="25716" y="6341"/>
                  </a:lnTo>
                  <a:lnTo>
                    <a:pt x="25689" y="6335"/>
                  </a:lnTo>
                  <a:lnTo>
                    <a:pt x="25678" y="6334"/>
                  </a:lnTo>
                  <a:lnTo>
                    <a:pt x="25665" y="6335"/>
                  </a:lnTo>
                  <a:lnTo>
                    <a:pt x="25655" y="6340"/>
                  </a:lnTo>
                  <a:lnTo>
                    <a:pt x="25649" y="6349"/>
                  </a:lnTo>
                  <a:lnTo>
                    <a:pt x="25646" y="6384"/>
                  </a:lnTo>
                  <a:lnTo>
                    <a:pt x="25647" y="6391"/>
                  </a:lnTo>
                  <a:lnTo>
                    <a:pt x="25650" y="6395"/>
                  </a:lnTo>
                  <a:lnTo>
                    <a:pt x="25659" y="6403"/>
                  </a:lnTo>
                  <a:lnTo>
                    <a:pt x="25660" y="6408"/>
                  </a:lnTo>
                  <a:lnTo>
                    <a:pt x="25655" y="6421"/>
                  </a:lnTo>
                  <a:lnTo>
                    <a:pt x="25634" y="6438"/>
                  </a:lnTo>
                  <a:lnTo>
                    <a:pt x="25629" y="6450"/>
                  </a:lnTo>
                  <a:lnTo>
                    <a:pt x="25636" y="6460"/>
                  </a:lnTo>
                  <a:lnTo>
                    <a:pt x="25650" y="6462"/>
                  </a:lnTo>
                  <a:lnTo>
                    <a:pt x="25667" y="6462"/>
                  </a:lnTo>
                  <a:lnTo>
                    <a:pt x="25678" y="6466"/>
                  </a:lnTo>
                  <a:lnTo>
                    <a:pt x="25679" y="6471"/>
                  </a:lnTo>
                  <a:lnTo>
                    <a:pt x="25682" y="6495"/>
                  </a:lnTo>
                  <a:lnTo>
                    <a:pt x="25684" y="6501"/>
                  </a:lnTo>
                  <a:lnTo>
                    <a:pt x="25688" y="6505"/>
                  </a:lnTo>
                  <a:lnTo>
                    <a:pt x="25722" y="6528"/>
                  </a:lnTo>
                  <a:lnTo>
                    <a:pt x="25734" y="6537"/>
                  </a:lnTo>
                  <a:lnTo>
                    <a:pt x="25740" y="6541"/>
                  </a:lnTo>
                  <a:lnTo>
                    <a:pt x="25742" y="6541"/>
                  </a:lnTo>
                  <a:lnTo>
                    <a:pt x="25767" y="6537"/>
                  </a:lnTo>
                  <a:lnTo>
                    <a:pt x="25780" y="6539"/>
                  </a:lnTo>
                  <a:lnTo>
                    <a:pt x="25796" y="6544"/>
                  </a:lnTo>
                  <a:lnTo>
                    <a:pt x="25810" y="6551"/>
                  </a:lnTo>
                  <a:lnTo>
                    <a:pt x="25815" y="6561"/>
                  </a:lnTo>
                  <a:lnTo>
                    <a:pt x="25820" y="6571"/>
                  </a:lnTo>
                  <a:lnTo>
                    <a:pt x="25830" y="6579"/>
                  </a:lnTo>
                  <a:lnTo>
                    <a:pt x="25977" y="6663"/>
                  </a:lnTo>
                  <a:lnTo>
                    <a:pt x="26004" y="6671"/>
                  </a:lnTo>
                  <a:lnTo>
                    <a:pt x="26032" y="6669"/>
                  </a:lnTo>
                  <a:lnTo>
                    <a:pt x="26070" y="6657"/>
                  </a:lnTo>
                  <a:lnTo>
                    <a:pt x="26089" y="6660"/>
                  </a:lnTo>
                  <a:lnTo>
                    <a:pt x="26124" y="6655"/>
                  </a:lnTo>
                  <a:lnTo>
                    <a:pt x="26135" y="6651"/>
                  </a:lnTo>
                  <a:lnTo>
                    <a:pt x="26143" y="6658"/>
                  </a:lnTo>
                  <a:lnTo>
                    <a:pt x="26158" y="6661"/>
                  </a:lnTo>
                  <a:lnTo>
                    <a:pt x="26237" y="6670"/>
                  </a:lnTo>
                  <a:lnTo>
                    <a:pt x="26248" y="6676"/>
                  </a:lnTo>
                  <a:lnTo>
                    <a:pt x="26254" y="6680"/>
                  </a:lnTo>
                  <a:lnTo>
                    <a:pt x="26281" y="6687"/>
                  </a:lnTo>
                  <a:lnTo>
                    <a:pt x="26309" y="6688"/>
                  </a:lnTo>
                  <a:lnTo>
                    <a:pt x="26314" y="6689"/>
                  </a:lnTo>
                  <a:lnTo>
                    <a:pt x="26325" y="6693"/>
                  </a:lnTo>
                  <a:lnTo>
                    <a:pt x="26342" y="6694"/>
                  </a:lnTo>
                  <a:lnTo>
                    <a:pt x="26358" y="6692"/>
                  </a:lnTo>
                  <a:lnTo>
                    <a:pt x="26369" y="6687"/>
                  </a:lnTo>
                  <a:lnTo>
                    <a:pt x="26393" y="6695"/>
                  </a:lnTo>
                  <a:lnTo>
                    <a:pt x="26447" y="6695"/>
                  </a:lnTo>
                  <a:lnTo>
                    <a:pt x="26471" y="6700"/>
                  </a:lnTo>
                  <a:lnTo>
                    <a:pt x="26484" y="6708"/>
                  </a:lnTo>
                  <a:lnTo>
                    <a:pt x="26513" y="6742"/>
                  </a:lnTo>
                  <a:lnTo>
                    <a:pt x="26526" y="6751"/>
                  </a:lnTo>
                  <a:lnTo>
                    <a:pt x="26535" y="6754"/>
                  </a:lnTo>
                  <a:lnTo>
                    <a:pt x="26544" y="6754"/>
                  </a:lnTo>
                  <a:lnTo>
                    <a:pt x="26555" y="6757"/>
                  </a:lnTo>
                  <a:lnTo>
                    <a:pt x="26564" y="6762"/>
                  </a:lnTo>
                  <a:lnTo>
                    <a:pt x="26572" y="6768"/>
                  </a:lnTo>
                  <a:lnTo>
                    <a:pt x="26582" y="6773"/>
                  </a:lnTo>
                  <a:lnTo>
                    <a:pt x="26598" y="6775"/>
                  </a:lnTo>
                  <a:lnTo>
                    <a:pt x="26598" y="6777"/>
                  </a:lnTo>
                  <a:lnTo>
                    <a:pt x="26618" y="6792"/>
                  </a:lnTo>
                  <a:lnTo>
                    <a:pt x="26676" y="6809"/>
                  </a:lnTo>
                  <a:lnTo>
                    <a:pt x="26733" y="6810"/>
                  </a:lnTo>
                  <a:lnTo>
                    <a:pt x="26746" y="6814"/>
                  </a:lnTo>
                  <a:lnTo>
                    <a:pt x="26764" y="6830"/>
                  </a:lnTo>
                  <a:lnTo>
                    <a:pt x="26770" y="6832"/>
                  </a:lnTo>
                  <a:lnTo>
                    <a:pt x="26784" y="6833"/>
                  </a:lnTo>
                  <a:lnTo>
                    <a:pt x="26788" y="6835"/>
                  </a:lnTo>
                  <a:lnTo>
                    <a:pt x="26803" y="6848"/>
                  </a:lnTo>
                  <a:lnTo>
                    <a:pt x="26851" y="6872"/>
                  </a:lnTo>
                  <a:lnTo>
                    <a:pt x="26908" y="6904"/>
                  </a:lnTo>
                  <a:lnTo>
                    <a:pt x="26953" y="6920"/>
                  </a:lnTo>
                  <a:lnTo>
                    <a:pt x="26984" y="6942"/>
                  </a:lnTo>
                  <a:lnTo>
                    <a:pt x="26990" y="6941"/>
                  </a:lnTo>
                  <a:lnTo>
                    <a:pt x="26997" y="6937"/>
                  </a:lnTo>
                  <a:lnTo>
                    <a:pt x="27012" y="6938"/>
                  </a:lnTo>
                  <a:lnTo>
                    <a:pt x="27020" y="6941"/>
                  </a:lnTo>
                  <a:lnTo>
                    <a:pt x="27022" y="6943"/>
                  </a:lnTo>
                  <a:lnTo>
                    <a:pt x="27021" y="6954"/>
                  </a:lnTo>
                  <a:lnTo>
                    <a:pt x="27023" y="6960"/>
                  </a:lnTo>
                  <a:lnTo>
                    <a:pt x="27028" y="6967"/>
                  </a:lnTo>
                  <a:lnTo>
                    <a:pt x="27035" y="6972"/>
                  </a:lnTo>
                  <a:lnTo>
                    <a:pt x="27041" y="6974"/>
                  </a:lnTo>
                  <a:lnTo>
                    <a:pt x="27055" y="6972"/>
                  </a:lnTo>
                  <a:lnTo>
                    <a:pt x="27069" y="6966"/>
                  </a:lnTo>
                  <a:lnTo>
                    <a:pt x="27116" y="6938"/>
                  </a:lnTo>
                  <a:lnTo>
                    <a:pt x="27130" y="6934"/>
                  </a:lnTo>
                  <a:lnTo>
                    <a:pt x="27136" y="6941"/>
                  </a:lnTo>
                  <a:lnTo>
                    <a:pt x="27133" y="6944"/>
                  </a:lnTo>
                  <a:lnTo>
                    <a:pt x="27125" y="6948"/>
                  </a:lnTo>
                  <a:lnTo>
                    <a:pt x="27117" y="6953"/>
                  </a:lnTo>
                  <a:lnTo>
                    <a:pt x="27114" y="6960"/>
                  </a:lnTo>
                  <a:lnTo>
                    <a:pt x="27115" y="6965"/>
                  </a:lnTo>
                  <a:lnTo>
                    <a:pt x="27120" y="6968"/>
                  </a:lnTo>
                  <a:lnTo>
                    <a:pt x="27154" y="6983"/>
                  </a:lnTo>
                  <a:lnTo>
                    <a:pt x="27177" y="6982"/>
                  </a:lnTo>
                  <a:lnTo>
                    <a:pt x="27197" y="6969"/>
                  </a:lnTo>
                  <a:lnTo>
                    <a:pt x="27211" y="6947"/>
                  </a:lnTo>
                  <a:lnTo>
                    <a:pt x="27216" y="6947"/>
                  </a:lnTo>
                  <a:lnTo>
                    <a:pt x="27212" y="6968"/>
                  </a:lnTo>
                  <a:lnTo>
                    <a:pt x="27207" y="6982"/>
                  </a:lnTo>
                  <a:lnTo>
                    <a:pt x="27208" y="6992"/>
                  </a:lnTo>
                  <a:lnTo>
                    <a:pt x="27225" y="7005"/>
                  </a:lnTo>
                  <a:lnTo>
                    <a:pt x="27247" y="6983"/>
                  </a:lnTo>
                  <a:lnTo>
                    <a:pt x="27248" y="7002"/>
                  </a:lnTo>
                  <a:lnTo>
                    <a:pt x="27259" y="7012"/>
                  </a:lnTo>
                  <a:lnTo>
                    <a:pt x="27291" y="7027"/>
                  </a:lnTo>
                  <a:lnTo>
                    <a:pt x="27300" y="7017"/>
                  </a:lnTo>
                  <a:lnTo>
                    <a:pt x="27295" y="7007"/>
                  </a:lnTo>
                  <a:lnTo>
                    <a:pt x="27300" y="6998"/>
                  </a:lnTo>
                  <a:lnTo>
                    <a:pt x="27330" y="6977"/>
                  </a:lnTo>
                  <a:lnTo>
                    <a:pt x="27333" y="6979"/>
                  </a:lnTo>
                  <a:lnTo>
                    <a:pt x="27323" y="7018"/>
                  </a:lnTo>
                  <a:lnTo>
                    <a:pt x="27323" y="7027"/>
                  </a:lnTo>
                  <a:lnTo>
                    <a:pt x="27329" y="7031"/>
                  </a:lnTo>
                  <a:lnTo>
                    <a:pt x="27345" y="7035"/>
                  </a:lnTo>
                  <a:lnTo>
                    <a:pt x="27350" y="7032"/>
                  </a:lnTo>
                  <a:lnTo>
                    <a:pt x="27349" y="7017"/>
                  </a:lnTo>
                  <a:lnTo>
                    <a:pt x="27366" y="7038"/>
                  </a:lnTo>
                  <a:lnTo>
                    <a:pt x="27376" y="7044"/>
                  </a:lnTo>
                  <a:lnTo>
                    <a:pt x="27385" y="7035"/>
                  </a:lnTo>
                  <a:lnTo>
                    <a:pt x="27389" y="7035"/>
                  </a:lnTo>
                  <a:lnTo>
                    <a:pt x="27389" y="7042"/>
                  </a:lnTo>
                  <a:lnTo>
                    <a:pt x="27388" y="7048"/>
                  </a:lnTo>
                  <a:lnTo>
                    <a:pt x="27385" y="7053"/>
                  </a:lnTo>
                  <a:lnTo>
                    <a:pt x="27380" y="7058"/>
                  </a:lnTo>
                  <a:lnTo>
                    <a:pt x="27394" y="7071"/>
                  </a:lnTo>
                  <a:lnTo>
                    <a:pt x="27411" y="7081"/>
                  </a:lnTo>
                  <a:lnTo>
                    <a:pt x="27429" y="7085"/>
                  </a:lnTo>
                  <a:lnTo>
                    <a:pt x="27450" y="7080"/>
                  </a:lnTo>
                  <a:lnTo>
                    <a:pt x="27453" y="7089"/>
                  </a:lnTo>
                  <a:lnTo>
                    <a:pt x="27456" y="7092"/>
                  </a:lnTo>
                  <a:lnTo>
                    <a:pt x="27461" y="7094"/>
                  </a:lnTo>
                  <a:lnTo>
                    <a:pt x="27468" y="7097"/>
                  </a:lnTo>
                  <a:lnTo>
                    <a:pt x="27479" y="7110"/>
                  </a:lnTo>
                  <a:lnTo>
                    <a:pt x="27486" y="7114"/>
                  </a:lnTo>
                  <a:lnTo>
                    <a:pt x="27495" y="7115"/>
                  </a:lnTo>
                  <a:lnTo>
                    <a:pt x="27499" y="7111"/>
                  </a:lnTo>
                  <a:lnTo>
                    <a:pt x="27510" y="7096"/>
                  </a:lnTo>
                  <a:lnTo>
                    <a:pt x="27513" y="7093"/>
                  </a:lnTo>
                  <a:lnTo>
                    <a:pt x="27520" y="7096"/>
                  </a:lnTo>
                  <a:lnTo>
                    <a:pt x="27525" y="7110"/>
                  </a:lnTo>
                  <a:lnTo>
                    <a:pt x="27535" y="7115"/>
                  </a:lnTo>
                  <a:lnTo>
                    <a:pt x="27535" y="7119"/>
                  </a:lnTo>
                  <a:lnTo>
                    <a:pt x="27521" y="7126"/>
                  </a:lnTo>
                  <a:lnTo>
                    <a:pt x="27525" y="7136"/>
                  </a:lnTo>
                  <a:lnTo>
                    <a:pt x="27537" y="7145"/>
                  </a:lnTo>
                  <a:lnTo>
                    <a:pt x="27548" y="7150"/>
                  </a:lnTo>
                  <a:lnTo>
                    <a:pt x="27568" y="7155"/>
                  </a:lnTo>
                  <a:lnTo>
                    <a:pt x="27578" y="7160"/>
                  </a:lnTo>
                  <a:lnTo>
                    <a:pt x="27585" y="7158"/>
                  </a:lnTo>
                  <a:lnTo>
                    <a:pt x="27591" y="7155"/>
                  </a:lnTo>
                  <a:lnTo>
                    <a:pt x="27596" y="7154"/>
                  </a:lnTo>
                  <a:lnTo>
                    <a:pt x="27607" y="7161"/>
                  </a:lnTo>
                  <a:lnTo>
                    <a:pt x="27612" y="7184"/>
                  </a:lnTo>
                  <a:lnTo>
                    <a:pt x="27623" y="7194"/>
                  </a:lnTo>
                  <a:lnTo>
                    <a:pt x="27636" y="7197"/>
                  </a:lnTo>
                  <a:lnTo>
                    <a:pt x="27648" y="7194"/>
                  </a:lnTo>
                  <a:lnTo>
                    <a:pt x="27672" y="7181"/>
                  </a:lnTo>
                  <a:lnTo>
                    <a:pt x="27668" y="7193"/>
                  </a:lnTo>
                  <a:lnTo>
                    <a:pt x="27656" y="7210"/>
                  </a:lnTo>
                  <a:lnTo>
                    <a:pt x="27654" y="7221"/>
                  </a:lnTo>
                  <a:lnTo>
                    <a:pt x="27656" y="7223"/>
                  </a:lnTo>
                  <a:lnTo>
                    <a:pt x="27673" y="7246"/>
                  </a:lnTo>
                  <a:lnTo>
                    <a:pt x="27676" y="7249"/>
                  </a:lnTo>
                  <a:lnTo>
                    <a:pt x="27681" y="7252"/>
                  </a:lnTo>
                  <a:lnTo>
                    <a:pt x="27702" y="7251"/>
                  </a:lnTo>
                  <a:lnTo>
                    <a:pt x="27735" y="7227"/>
                  </a:lnTo>
                  <a:lnTo>
                    <a:pt x="27748" y="7230"/>
                  </a:lnTo>
                  <a:lnTo>
                    <a:pt x="27737" y="7252"/>
                  </a:lnTo>
                  <a:lnTo>
                    <a:pt x="27741" y="7268"/>
                  </a:lnTo>
                  <a:lnTo>
                    <a:pt x="27770" y="7296"/>
                  </a:lnTo>
                  <a:lnTo>
                    <a:pt x="27788" y="7321"/>
                  </a:lnTo>
                  <a:lnTo>
                    <a:pt x="27796" y="7327"/>
                  </a:lnTo>
                  <a:lnTo>
                    <a:pt x="27813" y="7331"/>
                  </a:lnTo>
                  <a:lnTo>
                    <a:pt x="27820" y="7324"/>
                  </a:lnTo>
                  <a:lnTo>
                    <a:pt x="27819" y="7311"/>
                  </a:lnTo>
                  <a:lnTo>
                    <a:pt x="27814" y="7296"/>
                  </a:lnTo>
                  <a:lnTo>
                    <a:pt x="27823" y="7299"/>
                  </a:lnTo>
                  <a:lnTo>
                    <a:pt x="27830" y="7297"/>
                  </a:lnTo>
                  <a:lnTo>
                    <a:pt x="27834" y="7289"/>
                  </a:lnTo>
                  <a:lnTo>
                    <a:pt x="27836" y="7279"/>
                  </a:lnTo>
                  <a:lnTo>
                    <a:pt x="27842" y="7283"/>
                  </a:lnTo>
                  <a:lnTo>
                    <a:pt x="27845" y="7289"/>
                  </a:lnTo>
                  <a:lnTo>
                    <a:pt x="27845" y="7305"/>
                  </a:lnTo>
                  <a:lnTo>
                    <a:pt x="27838" y="7334"/>
                  </a:lnTo>
                  <a:lnTo>
                    <a:pt x="27838" y="7348"/>
                  </a:lnTo>
                  <a:lnTo>
                    <a:pt x="27847" y="7354"/>
                  </a:lnTo>
                  <a:lnTo>
                    <a:pt x="27851" y="7355"/>
                  </a:lnTo>
                  <a:lnTo>
                    <a:pt x="27865" y="7361"/>
                  </a:lnTo>
                  <a:lnTo>
                    <a:pt x="27867" y="7363"/>
                  </a:lnTo>
                  <a:lnTo>
                    <a:pt x="27866" y="7370"/>
                  </a:lnTo>
                  <a:lnTo>
                    <a:pt x="27862" y="7372"/>
                  </a:lnTo>
                  <a:lnTo>
                    <a:pt x="27856" y="7373"/>
                  </a:lnTo>
                  <a:lnTo>
                    <a:pt x="27849" y="7376"/>
                  </a:lnTo>
                  <a:lnTo>
                    <a:pt x="27841" y="7383"/>
                  </a:lnTo>
                  <a:lnTo>
                    <a:pt x="27835" y="7389"/>
                  </a:lnTo>
                  <a:lnTo>
                    <a:pt x="27832" y="7399"/>
                  </a:lnTo>
                  <a:lnTo>
                    <a:pt x="27831" y="7414"/>
                  </a:lnTo>
                  <a:lnTo>
                    <a:pt x="27834" y="7443"/>
                  </a:lnTo>
                  <a:lnTo>
                    <a:pt x="27841" y="7468"/>
                  </a:lnTo>
                  <a:lnTo>
                    <a:pt x="27841" y="7475"/>
                  </a:lnTo>
                  <a:lnTo>
                    <a:pt x="27841" y="7482"/>
                  </a:lnTo>
                  <a:lnTo>
                    <a:pt x="27842" y="7488"/>
                  </a:lnTo>
                  <a:lnTo>
                    <a:pt x="27849" y="7492"/>
                  </a:lnTo>
                  <a:lnTo>
                    <a:pt x="27850" y="7494"/>
                  </a:lnTo>
                  <a:lnTo>
                    <a:pt x="27852" y="7496"/>
                  </a:lnTo>
                  <a:lnTo>
                    <a:pt x="27865" y="7486"/>
                  </a:lnTo>
                  <a:lnTo>
                    <a:pt x="27895" y="7485"/>
                  </a:lnTo>
                  <a:lnTo>
                    <a:pt x="27908" y="7481"/>
                  </a:lnTo>
                  <a:lnTo>
                    <a:pt x="27935" y="7465"/>
                  </a:lnTo>
                  <a:lnTo>
                    <a:pt x="27947" y="7459"/>
                  </a:lnTo>
                  <a:lnTo>
                    <a:pt x="27960" y="7457"/>
                  </a:lnTo>
                  <a:lnTo>
                    <a:pt x="27976" y="7456"/>
                  </a:lnTo>
                  <a:lnTo>
                    <a:pt x="28003" y="7451"/>
                  </a:lnTo>
                  <a:lnTo>
                    <a:pt x="28018" y="7451"/>
                  </a:lnTo>
                  <a:lnTo>
                    <a:pt x="28031" y="7456"/>
                  </a:lnTo>
                  <a:lnTo>
                    <a:pt x="27995" y="7467"/>
                  </a:lnTo>
                  <a:lnTo>
                    <a:pt x="27959" y="7482"/>
                  </a:lnTo>
                  <a:lnTo>
                    <a:pt x="27898" y="7517"/>
                  </a:lnTo>
                  <a:lnTo>
                    <a:pt x="27906" y="7526"/>
                  </a:lnTo>
                  <a:lnTo>
                    <a:pt x="27910" y="7532"/>
                  </a:lnTo>
                  <a:lnTo>
                    <a:pt x="27912" y="7537"/>
                  </a:lnTo>
                  <a:lnTo>
                    <a:pt x="27914" y="7541"/>
                  </a:lnTo>
                  <a:lnTo>
                    <a:pt x="27931" y="7551"/>
                  </a:lnTo>
                  <a:lnTo>
                    <a:pt x="28005" y="7567"/>
                  </a:lnTo>
                  <a:lnTo>
                    <a:pt x="28018" y="7566"/>
                  </a:lnTo>
                  <a:lnTo>
                    <a:pt x="28046" y="7558"/>
                  </a:lnTo>
                  <a:lnTo>
                    <a:pt x="28058" y="7557"/>
                  </a:lnTo>
                  <a:lnTo>
                    <a:pt x="28040" y="7570"/>
                  </a:lnTo>
                  <a:lnTo>
                    <a:pt x="27993" y="7578"/>
                  </a:lnTo>
                  <a:lnTo>
                    <a:pt x="27972" y="7590"/>
                  </a:lnTo>
                  <a:lnTo>
                    <a:pt x="27966" y="7608"/>
                  </a:lnTo>
                  <a:lnTo>
                    <a:pt x="27975" y="7629"/>
                  </a:lnTo>
                  <a:lnTo>
                    <a:pt x="28016" y="7691"/>
                  </a:lnTo>
                  <a:lnTo>
                    <a:pt x="28018" y="7701"/>
                  </a:lnTo>
                  <a:lnTo>
                    <a:pt x="28021" y="7709"/>
                  </a:lnTo>
                  <a:lnTo>
                    <a:pt x="28033" y="7723"/>
                  </a:lnTo>
                  <a:lnTo>
                    <a:pt x="28035" y="7732"/>
                  </a:lnTo>
                  <a:lnTo>
                    <a:pt x="28037" y="7744"/>
                  </a:lnTo>
                  <a:lnTo>
                    <a:pt x="28049" y="7774"/>
                  </a:lnTo>
                  <a:lnTo>
                    <a:pt x="28050" y="7784"/>
                  </a:lnTo>
                  <a:lnTo>
                    <a:pt x="28049" y="7814"/>
                  </a:lnTo>
                  <a:lnTo>
                    <a:pt x="28052" y="7827"/>
                  </a:lnTo>
                  <a:lnTo>
                    <a:pt x="28064" y="7852"/>
                  </a:lnTo>
                  <a:lnTo>
                    <a:pt x="28069" y="7869"/>
                  </a:lnTo>
                  <a:lnTo>
                    <a:pt x="28098" y="7923"/>
                  </a:lnTo>
                  <a:lnTo>
                    <a:pt x="28187" y="8005"/>
                  </a:lnTo>
                  <a:lnTo>
                    <a:pt x="28197" y="8009"/>
                  </a:lnTo>
                  <a:lnTo>
                    <a:pt x="28205" y="8015"/>
                  </a:lnTo>
                  <a:lnTo>
                    <a:pt x="28235" y="8053"/>
                  </a:lnTo>
                  <a:lnTo>
                    <a:pt x="28255" y="8070"/>
                  </a:lnTo>
                  <a:lnTo>
                    <a:pt x="28333" y="8120"/>
                  </a:lnTo>
                  <a:lnTo>
                    <a:pt x="28290" y="8097"/>
                  </a:lnTo>
                  <a:lnTo>
                    <a:pt x="28277" y="8093"/>
                  </a:lnTo>
                  <a:lnTo>
                    <a:pt x="28251" y="8081"/>
                  </a:lnTo>
                  <a:lnTo>
                    <a:pt x="28238" y="8080"/>
                  </a:lnTo>
                  <a:lnTo>
                    <a:pt x="28230" y="8098"/>
                  </a:lnTo>
                  <a:lnTo>
                    <a:pt x="28232" y="8113"/>
                  </a:lnTo>
                  <a:lnTo>
                    <a:pt x="28238" y="8125"/>
                  </a:lnTo>
                  <a:lnTo>
                    <a:pt x="28249" y="8134"/>
                  </a:lnTo>
                  <a:lnTo>
                    <a:pt x="28279" y="8142"/>
                  </a:lnTo>
                  <a:lnTo>
                    <a:pt x="28293" y="8153"/>
                  </a:lnTo>
                  <a:lnTo>
                    <a:pt x="28328" y="8184"/>
                  </a:lnTo>
                  <a:lnTo>
                    <a:pt x="28338" y="8190"/>
                  </a:lnTo>
                  <a:lnTo>
                    <a:pt x="28350" y="8193"/>
                  </a:lnTo>
                  <a:lnTo>
                    <a:pt x="28394" y="8197"/>
                  </a:lnTo>
                  <a:lnTo>
                    <a:pt x="28421" y="8204"/>
                  </a:lnTo>
                  <a:lnTo>
                    <a:pt x="28443" y="8215"/>
                  </a:lnTo>
                  <a:lnTo>
                    <a:pt x="28488" y="8257"/>
                  </a:lnTo>
                  <a:lnTo>
                    <a:pt x="28518" y="8272"/>
                  </a:lnTo>
                  <a:lnTo>
                    <a:pt x="28522" y="8277"/>
                  </a:lnTo>
                  <a:lnTo>
                    <a:pt x="28529" y="8279"/>
                  </a:lnTo>
                  <a:lnTo>
                    <a:pt x="28544" y="8280"/>
                  </a:lnTo>
                  <a:lnTo>
                    <a:pt x="28560" y="8283"/>
                  </a:lnTo>
                  <a:lnTo>
                    <a:pt x="28567" y="8292"/>
                  </a:lnTo>
                  <a:lnTo>
                    <a:pt x="28561" y="8291"/>
                  </a:lnTo>
                  <a:lnTo>
                    <a:pt x="28534" y="8292"/>
                  </a:lnTo>
                  <a:lnTo>
                    <a:pt x="28525" y="8291"/>
                  </a:lnTo>
                  <a:lnTo>
                    <a:pt x="28519" y="8289"/>
                  </a:lnTo>
                  <a:lnTo>
                    <a:pt x="28510" y="8284"/>
                  </a:lnTo>
                  <a:lnTo>
                    <a:pt x="28497" y="8280"/>
                  </a:lnTo>
                  <a:lnTo>
                    <a:pt x="28490" y="8277"/>
                  </a:lnTo>
                  <a:lnTo>
                    <a:pt x="28488" y="8272"/>
                  </a:lnTo>
                  <a:lnTo>
                    <a:pt x="28468" y="8257"/>
                  </a:lnTo>
                  <a:lnTo>
                    <a:pt x="28455" y="8251"/>
                  </a:lnTo>
                  <a:lnTo>
                    <a:pt x="28436" y="8223"/>
                  </a:lnTo>
                  <a:lnTo>
                    <a:pt x="28424" y="8217"/>
                  </a:lnTo>
                  <a:lnTo>
                    <a:pt x="28417" y="8216"/>
                  </a:lnTo>
                  <a:lnTo>
                    <a:pt x="28405" y="8210"/>
                  </a:lnTo>
                  <a:lnTo>
                    <a:pt x="28399" y="8208"/>
                  </a:lnTo>
                  <a:lnTo>
                    <a:pt x="28390" y="8208"/>
                  </a:lnTo>
                  <a:lnTo>
                    <a:pt x="28368" y="8212"/>
                  </a:lnTo>
                  <a:lnTo>
                    <a:pt x="28312" y="8217"/>
                  </a:lnTo>
                  <a:lnTo>
                    <a:pt x="28303" y="8220"/>
                  </a:lnTo>
                  <a:lnTo>
                    <a:pt x="28286" y="8237"/>
                  </a:lnTo>
                  <a:lnTo>
                    <a:pt x="28275" y="8243"/>
                  </a:lnTo>
                  <a:lnTo>
                    <a:pt x="28259" y="8244"/>
                  </a:lnTo>
                  <a:lnTo>
                    <a:pt x="28233" y="8233"/>
                  </a:lnTo>
                  <a:lnTo>
                    <a:pt x="28219" y="8230"/>
                  </a:lnTo>
                  <a:lnTo>
                    <a:pt x="28192" y="8231"/>
                  </a:lnTo>
                  <a:lnTo>
                    <a:pt x="28183" y="8233"/>
                  </a:lnTo>
                  <a:lnTo>
                    <a:pt x="28173" y="8239"/>
                  </a:lnTo>
                  <a:lnTo>
                    <a:pt x="28160" y="8257"/>
                  </a:lnTo>
                  <a:lnTo>
                    <a:pt x="28166" y="8273"/>
                  </a:lnTo>
                  <a:lnTo>
                    <a:pt x="28214" y="8310"/>
                  </a:lnTo>
                  <a:lnTo>
                    <a:pt x="28280" y="8373"/>
                  </a:lnTo>
                  <a:lnTo>
                    <a:pt x="28284" y="8379"/>
                  </a:lnTo>
                  <a:lnTo>
                    <a:pt x="28289" y="8384"/>
                  </a:lnTo>
                  <a:lnTo>
                    <a:pt x="28323" y="8394"/>
                  </a:lnTo>
                  <a:lnTo>
                    <a:pt x="28341" y="8404"/>
                  </a:lnTo>
                  <a:lnTo>
                    <a:pt x="28351" y="8407"/>
                  </a:lnTo>
                  <a:lnTo>
                    <a:pt x="28395" y="8409"/>
                  </a:lnTo>
                  <a:lnTo>
                    <a:pt x="28408" y="8412"/>
                  </a:lnTo>
                  <a:lnTo>
                    <a:pt x="28421" y="8417"/>
                  </a:lnTo>
                  <a:lnTo>
                    <a:pt x="28456" y="8436"/>
                  </a:lnTo>
                  <a:lnTo>
                    <a:pt x="28467" y="8447"/>
                  </a:lnTo>
                  <a:lnTo>
                    <a:pt x="28482" y="8447"/>
                  </a:lnTo>
                  <a:lnTo>
                    <a:pt x="28510" y="8443"/>
                  </a:lnTo>
                  <a:lnTo>
                    <a:pt x="28538" y="8443"/>
                  </a:lnTo>
                  <a:lnTo>
                    <a:pt x="28546" y="8442"/>
                  </a:lnTo>
                  <a:lnTo>
                    <a:pt x="28551" y="8437"/>
                  </a:lnTo>
                  <a:lnTo>
                    <a:pt x="28560" y="8424"/>
                  </a:lnTo>
                  <a:lnTo>
                    <a:pt x="28576" y="8407"/>
                  </a:lnTo>
                  <a:lnTo>
                    <a:pt x="28587" y="8403"/>
                  </a:lnTo>
                  <a:lnTo>
                    <a:pt x="28598" y="8408"/>
                  </a:lnTo>
                  <a:lnTo>
                    <a:pt x="28598" y="8413"/>
                  </a:lnTo>
                  <a:lnTo>
                    <a:pt x="28582" y="8418"/>
                  </a:lnTo>
                  <a:lnTo>
                    <a:pt x="28572" y="8432"/>
                  </a:lnTo>
                  <a:lnTo>
                    <a:pt x="28565" y="8449"/>
                  </a:lnTo>
                  <a:lnTo>
                    <a:pt x="28556" y="8463"/>
                  </a:lnTo>
                  <a:lnTo>
                    <a:pt x="28545" y="8467"/>
                  </a:lnTo>
                  <a:lnTo>
                    <a:pt x="28445" y="8466"/>
                  </a:lnTo>
                  <a:lnTo>
                    <a:pt x="28437" y="8463"/>
                  </a:lnTo>
                  <a:lnTo>
                    <a:pt x="28418" y="8449"/>
                  </a:lnTo>
                  <a:lnTo>
                    <a:pt x="28408" y="8443"/>
                  </a:lnTo>
                  <a:lnTo>
                    <a:pt x="28381" y="8439"/>
                  </a:lnTo>
                  <a:lnTo>
                    <a:pt x="28241" y="8435"/>
                  </a:lnTo>
                  <a:lnTo>
                    <a:pt x="28228" y="8438"/>
                  </a:lnTo>
                  <a:lnTo>
                    <a:pt x="28227" y="8446"/>
                  </a:lnTo>
                  <a:lnTo>
                    <a:pt x="28234" y="8455"/>
                  </a:lnTo>
                  <a:lnTo>
                    <a:pt x="28244" y="8461"/>
                  </a:lnTo>
                  <a:lnTo>
                    <a:pt x="28249" y="8463"/>
                  </a:lnTo>
                  <a:lnTo>
                    <a:pt x="28255" y="8465"/>
                  </a:lnTo>
                  <a:lnTo>
                    <a:pt x="28268" y="8466"/>
                  </a:lnTo>
                  <a:lnTo>
                    <a:pt x="28274" y="8468"/>
                  </a:lnTo>
                  <a:lnTo>
                    <a:pt x="28279" y="8472"/>
                  </a:lnTo>
                  <a:lnTo>
                    <a:pt x="28282" y="8477"/>
                  </a:lnTo>
                  <a:lnTo>
                    <a:pt x="28292" y="8482"/>
                  </a:lnTo>
                  <a:lnTo>
                    <a:pt x="28340" y="8514"/>
                  </a:lnTo>
                  <a:lnTo>
                    <a:pt x="28356" y="8527"/>
                  </a:lnTo>
                  <a:lnTo>
                    <a:pt x="28369" y="8543"/>
                  </a:lnTo>
                  <a:lnTo>
                    <a:pt x="28395" y="8587"/>
                  </a:lnTo>
                  <a:lnTo>
                    <a:pt x="28401" y="8600"/>
                  </a:lnTo>
                  <a:lnTo>
                    <a:pt x="28407" y="8632"/>
                  </a:lnTo>
                  <a:lnTo>
                    <a:pt x="28416" y="8638"/>
                  </a:lnTo>
                  <a:lnTo>
                    <a:pt x="28443" y="8639"/>
                  </a:lnTo>
                  <a:lnTo>
                    <a:pt x="28466" y="8644"/>
                  </a:lnTo>
                  <a:lnTo>
                    <a:pt x="28489" y="8655"/>
                  </a:lnTo>
                  <a:lnTo>
                    <a:pt x="28503" y="8673"/>
                  </a:lnTo>
                  <a:lnTo>
                    <a:pt x="28501" y="8696"/>
                  </a:lnTo>
                  <a:lnTo>
                    <a:pt x="28495" y="8702"/>
                  </a:lnTo>
                  <a:lnTo>
                    <a:pt x="28488" y="8708"/>
                  </a:lnTo>
                  <a:lnTo>
                    <a:pt x="28482" y="8713"/>
                  </a:lnTo>
                  <a:lnTo>
                    <a:pt x="28479" y="8721"/>
                  </a:lnTo>
                  <a:lnTo>
                    <a:pt x="28474" y="8743"/>
                  </a:lnTo>
                  <a:lnTo>
                    <a:pt x="28472" y="8747"/>
                  </a:lnTo>
                  <a:lnTo>
                    <a:pt x="28465" y="8757"/>
                  </a:lnTo>
                  <a:lnTo>
                    <a:pt x="28448" y="8799"/>
                  </a:lnTo>
                  <a:lnTo>
                    <a:pt x="28445" y="8851"/>
                  </a:lnTo>
                  <a:lnTo>
                    <a:pt x="28439" y="8871"/>
                  </a:lnTo>
                  <a:lnTo>
                    <a:pt x="28421" y="8883"/>
                  </a:lnTo>
                  <a:lnTo>
                    <a:pt x="28396" y="8889"/>
                  </a:lnTo>
                  <a:lnTo>
                    <a:pt x="28388" y="8895"/>
                  </a:lnTo>
                  <a:lnTo>
                    <a:pt x="28386" y="8908"/>
                  </a:lnTo>
                  <a:lnTo>
                    <a:pt x="28386" y="8963"/>
                  </a:lnTo>
                  <a:lnTo>
                    <a:pt x="28382" y="8978"/>
                  </a:lnTo>
                  <a:lnTo>
                    <a:pt x="28382" y="8986"/>
                  </a:lnTo>
                  <a:lnTo>
                    <a:pt x="28392" y="8992"/>
                  </a:lnTo>
                  <a:lnTo>
                    <a:pt x="28394" y="8997"/>
                  </a:lnTo>
                  <a:lnTo>
                    <a:pt x="28395" y="9004"/>
                  </a:lnTo>
                  <a:lnTo>
                    <a:pt x="28392" y="9009"/>
                  </a:lnTo>
                  <a:lnTo>
                    <a:pt x="28379" y="9018"/>
                  </a:lnTo>
                  <a:lnTo>
                    <a:pt x="28352" y="9024"/>
                  </a:lnTo>
                  <a:lnTo>
                    <a:pt x="28341" y="9034"/>
                  </a:lnTo>
                  <a:lnTo>
                    <a:pt x="28339" y="9048"/>
                  </a:lnTo>
                  <a:lnTo>
                    <a:pt x="28341" y="9063"/>
                  </a:lnTo>
                  <a:lnTo>
                    <a:pt x="28348" y="9077"/>
                  </a:lnTo>
                  <a:lnTo>
                    <a:pt x="28363" y="9100"/>
                  </a:lnTo>
                  <a:lnTo>
                    <a:pt x="28388" y="9147"/>
                  </a:lnTo>
                  <a:lnTo>
                    <a:pt x="28392" y="9149"/>
                  </a:lnTo>
                  <a:lnTo>
                    <a:pt x="28401" y="9150"/>
                  </a:lnTo>
                  <a:lnTo>
                    <a:pt x="28406" y="9147"/>
                  </a:lnTo>
                  <a:lnTo>
                    <a:pt x="28412" y="9140"/>
                  </a:lnTo>
                  <a:lnTo>
                    <a:pt x="28415" y="9134"/>
                  </a:lnTo>
                  <a:lnTo>
                    <a:pt x="28417" y="9130"/>
                  </a:lnTo>
                  <a:lnTo>
                    <a:pt x="28419" y="9117"/>
                  </a:lnTo>
                  <a:lnTo>
                    <a:pt x="28426" y="9107"/>
                  </a:lnTo>
                  <a:lnTo>
                    <a:pt x="28501" y="9044"/>
                  </a:lnTo>
                  <a:lnTo>
                    <a:pt x="28522" y="9034"/>
                  </a:lnTo>
                  <a:lnTo>
                    <a:pt x="28573" y="9020"/>
                  </a:lnTo>
                  <a:lnTo>
                    <a:pt x="28588" y="9006"/>
                  </a:lnTo>
                  <a:lnTo>
                    <a:pt x="28590" y="8976"/>
                  </a:lnTo>
                  <a:lnTo>
                    <a:pt x="28592" y="8973"/>
                  </a:lnTo>
                  <a:lnTo>
                    <a:pt x="28593" y="8970"/>
                  </a:lnTo>
                  <a:lnTo>
                    <a:pt x="28592" y="8965"/>
                  </a:lnTo>
                  <a:lnTo>
                    <a:pt x="28589" y="8964"/>
                  </a:lnTo>
                  <a:lnTo>
                    <a:pt x="28582" y="8963"/>
                  </a:lnTo>
                  <a:lnTo>
                    <a:pt x="28580" y="8961"/>
                  </a:lnTo>
                  <a:lnTo>
                    <a:pt x="28580" y="8954"/>
                  </a:lnTo>
                  <a:lnTo>
                    <a:pt x="28577" y="8941"/>
                  </a:lnTo>
                  <a:lnTo>
                    <a:pt x="28576" y="8934"/>
                  </a:lnTo>
                  <a:lnTo>
                    <a:pt x="28584" y="8926"/>
                  </a:lnTo>
                  <a:lnTo>
                    <a:pt x="28600" y="8930"/>
                  </a:lnTo>
                  <a:lnTo>
                    <a:pt x="28629" y="8941"/>
                  </a:lnTo>
                  <a:lnTo>
                    <a:pt x="28617" y="8949"/>
                  </a:lnTo>
                  <a:lnTo>
                    <a:pt x="28606" y="8946"/>
                  </a:lnTo>
                  <a:lnTo>
                    <a:pt x="28595" y="8942"/>
                  </a:lnTo>
                  <a:lnTo>
                    <a:pt x="28585" y="8945"/>
                  </a:lnTo>
                  <a:lnTo>
                    <a:pt x="28598" y="8960"/>
                  </a:lnTo>
                  <a:lnTo>
                    <a:pt x="28602" y="8968"/>
                  </a:lnTo>
                  <a:lnTo>
                    <a:pt x="28603" y="8990"/>
                  </a:lnTo>
                  <a:lnTo>
                    <a:pt x="28606" y="9002"/>
                  </a:lnTo>
                  <a:lnTo>
                    <a:pt x="28605" y="9005"/>
                  </a:lnTo>
                  <a:lnTo>
                    <a:pt x="28602" y="9009"/>
                  </a:lnTo>
                  <a:lnTo>
                    <a:pt x="28600" y="9017"/>
                  </a:lnTo>
                  <a:lnTo>
                    <a:pt x="28599" y="9024"/>
                  </a:lnTo>
                  <a:lnTo>
                    <a:pt x="28598" y="9030"/>
                  </a:lnTo>
                  <a:lnTo>
                    <a:pt x="28608" y="9053"/>
                  </a:lnTo>
                  <a:lnTo>
                    <a:pt x="28626" y="9070"/>
                  </a:lnTo>
                  <a:lnTo>
                    <a:pt x="28650" y="9081"/>
                  </a:lnTo>
                  <a:lnTo>
                    <a:pt x="28674" y="9087"/>
                  </a:lnTo>
                  <a:lnTo>
                    <a:pt x="28699" y="9088"/>
                  </a:lnTo>
                  <a:lnTo>
                    <a:pt x="28725" y="9086"/>
                  </a:lnTo>
                  <a:lnTo>
                    <a:pt x="28776" y="9074"/>
                  </a:lnTo>
                  <a:lnTo>
                    <a:pt x="28797" y="9066"/>
                  </a:lnTo>
                  <a:lnTo>
                    <a:pt x="28831" y="9046"/>
                  </a:lnTo>
                  <a:lnTo>
                    <a:pt x="28851" y="9039"/>
                  </a:lnTo>
                  <a:lnTo>
                    <a:pt x="28940" y="9030"/>
                  </a:lnTo>
                  <a:lnTo>
                    <a:pt x="29046" y="9028"/>
                  </a:lnTo>
                  <a:lnTo>
                    <a:pt x="29073" y="9021"/>
                  </a:lnTo>
                  <a:lnTo>
                    <a:pt x="29100" y="9006"/>
                  </a:lnTo>
                  <a:lnTo>
                    <a:pt x="29112" y="8996"/>
                  </a:lnTo>
                  <a:lnTo>
                    <a:pt x="29117" y="8987"/>
                  </a:lnTo>
                  <a:lnTo>
                    <a:pt x="29119" y="8945"/>
                  </a:lnTo>
                  <a:lnTo>
                    <a:pt x="29125" y="8917"/>
                  </a:lnTo>
                  <a:lnTo>
                    <a:pt x="29129" y="8909"/>
                  </a:lnTo>
                  <a:lnTo>
                    <a:pt x="29138" y="8906"/>
                  </a:lnTo>
                  <a:lnTo>
                    <a:pt x="29155" y="8906"/>
                  </a:lnTo>
                  <a:lnTo>
                    <a:pt x="29167" y="8903"/>
                  </a:lnTo>
                  <a:lnTo>
                    <a:pt x="29177" y="8888"/>
                  </a:lnTo>
                  <a:lnTo>
                    <a:pt x="29188" y="8883"/>
                  </a:lnTo>
                  <a:lnTo>
                    <a:pt x="29173" y="8917"/>
                  </a:lnTo>
                  <a:lnTo>
                    <a:pt x="29162" y="8923"/>
                  </a:lnTo>
                  <a:lnTo>
                    <a:pt x="29143" y="8914"/>
                  </a:lnTo>
                  <a:lnTo>
                    <a:pt x="29129" y="8924"/>
                  </a:lnTo>
                  <a:lnTo>
                    <a:pt x="29125" y="8940"/>
                  </a:lnTo>
                  <a:lnTo>
                    <a:pt x="29127" y="8955"/>
                  </a:lnTo>
                  <a:lnTo>
                    <a:pt x="29132" y="8977"/>
                  </a:lnTo>
                  <a:lnTo>
                    <a:pt x="29130" y="9001"/>
                  </a:lnTo>
                  <a:lnTo>
                    <a:pt x="29127" y="9011"/>
                  </a:lnTo>
                  <a:lnTo>
                    <a:pt x="29121" y="9014"/>
                  </a:lnTo>
                  <a:lnTo>
                    <a:pt x="29112" y="9014"/>
                  </a:lnTo>
                  <a:lnTo>
                    <a:pt x="29104" y="9016"/>
                  </a:lnTo>
                  <a:lnTo>
                    <a:pt x="29088" y="9025"/>
                  </a:lnTo>
                  <a:lnTo>
                    <a:pt x="29077" y="9037"/>
                  </a:lnTo>
                  <a:lnTo>
                    <a:pt x="29071" y="9050"/>
                  </a:lnTo>
                  <a:lnTo>
                    <a:pt x="29073" y="9065"/>
                  </a:lnTo>
                  <a:lnTo>
                    <a:pt x="29082" y="9083"/>
                  </a:lnTo>
                  <a:lnTo>
                    <a:pt x="29110" y="9118"/>
                  </a:lnTo>
                  <a:lnTo>
                    <a:pt x="29252" y="9223"/>
                  </a:lnTo>
                  <a:lnTo>
                    <a:pt x="29262" y="9238"/>
                  </a:lnTo>
                  <a:lnTo>
                    <a:pt x="29285" y="9261"/>
                  </a:lnTo>
                  <a:lnTo>
                    <a:pt x="29319" y="9275"/>
                  </a:lnTo>
                  <a:lnTo>
                    <a:pt x="29325" y="9276"/>
                  </a:lnTo>
                  <a:lnTo>
                    <a:pt x="29327" y="9288"/>
                  </a:lnTo>
                  <a:lnTo>
                    <a:pt x="29334" y="9297"/>
                  </a:lnTo>
                  <a:lnTo>
                    <a:pt x="29378" y="9333"/>
                  </a:lnTo>
                  <a:lnTo>
                    <a:pt x="29383" y="9339"/>
                  </a:lnTo>
                  <a:lnTo>
                    <a:pt x="29418" y="9372"/>
                  </a:lnTo>
                  <a:lnTo>
                    <a:pt x="29492" y="9482"/>
                  </a:lnTo>
                  <a:lnTo>
                    <a:pt x="29644" y="9639"/>
                  </a:lnTo>
                  <a:lnTo>
                    <a:pt x="29685" y="9659"/>
                  </a:lnTo>
                  <a:lnTo>
                    <a:pt x="29693" y="9660"/>
                  </a:lnTo>
                  <a:lnTo>
                    <a:pt x="29721" y="9676"/>
                  </a:lnTo>
                  <a:lnTo>
                    <a:pt x="29721" y="9602"/>
                  </a:lnTo>
                  <a:lnTo>
                    <a:pt x="29722" y="9476"/>
                  </a:lnTo>
                  <a:lnTo>
                    <a:pt x="29722" y="9354"/>
                  </a:lnTo>
                  <a:lnTo>
                    <a:pt x="29721" y="9240"/>
                  </a:lnTo>
                  <a:close/>
                  <a:moveTo>
                    <a:pt x="15478" y="9499"/>
                  </a:moveTo>
                  <a:lnTo>
                    <a:pt x="15478" y="9499"/>
                  </a:lnTo>
                  <a:lnTo>
                    <a:pt x="15476" y="9494"/>
                  </a:lnTo>
                  <a:lnTo>
                    <a:pt x="15470" y="9485"/>
                  </a:lnTo>
                  <a:lnTo>
                    <a:pt x="15469" y="9481"/>
                  </a:lnTo>
                  <a:lnTo>
                    <a:pt x="15463" y="9475"/>
                  </a:lnTo>
                  <a:lnTo>
                    <a:pt x="15450" y="9471"/>
                  </a:lnTo>
                  <a:lnTo>
                    <a:pt x="15398" y="9462"/>
                  </a:lnTo>
                  <a:lnTo>
                    <a:pt x="15347" y="9462"/>
                  </a:lnTo>
                  <a:lnTo>
                    <a:pt x="15340" y="9461"/>
                  </a:lnTo>
                  <a:lnTo>
                    <a:pt x="15334" y="9458"/>
                  </a:lnTo>
                  <a:lnTo>
                    <a:pt x="15324" y="9448"/>
                  </a:lnTo>
                  <a:lnTo>
                    <a:pt x="15318" y="9444"/>
                  </a:lnTo>
                  <a:lnTo>
                    <a:pt x="15334" y="9434"/>
                  </a:lnTo>
                  <a:lnTo>
                    <a:pt x="15347" y="9424"/>
                  </a:lnTo>
                  <a:lnTo>
                    <a:pt x="15359" y="9419"/>
                  </a:lnTo>
                  <a:lnTo>
                    <a:pt x="15376" y="9426"/>
                  </a:lnTo>
                  <a:lnTo>
                    <a:pt x="15390" y="9419"/>
                  </a:lnTo>
                  <a:lnTo>
                    <a:pt x="15418" y="9427"/>
                  </a:lnTo>
                  <a:lnTo>
                    <a:pt x="15434" y="9421"/>
                  </a:lnTo>
                  <a:lnTo>
                    <a:pt x="15438" y="9415"/>
                  </a:lnTo>
                  <a:lnTo>
                    <a:pt x="15441" y="9408"/>
                  </a:lnTo>
                  <a:lnTo>
                    <a:pt x="15445" y="9405"/>
                  </a:lnTo>
                  <a:lnTo>
                    <a:pt x="15456" y="9407"/>
                  </a:lnTo>
                  <a:lnTo>
                    <a:pt x="15461" y="9411"/>
                  </a:lnTo>
                  <a:lnTo>
                    <a:pt x="15476" y="9432"/>
                  </a:lnTo>
                  <a:lnTo>
                    <a:pt x="15492" y="9446"/>
                  </a:lnTo>
                  <a:lnTo>
                    <a:pt x="15505" y="9448"/>
                  </a:lnTo>
                  <a:lnTo>
                    <a:pt x="15545" y="9442"/>
                  </a:lnTo>
                  <a:lnTo>
                    <a:pt x="15553" y="9439"/>
                  </a:lnTo>
                  <a:lnTo>
                    <a:pt x="15561" y="9438"/>
                  </a:lnTo>
                  <a:lnTo>
                    <a:pt x="15568" y="9441"/>
                  </a:lnTo>
                  <a:lnTo>
                    <a:pt x="15576" y="9446"/>
                  </a:lnTo>
                  <a:lnTo>
                    <a:pt x="15582" y="9447"/>
                  </a:lnTo>
                  <a:lnTo>
                    <a:pt x="15586" y="9443"/>
                  </a:lnTo>
                  <a:lnTo>
                    <a:pt x="15588" y="9435"/>
                  </a:lnTo>
                  <a:lnTo>
                    <a:pt x="15600" y="9442"/>
                  </a:lnTo>
                  <a:lnTo>
                    <a:pt x="15609" y="9440"/>
                  </a:lnTo>
                  <a:lnTo>
                    <a:pt x="15617" y="9433"/>
                  </a:lnTo>
                  <a:lnTo>
                    <a:pt x="15628" y="9426"/>
                  </a:lnTo>
                  <a:lnTo>
                    <a:pt x="15626" y="9420"/>
                  </a:lnTo>
                  <a:lnTo>
                    <a:pt x="15625" y="9417"/>
                  </a:lnTo>
                  <a:lnTo>
                    <a:pt x="15628" y="9415"/>
                  </a:lnTo>
                  <a:lnTo>
                    <a:pt x="15633" y="9413"/>
                  </a:lnTo>
                  <a:lnTo>
                    <a:pt x="15629" y="9405"/>
                  </a:lnTo>
                  <a:lnTo>
                    <a:pt x="15625" y="9396"/>
                  </a:lnTo>
                  <a:lnTo>
                    <a:pt x="15623" y="9386"/>
                  </a:lnTo>
                  <a:lnTo>
                    <a:pt x="15624" y="9377"/>
                  </a:lnTo>
                  <a:lnTo>
                    <a:pt x="15627" y="9371"/>
                  </a:lnTo>
                  <a:lnTo>
                    <a:pt x="15633" y="9368"/>
                  </a:lnTo>
                  <a:lnTo>
                    <a:pt x="15636" y="9364"/>
                  </a:lnTo>
                  <a:lnTo>
                    <a:pt x="15633" y="9359"/>
                  </a:lnTo>
                  <a:lnTo>
                    <a:pt x="15635" y="9358"/>
                  </a:lnTo>
                  <a:lnTo>
                    <a:pt x="15639" y="9355"/>
                  </a:lnTo>
                  <a:lnTo>
                    <a:pt x="15642" y="9354"/>
                  </a:lnTo>
                  <a:lnTo>
                    <a:pt x="15637" y="9343"/>
                  </a:lnTo>
                  <a:lnTo>
                    <a:pt x="15627" y="9330"/>
                  </a:lnTo>
                  <a:lnTo>
                    <a:pt x="15619" y="9321"/>
                  </a:lnTo>
                  <a:lnTo>
                    <a:pt x="15615" y="9325"/>
                  </a:lnTo>
                  <a:lnTo>
                    <a:pt x="15615" y="9333"/>
                  </a:lnTo>
                  <a:lnTo>
                    <a:pt x="15614" y="9340"/>
                  </a:lnTo>
                  <a:lnTo>
                    <a:pt x="15611" y="9344"/>
                  </a:lnTo>
                  <a:lnTo>
                    <a:pt x="15597" y="9347"/>
                  </a:lnTo>
                  <a:lnTo>
                    <a:pt x="15598" y="9352"/>
                  </a:lnTo>
                  <a:lnTo>
                    <a:pt x="15601" y="9357"/>
                  </a:lnTo>
                  <a:lnTo>
                    <a:pt x="15602" y="9363"/>
                  </a:lnTo>
                  <a:lnTo>
                    <a:pt x="15595" y="9369"/>
                  </a:lnTo>
                  <a:lnTo>
                    <a:pt x="15582" y="9375"/>
                  </a:lnTo>
                  <a:lnTo>
                    <a:pt x="15569" y="9379"/>
                  </a:lnTo>
                  <a:lnTo>
                    <a:pt x="15559" y="9381"/>
                  </a:lnTo>
                  <a:lnTo>
                    <a:pt x="15544" y="9377"/>
                  </a:lnTo>
                  <a:lnTo>
                    <a:pt x="15537" y="9367"/>
                  </a:lnTo>
                  <a:lnTo>
                    <a:pt x="15535" y="9353"/>
                  </a:lnTo>
                  <a:lnTo>
                    <a:pt x="15535" y="9336"/>
                  </a:lnTo>
                  <a:lnTo>
                    <a:pt x="15530" y="9313"/>
                  </a:lnTo>
                  <a:lnTo>
                    <a:pt x="15540" y="9288"/>
                  </a:lnTo>
                  <a:lnTo>
                    <a:pt x="15544" y="9263"/>
                  </a:lnTo>
                  <a:lnTo>
                    <a:pt x="15524" y="9230"/>
                  </a:lnTo>
                  <a:lnTo>
                    <a:pt x="15515" y="9199"/>
                  </a:lnTo>
                  <a:lnTo>
                    <a:pt x="15513" y="9181"/>
                  </a:lnTo>
                  <a:lnTo>
                    <a:pt x="15509" y="9166"/>
                  </a:lnTo>
                  <a:lnTo>
                    <a:pt x="15503" y="9158"/>
                  </a:lnTo>
                  <a:lnTo>
                    <a:pt x="15493" y="9154"/>
                  </a:lnTo>
                  <a:lnTo>
                    <a:pt x="15478" y="9150"/>
                  </a:lnTo>
                  <a:lnTo>
                    <a:pt x="15451" y="9145"/>
                  </a:lnTo>
                  <a:lnTo>
                    <a:pt x="15419" y="9145"/>
                  </a:lnTo>
                  <a:lnTo>
                    <a:pt x="15389" y="9150"/>
                  </a:lnTo>
                  <a:lnTo>
                    <a:pt x="15367" y="9159"/>
                  </a:lnTo>
                  <a:lnTo>
                    <a:pt x="15351" y="9170"/>
                  </a:lnTo>
                  <a:lnTo>
                    <a:pt x="15337" y="9185"/>
                  </a:lnTo>
                  <a:lnTo>
                    <a:pt x="15328" y="9204"/>
                  </a:lnTo>
                  <a:lnTo>
                    <a:pt x="15327" y="9230"/>
                  </a:lnTo>
                  <a:lnTo>
                    <a:pt x="15330" y="9238"/>
                  </a:lnTo>
                  <a:lnTo>
                    <a:pt x="15333" y="9245"/>
                  </a:lnTo>
                  <a:lnTo>
                    <a:pt x="15334" y="9251"/>
                  </a:lnTo>
                  <a:lnTo>
                    <a:pt x="15326" y="9264"/>
                  </a:lnTo>
                  <a:lnTo>
                    <a:pt x="15319" y="9281"/>
                  </a:lnTo>
                  <a:lnTo>
                    <a:pt x="15318" y="9285"/>
                  </a:lnTo>
                  <a:lnTo>
                    <a:pt x="15314" y="9292"/>
                  </a:lnTo>
                  <a:lnTo>
                    <a:pt x="15306" y="9304"/>
                  </a:lnTo>
                  <a:lnTo>
                    <a:pt x="15295" y="9313"/>
                  </a:lnTo>
                  <a:lnTo>
                    <a:pt x="15287" y="9310"/>
                  </a:lnTo>
                  <a:lnTo>
                    <a:pt x="15288" y="9300"/>
                  </a:lnTo>
                  <a:lnTo>
                    <a:pt x="15305" y="9255"/>
                  </a:lnTo>
                  <a:lnTo>
                    <a:pt x="15307" y="9226"/>
                  </a:lnTo>
                  <a:lnTo>
                    <a:pt x="15309" y="9210"/>
                  </a:lnTo>
                  <a:lnTo>
                    <a:pt x="15314" y="9199"/>
                  </a:lnTo>
                  <a:lnTo>
                    <a:pt x="15293" y="9156"/>
                  </a:lnTo>
                  <a:lnTo>
                    <a:pt x="15283" y="9145"/>
                  </a:lnTo>
                  <a:lnTo>
                    <a:pt x="15277" y="9144"/>
                  </a:lnTo>
                  <a:lnTo>
                    <a:pt x="15256" y="9141"/>
                  </a:lnTo>
                  <a:lnTo>
                    <a:pt x="15253" y="9139"/>
                  </a:lnTo>
                  <a:lnTo>
                    <a:pt x="15249" y="9136"/>
                  </a:lnTo>
                  <a:lnTo>
                    <a:pt x="15245" y="9134"/>
                  </a:lnTo>
                  <a:lnTo>
                    <a:pt x="15240" y="9132"/>
                  </a:lnTo>
                  <a:lnTo>
                    <a:pt x="15214" y="9132"/>
                  </a:lnTo>
                  <a:lnTo>
                    <a:pt x="15206" y="9131"/>
                  </a:lnTo>
                  <a:lnTo>
                    <a:pt x="15196" y="9122"/>
                  </a:lnTo>
                  <a:lnTo>
                    <a:pt x="15189" y="9119"/>
                  </a:lnTo>
                  <a:lnTo>
                    <a:pt x="15178" y="9118"/>
                  </a:lnTo>
                  <a:lnTo>
                    <a:pt x="15164" y="9120"/>
                  </a:lnTo>
                  <a:lnTo>
                    <a:pt x="15151" y="9125"/>
                  </a:lnTo>
                  <a:lnTo>
                    <a:pt x="15142" y="9141"/>
                  </a:lnTo>
                  <a:lnTo>
                    <a:pt x="15134" y="9146"/>
                  </a:lnTo>
                  <a:lnTo>
                    <a:pt x="15127" y="9150"/>
                  </a:lnTo>
                  <a:lnTo>
                    <a:pt x="15123" y="9152"/>
                  </a:lnTo>
                  <a:lnTo>
                    <a:pt x="15122" y="9158"/>
                  </a:lnTo>
                  <a:lnTo>
                    <a:pt x="15117" y="9165"/>
                  </a:lnTo>
                  <a:lnTo>
                    <a:pt x="15100" y="9182"/>
                  </a:lnTo>
                  <a:lnTo>
                    <a:pt x="15088" y="9190"/>
                  </a:lnTo>
                  <a:lnTo>
                    <a:pt x="15076" y="9197"/>
                  </a:lnTo>
                  <a:lnTo>
                    <a:pt x="15066" y="9199"/>
                  </a:lnTo>
                  <a:lnTo>
                    <a:pt x="15061" y="9197"/>
                  </a:lnTo>
                  <a:lnTo>
                    <a:pt x="15039" y="9177"/>
                  </a:lnTo>
                  <a:lnTo>
                    <a:pt x="15037" y="9177"/>
                  </a:lnTo>
                  <a:lnTo>
                    <a:pt x="15035" y="9179"/>
                  </a:lnTo>
                  <a:lnTo>
                    <a:pt x="15032" y="9180"/>
                  </a:lnTo>
                  <a:lnTo>
                    <a:pt x="15028" y="9179"/>
                  </a:lnTo>
                  <a:lnTo>
                    <a:pt x="15022" y="9171"/>
                  </a:lnTo>
                  <a:lnTo>
                    <a:pt x="15008" y="9145"/>
                  </a:lnTo>
                  <a:lnTo>
                    <a:pt x="14986" y="9119"/>
                  </a:lnTo>
                  <a:lnTo>
                    <a:pt x="14984" y="9114"/>
                  </a:lnTo>
                  <a:lnTo>
                    <a:pt x="14978" y="9109"/>
                  </a:lnTo>
                  <a:lnTo>
                    <a:pt x="14976" y="9096"/>
                  </a:lnTo>
                  <a:lnTo>
                    <a:pt x="14973" y="9070"/>
                  </a:lnTo>
                  <a:lnTo>
                    <a:pt x="14961" y="9045"/>
                  </a:lnTo>
                  <a:lnTo>
                    <a:pt x="14938" y="9032"/>
                  </a:lnTo>
                  <a:lnTo>
                    <a:pt x="14910" y="9026"/>
                  </a:lnTo>
                  <a:lnTo>
                    <a:pt x="14880" y="9025"/>
                  </a:lnTo>
                  <a:lnTo>
                    <a:pt x="14867" y="9023"/>
                  </a:lnTo>
                  <a:lnTo>
                    <a:pt x="14861" y="9023"/>
                  </a:lnTo>
                  <a:lnTo>
                    <a:pt x="14855" y="9028"/>
                  </a:lnTo>
                  <a:lnTo>
                    <a:pt x="14849" y="9029"/>
                  </a:lnTo>
                  <a:lnTo>
                    <a:pt x="14845" y="9023"/>
                  </a:lnTo>
                  <a:lnTo>
                    <a:pt x="14842" y="9016"/>
                  </a:lnTo>
                  <a:lnTo>
                    <a:pt x="14837" y="9012"/>
                  </a:lnTo>
                  <a:lnTo>
                    <a:pt x="14811" y="9014"/>
                  </a:lnTo>
                  <a:lnTo>
                    <a:pt x="14796" y="9016"/>
                  </a:lnTo>
                  <a:lnTo>
                    <a:pt x="14743" y="9037"/>
                  </a:lnTo>
                  <a:lnTo>
                    <a:pt x="14731" y="9039"/>
                  </a:lnTo>
                  <a:lnTo>
                    <a:pt x="14728" y="9041"/>
                  </a:lnTo>
                  <a:lnTo>
                    <a:pt x="14711" y="9052"/>
                  </a:lnTo>
                  <a:lnTo>
                    <a:pt x="14707" y="9052"/>
                  </a:lnTo>
                  <a:lnTo>
                    <a:pt x="14702" y="9052"/>
                  </a:lnTo>
                  <a:lnTo>
                    <a:pt x="14696" y="9054"/>
                  </a:lnTo>
                  <a:lnTo>
                    <a:pt x="14689" y="9061"/>
                  </a:lnTo>
                  <a:lnTo>
                    <a:pt x="14683" y="9072"/>
                  </a:lnTo>
                  <a:lnTo>
                    <a:pt x="14677" y="9090"/>
                  </a:lnTo>
                  <a:lnTo>
                    <a:pt x="14674" y="9107"/>
                  </a:lnTo>
                  <a:lnTo>
                    <a:pt x="14678" y="9114"/>
                  </a:lnTo>
                  <a:lnTo>
                    <a:pt x="14684" y="9116"/>
                  </a:lnTo>
                  <a:lnTo>
                    <a:pt x="14690" y="9122"/>
                  </a:lnTo>
                  <a:lnTo>
                    <a:pt x="14698" y="9132"/>
                  </a:lnTo>
                  <a:lnTo>
                    <a:pt x="14716" y="9145"/>
                  </a:lnTo>
                  <a:lnTo>
                    <a:pt x="14726" y="9156"/>
                  </a:lnTo>
                  <a:lnTo>
                    <a:pt x="14741" y="9179"/>
                  </a:lnTo>
                  <a:lnTo>
                    <a:pt x="14749" y="9188"/>
                  </a:lnTo>
                  <a:lnTo>
                    <a:pt x="14787" y="9217"/>
                  </a:lnTo>
                  <a:lnTo>
                    <a:pt x="14825" y="9239"/>
                  </a:lnTo>
                  <a:lnTo>
                    <a:pt x="14835" y="9251"/>
                  </a:lnTo>
                  <a:lnTo>
                    <a:pt x="14845" y="9257"/>
                  </a:lnTo>
                  <a:lnTo>
                    <a:pt x="14856" y="9263"/>
                  </a:lnTo>
                  <a:lnTo>
                    <a:pt x="14866" y="9265"/>
                  </a:lnTo>
                  <a:lnTo>
                    <a:pt x="14887" y="9255"/>
                  </a:lnTo>
                  <a:lnTo>
                    <a:pt x="14901" y="9250"/>
                  </a:lnTo>
                  <a:lnTo>
                    <a:pt x="14913" y="9255"/>
                  </a:lnTo>
                  <a:lnTo>
                    <a:pt x="14931" y="9275"/>
                  </a:lnTo>
                  <a:lnTo>
                    <a:pt x="14940" y="9280"/>
                  </a:lnTo>
                  <a:lnTo>
                    <a:pt x="14946" y="9274"/>
                  </a:lnTo>
                  <a:lnTo>
                    <a:pt x="14950" y="9274"/>
                  </a:lnTo>
                  <a:lnTo>
                    <a:pt x="14960" y="9290"/>
                  </a:lnTo>
                  <a:lnTo>
                    <a:pt x="14989" y="9315"/>
                  </a:lnTo>
                  <a:lnTo>
                    <a:pt x="14999" y="9332"/>
                  </a:lnTo>
                  <a:lnTo>
                    <a:pt x="15008" y="9325"/>
                  </a:lnTo>
                  <a:lnTo>
                    <a:pt x="15011" y="9320"/>
                  </a:lnTo>
                  <a:lnTo>
                    <a:pt x="15012" y="9317"/>
                  </a:lnTo>
                  <a:lnTo>
                    <a:pt x="15015" y="9314"/>
                  </a:lnTo>
                  <a:lnTo>
                    <a:pt x="15020" y="9318"/>
                  </a:lnTo>
                  <a:lnTo>
                    <a:pt x="15026" y="9324"/>
                  </a:lnTo>
                  <a:lnTo>
                    <a:pt x="15028" y="9327"/>
                  </a:lnTo>
                  <a:lnTo>
                    <a:pt x="15038" y="9331"/>
                  </a:lnTo>
                  <a:lnTo>
                    <a:pt x="15047" y="9340"/>
                  </a:lnTo>
                  <a:lnTo>
                    <a:pt x="15052" y="9351"/>
                  </a:lnTo>
                  <a:lnTo>
                    <a:pt x="15052" y="9363"/>
                  </a:lnTo>
                  <a:lnTo>
                    <a:pt x="15046" y="9374"/>
                  </a:lnTo>
                  <a:lnTo>
                    <a:pt x="15036" y="9381"/>
                  </a:lnTo>
                  <a:lnTo>
                    <a:pt x="15023" y="9385"/>
                  </a:lnTo>
                  <a:lnTo>
                    <a:pt x="14988" y="9386"/>
                  </a:lnTo>
                  <a:lnTo>
                    <a:pt x="14983" y="9384"/>
                  </a:lnTo>
                  <a:lnTo>
                    <a:pt x="14971" y="9378"/>
                  </a:lnTo>
                  <a:lnTo>
                    <a:pt x="14966" y="9377"/>
                  </a:lnTo>
                  <a:lnTo>
                    <a:pt x="14943" y="9377"/>
                  </a:lnTo>
                  <a:lnTo>
                    <a:pt x="14918" y="9382"/>
                  </a:lnTo>
                  <a:lnTo>
                    <a:pt x="14912" y="9382"/>
                  </a:lnTo>
                  <a:lnTo>
                    <a:pt x="14908" y="9384"/>
                  </a:lnTo>
                  <a:lnTo>
                    <a:pt x="14906" y="9388"/>
                  </a:lnTo>
                  <a:lnTo>
                    <a:pt x="14904" y="9389"/>
                  </a:lnTo>
                  <a:lnTo>
                    <a:pt x="14899" y="9392"/>
                  </a:lnTo>
                  <a:lnTo>
                    <a:pt x="14895" y="9397"/>
                  </a:lnTo>
                  <a:lnTo>
                    <a:pt x="14895" y="9399"/>
                  </a:lnTo>
                  <a:lnTo>
                    <a:pt x="14884" y="9405"/>
                  </a:lnTo>
                  <a:lnTo>
                    <a:pt x="14856" y="9433"/>
                  </a:lnTo>
                  <a:lnTo>
                    <a:pt x="14844" y="9444"/>
                  </a:lnTo>
                  <a:lnTo>
                    <a:pt x="14833" y="9436"/>
                  </a:lnTo>
                  <a:lnTo>
                    <a:pt x="14821" y="9432"/>
                  </a:lnTo>
                  <a:lnTo>
                    <a:pt x="14810" y="9430"/>
                  </a:lnTo>
                  <a:lnTo>
                    <a:pt x="14802" y="9430"/>
                  </a:lnTo>
                  <a:lnTo>
                    <a:pt x="14801" y="9428"/>
                  </a:lnTo>
                  <a:lnTo>
                    <a:pt x="14801" y="9423"/>
                  </a:lnTo>
                  <a:lnTo>
                    <a:pt x="14799" y="9417"/>
                  </a:lnTo>
                  <a:lnTo>
                    <a:pt x="14795" y="9413"/>
                  </a:lnTo>
                  <a:lnTo>
                    <a:pt x="14791" y="9412"/>
                  </a:lnTo>
                  <a:lnTo>
                    <a:pt x="14750" y="9425"/>
                  </a:lnTo>
                  <a:lnTo>
                    <a:pt x="14738" y="9425"/>
                  </a:lnTo>
                  <a:lnTo>
                    <a:pt x="14727" y="9419"/>
                  </a:lnTo>
                  <a:lnTo>
                    <a:pt x="14721" y="9410"/>
                  </a:lnTo>
                  <a:lnTo>
                    <a:pt x="14712" y="9386"/>
                  </a:lnTo>
                  <a:lnTo>
                    <a:pt x="14707" y="9377"/>
                  </a:lnTo>
                  <a:lnTo>
                    <a:pt x="14711" y="9374"/>
                  </a:lnTo>
                  <a:lnTo>
                    <a:pt x="14716" y="9373"/>
                  </a:lnTo>
                  <a:lnTo>
                    <a:pt x="14722" y="9372"/>
                  </a:lnTo>
                  <a:lnTo>
                    <a:pt x="14729" y="9372"/>
                  </a:lnTo>
                  <a:lnTo>
                    <a:pt x="14727" y="9368"/>
                  </a:lnTo>
                  <a:lnTo>
                    <a:pt x="14726" y="9365"/>
                  </a:lnTo>
                  <a:lnTo>
                    <a:pt x="14723" y="9364"/>
                  </a:lnTo>
                  <a:lnTo>
                    <a:pt x="14718" y="9363"/>
                  </a:lnTo>
                  <a:lnTo>
                    <a:pt x="14712" y="9361"/>
                  </a:lnTo>
                  <a:lnTo>
                    <a:pt x="14712" y="9357"/>
                  </a:lnTo>
                  <a:lnTo>
                    <a:pt x="14714" y="9352"/>
                  </a:lnTo>
                  <a:lnTo>
                    <a:pt x="14716" y="9350"/>
                  </a:lnTo>
                  <a:lnTo>
                    <a:pt x="14711" y="9344"/>
                  </a:lnTo>
                  <a:lnTo>
                    <a:pt x="14706" y="9341"/>
                  </a:lnTo>
                  <a:lnTo>
                    <a:pt x="14701" y="9338"/>
                  </a:lnTo>
                  <a:lnTo>
                    <a:pt x="14693" y="9336"/>
                  </a:lnTo>
                  <a:lnTo>
                    <a:pt x="14695" y="9332"/>
                  </a:lnTo>
                  <a:lnTo>
                    <a:pt x="14698" y="9327"/>
                  </a:lnTo>
                  <a:lnTo>
                    <a:pt x="14690" y="9325"/>
                  </a:lnTo>
                  <a:lnTo>
                    <a:pt x="14683" y="9327"/>
                  </a:lnTo>
                  <a:lnTo>
                    <a:pt x="14677" y="9330"/>
                  </a:lnTo>
                  <a:lnTo>
                    <a:pt x="14669" y="9332"/>
                  </a:lnTo>
                  <a:lnTo>
                    <a:pt x="14637" y="9316"/>
                  </a:lnTo>
                  <a:lnTo>
                    <a:pt x="14631" y="9309"/>
                  </a:lnTo>
                  <a:lnTo>
                    <a:pt x="14628" y="9299"/>
                  </a:lnTo>
                  <a:lnTo>
                    <a:pt x="14624" y="9255"/>
                  </a:lnTo>
                  <a:lnTo>
                    <a:pt x="14620" y="9242"/>
                  </a:lnTo>
                  <a:lnTo>
                    <a:pt x="14613" y="9239"/>
                  </a:lnTo>
                  <a:lnTo>
                    <a:pt x="14605" y="9247"/>
                  </a:lnTo>
                  <a:lnTo>
                    <a:pt x="14604" y="9279"/>
                  </a:lnTo>
                  <a:lnTo>
                    <a:pt x="14600" y="9292"/>
                  </a:lnTo>
                  <a:lnTo>
                    <a:pt x="14590" y="9274"/>
                  </a:lnTo>
                  <a:lnTo>
                    <a:pt x="14584" y="9232"/>
                  </a:lnTo>
                  <a:lnTo>
                    <a:pt x="14578" y="9221"/>
                  </a:lnTo>
                  <a:lnTo>
                    <a:pt x="14569" y="9227"/>
                  </a:lnTo>
                  <a:lnTo>
                    <a:pt x="14553" y="9230"/>
                  </a:lnTo>
                  <a:lnTo>
                    <a:pt x="14521" y="9230"/>
                  </a:lnTo>
                  <a:lnTo>
                    <a:pt x="14512" y="9227"/>
                  </a:lnTo>
                  <a:lnTo>
                    <a:pt x="14507" y="9223"/>
                  </a:lnTo>
                  <a:lnTo>
                    <a:pt x="14503" y="9225"/>
                  </a:lnTo>
                  <a:lnTo>
                    <a:pt x="14503" y="9236"/>
                  </a:lnTo>
                  <a:lnTo>
                    <a:pt x="14500" y="9245"/>
                  </a:lnTo>
                  <a:lnTo>
                    <a:pt x="14496" y="9252"/>
                  </a:lnTo>
                  <a:lnTo>
                    <a:pt x="14494" y="9260"/>
                  </a:lnTo>
                  <a:lnTo>
                    <a:pt x="14498" y="9270"/>
                  </a:lnTo>
                  <a:lnTo>
                    <a:pt x="14446" y="9248"/>
                  </a:lnTo>
                  <a:lnTo>
                    <a:pt x="14422" y="9230"/>
                  </a:lnTo>
                  <a:lnTo>
                    <a:pt x="14403" y="9221"/>
                  </a:lnTo>
                  <a:lnTo>
                    <a:pt x="14394" y="9214"/>
                  </a:lnTo>
                  <a:lnTo>
                    <a:pt x="14387" y="9211"/>
                  </a:lnTo>
                  <a:lnTo>
                    <a:pt x="14365" y="9210"/>
                  </a:lnTo>
                  <a:lnTo>
                    <a:pt x="14357" y="9208"/>
                  </a:lnTo>
                  <a:lnTo>
                    <a:pt x="14343" y="9190"/>
                  </a:lnTo>
                  <a:lnTo>
                    <a:pt x="14329" y="9195"/>
                  </a:lnTo>
                  <a:lnTo>
                    <a:pt x="14308" y="9199"/>
                  </a:lnTo>
                  <a:lnTo>
                    <a:pt x="14293" y="9207"/>
                  </a:lnTo>
                  <a:lnTo>
                    <a:pt x="14299" y="9221"/>
                  </a:lnTo>
                  <a:lnTo>
                    <a:pt x="14276" y="9234"/>
                  </a:lnTo>
                  <a:lnTo>
                    <a:pt x="14238" y="9262"/>
                  </a:lnTo>
                  <a:lnTo>
                    <a:pt x="14207" y="9280"/>
                  </a:lnTo>
                  <a:lnTo>
                    <a:pt x="14146" y="9300"/>
                  </a:lnTo>
                  <a:lnTo>
                    <a:pt x="14139" y="9301"/>
                  </a:lnTo>
                  <a:lnTo>
                    <a:pt x="14130" y="9301"/>
                  </a:lnTo>
                  <a:lnTo>
                    <a:pt x="14125" y="9298"/>
                  </a:lnTo>
                  <a:lnTo>
                    <a:pt x="14113" y="9288"/>
                  </a:lnTo>
                  <a:lnTo>
                    <a:pt x="14113" y="9318"/>
                  </a:lnTo>
                  <a:lnTo>
                    <a:pt x="14109" y="9331"/>
                  </a:lnTo>
                  <a:lnTo>
                    <a:pt x="14093" y="9336"/>
                  </a:lnTo>
                  <a:lnTo>
                    <a:pt x="14069" y="9390"/>
                  </a:lnTo>
                  <a:lnTo>
                    <a:pt x="14081" y="9397"/>
                  </a:lnTo>
                  <a:lnTo>
                    <a:pt x="14086" y="9411"/>
                  </a:lnTo>
                  <a:lnTo>
                    <a:pt x="14084" y="9427"/>
                  </a:lnTo>
                  <a:lnTo>
                    <a:pt x="14078" y="9439"/>
                  </a:lnTo>
                  <a:lnTo>
                    <a:pt x="14082" y="9442"/>
                  </a:lnTo>
                  <a:lnTo>
                    <a:pt x="14086" y="9448"/>
                  </a:lnTo>
                  <a:lnTo>
                    <a:pt x="14090" y="9454"/>
                  </a:lnTo>
                  <a:lnTo>
                    <a:pt x="14091" y="9459"/>
                  </a:lnTo>
                  <a:lnTo>
                    <a:pt x="14093" y="9462"/>
                  </a:lnTo>
                  <a:lnTo>
                    <a:pt x="14097" y="9464"/>
                  </a:lnTo>
                  <a:lnTo>
                    <a:pt x="14102" y="9469"/>
                  </a:lnTo>
                  <a:lnTo>
                    <a:pt x="14104" y="9477"/>
                  </a:lnTo>
                  <a:lnTo>
                    <a:pt x="14099" y="9489"/>
                  </a:lnTo>
                  <a:lnTo>
                    <a:pt x="14078" y="9504"/>
                  </a:lnTo>
                  <a:lnTo>
                    <a:pt x="14073" y="9517"/>
                  </a:lnTo>
                  <a:lnTo>
                    <a:pt x="14071" y="9522"/>
                  </a:lnTo>
                  <a:lnTo>
                    <a:pt x="14066" y="9528"/>
                  </a:lnTo>
                  <a:lnTo>
                    <a:pt x="14062" y="9536"/>
                  </a:lnTo>
                  <a:lnTo>
                    <a:pt x="14060" y="9546"/>
                  </a:lnTo>
                  <a:lnTo>
                    <a:pt x="14062" y="9551"/>
                  </a:lnTo>
                  <a:lnTo>
                    <a:pt x="14068" y="9558"/>
                  </a:lnTo>
                  <a:lnTo>
                    <a:pt x="14069" y="9561"/>
                  </a:lnTo>
                  <a:lnTo>
                    <a:pt x="14068" y="9566"/>
                  </a:lnTo>
                  <a:lnTo>
                    <a:pt x="14066" y="9570"/>
                  </a:lnTo>
                  <a:lnTo>
                    <a:pt x="14064" y="9573"/>
                  </a:lnTo>
                  <a:lnTo>
                    <a:pt x="14061" y="9579"/>
                  </a:lnTo>
                  <a:lnTo>
                    <a:pt x="14053" y="9588"/>
                  </a:lnTo>
                  <a:lnTo>
                    <a:pt x="14051" y="9591"/>
                  </a:lnTo>
                  <a:lnTo>
                    <a:pt x="14053" y="9596"/>
                  </a:lnTo>
                  <a:lnTo>
                    <a:pt x="14061" y="9610"/>
                  </a:lnTo>
                  <a:lnTo>
                    <a:pt x="14064" y="9617"/>
                  </a:lnTo>
                  <a:lnTo>
                    <a:pt x="14071" y="9616"/>
                  </a:lnTo>
                  <a:lnTo>
                    <a:pt x="14092" y="9631"/>
                  </a:lnTo>
                  <a:lnTo>
                    <a:pt x="14106" y="9635"/>
                  </a:lnTo>
                  <a:lnTo>
                    <a:pt x="14120" y="9637"/>
                  </a:lnTo>
                  <a:lnTo>
                    <a:pt x="14157" y="9649"/>
                  </a:lnTo>
                  <a:lnTo>
                    <a:pt x="14171" y="9649"/>
                  </a:lnTo>
                  <a:lnTo>
                    <a:pt x="14184" y="9646"/>
                  </a:lnTo>
                  <a:lnTo>
                    <a:pt x="14197" y="9646"/>
                  </a:lnTo>
                  <a:lnTo>
                    <a:pt x="14208" y="9651"/>
                  </a:lnTo>
                  <a:lnTo>
                    <a:pt x="14220" y="9660"/>
                  </a:lnTo>
                  <a:lnTo>
                    <a:pt x="14250" y="9680"/>
                  </a:lnTo>
                  <a:lnTo>
                    <a:pt x="14263" y="9674"/>
                  </a:lnTo>
                  <a:lnTo>
                    <a:pt x="14299" y="9667"/>
                  </a:lnTo>
                  <a:lnTo>
                    <a:pt x="14314" y="9666"/>
                  </a:lnTo>
                  <a:lnTo>
                    <a:pt x="14324" y="9659"/>
                  </a:lnTo>
                  <a:lnTo>
                    <a:pt x="14345" y="9629"/>
                  </a:lnTo>
                  <a:lnTo>
                    <a:pt x="14359" y="9622"/>
                  </a:lnTo>
                  <a:lnTo>
                    <a:pt x="14390" y="9617"/>
                  </a:lnTo>
                  <a:lnTo>
                    <a:pt x="14398" y="9619"/>
                  </a:lnTo>
                  <a:lnTo>
                    <a:pt x="14403" y="9622"/>
                  </a:lnTo>
                  <a:lnTo>
                    <a:pt x="14407" y="9626"/>
                  </a:lnTo>
                  <a:lnTo>
                    <a:pt x="14414" y="9631"/>
                  </a:lnTo>
                  <a:lnTo>
                    <a:pt x="14428" y="9636"/>
                  </a:lnTo>
                  <a:lnTo>
                    <a:pt x="14442" y="9637"/>
                  </a:lnTo>
                  <a:lnTo>
                    <a:pt x="14524" y="9627"/>
                  </a:lnTo>
                  <a:lnTo>
                    <a:pt x="14552" y="9619"/>
                  </a:lnTo>
                  <a:lnTo>
                    <a:pt x="14578" y="9609"/>
                  </a:lnTo>
                  <a:lnTo>
                    <a:pt x="14649" y="9567"/>
                  </a:lnTo>
                  <a:lnTo>
                    <a:pt x="14676" y="9555"/>
                  </a:lnTo>
                  <a:lnTo>
                    <a:pt x="14678" y="9554"/>
                  </a:lnTo>
                  <a:lnTo>
                    <a:pt x="14686" y="9550"/>
                  </a:lnTo>
                  <a:lnTo>
                    <a:pt x="14694" y="9549"/>
                  </a:lnTo>
                  <a:lnTo>
                    <a:pt x="14701" y="9556"/>
                  </a:lnTo>
                  <a:lnTo>
                    <a:pt x="14707" y="9560"/>
                  </a:lnTo>
                  <a:lnTo>
                    <a:pt x="14714" y="9563"/>
                  </a:lnTo>
                  <a:lnTo>
                    <a:pt x="14718" y="9564"/>
                  </a:lnTo>
                  <a:lnTo>
                    <a:pt x="14727" y="9564"/>
                  </a:lnTo>
                  <a:lnTo>
                    <a:pt x="14732" y="9563"/>
                  </a:lnTo>
                  <a:lnTo>
                    <a:pt x="14738" y="9560"/>
                  </a:lnTo>
                  <a:lnTo>
                    <a:pt x="14742" y="9555"/>
                  </a:lnTo>
                  <a:lnTo>
                    <a:pt x="14746" y="9550"/>
                  </a:lnTo>
                  <a:lnTo>
                    <a:pt x="14751" y="9546"/>
                  </a:lnTo>
                  <a:lnTo>
                    <a:pt x="14760" y="9546"/>
                  </a:lnTo>
                  <a:lnTo>
                    <a:pt x="14764" y="9550"/>
                  </a:lnTo>
                  <a:lnTo>
                    <a:pt x="14769" y="9561"/>
                  </a:lnTo>
                  <a:lnTo>
                    <a:pt x="14771" y="9564"/>
                  </a:lnTo>
                  <a:lnTo>
                    <a:pt x="14777" y="9563"/>
                  </a:lnTo>
                  <a:lnTo>
                    <a:pt x="14782" y="9560"/>
                  </a:lnTo>
                  <a:lnTo>
                    <a:pt x="14786" y="9561"/>
                  </a:lnTo>
                  <a:lnTo>
                    <a:pt x="14793" y="9566"/>
                  </a:lnTo>
                  <a:lnTo>
                    <a:pt x="14863" y="9530"/>
                  </a:lnTo>
                  <a:lnTo>
                    <a:pt x="14869" y="9521"/>
                  </a:lnTo>
                  <a:lnTo>
                    <a:pt x="14875" y="9518"/>
                  </a:lnTo>
                  <a:lnTo>
                    <a:pt x="14880" y="9510"/>
                  </a:lnTo>
                  <a:lnTo>
                    <a:pt x="14883" y="9510"/>
                  </a:lnTo>
                  <a:lnTo>
                    <a:pt x="14887" y="9512"/>
                  </a:lnTo>
                  <a:lnTo>
                    <a:pt x="14889" y="9514"/>
                  </a:lnTo>
                  <a:lnTo>
                    <a:pt x="14888" y="9515"/>
                  </a:lnTo>
                  <a:lnTo>
                    <a:pt x="14909" y="9508"/>
                  </a:lnTo>
                  <a:lnTo>
                    <a:pt x="14915" y="9506"/>
                  </a:lnTo>
                  <a:lnTo>
                    <a:pt x="14927" y="9510"/>
                  </a:lnTo>
                  <a:lnTo>
                    <a:pt x="14941" y="9518"/>
                  </a:lnTo>
                  <a:lnTo>
                    <a:pt x="14955" y="9524"/>
                  </a:lnTo>
                  <a:lnTo>
                    <a:pt x="14966" y="9521"/>
                  </a:lnTo>
                  <a:lnTo>
                    <a:pt x="15042" y="9459"/>
                  </a:lnTo>
                  <a:lnTo>
                    <a:pt x="15049" y="9458"/>
                  </a:lnTo>
                  <a:lnTo>
                    <a:pt x="15055" y="9455"/>
                  </a:lnTo>
                  <a:lnTo>
                    <a:pt x="15057" y="9450"/>
                  </a:lnTo>
                  <a:lnTo>
                    <a:pt x="15066" y="9430"/>
                  </a:lnTo>
                  <a:lnTo>
                    <a:pt x="15083" y="9407"/>
                  </a:lnTo>
                  <a:lnTo>
                    <a:pt x="15094" y="9403"/>
                  </a:lnTo>
                  <a:lnTo>
                    <a:pt x="15107" y="9400"/>
                  </a:lnTo>
                  <a:lnTo>
                    <a:pt x="15118" y="9396"/>
                  </a:lnTo>
                  <a:lnTo>
                    <a:pt x="15123" y="9388"/>
                  </a:lnTo>
                  <a:lnTo>
                    <a:pt x="15121" y="9359"/>
                  </a:lnTo>
                  <a:lnTo>
                    <a:pt x="15123" y="9345"/>
                  </a:lnTo>
                  <a:lnTo>
                    <a:pt x="15132" y="9336"/>
                  </a:lnTo>
                  <a:lnTo>
                    <a:pt x="15132" y="9348"/>
                  </a:lnTo>
                  <a:lnTo>
                    <a:pt x="15136" y="9358"/>
                  </a:lnTo>
                  <a:lnTo>
                    <a:pt x="15141" y="9367"/>
                  </a:lnTo>
                  <a:lnTo>
                    <a:pt x="15145" y="9377"/>
                  </a:lnTo>
                  <a:lnTo>
                    <a:pt x="15148" y="9386"/>
                  </a:lnTo>
                  <a:lnTo>
                    <a:pt x="15148" y="9396"/>
                  </a:lnTo>
                  <a:lnTo>
                    <a:pt x="15148" y="9406"/>
                  </a:lnTo>
                  <a:lnTo>
                    <a:pt x="15145" y="9417"/>
                  </a:lnTo>
                  <a:lnTo>
                    <a:pt x="15137" y="9433"/>
                  </a:lnTo>
                  <a:lnTo>
                    <a:pt x="15126" y="9445"/>
                  </a:lnTo>
                  <a:lnTo>
                    <a:pt x="15117" y="9458"/>
                  </a:lnTo>
                  <a:lnTo>
                    <a:pt x="15114" y="9475"/>
                  </a:lnTo>
                  <a:lnTo>
                    <a:pt x="15132" y="9512"/>
                  </a:lnTo>
                  <a:lnTo>
                    <a:pt x="15165" y="9520"/>
                  </a:lnTo>
                  <a:lnTo>
                    <a:pt x="15296" y="9482"/>
                  </a:lnTo>
                  <a:lnTo>
                    <a:pt x="15326" y="9477"/>
                  </a:lnTo>
                  <a:lnTo>
                    <a:pt x="15354" y="9479"/>
                  </a:lnTo>
                  <a:lnTo>
                    <a:pt x="15367" y="9485"/>
                  </a:lnTo>
                  <a:lnTo>
                    <a:pt x="15393" y="9506"/>
                  </a:lnTo>
                  <a:lnTo>
                    <a:pt x="15400" y="9510"/>
                  </a:lnTo>
                  <a:lnTo>
                    <a:pt x="15404" y="9509"/>
                  </a:lnTo>
                  <a:lnTo>
                    <a:pt x="15408" y="9506"/>
                  </a:lnTo>
                  <a:lnTo>
                    <a:pt x="15411" y="9503"/>
                  </a:lnTo>
                  <a:lnTo>
                    <a:pt x="15411" y="9501"/>
                  </a:lnTo>
                  <a:lnTo>
                    <a:pt x="15415" y="9502"/>
                  </a:lnTo>
                  <a:lnTo>
                    <a:pt x="15425" y="9506"/>
                  </a:lnTo>
                  <a:lnTo>
                    <a:pt x="15431" y="9507"/>
                  </a:lnTo>
                  <a:lnTo>
                    <a:pt x="15444" y="9510"/>
                  </a:lnTo>
                  <a:lnTo>
                    <a:pt x="15451" y="9510"/>
                  </a:lnTo>
                  <a:lnTo>
                    <a:pt x="15467" y="9508"/>
                  </a:lnTo>
                  <a:lnTo>
                    <a:pt x="15475" y="9504"/>
                  </a:lnTo>
                  <a:lnTo>
                    <a:pt x="15478" y="9499"/>
                  </a:lnTo>
                  <a:close/>
                  <a:moveTo>
                    <a:pt x="16682" y="10248"/>
                  </a:moveTo>
                  <a:lnTo>
                    <a:pt x="16682" y="10248"/>
                  </a:lnTo>
                  <a:lnTo>
                    <a:pt x="16670" y="10233"/>
                  </a:lnTo>
                  <a:lnTo>
                    <a:pt x="16651" y="10219"/>
                  </a:lnTo>
                  <a:lnTo>
                    <a:pt x="16608" y="10197"/>
                  </a:lnTo>
                  <a:lnTo>
                    <a:pt x="16590" y="10184"/>
                  </a:lnTo>
                  <a:lnTo>
                    <a:pt x="16575" y="10162"/>
                  </a:lnTo>
                  <a:lnTo>
                    <a:pt x="16550" y="10109"/>
                  </a:lnTo>
                  <a:lnTo>
                    <a:pt x="16532" y="10086"/>
                  </a:lnTo>
                  <a:lnTo>
                    <a:pt x="16486" y="10061"/>
                  </a:lnTo>
                  <a:lnTo>
                    <a:pt x="16479" y="10052"/>
                  </a:lnTo>
                  <a:lnTo>
                    <a:pt x="16475" y="10036"/>
                  </a:lnTo>
                  <a:lnTo>
                    <a:pt x="16466" y="10025"/>
                  </a:lnTo>
                  <a:lnTo>
                    <a:pt x="16454" y="10019"/>
                  </a:lnTo>
                  <a:lnTo>
                    <a:pt x="16439" y="10019"/>
                  </a:lnTo>
                  <a:lnTo>
                    <a:pt x="16409" y="10023"/>
                  </a:lnTo>
                  <a:lnTo>
                    <a:pt x="16393" y="10028"/>
                  </a:lnTo>
                  <a:lnTo>
                    <a:pt x="16386" y="10034"/>
                  </a:lnTo>
                  <a:lnTo>
                    <a:pt x="16382" y="10044"/>
                  </a:lnTo>
                  <a:lnTo>
                    <a:pt x="16371" y="10043"/>
                  </a:lnTo>
                  <a:lnTo>
                    <a:pt x="16332" y="10026"/>
                  </a:lnTo>
                  <a:lnTo>
                    <a:pt x="16325" y="10018"/>
                  </a:lnTo>
                  <a:lnTo>
                    <a:pt x="16321" y="10007"/>
                  </a:lnTo>
                  <a:lnTo>
                    <a:pt x="16319" y="9982"/>
                  </a:lnTo>
                  <a:lnTo>
                    <a:pt x="16315" y="9965"/>
                  </a:lnTo>
                  <a:lnTo>
                    <a:pt x="16315" y="9939"/>
                  </a:lnTo>
                  <a:lnTo>
                    <a:pt x="16305" y="9928"/>
                  </a:lnTo>
                  <a:lnTo>
                    <a:pt x="16291" y="9917"/>
                  </a:lnTo>
                  <a:lnTo>
                    <a:pt x="16276" y="9911"/>
                  </a:lnTo>
                  <a:lnTo>
                    <a:pt x="16264" y="9914"/>
                  </a:lnTo>
                  <a:lnTo>
                    <a:pt x="16253" y="9920"/>
                  </a:lnTo>
                  <a:lnTo>
                    <a:pt x="16241" y="9919"/>
                  </a:lnTo>
                  <a:lnTo>
                    <a:pt x="16229" y="9914"/>
                  </a:lnTo>
                  <a:lnTo>
                    <a:pt x="16218" y="9908"/>
                  </a:lnTo>
                  <a:lnTo>
                    <a:pt x="16203" y="9894"/>
                  </a:lnTo>
                  <a:lnTo>
                    <a:pt x="16165" y="9840"/>
                  </a:lnTo>
                  <a:lnTo>
                    <a:pt x="16138" y="9818"/>
                  </a:lnTo>
                  <a:lnTo>
                    <a:pt x="16134" y="9811"/>
                  </a:lnTo>
                  <a:lnTo>
                    <a:pt x="16130" y="9796"/>
                  </a:lnTo>
                  <a:lnTo>
                    <a:pt x="16122" y="9795"/>
                  </a:lnTo>
                  <a:lnTo>
                    <a:pt x="16042" y="9854"/>
                  </a:lnTo>
                  <a:lnTo>
                    <a:pt x="16027" y="9857"/>
                  </a:lnTo>
                  <a:lnTo>
                    <a:pt x="15950" y="9849"/>
                  </a:lnTo>
                  <a:lnTo>
                    <a:pt x="15943" y="9842"/>
                  </a:lnTo>
                  <a:lnTo>
                    <a:pt x="15939" y="9834"/>
                  </a:lnTo>
                  <a:lnTo>
                    <a:pt x="15929" y="9830"/>
                  </a:lnTo>
                  <a:lnTo>
                    <a:pt x="15917" y="9830"/>
                  </a:lnTo>
                  <a:lnTo>
                    <a:pt x="15880" y="9838"/>
                  </a:lnTo>
                  <a:lnTo>
                    <a:pt x="15864" y="9844"/>
                  </a:lnTo>
                  <a:lnTo>
                    <a:pt x="15852" y="9851"/>
                  </a:lnTo>
                  <a:lnTo>
                    <a:pt x="15845" y="9851"/>
                  </a:lnTo>
                  <a:lnTo>
                    <a:pt x="15818" y="9842"/>
                  </a:lnTo>
                  <a:lnTo>
                    <a:pt x="15806" y="9840"/>
                  </a:lnTo>
                  <a:lnTo>
                    <a:pt x="15774" y="9846"/>
                  </a:lnTo>
                  <a:lnTo>
                    <a:pt x="15765" y="9852"/>
                  </a:lnTo>
                  <a:lnTo>
                    <a:pt x="15759" y="9854"/>
                  </a:lnTo>
                  <a:lnTo>
                    <a:pt x="15708" y="9844"/>
                  </a:lnTo>
                  <a:lnTo>
                    <a:pt x="15684" y="9844"/>
                  </a:lnTo>
                  <a:lnTo>
                    <a:pt x="15678" y="9846"/>
                  </a:lnTo>
                  <a:lnTo>
                    <a:pt x="15670" y="9852"/>
                  </a:lnTo>
                  <a:lnTo>
                    <a:pt x="15666" y="9854"/>
                  </a:lnTo>
                  <a:lnTo>
                    <a:pt x="15644" y="9854"/>
                  </a:lnTo>
                  <a:lnTo>
                    <a:pt x="15620" y="9858"/>
                  </a:lnTo>
                  <a:lnTo>
                    <a:pt x="15610" y="9863"/>
                  </a:lnTo>
                  <a:lnTo>
                    <a:pt x="15591" y="9874"/>
                  </a:lnTo>
                  <a:lnTo>
                    <a:pt x="15582" y="9876"/>
                  </a:lnTo>
                  <a:lnTo>
                    <a:pt x="15562" y="9878"/>
                  </a:lnTo>
                  <a:lnTo>
                    <a:pt x="15543" y="9883"/>
                  </a:lnTo>
                  <a:lnTo>
                    <a:pt x="15527" y="9892"/>
                  </a:lnTo>
                  <a:lnTo>
                    <a:pt x="15497" y="9918"/>
                  </a:lnTo>
                  <a:lnTo>
                    <a:pt x="15483" y="9933"/>
                  </a:lnTo>
                  <a:lnTo>
                    <a:pt x="15473" y="9950"/>
                  </a:lnTo>
                  <a:lnTo>
                    <a:pt x="15469" y="9968"/>
                  </a:lnTo>
                  <a:lnTo>
                    <a:pt x="15473" y="9979"/>
                  </a:lnTo>
                  <a:lnTo>
                    <a:pt x="15482" y="9988"/>
                  </a:lnTo>
                  <a:lnTo>
                    <a:pt x="15500" y="10001"/>
                  </a:lnTo>
                  <a:lnTo>
                    <a:pt x="15509" y="10009"/>
                  </a:lnTo>
                  <a:lnTo>
                    <a:pt x="15515" y="10016"/>
                  </a:lnTo>
                  <a:lnTo>
                    <a:pt x="15527" y="10037"/>
                  </a:lnTo>
                  <a:lnTo>
                    <a:pt x="15535" y="10047"/>
                  </a:lnTo>
                  <a:lnTo>
                    <a:pt x="15564" y="10070"/>
                  </a:lnTo>
                  <a:lnTo>
                    <a:pt x="15573" y="10075"/>
                  </a:lnTo>
                  <a:lnTo>
                    <a:pt x="15599" y="10079"/>
                  </a:lnTo>
                  <a:lnTo>
                    <a:pt x="15625" y="10090"/>
                  </a:lnTo>
                  <a:lnTo>
                    <a:pt x="15653" y="10093"/>
                  </a:lnTo>
                  <a:lnTo>
                    <a:pt x="15680" y="10093"/>
                  </a:lnTo>
                  <a:lnTo>
                    <a:pt x="15695" y="10090"/>
                  </a:lnTo>
                  <a:lnTo>
                    <a:pt x="15711" y="10101"/>
                  </a:lnTo>
                  <a:lnTo>
                    <a:pt x="15717" y="10103"/>
                  </a:lnTo>
                  <a:lnTo>
                    <a:pt x="15723" y="10103"/>
                  </a:lnTo>
                  <a:lnTo>
                    <a:pt x="15729" y="10099"/>
                  </a:lnTo>
                  <a:lnTo>
                    <a:pt x="15735" y="10099"/>
                  </a:lnTo>
                  <a:lnTo>
                    <a:pt x="15760" y="10117"/>
                  </a:lnTo>
                  <a:lnTo>
                    <a:pt x="15773" y="10122"/>
                  </a:lnTo>
                  <a:lnTo>
                    <a:pt x="15779" y="10110"/>
                  </a:lnTo>
                  <a:lnTo>
                    <a:pt x="15784" y="10104"/>
                  </a:lnTo>
                  <a:lnTo>
                    <a:pt x="15795" y="10099"/>
                  </a:lnTo>
                  <a:lnTo>
                    <a:pt x="15808" y="10096"/>
                  </a:lnTo>
                  <a:lnTo>
                    <a:pt x="15819" y="10095"/>
                  </a:lnTo>
                  <a:lnTo>
                    <a:pt x="15833" y="10097"/>
                  </a:lnTo>
                  <a:lnTo>
                    <a:pt x="15860" y="10106"/>
                  </a:lnTo>
                  <a:lnTo>
                    <a:pt x="15891" y="10109"/>
                  </a:lnTo>
                  <a:lnTo>
                    <a:pt x="15907" y="10112"/>
                  </a:lnTo>
                  <a:lnTo>
                    <a:pt x="15909" y="10111"/>
                  </a:lnTo>
                  <a:lnTo>
                    <a:pt x="15913" y="10109"/>
                  </a:lnTo>
                  <a:lnTo>
                    <a:pt x="15917" y="10108"/>
                  </a:lnTo>
                  <a:lnTo>
                    <a:pt x="15921" y="10108"/>
                  </a:lnTo>
                  <a:lnTo>
                    <a:pt x="15921" y="10110"/>
                  </a:lnTo>
                  <a:lnTo>
                    <a:pt x="15920" y="10119"/>
                  </a:lnTo>
                  <a:lnTo>
                    <a:pt x="15921" y="10122"/>
                  </a:lnTo>
                  <a:lnTo>
                    <a:pt x="15946" y="10128"/>
                  </a:lnTo>
                  <a:lnTo>
                    <a:pt x="15954" y="10137"/>
                  </a:lnTo>
                  <a:lnTo>
                    <a:pt x="15956" y="10155"/>
                  </a:lnTo>
                  <a:lnTo>
                    <a:pt x="15961" y="10163"/>
                  </a:lnTo>
                  <a:lnTo>
                    <a:pt x="16001" y="10184"/>
                  </a:lnTo>
                  <a:lnTo>
                    <a:pt x="16024" y="10201"/>
                  </a:lnTo>
                  <a:lnTo>
                    <a:pt x="16035" y="10205"/>
                  </a:lnTo>
                  <a:lnTo>
                    <a:pt x="16061" y="10207"/>
                  </a:lnTo>
                  <a:lnTo>
                    <a:pt x="16067" y="10208"/>
                  </a:lnTo>
                  <a:lnTo>
                    <a:pt x="16080" y="10215"/>
                  </a:lnTo>
                  <a:lnTo>
                    <a:pt x="16084" y="10221"/>
                  </a:lnTo>
                  <a:lnTo>
                    <a:pt x="16086" y="10227"/>
                  </a:lnTo>
                  <a:lnTo>
                    <a:pt x="16090" y="10230"/>
                  </a:lnTo>
                  <a:lnTo>
                    <a:pt x="16098" y="10224"/>
                  </a:lnTo>
                  <a:lnTo>
                    <a:pt x="16101" y="10234"/>
                  </a:lnTo>
                  <a:lnTo>
                    <a:pt x="16106" y="10239"/>
                  </a:lnTo>
                  <a:lnTo>
                    <a:pt x="16113" y="10242"/>
                  </a:lnTo>
                  <a:lnTo>
                    <a:pt x="16122" y="10242"/>
                  </a:lnTo>
                  <a:lnTo>
                    <a:pt x="16130" y="10244"/>
                  </a:lnTo>
                  <a:lnTo>
                    <a:pt x="16136" y="10248"/>
                  </a:lnTo>
                  <a:lnTo>
                    <a:pt x="16142" y="10254"/>
                  </a:lnTo>
                  <a:lnTo>
                    <a:pt x="16167" y="10287"/>
                  </a:lnTo>
                  <a:lnTo>
                    <a:pt x="16175" y="10303"/>
                  </a:lnTo>
                  <a:lnTo>
                    <a:pt x="16179" y="10332"/>
                  </a:lnTo>
                  <a:lnTo>
                    <a:pt x="16183" y="10333"/>
                  </a:lnTo>
                  <a:lnTo>
                    <a:pt x="16188" y="10333"/>
                  </a:lnTo>
                  <a:lnTo>
                    <a:pt x="16196" y="10336"/>
                  </a:lnTo>
                  <a:lnTo>
                    <a:pt x="16213" y="10365"/>
                  </a:lnTo>
                  <a:lnTo>
                    <a:pt x="16217" y="10369"/>
                  </a:lnTo>
                  <a:lnTo>
                    <a:pt x="16244" y="10381"/>
                  </a:lnTo>
                  <a:lnTo>
                    <a:pt x="16248" y="10385"/>
                  </a:lnTo>
                  <a:lnTo>
                    <a:pt x="16254" y="10399"/>
                  </a:lnTo>
                  <a:lnTo>
                    <a:pt x="16258" y="10403"/>
                  </a:lnTo>
                  <a:lnTo>
                    <a:pt x="16300" y="10415"/>
                  </a:lnTo>
                  <a:lnTo>
                    <a:pt x="16306" y="10419"/>
                  </a:lnTo>
                  <a:lnTo>
                    <a:pt x="16313" y="10417"/>
                  </a:lnTo>
                  <a:lnTo>
                    <a:pt x="16410" y="10431"/>
                  </a:lnTo>
                  <a:lnTo>
                    <a:pt x="16422" y="10435"/>
                  </a:lnTo>
                  <a:lnTo>
                    <a:pt x="16437" y="10455"/>
                  </a:lnTo>
                  <a:lnTo>
                    <a:pt x="16448" y="10461"/>
                  </a:lnTo>
                  <a:lnTo>
                    <a:pt x="16461" y="10461"/>
                  </a:lnTo>
                  <a:lnTo>
                    <a:pt x="16470" y="10455"/>
                  </a:lnTo>
                  <a:lnTo>
                    <a:pt x="16474" y="10445"/>
                  </a:lnTo>
                  <a:lnTo>
                    <a:pt x="16475" y="10432"/>
                  </a:lnTo>
                  <a:lnTo>
                    <a:pt x="16481" y="10426"/>
                  </a:lnTo>
                  <a:lnTo>
                    <a:pt x="16511" y="10411"/>
                  </a:lnTo>
                  <a:lnTo>
                    <a:pt x="16523" y="10408"/>
                  </a:lnTo>
                  <a:lnTo>
                    <a:pt x="16565" y="10413"/>
                  </a:lnTo>
                  <a:lnTo>
                    <a:pt x="16572" y="10410"/>
                  </a:lnTo>
                  <a:lnTo>
                    <a:pt x="16578" y="10405"/>
                  </a:lnTo>
                  <a:lnTo>
                    <a:pt x="16617" y="10394"/>
                  </a:lnTo>
                  <a:lnTo>
                    <a:pt x="16626" y="10387"/>
                  </a:lnTo>
                  <a:lnTo>
                    <a:pt x="16637" y="10370"/>
                  </a:lnTo>
                  <a:lnTo>
                    <a:pt x="16665" y="10340"/>
                  </a:lnTo>
                  <a:lnTo>
                    <a:pt x="16686" y="10325"/>
                  </a:lnTo>
                  <a:lnTo>
                    <a:pt x="16692" y="10318"/>
                  </a:lnTo>
                  <a:lnTo>
                    <a:pt x="16700" y="10292"/>
                  </a:lnTo>
                  <a:lnTo>
                    <a:pt x="16695" y="10268"/>
                  </a:lnTo>
                  <a:lnTo>
                    <a:pt x="16682" y="10248"/>
                  </a:lnTo>
                  <a:close/>
                  <a:moveTo>
                    <a:pt x="18000" y="9316"/>
                  </a:moveTo>
                  <a:lnTo>
                    <a:pt x="18000" y="9316"/>
                  </a:lnTo>
                  <a:lnTo>
                    <a:pt x="17973" y="9274"/>
                  </a:lnTo>
                  <a:lnTo>
                    <a:pt x="17970" y="9268"/>
                  </a:lnTo>
                  <a:lnTo>
                    <a:pt x="17968" y="9263"/>
                  </a:lnTo>
                  <a:lnTo>
                    <a:pt x="17968" y="9250"/>
                  </a:lnTo>
                  <a:lnTo>
                    <a:pt x="17970" y="9242"/>
                  </a:lnTo>
                  <a:lnTo>
                    <a:pt x="17975" y="9236"/>
                  </a:lnTo>
                  <a:lnTo>
                    <a:pt x="17979" y="9235"/>
                  </a:lnTo>
                  <a:lnTo>
                    <a:pt x="17981" y="9241"/>
                  </a:lnTo>
                  <a:lnTo>
                    <a:pt x="17987" y="9246"/>
                  </a:lnTo>
                  <a:lnTo>
                    <a:pt x="18002" y="9253"/>
                  </a:lnTo>
                  <a:lnTo>
                    <a:pt x="18018" y="9258"/>
                  </a:lnTo>
                  <a:lnTo>
                    <a:pt x="18031" y="9257"/>
                  </a:lnTo>
                  <a:lnTo>
                    <a:pt x="18035" y="9248"/>
                  </a:lnTo>
                  <a:lnTo>
                    <a:pt x="18035" y="9235"/>
                  </a:lnTo>
                  <a:lnTo>
                    <a:pt x="18031" y="9210"/>
                  </a:lnTo>
                  <a:lnTo>
                    <a:pt x="18035" y="9194"/>
                  </a:lnTo>
                  <a:lnTo>
                    <a:pt x="18046" y="9185"/>
                  </a:lnTo>
                  <a:lnTo>
                    <a:pt x="18060" y="9181"/>
                  </a:lnTo>
                  <a:lnTo>
                    <a:pt x="18098" y="9179"/>
                  </a:lnTo>
                  <a:lnTo>
                    <a:pt x="18109" y="9175"/>
                  </a:lnTo>
                  <a:lnTo>
                    <a:pt x="18114" y="9166"/>
                  </a:lnTo>
                  <a:lnTo>
                    <a:pt x="18115" y="9151"/>
                  </a:lnTo>
                  <a:lnTo>
                    <a:pt x="18114" y="9145"/>
                  </a:lnTo>
                  <a:lnTo>
                    <a:pt x="18111" y="9139"/>
                  </a:lnTo>
                  <a:lnTo>
                    <a:pt x="18101" y="9128"/>
                  </a:lnTo>
                  <a:lnTo>
                    <a:pt x="18083" y="9085"/>
                  </a:lnTo>
                  <a:lnTo>
                    <a:pt x="18086" y="9062"/>
                  </a:lnTo>
                  <a:lnTo>
                    <a:pt x="18084" y="9053"/>
                  </a:lnTo>
                  <a:lnTo>
                    <a:pt x="18074" y="9043"/>
                  </a:lnTo>
                  <a:lnTo>
                    <a:pt x="18056" y="9030"/>
                  </a:lnTo>
                  <a:lnTo>
                    <a:pt x="18044" y="9024"/>
                  </a:lnTo>
                  <a:lnTo>
                    <a:pt x="18033" y="9021"/>
                  </a:lnTo>
                  <a:lnTo>
                    <a:pt x="18029" y="9018"/>
                  </a:lnTo>
                  <a:lnTo>
                    <a:pt x="18023" y="9007"/>
                  </a:lnTo>
                  <a:lnTo>
                    <a:pt x="18017" y="9003"/>
                  </a:lnTo>
                  <a:lnTo>
                    <a:pt x="18008" y="9003"/>
                  </a:lnTo>
                  <a:lnTo>
                    <a:pt x="18002" y="9006"/>
                  </a:lnTo>
                  <a:lnTo>
                    <a:pt x="17990" y="9016"/>
                  </a:lnTo>
                  <a:lnTo>
                    <a:pt x="17965" y="9029"/>
                  </a:lnTo>
                  <a:lnTo>
                    <a:pt x="17957" y="9038"/>
                  </a:lnTo>
                  <a:lnTo>
                    <a:pt x="17955" y="9054"/>
                  </a:lnTo>
                  <a:lnTo>
                    <a:pt x="17952" y="9064"/>
                  </a:lnTo>
                  <a:lnTo>
                    <a:pt x="17932" y="9092"/>
                  </a:lnTo>
                  <a:lnTo>
                    <a:pt x="17929" y="9102"/>
                  </a:lnTo>
                  <a:lnTo>
                    <a:pt x="17930" y="9107"/>
                  </a:lnTo>
                  <a:lnTo>
                    <a:pt x="17935" y="9109"/>
                  </a:lnTo>
                  <a:lnTo>
                    <a:pt x="17958" y="9107"/>
                  </a:lnTo>
                  <a:lnTo>
                    <a:pt x="17961" y="9107"/>
                  </a:lnTo>
                  <a:lnTo>
                    <a:pt x="17974" y="9097"/>
                  </a:lnTo>
                  <a:lnTo>
                    <a:pt x="17987" y="9089"/>
                  </a:lnTo>
                  <a:lnTo>
                    <a:pt x="18002" y="9082"/>
                  </a:lnTo>
                  <a:lnTo>
                    <a:pt x="18017" y="9078"/>
                  </a:lnTo>
                  <a:lnTo>
                    <a:pt x="18043" y="9080"/>
                  </a:lnTo>
                  <a:lnTo>
                    <a:pt x="18058" y="9083"/>
                  </a:lnTo>
                  <a:lnTo>
                    <a:pt x="18065" y="9090"/>
                  </a:lnTo>
                  <a:lnTo>
                    <a:pt x="18061" y="9098"/>
                  </a:lnTo>
                  <a:lnTo>
                    <a:pt x="18020" y="9143"/>
                  </a:lnTo>
                  <a:lnTo>
                    <a:pt x="17981" y="9156"/>
                  </a:lnTo>
                  <a:lnTo>
                    <a:pt x="17964" y="9168"/>
                  </a:lnTo>
                  <a:lnTo>
                    <a:pt x="17950" y="9186"/>
                  </a:lnTo>
                  <a:lnTo>
                    <a:pt x="17941" y="9192"/>
                  </a:lnTo>
                  <a:lnTo>
                    <a:pt x="17926" y="9194"/>
                  </a:lnTo>
                  <a:lnTo>
                    <a:pt x="17916" y="9198"/>
                  </a:lnTo>
                  <a:lnTo>
                    <a:pt x="17906" y="9204"/>
                  </a:lnTo>
                  <a:lnTo>
                    <a:pt x="17895" y="9207"/>
                  </a:lnTo>
                  <a:lnTo>
                    <a:pt x="17884" y="9203"/>
                  </a:lnTo>
                  <a:lnTo>
                    <a:pt x="17873" y="9207"/>
                  </a:lnTo>
                  <a:lnTo>
                    <a:pt x="17847" y="9209"/>
                  </a:lnTo>
                  <a:lnTo>
                    <a:pt x="17837" y="9214"/>
                  </a:lnTo>
                  <a:lnTo>
                    <a:pt x="17813" y="9244"/>
                  </a:lnTo>
                  <a:lnTo>
                    <a:pt x="17804" y="9252"/>
                  </a:lnTo>
                  <a:lnTo>
                    <a:pt x="17770" y="9266"/>
                  </a:lnTo>
                  <a:lnTo>
                    <a:pt x="17764" y="9272"/>
                  </a:lnTo>
                  <a:lnTo>
                    <a:pt x="17763" y="9279"/>
                  </a:lnTo>
                  <a:lnTo>
                    <a:pt x="17762" y="9283"/>
                  </a:lnTo>
                  <a:lnTo>
                    <a:pt x="17762" y="9286"/>
                  </a:lnTo>
                  <a:lnTo>
                    <a:pt x="17764" y="9292"/>
                  </a:lnTo>
                  <a:lnTo>
                    <a:pt x="17767" y="9294"/>
                  </a:lnTo>
                  <a:lnTo>
                    <a:pt x="17778" y="9297"/>
                  </a:lnTo>
                  <a:lnTo>
                    <a:pt x="17782" y="9301"/>
                  </a:lnTo>
                  <a:lnTo>
                    <a:pt x="17783" y="9317"/>
                  </a:lnTo>
                  <a:lnTo>
                    <a:pt x="17774" y="9332"/>
                  </a:lnTo>
                  <a:lnTo>
                    <a:pt x="17759" y="9344"/>
                  </a:lnTo>
                  <a:lnTo>
                    <a:pt x="17742" y="9350"/>
                  </a:lnTo>
                  <a:lnTo>
                    <a:pt x="17637" y="9369"/>
                  </a:lnTo>
                  <a:lnTo>
                    <a:pt x="17617" y="9368"/>
                  </a:lnTo>
                  <a:lnTo>
                    <a:pt x="17599" y="9358"/>
                  </a:lnTo>
                  <a:lnTo>
                    <a:pt x="17542" y="9309"/>
                  </a:lnTo>
                  <a:lnTo>
                    <a:pt x="17532" y="9305"/>
                  </a:lnTo>
                  <a:lnTo>
                    <a:pt x="17523" y="9304"/>
                  </a:lnTo>
                  <a:lnTo>
                    <a:pt x="17510" y="9295"/>
                  </a:lnTo>
                  <a:lnTo>
                    <a:pt x="17503" y="9292"/>
                  </a:lnTo>
                  <a:lnTo>
                    <a:pt x="17496" y="9292"/>
                  </a:lnTo>
                  <a:lnTo>
                    <a:pt x="17482" y="9293"/>
                  </a:lnTo>
                  <a:lnTo>
                    <a:pt x="17476" y="9292"/>
                  </a:lnTo>
                  <a:lnTo>
                    <a:pt x="17467" y="9282"/>
                  </a:lnTo>
                  <a:lnTo>
                    <a:pt x="17465" y="9269"/>
                  </a:lnTo>
                  <a:lnTo>
                    <a:pt x="17467" y="9257"/>
                  </a:lnTo>
                  <a:lnTo>
                    <a:pt x="17477" y="9249"/>
                  </a:lnTo>
                  <a:lnTo>
                    <a:pt x="17474" y="9244"/>
                  </a:lnTo>
                  <a:lnTo>
                    <a:pt x="17469" y="9238"/>
                  </a:lnTo>
                  <a:lnTo>
                    <a:pt x="17463" y="9234"/>
                  </a:lnTo>
                  <a:lnTo>
                    <a:pt x="17456" y="9235"/>
                  </a:lnTo>
                  <a:lnTo>
                    <a:pt x="17451" y="9239"/>
                  </a:lnTo>
                  <a:lnTo>
                    <a:pt x="17446" y="9245"/>
                  </a:lnTo>
                  <a:lnTo>
                    <a:pt x="17441" y="9248"/>
                  </a:lnTo>
                  <a:lnTo>
                    <a:pt x="17417" y="9252"/>
                  </a:lnTo>
                  <a:lnTo>
                    <a:pt x="17414" y="9255"/>
                  </a:lnTo>
                  <a:lnTo>
                    <a:pt x="17412" y="9261"/>
                  </a:lnTo>
                  <a:lnTo>
                    <a:pt x="17406" y="9266"/>
                  </a:lnTo>
                  <a:lnTo>
                    <a:pt x="17381" y="9278"/>
                  </a:lnTo>
                  <a:lnTo>
                    <a:pt x="17367" y="9277"/>
                  </a:lnTo>
                  <a:lnTo>
                    <a:pt x="17354" y="9272"/>
                  </a:lnTo>
                  <a:lnTo>
                    <a:pt x="17343" y="9265"/>
                  </a:lnTo>
                  <a:lnTo>
                    <a:pt x="17330" y="9277"/>
                  </a:lnTo>
                  <a:lnTo>
                    <a:pt x="17326" y="9279"/>
                  </a:lnTo>
                  <a:lnTo>
                    <a:pt x="17318" y="9279"/>
                  </a:lnTo>
                  <a:lnTo>
                    <a:pt x="17315" y="9278"/>
                  </a:lnTo>
                  <a:lnTo>
                    <a:pt x="17311" y="9276"/>
                  </a:lnTo>
                  <a:lnTo>
                    <a:pt x="17303" y="9274"/>
                  </a:lnTo>
                  <a:lnTo>
                    <a:pt x="17290" y="9276"/>
                  </a:lnTo>
                  <a:lnTo>
                    <a:pt x="17254" y="9289"/>
                  </a:lnTo>
                  <a:lnTo>
                    <a:pt x="17244" y="9290"/>
                  </a:lnTo>
                  <a:lnTo>
                    <a:pt x="17217" y="9265"/>
                  </a:lnTo>
                  <a:lnTo>
                    <a:pt x="17208" y="9261"/>
                  </a:lnTo>
                  <a:lnTo>
                    <a:pt x="17198" y="9267"/>
                  </a:lnTo>
                  <a:lnTo>
                    <a:pt x="17193" y="9280"/>
                  </a:lnTo>
                  <a:lnTo>
                    <a:pt x="17193" y="9296"/>
                  </a:lnTo>
                  <a:lnTo>
                    <a:pt x="17197" y="9310"/>
                  </a:lnTo>
                  <a:lnTo>
                    <a:pt x="17181" y="9306"/>
                  </a:lnTo>
                  <a:lnTo>
                    <a:pt x="17175" y="9307"/>
                  </a:lnTo>
                  <a:lnTo>
                    <a:pt x="17174" y="9313"/>
                  </a:lnTo>
                  <a:lnTo>
                    <a:pt x="17175" y="9325"/>
                  </a:lnTo>
                  <a:lnTo>
                    <a:pt x="17170" y="9327"/>
                  </a:lnTo>
                  <a:lnTo>
                    <a:pt x="17145" y="9342"/>
                  </a:lnTo>
                  <a:lnTo>
                    <a:pt x="17142" y="9345"/>
                  </a:lnTo>
                  <a:lnTo>
                    <a:pt x="17133" y="9349"/>
                  </a:lnTo>
                  <a:lnTo>
                    <a:pt x="17128" y="9349"/>
                  </a:lnTo>
                  <a:lnTo>
                    <a:pt x="17126" y="9343"/>
                  </a:lnTo>
                  <a:lnTo>
                    <a:pt x="17124" y="9336"/>
                  </a:lnTo>
                  <a:lnTo>
                    <a:pt x="17120" y="9332"/>
                  </a:lnTo>
                  <a:lnTo>
                    <a:pt x="17108" y="9327"/>
                  </a:lnTo>
                  <a:lnTo>
                    <a:pt x="17095" y="9326"/>
                  </a:lnTo>
                  <a:lnTo>
                    <a:pt x="17086" y="9329"/>
                  </a:lnTo>
                  <a:lnTo>
                    <a:pt x="17078" y="9334"/>
                  </a:lnTo>
                  <a:lnTo>
                    <a:pt x="17068" y="9336"/>
                  </a:lnTo>
                  <a:lnTo>
                    <a:pt x="17050" y="9329"/>
                  </a:lnTo>
                  <a:lnTo>
                    <a:pt x="17022" y="9299"/>
                  </a:lnTo>
                  <a:lnTo>
                    <a:pt x="17008" y="9292"/>
                  </a:lnTo>
                  <a:lnTo>
                    <a:pt x="16992" y="9268"/>
                  </a:lnTo>
                  <a:lnTo>
                    <a:pt x="16984" y="9261"/>
                  </a:lnTo>
                  <a:lnTo>
                    <a:pt x="16979" y="9259"/>
                  </a:lnTo>
                  <a:lnTo>
                    <a:pt x="16966" y="9257"/>
                  </a:lnTo>
                  <a:lnTo>
                    <a:pt x="16960" y="9257"/>
                  </a:lnTo>
                  <a:lnTo>
                    <a:pt x="16952" y="9255"/>
                  </a:lnTo>
                  <a:lnTo>
                    <a:pt x="16948" y="9251"/>
                  </a:lnTo>
                  <a:lnTo>
                    <a:pt x="16945" y="9246"/>
                  </a:lnTo>
                  <a:lnTo>
                    <a:pt x="16940" y="9243"/>
                  </a:lnTo>
                  <a:lnTo>
                    <a:pt x="16933" y="9243"/>
                  </a:lnTo>
                  <a:lnTo>
                    <a:pt x="16917" y="9244"/>
                  </a:lnTo>
                  <a:lnTo>
                    <a:pt x="16911" y="9241"/>
                  </a:lnTo>
                  <a:lnTo>
                    <a:pt x="16905" y="9236"/>
                  </a:lnTo>
                  <a:lnTo>
                    <a:pt x="16899" y="9235"/>
                  </a:lnTo>
                  <a:lnTo>
                    <a:pt x="16885" y="9234"/>
                  </a:lnTo>
                  <a:lnTo>
                    <a:pt x="16873" y="9233"/>
                  </a:lnTo>
                  <a:lnTo>
                    <a:pt x="16838" y="9221"/>
                  </a:lnTo>
                  <a:lnTo>
                    <a:pt x="16824" y="9213"/>
                  </a:lnTo>
                  <a:lnTo>
                    <a:pt x="16815" y="9204"/>
                  </a:lnTo>
                  <a:lnTo>
                    <a:pt x="16800" y="9183"/>
                  </a:lnTo>
                  <a:lnTo>
                    <a:pt x="16788" y="9177"/>
                  </a:lnTo>
                  <a:lnTo>
                    <a:pt x="16774" y="9177"/>
                  </a:lnTo>
                  <a:lnTo>
                    <a:pt x="16745" y="9181"/>
                  </a:lnTo>
                  <a:lnTo>
                    <a:pt x="16720" y="9178"/>
                  </a:lnTo>
                  <a:lnTo>
                    <a:pt x="16704" y="9175"/>
                  </a:lnTo>
                  <a:lnTo>
                    <a:pt x="16694" y="9170"/>
                  </a:lnTo>
                  <a:lnTo>
                    <a:pt x="16682" y="9166"/>
                  </a:lnTo>
                  <a:lnTo>
                    <a:pt x="16639" y="9172"/>
                  </a:lnTo>
                  <a:lnTo>
                    <a:pt x="16626" y="9167"/>
                  </a:lnTo>
                  <a:lnTo>
                    <a:pt x="16593" y="9148"/>
                  </a:lnTo>
                  <a:lnTo>
                    <a:pt x="16585" y="9139"/>
                  </a:lnTo>
                  <a:lnTo>
                    <a:pt x="16580" y="9128"/>
                  </a:lnTo>
                  <a:lnTo>
                    <a:pt x="16568" y="9120"/>
                  </a:lnTo>
                  <a:lnTo>
                    <a:pt x="16541" y="9109"/>
                  </a:lnTo>
                  <a:lnTo>
                    <a:pt x="16546" y="9125"/>
                  </a:lnTo>
                  <a:lnTo>
                    <a:pt x="16546" y="9133"/>
                  </a:lnTo>
                  <a:lnTo>
                    <a:pt x="16541" y="9141"/>
                  </a:lnTo>
                  <a:lnTo>
                    <a:pt x="16534" y="9143"/>
                  </a:lnTo>
                  <a:lnTo>
                    <a:pt x="16524" y="9140"/>
                  </a:lnTo>
                  <a:lnTo>
                    <a:pt x="16515" y="9135"/>
                  </a:lnTo>
                  <a:lnTo>
                    <a:pt x="16508" y="9130"/>
                  </a:lnTo>
                  <a:lnTo>
                    <a:pt x="16494" y="9124"/>
                  </a:lnTo>
                  <a:lnTo>
                    <a:pt x="16470" y="9139"/>
                  </a:lnTo>
                  <a:lnTo>
                    <a:pt x="16453" y="9136"/>
                  </a:lnTo>
                  <a:lnTo>
                    <a:pt x="16448" y="9129"/>
                  </a:lnTo>
                  <a:lnTo>
                    <a:pt x="16445" y="9118"/>
                  </a:lnTo>
                  <a:lnTo>
                    <a:pt x="16440" y="9109"/>
                  </a:lnTo>
                  <a:lnTo>
                    <a:pt x="16430" y="9105"/>
                  </a:lnTo>
                  <a:lnTo>
                    <a:pt x="16423" y="9111"/>
                  </a:lnTo>
                  <a:lnTo>
                    <a:pt x="16411" y="9132"/>
                  </a:lnTo>
                  <a:lnTo>
                    <a:pt x="16401" y="9136"/>
                  </a:lnTo>
                  <a:lnTo>
                    <a:pt x="16336" y="9133"/>
                  </a:lnTo>
                  <a:lnTo>
                    <a:pt x="16295" y="9148"/>
                  </a:lnTo>
                  <a:lnTo>
                    <a:pt x="16289" y="9152"/>
                  </a:lnTo>
                  <a:lnTo>
                    <a:pt x="16284" y="9163"/>
                  </a:lnTo>
                  <a:lnTo>
                    <a:pt x="16261" y="9185"/>
                  </a:lnTo>
                  <a:lnTo>
                    <a:pt x="16253" y="9199"/>
                  </a:lnTo>
                  <a:lnTo>
                    <a:pt x="16249" y="9199"/>
                  </a:lnTo>
                  <a:lnTo>
                    <a:pt x="16246" y="9195"/>
                  </a:lnTo>
                  <a:lnTo>
                    <a:pt x="16239" y="9188"/>
                  </a:lnTo>
                  <a:lnTo>
                    <a:pt x="16235" y="9186"/>
                  </a:lnTo>
                  <a:lnTo>
                    <a:pt x="16232" y="9196"/>
                  </a:lnTo>
                  <a:lnTo>
                    <a:pt x="16231" y="9205"/>
                  </a:lnTo>
                  <a:lnTo>
                    <a:pt x="16228" y="9212"/>
                  </a:lnTo>
                  <a:lnTo>
                    <a:pt x="16218" y="9217"/>
                  </a:lnTo>
                  <a:lnTo>
                    <a:pt x="16214" y="9216"/>
                  </a:lnTo>
                  <a:lnTo>
                    <a:pt x="16212" y="9209"/>
                  </a:lnTo>
                  <a:lnTo>
                    <a:pt x="16207" y="9208"/>
                  </a:lnTo>
                  <a:lnTo>
                    <a:pt x="16202" y="9209"/>
                  </a:lnTo>
                  <a:lnTo>
                    <a:pt x="16198" y="9210"/>
                  </a:lnTo>
                  <a:lnTo>
                    <a:pt x="16195" y="9211"/>
                  </a:lnTo>
                  <a:lnTo>
                    <a:pt x="16194" y="9212"/>
                  </a:lnTo>
                  <a:lnTo>
                    <a:pt x="16189" y="9211"/>
                  </a:lnTo>
                  <a:lnTo>
                    <a:pt x="16184" y="9209"/>
                  </a:lnTo>
                  <a:lnTo>
                    <a:pt x="16179" y="9207"/>
                  </a:lnTo>
                  <a:lnTo>
                    <a:pt x="16173" y="9208"/>
                  </a:lnTo>
                  <a:lnTo>
                    <a:pt x="16172" y="9210"/>
                  </a:lnTo>
                  <a:lnTo>
                    <a:pt x="16169" y="9219"/>
                  </a:lnTo>
                  <a:lnTo>
                    <a:pt x="16167" y="9221"/>
                  </a:lnTo>
                  <a:lnTo>
                    <a:pt x="16163" y="9234"/>
                  </a:lnTo>
                  <a:lnTo>
                    <a:pt x="16159" y="9243"/>
                  </a:lnTo>
                  <a:lnTo>
                    <a:pt x="16151" y="9248"/>
                  </a:lnTo>
                  <a:lnTo>
                    <a:pt x="16147" y="9243"/>
                  </a:lnTo>
                  <a:lnTo>
                    <a:pt x="16142" y="9241"/>
                  </a:lnTo>
                  <a:lnTo>
                    <a:pt x="16138" y="9242"/>
                  </a:lnTo>
                  <a:lnTo>
                    <a:pt x="16134" y="9243"/>
                  </a:lnTo>
                  <a:lnTo>
                    <a:pt x="16115" y="9254"/>
                  </a:lnTo>
                  <a:lnTo>
                    <a:pt x="16111" y="9255"/>
                  </a:lnTo>
                  <a:lnTo>
                    <a:pt x="16105" y="9257"/>
                  </a:lnTo>
                  <a:lnTo>
                    <a:pt x="16091" y="9246"/>
                  </a:lnTo>
                  <a:lnTo>
                    <a:pt x="16071" y="9226"/>
                  </a:lnTo>
                  <a:lnTo>
                    <a:pt x="16072" y="9249"/>
                  </a:lnTo>
                  <a:lnTo>
                    <a:pt x="16075" y="9264"/>
                  </a:lnTo>
                  <a:lnTo>
                    <a:pt x="16074" y="9279"/>
                  </a:lnTo>
                  <a:lnTo>
                    <a:pt x="16041" y="9313"/>
                  </a:lnTo>
                  <a:lnTo>
                    <a:pt x="16033" y="9328"/>
                  </a:lnTo>
                  <a:lnTo>
                    <a:pt x="16030" y="9345"/>
                  </a:lnTo>
                  <a:lnTo>
                    <a:pt x="16031" y="9439"/>
                  </a:lnTo>
                  <a:lnTo>
                    <a:pt x="16036" y="9453"/>
                  </a:lnTo>
                  <a:lnTo>
                    <a:pt x="16043" y="9465"/>
                  </a:lnTo>
                  <a:lnTo>
                    <a:pt x="16054" y="9473"/>
                  </a:lnTo>
                  <a:lnTo>
                    <a:pt x="16067" y="9479"/>
                  </a:lnTo>
                  <a:lnTo>
                    <a:pt x="16075" y="9479"/>
                  </a:lnTo>
                  <a:lnTo>
                    <a:pt x="16082" y="9479"/>
                  </a:lnTo>
                  <a:lnTo>
                    <a:pt x="16087" y="9482"/>
                  </a:lnTo>
                  <a:lnTo>
                    <a:pt x="16094" y="9517"/>
                  </a:lnTo>
                  <a:lnTo>
                    <a:pt x="16097" y="9524"/>
                  </a:lnTo>
                  <a:lnTo>
                    <a:pt x="16105" y="9523"/>
                  </a:lnTo>
                  <a:lnTo>
                    <a:pt x="16114" y="9519"/>
                  </a:lnTo>
                  <a:lnTo>
                    <a:pt x="16120" y="9515"/>
                  </a:lnTo>
                  <a:lnTo>
                    <a:pt x="16121" y="9512"/>
                  </a:lnTo>
                  <a:lnTo>
                    <a:pt x="16116" y="9505"/>
                  </a:lnTo>
                  <a:lnTo>
                    <a:pt x="16116" y="9501"/>
                  </a:lnTo>
                  <a:lnTo>
                    <a:pt x="16118" y="9499"/>
                  </a:lnTo>
                  <a:lnTo>
                    <a:pt x="16120" y="9498"/>
                  </a:lnTo>
                  <a:lnTo>
                    <a:pt x="16123" y="9499"/>
                  </a:lnTo>
                  <a:lnTo>
                    <a:pt x="16141" y="9486"/>
                  </a:lnTo>
                  <a:lnTo>
                    <a:pt x="16195" y="9477"/>
                  </a:lnTo>
                  <a:lnTo>
                    <a:pt x="16218" y="9470"/>
                  </a:lnTo>
                  <a:lnTo>
                    <a:pt x="16242" y="9458"/>
                  </a:lnTo>
                  <a:lnTo>
                    <a:pt x="16251" y="9457"/>
                  </a:lnTo>
                  <a:lnTo>
                    <a:pt x="16264" y="9457"/>
                  </a:lnTo>
                  <a:lnTo>
                    <a:pt x="16275" y="9462"/>
                  </a:lnTo>
                  <a:lnTo>
                    <a:pt x="16302" y="9485"/>
                  </a:lnTo>
                  <a:lnTo>
                    <a:pt x="16315" y="9492"/>
                  </a:lnTo>
                  <a:lnTo>
                    <a:pt x="16337" y="9496"/>
                  </a:lnTo>
                  <a:lnTo>
                    <a:pt x="16366" y="9497"/>
                  </a:lnTo>
                  <a:lnTo>
                    <a:pt x="16404" y="9475"/>
                  </a:lnTo>
                  <a:lnTo>
                    <a:pt x="16412" y="9478"/>
                  </a:lnTo>
                  <a:lnTo>
                    <a:pt x="16419" y="9478"/>
                  </a:lnTo>
                  <a:lnTo>
                    <a:pt x="16425" y="9476"/>
                  </a:lnTo>
                  <a:lnTo>
                    <a:pt x="16432" y="9475"/>
                  </a:lnTo>
                  <a:lnTo>
                    <a:pt x="16440" y="9475"/>
                  </a:lnTo>
                  <a:lnTo>
                    <a:pt x="16461" y="9479"/>
                  </a:lnTo>
                  <a:lnTo>
                    <a:pt x="16476" y="9478"/>
                  </a:lnTo>
                  <a:lnTo>
                    <a:pt x="16502" y="9472"/>
                  </a:lnTo>
                  <a:lnTo>
                    <a:pt x="16517" y="9470"/>
                  </a:lnTo>
                  <a:lnTo>
                    <a:pt x="16531" y="9471"/>
                  </a:lnTo>
                  <a:lnTo>
                    <a:pt x="16536" y="9472"/>
                  </a:lnTo>
                  <a:lnTo>
                    <a:pt x="16541" y="9475"/>
                  </a:lnTo>
                  <a:lnTo>
                    <a:pt x="16546" y="9479"/>
                  </a:lnTo>
                  <a:lnTo>
                    <a:pt x="16557" y="9492"/>
                  </a:lnTo>
                  <a:lnTo>
                    <a:pt x="16561" y="9494"/>
                  </a:lnTo>
                  <a:lnTo>
                    <a:pt x="16572" y="9506"/>
                  </a:lnTo>
                  <a:lnTo>
                    <a:pt x="16578" y="9507"/>
                  </a:lnTo>
                  <a:lnTo>
                    <a:pt x="16593" y="9506"/>
                  </a:lnTo>
                  <a:lnTo>
                    <a:pt x="16599" y="9506"/>
                  </a:lnTo>
                  <a:lnTo>
                    <a:pt x="16609" y="9510"/>
                  </a:lnTo>
                  <a:lnTo>
                    <a:pt x="16617" y="9516"/>
                  </a:lnTo>
                  <a:lnTo>
                    <a:pt x="16626" y="9521"/>
                  </a:lnTo>
                  <a:lnTo>
                    <a:pt x="16641" y="9524"/>
                  </a:lnTo>
                  <a:lnTo>
                    <a:pt x="16651" y="9520"/>
                  </a:lnTo>
                  <a:lnTo>
                    <a:pt x="16657" y="9511"/>
                  </a:lnTo>
                  <a:lnTo>
                    <a:pt x="16662" y="9501"/>
                  </a:lnTo>
                  <a:lnTo>
                    <a:pt x="16670" y="9492"/>
                  </a:lnTo>
                  <a:lnTo>
                    <a:pt x="16683" y="9487"/>
                  </a:lnTo>
                  <a:lnTo>
                    <a:pt x="16696" y="9489"/>
                  </a:lnTo>
                  <a:lnTo>
                    <a:pt x="16706" y="9497"/>
                  </a:lnTo>
                  <a:lnTo>
                    <a:pt x="16710" y="9513"/>
                  </a:lnTo>
                  <a:lnTo>
                    <a:pt x="16715" y="9522"/>
                  </a:lnTo>
                  <a:lnTo>
                    <a:pt x="16743" y="9552"/>
                  </a:lnTo>
                  <a:lnTo>
                    <a:pt x="16754" y="9560"/>
                  </a:lnTo>
                  <a:lnTo>
                    <a:pt x="16760" y="9560"/>
                  </a:lnTo>
                  <a:lnTo>
                    <a:pt x="16777" y="9559"/>
                  </a:lnTo>
                  <a:lnTo>
                    <a:pt x="16780" y="9561"/>
                  </a:lnTo>
                  <a:lnTo>
                    <a:pt x="16800" y="9569"/>
                  </a:lnTo>
                  <a:lnTo>
                    <a:pt x="16835" y="9571"/>
                  </a:lnTo>
                  <a:lnTo>
                    <a:pt x="16847" y="9569"/>
                  </a:lnTo>
                  <a:lnTo>
                    <a:pt x="16887" y="9548"/>
                  </a:lnTo>
                  <a:lnTo>
                    <a:pt x="16911" y="9539"/>
                  </a:lnTo>
                  <a:lnTo>
                    <a:pt x="16940" y="9537"/>
                  </a:lnTo>
                  <a:lnTo>
                    <a:pt x="16997" y="9554"/>
                  </a:lnTo>
                  <a:lnTo>
                    <a:pt x="17024" y="9554"/>
                  </a:lnTo>
                  <a:lnTo>
                    <a:pt x="17046" y="9532"/>
                  </a:lnTo>
                  <a:lnTo>
                    <a:pt x="17047" y="9519"/>
                  </a:lnTo>
                  <a:lnTo>
                    <a:pt x="17043" y="9505"/>
                  </a:lnTo>
                  <a:lnTo>
                    <a:pt x="17041" y="9490"/>
                  </a:lnTo>
                  <a:lnTo>
                    <a:pt x="17048" y="9477"/>
                  </a:lnTo>
                  <a:lnTo>
                    <a:pt x="17060" y="9473"/>
                  </a:lnTo>
                  <a:lnTo>
                    <a:pt x="17075" y="9476"/>
                  </a:lnTo>
                  <a:lnTo>
                    <a:pt x="17099" y="9484"/>
                  </a:lnTo>
                  <a:lnTo>
                    <a:pt x="17127" y="9488"/>
                  </a:lnTo>
                  <a:lnTo>
                    <a:pt x="17154" y="9487"/>
                  </a:lnTo>
                  <a:lnTo>
                    <a:pt x="17179" y="9489"/>
                  </a:lnTo>
                  <a:lnTo>
                    <a:pt x="17206" y="9501"/>
                  </a:lnTo>
                  <a:lnTo>
                    <a:pt x="17212" y="9512"/>
                  </a:lnTo>
                  <a:lnTo>
                    <a:pt x="17218" y="9540"/>
                  </a:lnTo>
                  <a:lnTo>
                    <a:pt x="17221" y="9546"/>
                  </a:lnTo>
                  <a:lnTo>
                    <a:pt x="17230" y="9541"/>
                  </a:lnTo>
                  <a:lnTo>
                    <a:pt x="17240" y="9518"/>
                  </a:lnTo>
                  <a:lnTo>
                    <a:pt x="17250" y="9510"/>
                  </a:lnTo>
                  <a:lnTo>
                    <a:pt x="17256" y="9516"/>
                  </a:lnTo>
                  <a:lnTo>
                    <a:pt x="17267" y="9523"/>
                  </a:lnTo>
                  <a:lnTo>
                    <a:pt x="17278" y="9529"/>
                  </a:lnTo>
                  <a:lnTo>
                    <a:pt x="17288" y="9532"/>
                  </a:lnTo>
                  <a:lnTo>
                    <a:pt x="17295" y="9533"/>
                  </a:lnTo>
                  <a:lnTo>
                    <a:pt x="17302" y="9534"/>
                  </a:lnTo>
                  <a:lnTo>
                    <a:pt x="17308" y="9535"/>
                  </a:lnTo>
                  <a:lnTo>
                    <a:pt x="17317" y="9532"/>
                  </a:lnTo>
                  <a:lnTo>
                    <a:pt x="17343" y="9515"/>
                  </a:lnTo>
                  <a:lnTo>
                    <a:pt x="17370" y="9502"/>
                  </a:lnTo>
                  <a:lnTo>
                    <a:pt x="17454" y="9479"/>
                  </a:lnTo>
                  <a:lnTo>
                    <a:pt x="17479" y="9465"/>
                  </a:lnTo>
                  <a:lnTo>
                    <a:pt x="17501" y="9447"/>
                  </a:lnTo>
                  <a:lnTo>
                    <a:pt x="17524" y="9433"/>
                  </a:lnTo>
                  <a:lnTo>
                    <a:pt x="17556" y="9430"/>
                  </a:lnTo>
                  <a:lnTo>
                    <a:pt x="17597" y="9437"/>
                  </a:lnTo>
                  <a:lnTo>
                    <a:pt x="17614" y="9445"/>
                  </a:lnTo>
                  <a:lnTo>
                    <a:pt x="17622" y="9444"/>
                  </a:lnTo>
                  <a:lnTo>
                    <a:pt x="17636" y="9439"/>
                  </a:lnTo>
                  <a:lnTo>
                    <a:pt x="17647" y="9438"/>
                  </a:lnTo>
                  <a:lnTo>
                    <a:pt x="17714" y="9439"/>
                  </a:lnTo>
                  <a:lnTo>
                    <a:pt x="17741" y="9435"/>
                  </a:lnTo>
                  <a:lnTo>
                    <a:pt x="17784" y="9420"/>
                  </a:lnTo>
                  <a:lnTo>
                    <a:pt x="17790" y="9417"/>
                  </a:lnTo>
                  <a:lnTo>
                    <a:pt x="17809" y="9397"/>
                  </a:lnTo>
                  <a:lnTo>
                    <a:pt x="17816" y="9392"/>
                  </a:lnTo>
                  <a:lnTo>
                    <a:pt x="17863" y="9381"/>
                  </a:lnTo>
                  <a:lnTo>
                    <a:pt x="17871" y="9381"/>
                  </a:lnTo>
                  <a:lnTo>
                    <a:pt x="17875" y="9377"/>
                  </a:lnTo>
                  <a:lnTo>
                    <a:pt x="17890" y="9369"/>
                  </a:lnTo>
                  <a:lnTo>
                    <a:pt x="17895" y="9368"/>
                  </a:lnTo>
                  <a:lnTo>
                    <a:pt x="17917" y="9371"/>
                  </a:lnTo>
                  <a:lnTo>
                    <a:pt x="17921" y="9370"/>
                  </a:lnTo>
                  <a:lnTo>
                    <a:pt x="17929" y="9363"/>
                  </a:lnTo>
                  <a:lnTo>
                    <a:pt x="17934" y="9360"/>
                  </a:lnTo>
                  <a:lnTo>
                    <a:pt x="17966" y="9356"/>
                  </a:lnTo>
                  <a:lnTo>
                    <a:pt x="17973" y="9354"/>
                  </a:lnTo>
                  <a:lnTo>
                    <a:pt x="17999" y="9337"/>
                  </a:lnTo>
                  <a:lnTo>
                    <a:pt x="18000" y="9316"/>
                  </a:lnTo>
                  <a:close/>
                  <a:moveTo>
                    <a:pt x="19480" y="9624"/>
                  </a:moveTo>
                  <a:lnTo>
                    <a:pt x="19480" y="9624"/>
                  </a:lnTo>
                  <a:lnTo>
                    <a:pt x="19469" y="9615"/>
                  </a:lnTo>
                  <a:lnTo>
                    <a:pt x="19456" y="9608"/>
                  </a:lnTo>
                  <a:lnTo>
                    <a:pt x="19452" y="9604"/>
                  </a:lnTo>
                  <a:lnTo>
                    <a:pt x="19449" y="9600"/>
                  </a:lnTo>
                  <a:lnTo>
                    <a:pt x="19446" y="9598"/>
                  </a:lnTo>
                  <a:lnTo>
                    <a:pt x="19440" y="9601"/>
                  </a:lnTo>
                  <a:lnTo>
                    <a:pt x="19437" y="9605"/>
                  </a:lnTo>
                  <a:lnTo>
                    <a:pt x="19434" y="9618"/>
                  </a:lnTo>
                  <a:lnTo>
                    <a:pt x="19432" y="9622"/>
                  </a:lnTo>
                  <a:lnTo>
                    <a:pt x="19424" y="9630"/>
                  </a:lnTo>
                  <a:lnTo>
                    <a:pt x="19393" y="9644"/>
                  </a:lnTo>
                  <a:lnTo>
                    <a:pt x="19376" y="9654"/>
                  </a:lnTo>
                  <a:lnTo>
                    <a:pt x="19368" y="9658"/>
                  </a:lnTo>
                  <a:lnTo>
                    <a:pt x="19356" y="9658"/>
                  </a:lnTo>
                  <a:lnTo>
                    <a:pt x="19347" y="9656"/>
                  </a:lnTo>
                  <a:lnTo>
                    <a:pt x="19339" y="9650"/>
                  </a:lnTo>
                  <a:lnTo>
                    <a:pt x="19334" y="9642"/>
                  </a:lnTo>
                  <a:lnTo>
                    <a:pt x="19331" y="9632"/>
                  </a:lnTo>
                  <a:lnTo>
                    <a:pt x="19331" y="9621"/>
                  </a:lnTo>
                  <a:lnTo>
                    <a:pt x="19340" y="9599"/>
                  </a:lnTo>
                  <a:lnTo>
                    <a:pt x="19338" y="9583"/>
                  </a:lnTo>
                  <a:lnTo>
                    <a:pt x="19324" y="9591"/>
                  </a:lnTo>
                  <a:lnTo>
                    <a:pt x="19306" y="9604"/>
                  </a:lnTo>
                  <a:lnTo>
                    <a:pt x="19287" y="9608"/>
                  </a:lnTo>
                  <a:lnTo>
                    <a:pt x="19277" y="9613"/>
                  </a:lnTo>
                  <a:lnTo>
                    <a:pt x="19254" y="9620"/>
                  </a:lnTo>
                  <a:lnTo>
                    <a:pt x="19240" y="9635"/>
                  </a:lnTo>
                  <a:lnTo>
                    <a:pt x="19234" y="9639"/>
                  </a:lnTo>
                  <a:lnTo>
                    <a:pt x="19191" y="9652"/>
                  </a:lnTo>
                  <a:lnTo>
                    <a:pt x="19189" y="9653"/>
                  </a:lnTo>
                  <a:lnTo>
                    <a:pt x="19186" y="9656"/>
                  </a:lnTo>
                  <a:lnTo>
                    <a:pt x="19179" y="9672"/>
                  </a:lnTo>
                  <a:lnTo>
                    <a:pt x="19178" y="9677"/>
                  </a:lnTo>
                  <a:lnTo>
                    <a:pt x="19175" y="9681"/>
                  </a:lnTo>
                  <a:lnTo>
                    <a:pt x="19135" y="9709"/>
                  </a:lnTo>
                  <a:lnTo>
                    <a:pt x="19108" y="9718"/>
                  </a:lnTo>
                  <a:lnTo>
                    <a:pt x="19078" y="9723"/>
                  </a:lnTo>
                  <a:lnTo>
                    <a:pt x="19045" y="9724"/>
                  </a:lnTo>
                  <a:lnTo>
                    <a:pt x="19035" y="9725"/>
                  </a:lnTo>
                  <a:lnTo>
                    <a:pt x="19035" y="9738"/>
                  </a:lnTo>
                  <a:lnTo>
                    <a:pt x="19026" y="9774"/>
                  </a:lnTo>
                  <a:lnTo>
                    <a:pt x="19023" y="9797"/>
                  </a:lnTo>
                  <a:lnTo>
                    <a:pt x="19020" y="9802"/>
                  </a:lnTo>
                  <a:lnTo>
                    <a:pt x="19018" y="9805"/>
                  </a:lnTo>
                  <a:lnTo>
                    <a:pt x="19016" y="9807"/>
                  </a:lnTo>
                  <a:lnTo>
                    <a:pt x="19003" y="9823"/>
                  </a:lnTo>
                  <a:lnTo>
                    <a:pt x="18984" y="9840"/>
                  </a:lnTo>
                  <a:lnTo>
                    <a:pt x="18978" y="9843"/>
                  </a:lnTo>
                  <a:lnTo>
                    <a:pt x="18975" y="9843"/>
                  </a:lnTo>
                  <a:lnTo>
                    <a:pt x="18973" y="9844"/>
                  </a:lnTo>
                  <a:lnTo>
                    <a:pt x="18968" y="9851"/>
                  </a:lnTo>
                  <a:lnTo>
                    <a:pt x="18967" y="9870"/>
                  </a:lnTo>
                  <a:lnTo>
                    <a:pt x="18964" y="9875"/>
                  </a:lnTo>
                  <a:lnTo>
                    <a:pt x="18958" y="9884"/>
                  </a:lnTo>
                  <a:lnTo>
                    <a:pt x="18956" y="9889"/>
                  </a:lnTo>
                  <a:lnTo>
                    <a:pt x="18956" y="9894"/>
                  </a:lnTo>
                  <a:lnTo>
                    <a:pt x="18959" y="9905"/>
                  </a:lnTo>
                  <a:lnTo>
                    <a:pt x="18958" y="9911"/>
                  </a:lnTo>
                  <a:lnTo>
                    <a:pt x="18953" y="9920"/>
                  </a:lnTo>
                  <a:lnTo>
                    <a:pt x="18944" y="9925"/>
                  </a:lnTo>
                  <a:lnTo>
                    <a:pt x="18933" y="9928"/>
                  </a:lnTo>
                  <a:lnTo>
                    <a:pt x="18920" y="9929"/>
                  </a:lnTo>
                  <a:lnTo>
                    <a:pt x="18913" y="9931"/>
                  </a:lnTo>
                  <a:lnTo>
                    <a:pt x="18910" y="9934"/>
                  </a:lnTo>
                  <a:lnTo>
                    <a:pt x="18909" y="9932"/>
                  </a:lnTo>
                  <a:lnTo>
                    <a:pt x="18907" y="9924"/>
                  </a:lnTo>
                  <a:lnTo>
                    <a:pt x="18907" y="9920"/>
                  </a:lnTo>
                  <a:lnTo>
                    <a:pt x="18910" y="9909"/>
                  </a:lnTo>
                  <a:lnTo>
                    <a:pt x="18910" y="9904"/>
                  </a:lnTo>
                  <a:lnTo>
                    <a:pt x="18908" y="9893"/>
                  </a:lnTo>
                  <a:lnTo>
                    <a:pt x="18903" y="9882"/>
                  </a:lnTo>
                  <a:lnTo>
                    <a:pt x="18897" y="9871"/>
                  </a:lnTo>
                  <a:lnTo>
                    <a:pt x="18890" y="9862"/>
                  </a:lnTo>
                  <a:lnTo>
                    <a:pt x="18880" y="9854"/>
                  </a:lnTo>
                  <a:lnTo>
                    <a:pt x="18871" y="9850"/>
                  </a:lnTo>
                  <a:lnTo>
                    <a:pt x="18862" y="9851"/>
                  </a:lnTo>
                  <a:lnTo>
                    <a:pt x="18852" y="9855"/>
                  </a:lnTo>
                  <a:lnTo>
                    <a:pt x="18843" y="9862"/>
                  </a:lnTo>
                  <a:lnTo>
                    <a:pt x="18830" y="9880"/>
                  </a:lnTo>
                  <a:lnTo>
                    <a:pt x="18822" y="9885"/>
                  </a:lnTo>
                  <a:lnTo>
                    <a:pt x="18802" y="9882"/>
                  </a:lnTo>
                  <a:lnTo>
                    <a:pt x="18784" y="9866"/>
                  </a:lnTo>
                  <a:lnTo>
                    <a:pt x="18763" y="9830"/>
                  </a:lnTo>
                  <a:lnTo>
                    <a:pt x="18750" y="9831"/>
                  </a:lnTo>
                  <a:lnTo>
                    <a:pt x="18738" y="9834"/>
                  </a:lnTo>
                  <a:lnTo>
                    <a:pt x="18730" y="9841"/>
                  </a:lnTo>
                  <a:lnTo>
                    <a:pt x="18717" y="9858"/>
                  </a:lnTo>
                  <a:lnTo>
                    <a:pt x="18687" y="9885"/>
                  </a:lnTo>
                  <a:lnTo>
                    <a:pt x="18684" y="9889"/>
                  </a:lnTo>
                  <a:lnTo>
                    <a:pt x="18676" y="9894"/>
                  </a:lnTo>
                  <a:lnTo>
                    <a:pt x="18655" y="9925"/>
                  </a:lnTo>
                  <a:lnTo>
                    <a:pt x="18652" y="9926"/>
                  </a:lnTo>
                  <a:lnTo>
                    <a:pt x="18645" y="9924"/>
                  </a:lnTo>
                  <a:lnTo>
                    <a:pt x="18642" y="9925"/>
                  </a:lnTo>
                  <a:lnTo>
                    <a:pt x="18638" y="9928"/>
                  </a:lnTo>
                  <a:lnTo>
                    <a:pt x="18632" y="9936"/>
                  </a:lnTo>
                  <a:lnTo>
                    <a:pt x="18628" y="9939"/>
                  </a:lnTo>
                  <a:lnTo>
                    <a:pt x="18620" y="9942"/>
                  </a:lnTo>
                  <a:lnTo>
                    <a:pt x="18615" y="9942"/>
                  </a:lnTo>
                  <a:lnTo>
                    <a:pt x="18610" y="9944"/>
                  </a:lnTo>
                  <a:lnTo>
                    <a:pt x="18604" y="9950"/>
                  </a:lnTo>
                  <a:lnTo>
                    <a:pt x="18586" y="9977"/>
                  </a:lnTo>
                  <a:lnTo>
                    <a:pt x="18580" y="9981"/>
                  </a:lnTo>
                  <a:lnTo>
                    <a:pt x="18557" y="9992"/>
                  </a:lnTo>
                  <a:lnTo>
                    <a:pt x="18542" y="10005"/>
                  </a:lnTo>
                  <a:lnTo>
                    <a:pt x="18535" y="10018"/>
                  </a:lnTo>
                  <a:lnTo>
                    <a:pt x="18531" y="10031"/>
                  </a:lnTo>
                  <a:lnTo>
                    <a:pt x="18530" y="10090"/>
                  </a:lnTo>
                  <a:lnTo>
                    <a:pt x="18526" y="10103"/>
                  </a:lnTo>
                  <a:lnTo>
                    <a:pt x="18523" y="10106"/>
                  </a:lnTo>
                  <a:lnTo>
                    <a:pt x="18519" y="10109"/>
                  </a:lnTo>
                  <a:lnTo>
                    <a:pt x="18515" y="10112"/>
                  </a:lnTo>
                  <a:lnTo>
                    <a:pt x="18513" y="10117"/>
                  </a:lnTo>
                  <a:lnTo>
                    <a:pt x="18515" y="10126"/>
                  </a:lnTo>
                  <a:lnTo>
                    <a:pt x="18524" y="10139"/>
                  </a:lnTo>
                  <a:lnTo>
                    <a:pt x="18526" y="10146"/>
                  </a:lnTo>
                  <a:lnTo>
                    <a:pt x="18526" y="10161"/>
                  </a:lnTo>
                  <a:lnTo>
                    <a:pt x="18524" y="10175"/>
                  </a:lnTo>
                  <a:lnTo>
                    <a:pt x="18517" y="10187"/>
                  </a:lnTo>
                  <a:lnTo>
                    <a:pt x="18504" y="10198"/>
                  </a:lnTo>
                  <a:lnTo>
                    <a:pt x="18480" y="10212"/>
                  </a:lnTo>
                  <a:lnTo>
                    <a:pt x="18475" y="10222"/>
                  </a:lnTo>
                  <a:lnTo>
                    <a:pt x="18470" y="10268"/>
                  </a:lnTo>
                  <a:lnTo>
                    <a:pt x="18470" y="10281"/>
                  </a:lnTo>
                  <a:lnTo>
                    <a:pt x="18477" y="10292"/>
                  </a:lnTo>
                  <a:lnTo>
                    <a:pt x="18489" y="10294"/>
                  </a:lnTo>
                  <a:lnTo>
                    <a:pt x="18510" y="10278"/>
                  </a:lnTo>
                  <a:lnTo>
                    <a:pt x="18524" y="10274"/>
                  </a:lnTo>
                  <a:lnTo>
                    <a:pt x="18539" y="10275"/>
                  </a:lnTo>
                  <a:lnTo>
                    <a:pt x="18554" y="10279"/>
                  </a:lnTo>
                  <a:lnTo>
                    <a:pt x="18566" y="10284"/>
                  </a:lnTo>
                  <a:lnTo>
                    <a:pt x="18579" y="10292"/>
                  </a:lnTo>
                  <a:lnTo>
                    <a:pt x="18591" y="10308"/>
                  </a:lnTo>
                  <a:lnTo>
                    <a:pt x="18581" y="10323"/>
                  </a:lnTo>
                  <a:lnTo>
                    <a:pt x="18527" y="10352"/>
                  </a:lnTo>
                  <a:lnTo>
                    <a:pt x="18522" y="10354"/>
                  </a:lnTo>
                  <a:lnTo>
                    <a:pt x="18498" y="10359"/>
                  </a:lnTo>
                  <a:lnTo>
                    <a:pt x="18493" y="10361"/>
                  </a:lnTo>
                  <a:lnTo>
                    <a:pt x="18484" y="10368"/>
                  </a:lnTo>
                  <a:lnTo>
                    <a:pt x="18451" y="10381"/>
                  </a:lnTo>
                  <a:lnTo>
                    <a:pt x="18430" y="10398"/>
                  </a:lnTo>
                  <a:lnTo>
                    <a:pt x="18420" y="10409"/>
                  </a:lnTo>
                  <a:lnTo>
                    <a:pt x="18416" y="10419"/>
                  </a:lnTo>
                  <a:lnTo>
                    <a:pt x="18417" y="10443"/>
                  </a:lnTo>
                  <a:lnTo>
                    <a:pt x="18416" y="10456"/>
                  </a:lnTo>
                  <a:lnTo>
                    <a:pt x="18411" y="10470"/>
                  </a:lnTo>
                  <a:lnTo>
                    <a:pt x="18403" y="10484"/>
                  </a:lnTo>
                  <a:lnTo>
                    <a:pt x="18400" y="10491"/>
                  </a:lnTo>
                  <a:lnTo>
                    <a:pt x="18402" y="10497"/>
                  </a:lnTo>
                  <a:lnTo>
                    <a:pt x="18408" y="10498"/>
                  </a:lnTo>
                  <a:lnTo>
                    <a:pt x="18416" y="10494"/>
                  </a:lnTo>
                  <a:lnTo>
                    <a:pt x="18422" y="10489"/>
                  </a:lnTo>
                  <a:lnTo>
                    <a:pt x="18430" y="10478"/>
                  </a:lnTo>
                  <a:lnTo>
                    <a:pt x="18444" y="10475"/>
                  </a:lnTo>
                  <a:lnTo>
                    <a:pt x="18459" y="10477"/>
                  </a:lnTo>
                  <a:lnTo>
                    <a:pt x="18468" y="10479"/>
                  </a:lnTo>
                  <a:lnTo>
                    <a:pt x="18486" y="10495"/>
                  </a:lnTo>
                  <a:lnTo>
                    <a:pt x="18496" y="10498"/>
                  </a:lnTo>
                  <a:lnTo>
                    <a:pt x="18511" y="10491"/>
                  </a:lnTo>
                  <a:lnTo>
                    <a:pt x="18523" y="10487"/>
                  </a:lnTo>
                  <a:lnTo>
                    <a:pt x="18536" y="10492"/>
                  </a:lnTo>
                  <a:lnTo>
                    <a:pt x="18549" y="10499"/>
                  </a:lnTo>
                  <a:lnTo>
                    <a:pt x="18562" y="10501"/>
                  </a:lnTo>
                  <a:lnTo>
                    <a:pt x="18587" y="10494"/>
                  </a:lnTo>
                  <a:lnTo>
                    <a:pt x="18600" y="10493"/>
                  </a:lnTo>
                  <a:lnTo>
                    <a:pt x="18606" y="10499"/>
                  </a:lnTo>
                  <a:lnTo>
                    <a:pt x="18614" y="10503"/>
                  </a:lnTo>
                  <a:lnTo>
                    <a:pt x="18631" y="10496"/>
                  </a:lnTo>
                  <a:lnTo>
                    <a:pt x="18700" y="10451"/>
                  </a:lnTo>
                  <a:lnTo>
                    <a:pt x="18756" y="10442"/>
                  </a:lnTo>
                  <a:lnTo>
                    <a:pt x="18765" y="10439"/>
                  </a:lnTo>
                  <a:lnTo>
                    <a:pt x="18772" y="10431"/>
                  </a:lnTo>
                  <a:lnTo>
                    <a:pt x="18775" y="10422"/>
                  </a:lnTo>
                  <a:lnTo>
                    <a:pt x="18781" y="10415"/>
                  </a:lnTo>
                  <a:lnTo>
                    <a:pt x="18794" y="10412"/>
                  </a:lnTo>
                  <a:lnTo>
                    <a:pt x="18800" y="10406"/>
                  </a:lnTo>
                  <a:lnTo>
                    <a:pt x="18813" y="10379"/>
                  </a:lnTo>
                  <a:lnTo>
                    <a:pt x="18823" y="10372"/>
                  </a:lnTo>
                  <a:lnTo>
                    <a:pt x="18830" y="10371"/>
                  </a:lnTo>
                  <a:lnTo>
                    <a:pt x="18843" y="10375"/>
                  </a:lnTo>
                  <a:lnTo>
                    <a:pt x="18850" y="10377"/>
                  </a:lnTo>
                  <a:lnTo>
                    <a:pt x="18871" y="10372"/>
                  </a:lnTo>
                  <a:lnTo>
                    <a:pt x="18920" y="10367"/>
                  </a:lnTo>
                  <a:lnTo>
                    <a:pt x="18990" y="10370"/>
                  </a:lnTo>
                  <a:lnTo>
                    <a:pt x="19014" y="10366"/>
                  </a:lnTo>
                  <a:lnTo>
                    <a:pt x="19036" y="10354"/>
                  </a:lnTo>
                  <a:lnTo>
                    <a:pt x="19066" y="10332"/>
                  </a:lnTo>
                  <a:lnTo>
                    <a:pt x="19074" y="10322"/>
                  </a:lnTo>
                  <a:lnTo>
                    <a:pt x="19083" y="10313"/>
                  </a:lnTo>
                  <a:lnTo>
                    <a:pt x="19094" y="10283"/>
                  </a:lnTo>
                  <a:lnTo>
                    <a:pt x="19106" y="10269"/>
                  </a:lnTo>
                  <a:lnTo>
                    <a:pt x="19137" y="10250"/>
                  </a:lnTo>
                  <a:lnTo>
                    <a:pt x="19158" y="10230"/>
                  </a:lnTo>
                  <a:lnTo>
                    <a:pt x="19182" y="10213"/>
                  </a:lnTo>
                  <a:lnTo>
                    <a:pt x="19219" y="10193"/>
                  </a:lnTo>
                  <a:lnTo>
                    <a:pt x="19227" y="10184"/>
                  </a:lnTo>
                  <a:lnTo>
                    <a:pt x="19234" y="10161"/>
                  </a:lnTo>
                  <a:lnTo>
                    <a:pt x="19291" y="10095"/>
                  </a:lnTo>
                  <a:lnTo>
                    <a:pt x="19309" y="10079"/>
                  </a:lnTo>
                  <a:lnTo>
                    <a:pt x="19371" y="10039"/>
                  </a:lnTo>
                  <a:lnTo>
                    <a:pt x="19377" y="10030"/>
                  </a:lnTo>
                  <a:lnTo>
                    <a:pt x="19382" y="9983"/>
                  </a:lnTo>
                  <a:lnTo>
                    <a:pt x="19391" y="9957"/>
                  </a:lnTo>
                  <a:lnTo>
                    <a:pt x="19410" y="9938"/>
                  </a:lnTo>
                  <a:lnTo>
                    <a:pt x="19430" y="9924"/>
                  </a:lnTo>
                  <a:lnTo>
                    <a:pt x="19423" y="9884"/>
                  </a:lnTo>
                  <a:lnTo>
                    <a:pt x="19420" y="9874"/>
                  </a:lnTo>
                  <a:lnTo>
                    <a:pt x="19405" y="9851"/>
                  </a:lnTo>
                  <a:lnTo>
                    <a:pt x="19405" y="9847"/>
                  </a:lnTo>
                  <a:lnTo>
                    <a:pt x="19406" y="9836"/>
                  </a:lnTo>
                  <a:lnTo>
                    <a:pt x="19405" y="9832"/>
                  </a:lnTo>
                  <a:lnTo>
                    <a:pt x="19402" y="9828"/>
                  </a:lnTo>
                  <a:lnTo>
                    <a:pt x="19388" y="9819"/>
                  </a:lnTo>
                  <a:lnTo>
                    <a:pt x="19373" y="9806"/>
                  </a:lnTo>
                  <a:lnTo>
                    <a:pt x="19368" y="9798"/>
                  </a:lnTo>
                  <a:lnTo>
                    <a:pt x="19364" y="9787"/>
                  </a:lnTo>
                  <a:lnTo>
                    <a:pt x="19360" y="9764"/>
                  </a:lnTo>
                  <a:lnTo>
                    <a:pt x="19363" y="9745"/>
                  </a:lnTo>
                  <a:lnTo>
                    <a:pt x="19373" y="9732"/>
                  </a:lnTo>
                  <a:lnTo>
                    <a:pt x="19395" y="9728"/>
                  </a:lnTo>
                  <a:lnTo>
                    <a:pt x="19408" y="9729"/>
                  </a:lnTo>
                  <a:lnTo>
                    <a:pt x="19412" y="9730"/>
                  </a:lnTo>
                  <a:lnTo>
                    <a:pt x="19417" y="9733"/>
                  </a:lnTo>
                  <a:lnTo>
                    <a:pt x="19425" y="9742"/>
                  </a:lnTo>
                  <a:lnTo>
                    <a:pt x="19429" y="9744"/>
                  </a:lnTo>
                  <a:lnTo>
                    <a:pt x="19438" y="9745"/>
                  </a:lnTo>
                  <a:lnTo>
                    <a:pt x="19444" y="9741"/>
                  </a:lnTo>
                  <a:lnTo>
                    <a:pt x="19449" y="9735"/>
                  </a:lnTo>
                  <a:lnTo>
                    <a:pt x="19459" y="9730"/>
                  </a:lnTo>
                  <a:lnTo>
                    <a:pt x="19466" y="9729"/>
                  </a:lnTo>
                  <a:lnTo>
                    <a:pt x="19482" y="9730"/>
                  </a:lnTo>
                  <a:lnTo>
                    <a:pt x="19488" y="9728"/>
                  </a:lnTo>
                  <a:lnTo>
                    <a:pt x="19490" y="9722"/>
                  </a:lnTo>
                  <a:lnTo>
                    <a:pt x="19488" y="9715"/>
                  </a:lnTo>
                  <a:lnTo>
                    <a:pt x="19485" y="9708"/>
                  </a:lnTo>
                  <a:lnTo>
                    <a:pt x="19484" y="9702"/>
                  </a:lnTo>
                  <a:lnTo>
                    <a:pt x="19495" y="9661"/>
                  </a:lnTo>
                  <a:lnTo>
                    <a:pt x="19495" y="9647"/>
                  </a:lnTo>
                  <a:lnTo>
                    <a:pt x="19490" y="9634"/>
                  </a:lnTo>
                  <a:lnTo>
                    <a:pt x="19480" y="9624"/>
                  </a:lnTo>
                  <a:close/>
                  <a:moveTo>
                    <a:pt x="20838" y="5964"/>
                  </a:moveTo>
                  <a:lnTo>
                    <a:pt x="20838" y="5964"/>
                  </a:lnTo>
                  <a:lnTo>
                    <a:pt x="20809" y="5959"/>
                  </a:lnTo>
                  <a:lnTo>
                    <a:pt x="20786" y="5947"/>
                  </a:lnTo>
                  <a:lnTo>
                    <a:pt x="20780" y="5945"/>
                  </a:lnTo>
                  <a:lnTo>
                    <a:pt x="20773" y="5949"/>
                  </a:lnTo>
                  <a:lnTo>
                    <a:pt x="20764" y="5964"/>
                  </a:lnTo>
                  <a:lnTo>
                    <a:pt x="20757" y="5967"/>
                  </a:lnTo>
                  <a:lnTo>
                    <a:pt x="20745" y="5963"/>
                  </a:lnTo>
                  <a:lnTo>
                    <a:pt x="20735" y="5955"/>
                  </a:lnTo>
                  <a:lnTo>
                    <a:pt x="20728" y="5947"/>
                  </a:lnTo>
                  <a:lnTo>
                    <a:pt x="20724" y="5945"/>
                  </a:lnTo>
                  <a:lnTo>
                    <a:pt x="20719" y="5938"/>
                  </a:lnTo>
                  <a:lnTo>
                    <a:pt x="20713" y="5927"/>
                  </a:lnTo>
                  <a:lnTo>
                    <a:pt x="20710" y="5915"/>
                  </a:lnTo>
                  <a:lnTo>
                    <a:pt x="20711" y="5906"/>
                  </a:lnTo>
                  <a:lnTo>
                    <a:pt x="20720" y="5897"/>
                  </a:lnTo>
                  <a:lnTo>
                    <a:pt x="20729" y="5898"/>
                  </a:lnTo>
                  <a:lnTo>
                    <a:pt x="20737" y="5903"/>
                  </a:lnTo>
                  <a:lnTo>
                    <a:pt x="20744" y="5906"/>
                  </a:lnTo>
                  <a:lnTo>
                    <a:pt x="20752" y="5906"/>
                  </a:lnTo>
                  <a:lnTo>
                    <a:pt x="20756" y="5905"/>
                  </a:lnTo>
                  <a:lnTo>
                    <a:pt x="20756" y="5900"/>
                  </a:lnTo>
                  <a:lnTo>
                    <a:pt x="20754" y="5878"/>
                  </a:lnTo>
                  <a:lnTo>
                    <a:pt x="20753" y="5871"/>
                  </a:lnTo>
                  <a:lnTo>
                    <a:pt x="20750" y="5866"/>
                  </a:lnTo>
                  <a:lnTo>
                    <a:pt x="20744" y="5859"/>
                  </a:lnTo>
                  <a:lnTo>
                    <a:pt x="20738" y="5855"/>
                  </a:lnTo>
                  <a:lnTo>
                    <a:pt x="20719" y="5846"/>
                  </a:lnTo>
                  <a:lnTo>
                    <a:pt x="20706" y="5842"/>
                  </a:lnTo>
                  <a:lnTo>
                    <a:pt x="20684" y="5827"/>
                  </a:lnTo>
                  <a:lnTo>
                    <a:pt x="20670" y="5822"/>
                  </a:lnTo>
                  <a:lnTo>
                    <a:pt x="20655" y="5819"/>
                  </a:lnTo>
                  <a:lnTo>
                    <a:pt x="20641" y="5814"/>
                  </a:lnTo>
                  <a:lnTo>
                    <a:pt x="20631" y="5804"/>
                  </a:lnTo>
                  <a:lnTo>
                    <a:pt x="20615" y="5811"/>
                  </a:lnTo>
                  <a:lnTo>
                    <a:pt x="20603" y="5801"/>
                  </a:lnTo>
                  <a:lnTo>
                    <a:pt x="20593" y="5785"/>
                  </a:lnTo>
                  <a:lnTo>
                    <a:pt x="20580" y="5778"/>
                  </a:lnTo>
                  <a:lnTo>
                    <a:pt x="20503" y="5769"/>
                  </a:lnTo>
                  <a:lnTo>
                    <a:pt x="20309" y="5776"/>
                  </a:lnTo>
                  <a:lnTo>
                    <a:pt x="20229" y="5798"/>
                  </a:lnTo>
                  <a:lnTo>
                    <a:pt x="20204" y="5809"/>
                  </a:lnTo>
                  <a:lnTo>
                    <a:pt x="20183" y="5827"/>
                  </a:lnTo>
                  <a:lnTo>
                    <a:pt x="20173" y="5838"/>
                  </a:lnTo>
                  <a:lnTo>
                    <a:pt x="20166" y="5840"/>
                  </a:lnTo>
                  <a:lnTo>
                    <a:pt x="20158" y="5837"/>
                  </a:lnTo>
                  <a:lnTo>
                    <a:pt x="20146" y="5835"/>
                  </a:lnTo>
                  <a:lnTo>
                    <a:pt x="20140" y="5832"/>
                  </a:lnTo>
                  <a:lnTo>
                    <a:pt x="20135" y="5826"/>
                  </a:lnTo>
                  <a:lnTo>
                    <a:pt x="20127" y="5813"/>
                  </a:lnTo>
                  <a:lnTo>
                    <a:pt x="20117" y="5800"/>
                  </a:lnTo>
                  <a:lnTo>
                    <a:pt x="20111" y="5795"/>
                  </a:lnTo>
                  <a:lnTo>
                    <a:pt x="20104" y="5791"/>
                  </a:lnTo>
                  <a:lnTo>
                    <a:pt x="20078" y="5806"/>
                  </a:lnTo>
                  <a:lnTo>
                    <a:pt x="20059" y="5821"/>
                  </a:lnTo>
                  <a:lnTo>
                    <a:pt x="20048" y="5840"/>
                  </a:lnTo>
                  <a:lnTo>
                    <a:pt x="20046" y="5870"/>
                  </a:lnTo>
                  <a:lnTo>
                    <a:pt x="20054" y="5954"/>
                  </a:lnTo>
                  <a:lnTo>
                    <a:pt x="20064" y="5996"/>
                  </a:lnTo>
                  <a:lnTo>
                    <a:pt x="20064" y="6000"/>
                  </a:lnTo>
                  <a:lnTo>
                    <a:pt x="20066" y="6004"/>
                  </a:lnTo>
                  <a:lnTo>
                    <a:pt x="20075" y="6010"/>
                  </a:lnTo>
                  <a:lnTo>
                    <a:pt x="20077" y="6014"/>
                  </a:lnTo>
                  <a:lnTo>
                    <a:pt x="20082" y="6020"/>
                  </a:lnTo>
                  <a:lnTo>
                    <a:pt x="20112" y="6038"/>
                  </a:lnTo>
                  <a:lnTo>
                    <a:pt x="20126" y="6054"/>
                  </a:lnTo>
                  <a:lnTo>
                    <a:pt x="20144" y="6096"/>
                  </a:lnTo>
                  <a:lnTo>
                    <a:pt x="20157" y="6112"/>
                  </a:lnTo>
                  <a:lnTo>
                    <a:pt x="20168" y="6117"/>
                  </a:lnTo>
                  <a:lnTo>
                    <a:pt x="20194" y="6123"/>
                  </a:lnTo>
                  <a:lnTo>
                    <a:pt x="20204" y="6128"/>
                  </a:lnTo>
                  <a:lnTo>
                    <a:pt x="20214" y="6137"/>
                  </a:lnTo>
                  <a:lnTo>
                    <a:pt x="20245" y="6153"/>
                  </a:lnTo>
                  <a:lnTo>
                    <a:pt x="20273" y="6179"/>
                  </a:lnTo>
                  <a:lnTo>
                    <a:pt x="20283" y="6183"/>
                  </a:lnTo>
                  <a:lnTo>
                    <a:pt x="20296" y="6185"/>
                  </a:lnTo>
                  <a:lnTo>
                    <a:pt x="20310" y="6191"/>
                  </a:lnTo>
                  <a:lnTo>
                    <a:pt x="20334" y="6206"/>
                  </a:lnTo>
                  <a:lnTo>
                    <a:pt x="20455" y="6251"/>
                  </a:lnTo>
                  <a:lnTo>
                    <a:pt x="20462" y="6255"/>
                  </a:lnTo>
                  <a:lnTo>
                    <a:pt x="20470" y="6261"/>
                  </a:lnTo>
                  <a:lnTo>
                    <a:pt x="20477" y="6265"/>
                  </a:lnTo>
                  <a:lnTo>
                    <a:pt x="20483" y="6266"/>
                  </a:lnTo>
                  <a:lnTo>
                    <a:pt x="20511" y="6261"/>
                  </a:lnTo>
                  <a:lnTo>
                    <a:pt x="20543" y="6241"/>
                  </a:lnTo>
                  <a:lnTo>
                    <a:pt x="20569" y="6234"/>
                  </a:lnTo>
                  <a:lnTo>
                    <a:pt x="20623" y="6230"/>
                  </a:lnTo>
                  <a:lnTo>
                    <a:pt x="20649" y="6223"/>
                  </a:lnTo>
                  <a:lnTo>
                    <a:pt x="20656" y="6217"/>
                  </a:lnTo>
                  <a:lnTo>
                    <a:pt x="20671" y="6197"/>
                  </a:lnTo>
                  <a:lnTo>
                    <a:pt x="20678" y="6192"/>
                  </a:lnTo>
                  <a:lnTo>
                    <a:pt x="20685" y="6190"/>
                  </a:lnTo>
                  <a:lnTo>
                    <a:pt x="20762" y="6151"/>
                  </a:lnTo>
                  <a:lnTo>
                    <a:pt x="20775" y="6148"/>
                  </a:lnTo>
                  <a:lnTo>
                    <a:pt x="20790" y="6151"/>
                  </a:lnTo>
                  <a:lnTo>
                    <a:pt x="20804" y="6155"/>
                  </a:lnTo>
                  <a:lnTo>
                    <a:pt x="20817" y="6155"/>
                  </a:lnTo>
                  <a:lnTo>
                    <a:pt x="20830" y="6144"/>
                  </a:lnTo>
                  <a:lnTo>
                    <a:pt x="20841" y="6120"/>
                  </a:lnTo>
                  <a:lnTo>
                    <a:pt x="20839" y="6033"/>
                  </a:lnTo>
                  <a:lnTo>
                    <a:pt x="20843" y="6020"/>
                  </a:lnTo>
                  <a:lnTo>
                    <a:pt x="20855" y="5991"/>
                  </a:lnTo>
                  <a:lnTo>
                    <a:pt x="20857" y="5979"/>
                  </a:lnTo>
                  <a:lnTo>
                    <a:pt x="20852" y="5969"/>
                  </a:lnTo>
                  <a:lnTo>
                    <a:pt x="20838" y="5964"/>
                  </a:lnTo>
                  <a:close/>
                  <a:moveTo>
                    <a:pt x="23140" y="6285"/>
                  </a:moveTo>
                  <a:lnTo>
                    <a:pt x="23140" y="6285"/>
                  </a:lnTo>
                  <a:lnTo>
                    <a:pt x="23152" y="6289"/>
                  </a:lnTo>
                  <a:lnTo>
                    <a:pt x="23168" y="6287"/>
                  </a:lnTo>
                  <a:lnTo>
                    <a:pt x="23167" y="6279"/>
                  </a:lnTo>
                  <a:lnTo>
                    <a:pt x="23161" y="6269"/>
                  </a:lnTo>
                  <a:lnTo>
                    <a:pt x="23157" y="6261"/>
                  </a:lnTo>
                  <a:lnTo>
                    <a:pt x="23161" y="6177"/>
                  </a:lnTo>
                  <a:lnTo>
                    <a:pt x="23163" y="6169"/>
                  </a:lnTo>
                  <a:lnTo>
                    <a:pt x="23172" y="6157"/>
                  </a:lnTo>
                  <a:lnTo>
                    <a:pt x="23174" y="6150"/>
                  </a:lnTo>
                  <a:lnTo>
                    <a:pt x="23176" y="6146"/>
                  </a:lnTo>
                  <a:lnTo>
                    <a:pt x="23185" y="6133"/>
                  </a:lnTo>
                  <a:lnTo>
                    <a:pt x="23188" y="6126"/>
                  </a:lnTo>
                  <a:lnTo>
                    <a:pt x="23190" y="6113"/>
                  </a:lnTo>
                  <a:lnTo>
                    <a:pt x="23190" y="6107"/>
                  </a:lnTo>
                  <a:lnTo>
                    <a:pt x="23188" y="6100"/>
                  </a:lnTo>
                  <a:lnTo>
                    <a:pt x="23181" y="6089"/>
                  </a:lnTo>
                  <a:lnTo>
                    <a:pt x="23161" y="6069"/>
                  </a:lnTo>
                  <a:lnTo>
                    <a:pt x="23153" y="6055"/>
                  </a:lnTo>
                  <a:lnTo>
                    <a:pt x="23148" y="6042"/>
                  </a:lnTo>
                  <a:lnTo>
                    <a:pt x="23148" y="6030"/>
                  </a:lnTo>
                  <a:lnTo>
                    <a:pt x="23161" y="6025"/>
                  </a:lnTo>
                  <a:lnTo>
                    <a:pt x="23151" y="6010"/>
                  </a:lnTo>
                  <a:lnTo>
                    <a:pt x="23136" y="5998"/>
                  </a:lnTo>
                  <a:lnTo>
                    <a:pt x="23116" y="5991"/>
                  </a:lnTo>
                  <a:lnTo>
                    <a:pt x="23091" y="5990"/>
                  </a:lnTo>
                  <a:lnTo>
                    <a:pt x="23065" y="5992"/>
                  </a:lnTo>
                  <a:lnTo>
                    <a:pt x="23055" y="5990"/>
                  </a:lnTo>
                  <a:lnTo>
                    <a:pt x="23050" y="5983"/>
                  </a:lnTo>
                  <a:lnTo>
                    <a:pt x="23048" y="5975"/>
                  </a:lnTo>
                  <a:lnTo>
                    <a:pt x="23035" y="5958"/>
                  </a:lnTo>
                  <a:lnTo>
                    <a:pt x="23033" y="5948"/>
                  </a:lnTo>
                  <a:lnTo>
                    <a:pt x="23031" y="5893"/>
                  </a:lnTo>
                  <a:lnTo>
                    <a:pt x="23026" y="5867"/>
                  </a:lnTo>
                  <a:lnTo>
                    <a:pt x="23013" y="5846"/>
                  </a:lnTo>
                  <a:lnTo>
                    <a:pt x="23011" y="5842"/>
                  </a:lnTo>
                  <a:lnTo>
                    <a:pt x="23006" y="5820"/>
                  </a:lnTo>
                  <a:lnTo>
                    <a:pt x="23004" y="5814"/>
                  </a:lnTo>
                  <a:lnTo>
                    <a:pt x="22998" y="5809"/>
                  </a:lnTo>
                  <a:lnTo>
                    <a:pt x="22949" y="5791"/>
                  </a:lnTo>
                  <a:lnTo>
                    <a:pt x="22940" y="5786"/>
                  </a:lnTo>
                  <a:lnTo>
                    <a:pt x="22875" y="5726"/>
                  </a:lnTo>
                  <a:lnTo>
                    <a:pt x="22847" y="5716"/>
                  </a:lnTo>
                  <a:lnTo>
                    <a:pt x="22819" y="5716"/>
                  </a:lnTo>
                  <a:lnTo>
                    <a:pt x="22761" y="5724"/>
                  </a:lnTo>
                  <a:lnTo>
                    <a:pt x="22654" y="5725"/>
                  </a:lnTo>
                  <a:lnTo>
                    <a:pt x="22601" y="5713"/>
                  </a:lnTo>
                  <a:lnTo>
                    <a:pt x="22587" y="5707"/>
                  </a:lnTo>
                  <a:lnTo>
                    <a:pt x="22577" y="5696"/>
                  </a:lnTo>
                  <a:lnTo>
                    <a:pt x="22566" y="5687"/>
                  </a:lnTo>
                  <a:lnTo>
                    <a:pt x="22555" y="5682"/>
                  </a:lnTo>
                  <a:lnTo>
                    <a:pt x="22549" y="5690"/>
                  </a:lnTo>
                  <a:lnTo>
                    <a:pt x="22541" y="5684"/>
                  </a:lnTo>
                  <a:lnTo>
                    <a:pt x="22539" y="5677"/>
                  </a:lnTo>
                  <a:lnTo>
                    <a:pt x="22538" y="5670"/>
                  </a:lnTo>
                  <a:lnTo>
                    <a:pt x="22534" y="5668"/>
                  </a:lnTo>
                  <a:lnTo>
                    <a:pt x="22526" y="5670"/>
                  </a:lnTo>
                  <a:lnTo>
                    <a:pt x="22519" y="5674"/>
                  </a:lnTo>
                  <a:lnTo>
                    <a:pt x="22511" y="5677"/>
                  </a:lnTo>
                  <a:lnTo>
                    <a:pt x="22501" y="5677"/>
                  </a:lnTo>
                  <a:lnTo>
                    <a:pt x="22493" y="5670"/>
                  </a:lnTo>
                  <a:lnTo>
                    <a:pt x="22480" y="5650"/>
                  </a:lnTo>
                  <a:lnTo>
                    <a:pt x="22472" y="5646"/>
                  </a:lnTo>
                  <a:lnTo>
                    <a:pt x="22464" y="5645"/>
                  </a:lnTo>
                  <a:lnTo>
                    <a:pt x="22373" y="5606"/>
                  </a:lnTo>
                  <a:lnTo>
                    <a:pt x="22336" y="5601"/>
                  </a:lnTo>
                  <a:lnTo>
                    <a:pt x="22332" y="5600"/>
                  </a:lnTo>
                  <a:lnTo>
                    <a:pt x="22329" y="5598"/>
                  </a:lnTo>
                  <a:lnTo>
                    <a:pt x="22328" y="5595"/>
                  </a:lnTo>
                  <a:lnTo>
                    <a:pt x="22327" y="5589"/>
                  </a:lnTo>
                  <a:lnTo>
                    <a:pt x="22323" y="5589"/>
                  </a:lnTo>
                  <a:lnTo>
                    <a:pt x="22315" y="5593"/>
                  </a:lnTo>
                  <a:lnTo>
                    <a:pt x="22263" y="5592"/>
                  </a:lnTo>
                  <a:lnTo>
                    <a:pt x="22236" y="5596"/>
                  </a:lnTo>
                  <a:lnTo>
                    <a:pt x="22218" y="5606"/>
                  </a:lnTo>
                  <a:lnTo>
                    <a:pt x="22214" y="5617"/>
                  </a:lnTo>
                  <a:lnTo>
                    <a:pt x="22212" y="5629"/>
                  </a:lnTo>
                  <a:lnTo>
                    <a:pt x="22209" y="5638"/>
                  </a:lnTo>
                  <a:lnTo>
                    <a:pt x="22189" y="5645"/>
                  </a:lnTo>
                  <a:lnTo>
                    <a:pt x="22155" y="5663"/>
                  </a:lnTo>
                  <a:lnTo>
                    <a:pt x="22134" y="5670"/>
                  </a:lnTo>
                  <a:lnTo>
                    <a:pt x="22124" y="5676"/>
                  </a:lnTo>
                  <a:lnTo>
                    <a:pt x="22120" y="5683"/>
                  </a:lnTo>
                  <a:lnTo>
                    <a:pt x="22118" y="5692"/>
                  </a:lnTo>
                  <a:lnTo>
                    <a:pt x="22114" y="5692"/>
                  </a:lnTo>
                  <a:lnTo>
                    <a:pt x="22106" y="5685"/>
                  </a:lnTo>
                  <a:lnTo>
                    <a:pt x="22103" y="5684"/>
                  </a:lnTo>
                  <a:lnTo>
                    <a:pt x="22101" y="5681"/>
                  </a:lnTo>
                  <a:lnTo>
                    <a:pt x="22098" y="5681"/>
                  </a:lnTo>
                  <a:lnTo>
                    <a:pt x="22093" y="5683"/>
                  </a:lnTo>
                  <a:lnTo>
                    <a:pt x="22092" y="5686"/>
                  </a:lnTo>
                  <a:lnTo>
                    <a:pt x="22093" y="5688"/>
                  </a:lnTo>
                  <a:lnTo>
                    <a:pt x="22093" y="5690"/>
                  </a:lnTo>
                  <a:lnTo>
                    <a:pt x="22093" y="5693"/>
                  </a:lnTo>
                  <a:lnTo>
                    <a:pt x="22096" y="5697"/>
                  </a:lnTo>
                  <a:lnTo>
                    <a:pt x="22097" y="5701"/>
                  </a:lnTo>
                  <a:lnTo>
                    <a:pt x="22091" y="5703"/>
                  </a:lnTo>
                  <a:lnTo>
                    <a:pt x="22089" y="5702"/>
                  </a:lnTo>
                  <a:lnTo>
                    <a:pt x="22088" y="5701"/>
                  </a:lnTo>
                  <a:lnTo>
                    <a:pt x="22086" y="5699"/>
                  </a:lnTo>
                  <a:lnTo>
                    <a:pt x="22082" y="5698"/>
                  </a:lnTo>
                  <a:lnTo>
                    <a:pt x="22075" y="5699"/>
                  </a:lnTo>
                  <a:lnTo>
                    <a:pt x="22063" y="5702"/>
                  </a:lnTo>
                  <a:lnTo>
                    <a:pt x="22056" y="5703"/>
                  </a:lnTo>
                  <a:lnTo>
                    <a:pt x="22045" y="5697"/>
                  </a:lnTo>
                  <a:lnTo>
                    <a:pt x="22028" y="5669"/>
                  </a:lnTo>
                  <a:lnTo>
                    <a:pt x="22018" y="5663"/>
                  </a:lnTo>
                  <a:lnTo>
                    <a:pt x="22022" y="5637"/>
                  </a:lnTo>
                  <a:lnTo>
                    <a:pt x="22021" y="5615"/>
                  </a:lnTo>
                  <a:lnTo>
                    <a:pt x="22011" y="5605"/>
                  </a:lnTo>
                  <a:lnTo>
                    <a:pt x="21987" y="5611"/>
                  </a:lnTo>
                  <a:lnTo>
                    <a:pt x="21943" y="5630"/>
                  </a:lnTo>
                  <a:lnTo>
                    <a:pt x="21917" y="5637"/>
                  </a:lnTo>
                  <a:lnTo>
                    <a:pt x="21890" y="5642"/>
                  </a:lnTo>
                  <a:lnTo>
                    <a:pt x="21875" y="5642"/>
                  </a:lnTo>
                  <a:lnTo>
                    <a:pt x="21848" y="5638"/>
                  </a:lnTo>
                  <a:lnTo>
                    <a:pt x="21719" y="5637"/>
                  </a:lnTo>
                  <a:lnTo>
                    <a:pt x="21702" y="5635"/>
                  </a:lnTo>
                  <a:lnTo>
                    <a:pt x="21678" y="5626"/>
                  </a:lnTo>
                  <a:lnTo>
                    <a:pt x="21664" y="5624"/>
                  </a:lnTo>
                  <a:lnTo>
                    <a:pt x="21653" y="5625"/>
                  </a:lnTo>
                  <a:lnTo>
                    <a:pt x="21628" y="5631"/>
                  </a:lnTo>
                  <a:lnTo>
                    <a:pt x="21600" y="5634"/>
                  </a:lnTo>
                  <a:lnTo>
                    <a:pt x="21577" y="5640"/>
                  </a:lnTo>
                  <a:lnTo>
                    <a:pt x="21467" y="5641"/>
                  </a:lnTo>
                  <a:lnTo>
                    <a:pt x="21451" y="5637"/>
                  </a:lnTo>
                  <a:lnTo>
                    <a:pt x="21444" y="5638"/>
                  </a:lnTo>
                  <a:lnTo>
                    <a:pt x="21438" y="5643"/>
                  </a:lnTo>
                  <a:lnTo>
                    <a:pt x="21434" y="5649"/>
                  </a:lnTo>
                  <a:lnTo>
                    <a:pt x="21433" y="5657"/>
                  </a:lnTo>
                  <a:lnTo>
                    <a:pt x="21431" y="5662"/>
                  </a:lnTo>
                  <a:lnTo>
                    <a:pt x="21427" y="5663"/>
                  </a:lnTo>
                  <a:lnTo>
                    <a:pt x="21423" y="5662"/>
                  </a:lnTo>
                  <a:lnTo>
                    <a:pt x="21420" y="5663"/>
                  </a:lnTo>
                  <a:lnTo>
                    <a:pt x="21419" y="5667"/>
                  </a:lnTo>
                  <a:lnTo>
                    <a:pt x="21418" y="5671"/>
                  </a:lnTo>
                  <a:lnTo>
                    <a:pt x="21419" y="5674"/>
                  </a:lnTo>
                  <a:lnTo>
                    <a:pt x="21420" y="5672"/>
                  </a:lnTo>
                  <a:lnTo>
                    <a:pt x="21408" y="5695"/>
                  </a:lnTo>
                  <a:lnTo>
                    <a:pt x="21403" y="5698"/>
                  </a:lnTo>
                  <a:lnTo>
                    <a:pt x="21385" y="5701"/>
                  </a:lnTo>
                  <a:lnTo>
                    <a:pt x="21380" y="5703"/>
                  </a:lnTo>
                  <a:lnTo>
                    <a:pt x="21375" y="5711"/>
                  </a:lnTo>
                  <a:lnTo>
                    <a:pt x="21385" y="5714"/>
                  </a:lnTo>
                  <a:lnTo>
                    <a:pt x="21399" y="5715"/>
                  </a:lnTo>
                  <a:lnTo>
                    <a:pt x="21406" y="5720"/>
                  </a:lnTo>
                  <a:lnTo>
                    <a:pt x="21404" y="5726"/>
                  </a:lnTo>
                  <a:lnTo>
                    <a:pt x="21391" y="5737"/>
                  </a:lnTo>
                  <a:lnTo>
                    <a:pt x="21389" y="5745"/>
                  </a:lnTo>
                  <a:lnTo>
                    <a:pt x="21390" y="5752"/>
                  </a:lnTo>
                  <a:lnTo>
                    <a:pt x="21397" y="5773"/>
                  </a:lnTo>
                  <a:lnTo>
                    <a:pt x="21384" y="5778"/>
                  </a:lnTo>
                  <a:lnTo>
                    <a:pt x="21373" y="5773"/>
                  </a:lnTo>
                  <a:lnTo>
                    <a:pt x="21360" y="5773"/>
                  </a:lnTo>
                  <a:lnTo>
                    <a:pt x="21347" y="5774"/>
                  </a:lnTo>
                  <a:lnTo>
                    <a:pt x="21335" y="5778"/>
                  </a:lnTo>
                  <a:lnTo>
                    <a:pt x="21326" y="5783"/>
                  </a:lnTo>
                  <a:lnTo>
                    <a:pt x="21309" y="5797"/>
                  </a:lnTo>
                  <a:lnTo>
                    <a:pt x="21298" y="5800"/>
                  </a:lnTo>
                  <a:lnTo>
                    <a:pt x="21291" y="5803"/>
                  </a:lnTo>
                  <a:lnTo>
                    <a:pt x="21276" y="5820"/>
                  </a:lnTo>
                  <a:lnTo>
                    <a:pt x="21269" y="5827"/>
                  </a:lnTo>
                  <a:lnTo>
                    <a:pt x="21263" y="5828"/>
                  </a:lnTo>
                  <a:lnTo>
                    <a:pt x="21249" y="5830"/>
                  </a:lnTo>
                  <a:lnTo>
                    <a:pt x="21243" y="5831"/>
                  </a:lnTo>
                  <a:lnTo>
                    <a:pt x="21229" y="5837"/>
                  </a:lnTo>
                  <a:lnTo>
                    <a:pt x="21228" y="5842"/>
                  </a:lnTo>
                  <a:lnTo>
                    <a:pt x="21245" y="5855"/>
                  </a:lnTo>
                  <a:lnTo>
                    <a:pt x="21250" y="5864"/>
                  </a:lnTo>
                  <a:lnTo>
                    <a:pt x="21256" y="5901"/>
                  </a:lnTo>
                  <a:lnTo>
                    <a:pt x="21276" y="5928"/>
                  </a:lnTo>
                  <a:lnTo>
                    <a:pt x="21280" y="5932"/>
                  </a:lnTo>
                  <a:lnTo>
                    <a:pt x="21285" y="5938"/>
                  </a:lnTo>
                  <a:lnTo>
                    <a:pt x="21287" y="5952"/>
                  </a:lnTo>
                  <a:lnTo>
                    <a:pt x="21287" y="5981"/>
                  </a:lnTo>
                  <a:lnTo>
                    <a:pt x="21268" y="6037"/>
                  </a:lnTo>
                  <a:lnTo>
                    <a:pt x="21265" y="6067"/>
                  </a:lnTo>
                  <a:lnTo>
                    <a:pt x="21283" y="6086"/>
                  </a:lnTo>
                  <a:lnTo>
                    <a:pt x="21284" y="6080"/>
                  </a:lnTo>
                  <a:lnTo>
                    <a:pt x="21293" y="6066"/>
                  </a:lnTo>
                  <a:lnTo>
                    <a:pt x="21294" y="6062"/>
                  </a:lnTo>
                  <a:lnTo>
                    <a:pt x="21290" y="6056"/>
                  </a:lnTo>
                  <a:lnTo>
                    <a:pt x="21289" y="6050"/>
                  </a:lnTo>
                  <a:lnTo>
                    <a:pt x="21292" y="6038"/>
                  </a:lnTo>
                  <a:lnTo>
                    <a:pt x="21300" y="6016"/>
                  </a:lnTo>
                  <a:lnTo>
                    <a:pt x="21306" y="6004"/>
                  </a:lnTo>
                  <a:lnTo>
                    <a:pt x="21314" y="5991"/>
                  </a:lnTo>
                  <a:lnTo>
                    <a:pt x="21318" y="5978"/>
                  </a:lnTo>
                  <a:lnTo>
                    <a:pt x="21322" y="5972"/>
                  </a:lnTo>
                  <a:lnTo>
                    <a:pt x="21326" y="5971"/>
                  </a:lnTo>
                  <a:lnTo>
                    <a:pt x="21339" y="5969"/>
                  </a:lnTo>
                  <a:lnTo>
                    <a:pt x="21345" y="5967"/>
                  </a:lnTo>
                  <a:lnTo>
                    <a:pt x="21351" y="5960"/>
                  </a:lnTo>
                  <a:lnTo>
                    <a:pt x="21359" y="5940"/>
                  </a:lnTo>
                  <a:lnTo>
                    <a:pt x="21364" y="5930"/>
                  </a:lnTo>
                  <a:lnTo>
                    <a:pt x="21367" y="5921"/>
                  </a:lnTo>
                  <a:lnTo>
                    <a:pt x="21373" y="5857"/>
                  </a:lnTo>
                  <a:lnTo>
                    <a:pt x="21380" y="5835"/>
                  </a:lnTo>
                  <a:lnTo>
                    <a:pt x="21389" y="5815"/>
                  </a:lnTo>
                  <a:lnTo>
                    <a:pt x="21402" y="5795"/>
                  </a:lnTo>
                  <a:lnTo>
                    <a:pt x="21418" y="5779"/>
                  </a:lnTo>
                  <a:lnTo>
                    <a:pt x="21437" y="5773"/>
                  </a:lnTo>
                  <a:lnTo>
                    <a:pt x="21449" y="5778"/>
                  </a:lnTo>
                  <a:lnTo>
                    <a:pt x="21457" y="5789"/>
                  </a:lnTo>
                  <a:lnTo>
                    <a:pt x="21459" y="5802"/>
                  </a:lnTo>
                  <a:lnTo>
                    <a:pt x="21450" y="5821"/>
                  </a:lnTo>
                  <a:lnTo>
                    <a:pt x="21447" y="5838"/>
                  </a:lnTo>
                  <a:lnTo>
                    <a:pt x="21446" y="5853"/>
                  </a:lnTo>
                  <a:lnTo>
                    <a:pt x="21446" y="5855"/>
                  </a:lnTo>
                  <a:lnTo>
                    <a:pt x="21448" y="5855"/>
                  </a:lnTo>
                  <a:lnTo>
                    <a:pt x="21467" y="5862"/>
                  </a:lnTo>
                  <a:lnTo>
                    <a:pt x="21480" y="5864"/>
                  </a:lnTo>
                  <a:lnTo>
                    <a:pt x="21506" y="5866"/>
                  </a:lnTo>
                  <a:lnTo>
                    <a:pt x="21513" y="5872"/>
                  </a:lnTo>
                  <a:lnTo>
                    <a:pt x="21588" y="5994"/>
                  </a:lnTo>
                  <a:lnTo>
                    <a:pt x="21599" y="6004"/>
                  </a:lnTo>
                  <a:lnTo>
                    <a:pt x="21621" y="6016"/>
                  </a:lnTo>
                  <a:lnTo>
                    <a:pt x="21630" y="6023"/>
                  </a:lnTo>
                  <a:lnTo>
                    <a:pt x="21643" y="6028"/>
                  </a:lnTo>
                  <a:lnTo>
                    <a:pt x="21659" y="6024"/>
                  </a:lnTo>
                  <a:lnTo>
                    <a:pt x="21685" y="6012"/>
                  </a:lnTo>
                  <a:lnTo>
                    <a:pt x="21710" y="6010"/>
                  </a:lnTo>
                  <a:lnTo>
                    <a:pt x="21741" y="6011"/>
                  </a:lnTo>
                  <a:lnTo>
                    <a:pt x="21768" y="6009"/>
                  </a:lnTo>
                  <a:lnTo>
                    <a:pt x="21779" y="5994"/>
                  </a:lnTo>
                  <a:lnTo>
                    <a:pt x="21777" y="5991"/>
                  </a:lnTo>
                  <a:lnTo>
                    <a:pt x="21772" y="5988"/>
                  </a:lnTo>
                  <a:lnTo>
                    <a:pt x="21767" y="5984"/>
                  </a:lnTo>
                  <a:lnTo>
                    <a:pt x="21765" y="5979"/>
                  </a:lnTo>
                  <a:lnTo>
                    <a:pt x="21767" y="5972"/>
                  </a:lnTo>
                  <a:lnTo>
                    <a:pt x="21770" y="5967"/>
                  </a:lnTo>
                  <a:lnTo>
                    <a:pt x="21773" y="5964"/>
                  </a:lnTo>
                  <a:lnTo>
                    <a:pt x="21774" y="5961"/>
                  </a:lnTo>
                  <a:lnTo>
                    <a:pt x="21778" y="5955"/>
                  </a:lnTo>
                  <a:lnTo>
                    <a:pt x="21832" y="5910"/>
                  </a:lnTo>
                  <a:lnTo>
                    <a:pt x="21836" y="5903"/>
                  </a:lnTo>
                  <a:lnTo>
                    <a:pt x="21842" y="5898"/>
                  </a:lnTo>
                  <a:lnTo>
                    <a:pt x="21880" y="5884"/>
                  </a:lnTo>
                  <a:lnTo>
                    <a:pt x="21892" y="5868"/>
                  </a:lnTo>
                  <a:lnTo>
                    <a:pt x="21894" y="5864"/>
                  </a:lnTo>
                  <a:lnTo>
                    <a:pt x="21898" y="5861"/>
                  </a:lnTo>
                  <a:lnTo>
                    <a:pt x="21905" y="5862"/>
                  </a:lnTo>
                  <a:lnTo>
                    <a:pt x="21918" y="5866"/>
                  </a:lnTo>
                  <a:lnTo>
                    <a:pt x="21934" y="5868"/>
                  </a:lnTo>
                  <a:lnTo>
                    <a:pt x="21946" y="5872"/>
                  </a:lnTo>
                  <a:lnTo>
                    <a:pt x="21957" y="5880"/>
                  </a:lnTo>
                  <a:lnTo>
                    <a:pt x="21965" y="5892"/>
                  </a:lnTo>
                  <a:lnTo>
                    <a:pt x="21943" y="5923"/>
                  </a:lnTo>
                  <a:lnTo>
                    <a:pt x="21937" y="5936"/>
                  </a:lnTo>
                  <a:lnTo>
                    <a:pt x="21938" y="5944"/>
                  </a:lnTo>
                  <a:lnTo>
                    <a:pt x="21951" y="5959"/>
                  </a:lnTo>
                  <a:lnTo>
                    <a:pt x="21967" y="5954"/>
                  </a:lnTo>
                  <a:lnTo>
                    <a:pt x="22015" y="5949"/>
                  </a:lnTo>
                  <a:lnTo>
                    <a:pt x="22031" y="5950"/>
                  </a:lnTo>
                  <a:lnTo>
                    <a:pt x="22050" y="5955"/>
                  </a:lnTo>
                  <a:lnTo>
                    <a:pt x="22102" y="5981"/>
                  </a:lnTo>
                  <a:lnTo>
                    <a:pt x="22130" y="5989"/>
                  </a:lnTo>
                  <a:lnTo>
                    <a:pt x="22208" y="5994"/>
                  </a:lnTo>
                  <a:lnTo>
                    <a:pt x="22237" y="6002"/>
                  </a:lnTo>
                  <a:lnTo>
                    <a:pt x="22291" y="6028"/>
                  </a:lnTo>
                  <a:lnTo>
                    <a:pt x="22319" y="6029"/>
                  </a:lnTo>
                  <a:lnTo>
                    <a:pt x="22341" y="6013"/>
                  </a:lnTo>
                  <a:lnTo>
                    <a:pt x="22333" y="5990"/>
                  </a:lnTo>
                  <a:lnTo>
                    <a:pt x="22301" y="5945"/>
                  </a:lnTo>
                  <a:lnTo>
                    <a:pt x="22306" y="5925"/>
                  </a:lnTo>
                  <a:lnTo>
                    <a:pt x="22329" y="5922"/>
                  </a:lnTo>
                  <a:lnTo>
                    <a:pt x="22553" y="5944"/>
                  </a:lnTo>
                  <a:lnTo>
                    <a:pt x="22581" y="5954"/>
                  </a:lnTo>
                  <a:lnTo>
                    <a:pt x="22598" y="5976"/>
                  </a:lnTo>
                  <a:lnTo>
                    <a:pt x="22599" y="5982"/>
                  </a:lnTo>
                  <a:lnTo>
                    <a:pt x="22598" y="6000"/>
                  </a:lnTo>
                  <a:lnTo>
                    <a:pt x="22600" y="6006"/>
                  </a:lnTo>
                  <a:lnTo>
                    <a:pt x="22606" y="6014"/>
                  </a:lnTo>
                  <a:lnTo>
                    <a:pt x="22607" y="6018"/>
                  </a:lnTo>
                  <a:lnTo>
                    <a:pt x="22612" y="6026"/>
                  </a:lnTo>
                  <a:lnTo>
                    <a:pt x="22625" y="6035"/>
                  </a:lnTo>
                  <a:lnTo>
                    <a:pt x="22648" y="6046"/>
                  </a:lnTo>
                  <a:lnTo>
                    <a:pt x="22680" y="6058"/>
                  </a:lnTo>
                  <a:lnTo>
                    <a:pt x="22689" y="6060"/>
                  </a:lnTo>
                  <a:lnTo>
                    <a:pt x="22692" y="6062"/>
                  </a:lnTo>
                  <a:lnTo>
                    <a:pt x="22705" y="6073"/>
                  </a:lnTo>
                  <a:lnTo>
                    <a:pt x="22824" y="6112"/>
                  </a:lnTo>
                  <a:lnTo>
                    <a:pt x="22854" y="6132"/>
                  </a:lnTo>
                  <a:lnTo>
                    <a:pt x="22867" y="6135"/>
                  </a:lnTo>
                  <a:lnTo>
                    <a:pt x="22882" y="6136"/>
                  </a:lnTo>
                  <a:lnTo>
                    <a:pt x="22894" y="6140"/>
                  </a:lnTo>
                  <a:lnTo>
                    <a:pt x="22905" y="6146"/>
                  </a:lnTo>
                  <a:lnTo>
                    <a:pt x="22913" y="6153"/>
                  </a:lnTo>
                  <a:lnTo>
                    <a:pt x="22925" y="6170"/>
                  </a:lnTo>
                  <a:lnTo>
                    <a:pt x="22932" y="6179"/>
                  </a:lnTo>
                  <a:lnTo>
                    <a:pt x="22942" y="6183"/>
                  </a:lnTo>
                  <a:lnTo>
                    <a:pt x="22957" y="6184"/>
                  </a:lnTo>
                  <a:lnTo>
                    <a:pt x="22969" y="6188"/>
                  </a:lnTo>
                  <a:lnTo>
                    <a:pt x="22980" y="6194"/>
                  </a:lnTo>
                  <a:lnTo>
                    <a:pt x="22989" y="6201"/>
                  </a:lnTo>
                  <a:lnTo>
                    <a:pt x="23016" y="6231"/>
                  </a:lnTo>
                  <a:lnTo>
                    <a:pt x="23022" y="6236"/>
                  </a:lnTo>
                  <a:lnTo>
                    <a:pt x="23032" y="6238"/>
                  </a:lnTo>
                  <a:lnTo>
                    <a:pt x="23096" y="6262"/>
                  </a:lnTo>
                  <a:lnTo>
                    <a:pt x="23110" y="6263"/>
                  </a:lnTo>
                  <a:lnTo>
                    <a:pt x="23120" y="6267"/>
                  </a:lnTo>
                  <a:lnTo>
                    <a:pt x="23140" y="6285"/>
                  </a:lnTo>
                  <a:close/>
                  <a:moveTo>
                    <a:pt x="25487" y="8085"/>
                  </a:moveTo>
                  <a:lnTo>
                    <a:pt x="25487" y="8085"/>
                  </a:lnTo>
                  <a:lnTo>
                    <a:pt x="25501" y="8090"/>
                  </a:lnTo>
                  <a:lnTo>
                    <a:pt x="25515" y="8091"/>
                  </a:lnTo>
                  <a:lnTo>
                    <a:pt x="25533" y="8076"/>
                  </a:lnTo>
                  <a:lnTo>
                    <a:pt x="25536" y="8069"/>
                  </a:lnTo>
                  <a:lnTo>
                    <a:pt x="25539" y="8057"/>
                  </a:lnTo>
                  <a:lnTo>
                    <a:pt x="25543" y="8051"/>
                  </a:lnTo>
                  <a:lnTo>
                    <a:pt x="25547" y="8043"/>
                  </a:lnTo>
                  <a:lnTo>
                    <a:pt x="25540" y="8039"/>
                  </a:lnTo>
                  <a:lnTo>
                    <a:pt x="25523" y="8036"/>
                  </a:lnTo>
                  <a:lnTo>
                    <a:pt x="25519" y="8007"/>
                  </a:lnTo>
                  <a:lnTo>
                    <a:pt x="25520" y="8003"/>
                  </a:lnTo>
                  <a:lnTo>
                    <a:pt x="25523" y="8001"/>
                  </a:lnTo>
                  <a:lnTo>
                    <a:pt x="25526" y="8000"/>
                  </a:lnTo>
                  <a:lnTo>
                    <a:pt x="25528" y="7998"/>
                  </a:lnTo>
                  <a:lnTo>
                    <a:pt x="25527" y="7994"/>
                  </a:lnTo>
                  <a:lnTo>
                    <a:pt x="25525" y="7992"/>
                  </a:lnTo>
                  <a:lnTo>
                    <a:pt x="25524" y="7991"/>
                  </a:lnTo>
                  <a:lnTo>
                    <a:pt x="25521" y="7985"/>
                  </a:lnTo>
                  <a:lnTo>
                    <a:pt x="25510" y="7964"/>
                  </a:lnTo>
                  <a:lnTo>
                    <a:pt x="25509" y="7961"/>
                  </a:lnTo>
                  <a:lnTo>
                    <a:pt x="25509" y="7958"/>
                  </a:lnTo>
                  <a:lnTo>
                    <a:pt x="25508" y="7955"/>
                  </a:lnTo>
                  <a:lnTo>
                    <a:pt x="25505" y="7951"/>
                  </a:lnTo>
                  <a:lnTo>
                    <a:pt x="25501" y="7949"/>
                  </a:lnTo>
                  <a:lnTo>
                    <a:pt x="25498" y="7950"/>
                  </a:lnTo>
                  <a:lnTo>
                    <a:pt x="25496" y="7952"/>
                  </a:lnTo>
                  <a:lnTo>
                    <a:pt x="25492" y="7951"/>
                  </a:lnTo>
                  <a:lnTo>
                    <a:pt x="25482" y="7943"/>
                  </a:lnTo>
                  <a:lnTo>
                    <a:pt x="25473" y="7934"/>
                  </a:lnTo>
                  <a:lnTo>
                    <a:pt x="25464" y="7927"/>
                  </a:lnTo>
                  <a:lnTo>
                    <a:pt x="25436" y="7922"/>
                  </a:lnTo>
                  <a:lnTo>
                    <a:pt x="25423" y="7915"/>
                  </a:lnTo>
                  <a:lnTo>
                    <a:pt x="25412" y="7905"/>
                  </a:lnTo>
                  <a:lnTo>
                    <a:pt x="25396" y="7884"/>
                  </a:lnTo>
                  <a:lnTo>
                    <a:pt x="25396" y="7881"/>
                  </a:lnTo>
                  <a:lnTo>
                    <a:pt x="25401" y="7873"/>
                  </a:lnTo>
                  <a:lnTo>
                    <a:pt x="25404" y="7868"/>
                  </a:lnTo>
                  <a:lnTo>
                    <a:pt x="25403" y="7861"/>
                  </a:lnTo>
                  <a:lnTo>
                    <a:pt x="25400" y="7856"/>
                  </a:lnTo>
                  <a:lnTo>
                    <a:pt x="25397" y="7854"/>
                  </a:lnTo>
                  <a:lnTo>
                    <a:pt x="25389" y="7851"/>
                  </a:lnTo>
                  <a:lnTo>
                    <a:pt x="25370" y="7837"/>
                  </a:lnTo>
                  <a:lnTo>
                    <a:pt x="25348" y="7815"/>
                  </a:lnTo>
                  <a:lnTo>
                    <a:pt x="25338" y="7808"/>
                  </a:lnTo>
                  <a:lnTo>
                    <a:pt x="25316" y="7802"/>
                  </a:lnTo>
                  <a:lnTo>
                    <a:pt x="25309" y="7795"/>
                  </a:lnTo>
                  <a:lnTo>
                    <a:pt x="25304" y="7785"/>
                  </a:lnTo>
                  <a:lnTo>
                    <a:pt x="25298" y="7778"/>
                  </a:lnTo>
                  <a:lnTo>
                    <a:pt x="25290" y="7774"/>
                  </a:lnTo>
                  <a:lnTo>
                    <a:pt x="25282" y="7775"/>
                  </a:lnTo>
                  <a:lnTo>
                    <a:pt x="25276" y="7780"/>
                  </a:lnTo>
                  <a:lnTo>
                    <a:pt x="25273" y="7788"/>
                  </a:lnTo>
                  <a:lnTo>
                    <a:pt x="25274" y="7809"/>
                  </a:lnTo>
                  <a:lnTo>
                    <a:pt x="25289" y="7852"/>
                  </a:lnTo>
                  <a:lnTo>
                    <a:pt x="25292" y="7873"/>
                  </a:lnTo>
                  <a:lnTo>
                    <a:pt x="25288" y="7935"/>
                  </a:lnTo>
                  <a:lnTo>
                    <a:pt x="25299" y="7954"/>
                  </a:lnTo>
                  <a:lnTo>
                    <a:pt x="25332" y="7951"/>
                  </a:lnTo>
                  <a:lnTo>
                    <a:pt x="25334" y="7962"/>
                  </a:lnTo>
                  <a:lnTo>
                    <a:pt x="25345" y="7980"/>
                  </a:lnTo>
                  <a:lnTo>
                    <a:pt x="25346" y="7991"/>
                  </a:lnTo>
                  <a:lnTo>
                    <a:pt x="25330" y="7980"/>
                  </a:lnTo>
                  <a:lnTo>
                    <a:pt x="25295" y="7973"/>
                  </a:lnTo>
                  <a:lnTo>
                    <a:pt x="25288" y="7962"/>
                  </a:lnTo>
                  <a:lnTo>
                    <a:pt x="25286" y="7956"/>
                  </a:lnTo>
                  <a:lnTo>
                    <a:pt x="25282" y="7960"/>
                  </a:lnTo>
                  <a:lnTo>
                    <a:pt x="25277" y="7970"/>
                  </a:lnTo>
                  <a:lnTo>
                    <a:pt x="25266" y="8078"/>
                  </a:lnTo>
                  <a:lnTo>
                    <a:pt x="25253" y="8129"/>
                  </a:lnTo>
                  <a:lnTo>
                    <a:pt x="25245" y="8149"/>
                  </a:lnTo>
                  <a:lnTo>
                    <a:pt x="25244" y="8157"/>
                  </a:lnTo>
                  <a:lnTo>
                    <a:pt x="25246" y="8164"/>
                  </a:lnTo>
                  <a:lnTo>
                    <a:pt x="25252" y="8178"/>
                  </a:lnTo>
                  <a:lnTo>
                    <a:pt x="25257" y="8198"/>
                  </a:lnTo>
                  <a:lnTo>
                    <a:pt x="25268" y="8205"/>
                  </a:lnTo>
                  <a:lnTo>
                    <a:pt x="25292" y="8212"/>
                  </a:lnTo>
                  <a:lnTo>
                    <a:pt x="25301" y="8216"/>
                  </a:lnTo>
                  <a:lnTo>
                    <a:pt x="25304" y="8219"/>
                  </a:lnTo>
                  <a:lnTo>
                    <a:pt x="25312" y="8228"/>
                  </a:lnTo>
                  <a:lnTo>
                    <a:pt x="25330" y="8257"/>
                  </a:lnTo>
                  <a:lnTo>
                    <a:pt x="25344" y="8253"/>
                  </a:lnTo>
                  <a:lnTo>
                    <a:pt x="25368" y="8235"/>
                  </a:lnTo>
                  <a:lnTo>
                    <a:pt x="25411" y="8219"/>
                  </a:lnTo>
                  <a:lnTo>
                    <a:pt x="25442" y="8194"/>
                  </a:lnTo>
                  <a:lnTo>
                    <a:pt x="25446" y="8186"/>
                  </a:lnTo>
                  <a:lnTo>
                    <a:pt x="25434" y="8182"/>
                  </a:lnTo>
                  <a:lnTo>
                    <a:pt x="25468" y="8129"/>
                  </a:lnTo>
                  <a:lnTo>
                    <a:pt x="25474" y="8126"/>
                  </a:lnTo>
                  <a:lnTo>
                    <a:pt x="25483" y="8118"/>
                  </a:lnTo>
                  <a:lnTo>
                    <a:pt x="25489" y="8110"/>
                  </a:lnTo>
                  <a:lnTo>
                    <a:pt x="25492" y="8104"/>
                  </a:lnTo>
                  <a:lnTo>
                    <a:pt x="25491" y="8101"/>
                  </a:lnTo>
                  <a:lnTo>
                    <a:pt x="25482" y="8093"/>
                  </a:lnTo>
                  <a:lnTo>
                    <a:pt x="25470" y="8093"/>
                  </a:lnTo>
                  <a:lnTo>
                    <a:pt x="25470" y="8088"/>
                  </a:lnTo>
                  <a:lnTo>
                    <a:pt x="25487" y="8085"/>
                  </a:lnTo>
                  <a:close/>
                  <a:moveTo>
                    <a:pt x="25694" y="7786"/>
                  </a:moveTo>
                  <a:lnTo>
                    <a:pt x="25694" y="7786"/>
                  </a:lnTo>
                  <a:lnTo>
                    <a:pt x="25697" y="7781"/>
                  </a:lnTo>
                  <a:lnTo>
                    <a:pt x="25699" y="7777"/>
                  </a:lnTo>
                  <a:lnTo>
                    <a:pt x="25700" y="7772"/>
                  </a:lnTo>
                  <a:lnTo>
                    <a:pt x="25700" y="7765"/>
                  </a:lnTo>
                  <a:lnTo>
                    <a:pt x="25689" y="7774"/>
                  </a:lnTo>
                  <a:lnTo>
                    <a:pt x="25657" y="7785"/>
                  </a:lnTo>
                  <a:lnTo>
                    <a:pt x="25661" y="7780"/>
                  </a:lnTo>
                  <a:lnTo>
                    <a:pt x="25664" y="7774"/>
                  </a:lnTo>
                  <a:lnTo>
                    <a:pt x="25664" y="7765"/>
                  </a:lnTo>
                  <a:lnTo>
                    <a:pt x="25669" y="7767"/>
                  </a:lnTo>
                  <a:lnTo>
                    <a:pt x="25671" y="7768"/>
                  </a:lnTo>
                  <a:lnTo>
                    <a:pt x="25674" y="7770"/>
                  </a:lnTo>
                  <a:lnTo>
                    <a:pt x="25686" y="7763"/>
                  </a:lnTo>
                  <a:lnTo>
                    <a:pt x="25698" y="7751"/>
                  </a:lnTo>
                  <a:lnTo>
                    <a:pt x="25707" y="7736"/>
                  </a:lnTo>
                  <a:lnTo>
                    <a:pt x="25709" y="7721"/>
                  </a:lnTo>
                  <a:lnTo>
                    <a:pt x="25705" y="7713"/>
                  </a:lnTo>
                  <a:lnTo>
                    <a:pt x="25680" y="7681"/>
                  </a:lnTo>
                  <a:lnTo>
                    <a:pt x="25670" y="7677"/>
                  </a:lnTo>
                  <a:lnTo>
                    <a:pt x="25644" y="7655"/>
                  </a:lnTo>
                  <a:lnTo>
                    <a:pt x="25638" y="7648"/>
                  </a:lnTo>
                  <a:lnTo>
                    <a:pt x="25635" y="7634"/>
                  </a:lnTo>
                  <a:lnTo>
                    <a:pt x="25626" y="7630"/>
                  </a:lnTo>
                  <a:lnTo>
                    <a:pt x="25599" y="7632"/>
                  </a:lnTo>
                  <a:lnTo>
                    <a:pt x="25602" y="7627"/>
                  </a:lnTo>
                  <a:lnTo>
                    <a:pt x="25607" y="7623"/>
                  </a:lnTo>
                  <a:lnTo>
                    <a:pt x="25615" y="7620"/>
                  </a:lnTo>
                  <a:lnTo>
                    <a:pt x="25623" y="7619"/>
                  </a:lnTo>
                  <a:lnTo>
                    <a:pt x="25633" y="7620"/>
                  </a:lnTo>
                  <a:lnTo>
                    <a:pt x="25638" y="7624"/>
                  </a:lnTo>
                  <a:lnTo>
                    <a:pt x="25642" y="7628"/>
                  </a:lnTo>
                  <a:lnTo>
                    <a:pt x="25647" y="7632"/>
                  </a:lnTo>
                  <a:lnTo>
                    <a:pt x="25660" y="7639"/>
                  </a:lnTo>
                  <a:lnTo>
                    <a:pt x="25676" y="7645"/>
                  </a:lnTo>
                  <a:lnTo>
                    <a:pt x="25686" y="7644"/>
                  </a:lnTo>
                  <a:lnTo>
                    <a:pt x="25678" y="7628"/>
                  </a:lnTo>
                  <a:lnTo>
                    <a:pt x="25680" y="7628"/>
                  </a:lnTo>
                  <a:lnTo>
                    <a:pt x="25687" y="7628"/>
                  </a:lnTo>
                  <a:lnTo>
                    <a:pt x="25681" y="7623"/>
                  </a:lnTo>
                  <a:lnTo>
                    <a:pt x="25664" y="7616"/>
                  </a:lnTo>
                  <a:lnTo>
                    <a:pt x="25660" y="7610"/>
                  </a:lnTo>
                  <a:lnTo>
                    <a:pt x="25662" y="7601"/>
                  </a:lnTo>
                  <a:lnTo>
                    <a:pt x="25669" y="7596"/>
                  </a:lnTo>
                  <a:lnTo>
                    <a:pt x="25676" y="7599"/>
                  </a:lnTo>
                  <a:lnTo>
                    <a:pt x="25678" y="7610"/>
                  </a:lnTo>
                  <a:lnTo>
                    <a:pt x="25685" y="7605"/>
                  </a:lnTo>
                  <a:lnTo>
                    <a:pt x="25698" y="7598"/>
                  </a:lnTo>
                  <a:lnTo>
                    <a:pt x="25705" y="7593"/>
                  </a:lnTo>
                  <a:lnTo>
                    <a:pt x="25702" y="7590"/>
                  </a:lnTo>
                  <a:lnTo>
                    <a:pt x="25699" y="7586"/>
                  </a:lnTo>
                  <a:lnTo>
                    <a:pt x="25696" y="7584"/>
                  </a:lnTo>
                  <a:lnTo>
                    <a:pt x="25698" y="7573"/>
                  </a:lnTo>
                  <a:lnTo>
                    <a:pt x="25691" y="7565"/>
                  </a:lnTo>
                  <a:lnTo>
                    <a:pt x="25678" y="7559"/>
                  </a:lnTo>
                  <a:lnTo>
                    <a:pt x="25664" y="7557"/>
                  </a:lnTo>
                  <a:lnTo>
                    <a:pt x="25670" y="7550"/>
                  </a:lnTo>
                  <a:lnTo>
                    <a:pt x="25683" y="7536"/>
                  </a:lnTo>
                  <a:lnTo>
                    <a:pt x="25687" y="7526"/>
                  </a:lnTo>
                  <a:lnTo>
                    <a:pt x="25688" y="7517"/>
                  </a:lnTo>
                  <a:lnTo>
                    <a:pt x="25688" y="7512"/>
                  </a:lnTo>
                  <a:lnTo>
                    <a:pt x="25687" y="7508"/>
                  </a:lnTo>
                  <a:lnTo>
                    <a:pt x="25684" y="7506"/>
                  </a:lnTo>
                  <a:lnTo>
                    <a:pt x="25680" y="7505"/>
                  </a:lnTo>
                  <a:lnTo>
                    <a:pt x="25674" y="7504"/>
                  </a:lnTo>
                  <a:lnTo>
                    <a:pt x="25675" y="7494"/>
                  </a:lnTo>
                  <a:lnTo>
                    <a:pt x="25680" y="7477"/>
                  </a:lnTo>
                  <a:lnTo>
                    <a:pt x="25688" y="7460"/>
                  </a:lnTo>
                  <a:lnTo>
                    <a:pt x="25700" y="7451"/>
                  </a:lnTo>
                  <a:lnTo>
                    <a:pt x="25686" y="7430"/>
                  </a:lnTo>
                  <a:lnTo>
                    <a:pt x="25669" y="7411"/>
                  </a:lnTo>
                  <a:lnTo>
                    <a:pt x="25657" y="7403"/>
                  </a:lnTo>
                  <a:lnTo>
                    <a:pt x="25650" y="7399"/>
                  </a:lnTo>
                  <a:lnTo>
                    <a:pt x="25645" y="7398"/>
                  </a:lnTo>
                  <a:lnTo>
                    <a:pt x="25626" y="7396"/>
                  </a:lnTo>
                  <a:lnTo>
                    <a:pt x="25621" y="7398"/>
                  </a:lnTo>
                  <a:lnTo>
                    <a:pt x="25625" y="7392"/>
                  </a:lnTo>
                  <a:lnTo>
                    <a:pt x="25631" y="7389"/>
                  </a:lnTo>
                  <a:lnTo>
                    <a:pt x="25647" y="7385"/>
                  </a:lnTo>
                  <a:lnTo>
                    <a:pt x="25647" y="7389"/>
                  </a:lnTo>
                  <a:lnTo>
                    <a:pt x="25651" y="7389"/>
                  </a:lnTo>
                  <a:lnTo>
                    <a:pt x="25649" y="7378"/>
                  </a:lnTo>
                  <a:lnTo>
                    <a:pt x="25647" y="7374"/>
                  </a:lnTo>
                  <a:lnTo>
                    <a:pt x="25642" y="7371"/>
                  </a:lnTo>
                  <a:lnTo>
                    <a:pt x="25656" y="7365"/>
                  </a:lnTo>
                  <a:lnTo>
                    <a:pt x="25660" y="7363"/>
                  </a:lnTo>
                  <a:lnTo>
                    <a:pt x="25655" y="7356"/>
                  </a:lnTo>
                  <a:lnTo>
                    <a:pt x="25636" y="7344"/>
                  </a:lnTo>
                  <a:lnTo>
                    <a:pt x="25629" y="7336"/>
                  </a:lnTo>
                  <a:lnTo>
                    <a:pt x="25621" y="7312"/>
                  </a:lnTo>
                  <a:lnTo>
                    <a:pt x="25616" y="7305"/>
                  </a:lnTo>
                  <a:lnTo>
                    <a:pt x="25586" y="7292"/>
                  </a:lnTo>
                  <a:lnTo>
                    <a:pt x="25577" y="7294"/>
                  </a:lnTo>
                  <a:lnTo>
                    <a:pt x="25559" y="7302"/>
                  </a:lnTo>
                  <a:lnTo>
                    <a:pt x="25551" y="7302"/>
                  </a:lnTo>
                  <a:lnTo>
                    <a:pt x="25548" y="7299"/>
                  </a:lnTo>
                  <a:lnTo>
                    <a:pt x="25546" y="7297"/>
                  </a:lnTo>
                  <a:lnTo>
                    <a:pt x="25543" y="7295"/>
                  </a:lnTo>
                  <a:lnTo>
                    <a:pt x="25539" y="7295"/>
                  </a:lnTo>
                  <a:lnTo>
                    <a:pt x="25535" y="7297"/>
                  </a:lnTo>
                  <a:lnTo>
                    <a:pt x="25531" y="7299"/>
                  </a:lnTo>
                  <a:lnTo>
                    <a:pt x="25529" y="7303"/>
                  </a:lnTo>
                  <a:lnTo>
                    <a:pt x="25528" y="7307"/>
                  </a:lnTo>
                  <a:lnTo>
                    <a:pt x="25528" y="7338"/>
                  </a:lnTo>
                  <a:lnTo>
                    <a:pt x="25530" y="7341"/>
                  </a:lnTo>
                  <a:lnTo>
                    <a:pt x="25535" y="7347"/>
                  </a:lnTo>
                  <a:lnTo>
                    <a:pt x="25537" y="7352"/>
                  </a:lnTo>
                  <a:lnTo>
                    <a:pt x="25537" y="7359"/>
                  </a:lnTo>
                  <a:lnTo>
                    <a:pt x="25536" y="7371"/>
                  </a:lnTo>
                  <a:lnTo>
                    <a:pt x="25530" y="7369"/>
                  </a:lnTo>
                  <a:lnTo>
                    <a:pt x="25528" y="7367"/>
                  </a:lnTo>
                  <a:lnTo>
                    <a:pt x="25522" y="7375"/>
                  </a:lnTo>
                  <a:lnTo>
                    <a:pt x="25516" y="7378"/>
                  </a:lnTo>
                  <a:lnTo>
                    <a:pt x="25509" y="7375"/>
                  </a:lnTo>
                  <a:lnTo>
                    <a:pt x="25505" y="7363"/>
                  </a:lnTo>
                  <a:lnTo>
                    <a:pt x="25477" y="7414"/>
                  </a:lnTo>
                  <a:lnTo>
                    <a:pt x="25475" y="7423"/>
                  </a:lnTo>
                  <a:lnTo>
                    <a:pt x="25471" y="7432"/>
                  </a:lnTo>
                  <a:lnTo>
                    <a:pt x="25463" y="7439"/>
                  </a:lnTo>
                  <a:lnTo>
                    <a:pt x="25455" y="7445"/>
                  </a:lnTo>
                  <a:lnTo>
                    <a:pt x="25448" y="7451"/>
                  </a:lnTo>
                  <a:lnTo>
                    <a:pt x="25443" y="7462"/>
                  </a:lnTo>
                  <a:lnTo>
                    <a:pt x="25442" y="7472"/>
                  </a:lnTo>
                  <a:lnTo>
                    <a:pt x="25437" y="7479"/>
                  </a:lnTo>
                  <a:lnTo>
                    <a:pt x="25423" y="7482"/>
                  </a:lnTo>
                  <a:lnTo>
                    <a:pt x="25410" y="7478"/>
                  </a:lnTo>
                  <a:lnTo>
                    <a:pt x="25389" y="7461"/>
                  </a:lnTo>
                  <a:lnTo>
                    <a:pt x="25377" y="7456"/>
                  </a:lnTo>
                  <a:lnTo>
                    <a:pt x="25363" y="7459"/>
                  </a:lnTo>
                  <a:lnTo>
                    <a:pt x="25349" y="7467"/>
                  </a:lnTo>
                  <a:lnTo>
                    <a:pt x="25341" y="7478"/>
                  </a:lnTo>
                  <a:lnTo>
                    <a:pt x="25344" y="7489"/>
                  </a:lnTo>
                  <a:lnTo>
                    <a:pt x="25360" y="7503"/>
                  </a:lnTo>
                  <a:lnTo>
                    <a:pt x="25370" y="7509"/>
                  </a:lnTo>
                  <a:lnTo>
                    <a:pt x="25381" y="7513"/>
                  </a:lnTo>
                  <a:lnTo>
                    <a:pt x="25403" y="7514"/>
                  </a:lnTo>
                  <a:lnTo>
                    <a:pt x="25416" y="7517"/>
                  </a:lnTo>
                  <a:lnTo>
                    <a:pt x="25421" y="7524"/>
                  </a:lnTo>
                  <a:lnTo>
                    <a:pt x="25424" y="7537"/>
                  </a:lnTo>
                  <a:lnTo>
                    <a:pt x="25430" y="7537"/>
                  </a:lnTo>
                  <a:lnTo>
                    <a:pt x="25438" y="7530"/>
                  </a:lnTo>
                  <a:lnTo>
                    <a:pt x="25444" y="7522"/>
                  </a:lnTo>
                  <a:lnTo>
                    <a:pt x="25455" y="7530"/>
                  </a:lnTo>
                  <a:lnTo>
                    <a:pt x="25453" y="7538"/>
                  </a:lnTo>
                  <a:lnTo>
                    <a:pt x="25439" y="7553"/>
                  </a:lnTo>
                  <a:lnTo>
                    <a:pt x="25439" y="7557"/>
                  </a:lnTo>
                  <a:lnTo>
                    <a:pt x="25443" y="7566"/>
                  </a:lnTo>
                  <a:lnTo>
                    <a:pt x="25419" y="7578"/>
                  </a:lnTo>
                  <a:lnTo>
                    <a:pt x="25419" y="7592"/>
                  </a:lnTo>
                  <a:lnTo>
                    <a:pt x="25412" y="7600"/>
                  </a:lnTo>
                  <a:lnTo>
                    <a:pt x="25403" y="7607"/>
                  </a:lnTo>
                  <a:lnTo>
                    <a:pt x="25397" y="7610"/>
                  </a:lnTo>
                  <a:lnTo>
                    <a:pt x="25396" y="7614"/>
                  </a:lnTo>
                  <a:lnTo>
                    <a:pt x="25412" y="7634"/>
                  </a:lnTo>
                  <a:lnTo>
                    <a:pt x="25416" y="7642"/>
                  </a:lnTo>
                  <a:lnTo>
                    <a:pt x="25414" y="7653"/>
                  </a:lnTo>
                  <a:lnTo>
                    <a:pt x="25408" y="7664"/>
                  </a:lnTo>
                  <a:lnTo>
                    <a:pt x="25405" y="7674"/>
                  </a:lnTo>
                  <a:lnTo>
                    <a:pt x="25412" y="7681"/>
                  </a:lnTo>
                  <a:lnTo>
                    <a:pt x="25426" y="7680"/>
                  </a:lnTo>
                  <a:lnTo>
                    <a:pt x="25449" y="7679"/>
                  </a:lnTo>
                  <a:lnTo>
                    <a:pt x="25448" y="7686"/>
                  </a:lnTo>
                  <a:lnTo>
                    <a:pt x="25436" y="7696"/>
                  </a:lnTo>
                  <a:lnTo>
                    <a:pt x="25424" y="7696"/>
                  </a:lnTo>
                  <a:lnTo>
                    <a:pt x="25412" y="7694"/>
                  </a:lnTo>
                  <a:lnTo>
                    <a:pt x="25399" y="7699"/>
                  </a:lnTo>
                  <a:lnTo>
                    <a:pt x="25388" y="7718"/>
                  </a:lnTo>
                  <a:lnTo>
                    <a:pt x="25389" y="7741"/>
                  </a:lnTo>
                  <a:lnTo>
                    <a:pt x="25398" y="7764"/>
                  </a:lnTo>
                  <a:lnTo>
                    <a:pt x="25414" y="7786"/>
                  </a:lnTo>
                  <a:lnTo>
                    <a:pt x="25418" y="7791"/>
                  </a:lnTo>
                  <a:lnTo>
                    <a:pt x="25421" y="7800"/>
                  </a:lnTo>
                  <a:lnTo>
                    <a:pt x="25426" y="7807"/>
                  </a:lnTo>
                  <a:lnTo>
                    <a:pt x="25432" y="7810"/>
                  </a:lnTo>
                  <a:lnTo>
                    <a:pt x="25436" y="7809"/>
                  </a:lnTo>
                  <a:lnTo>
                    <a:pt x="25439" y="7806"/>
                  </a:lnTo>
                  <a:lnTo>
                    <a:pt x="25442" y="7805"/>
                  </a:lnTo>
                  <a:lnTo>
                    <a:pt x="25446" y="7808"/>
                  </a:lnTo>
                  <a:lnTo>
                    <a:pt x="25447" y="7811"/>
                  </a:lnTo>
                  <a:lnTo>
                    <a:pt x="25448" y="7814"/>
                  </a:lnTo>
                  <a:lnTo>
                    <a:pt x="25450" y="7817"/>
                  </a:lnTo>
                  <a:lnTo>
                    <a:pt x="25454" y="7818"/>
                  </a:lnTo>
                  <a:lnTo>
                    <a:pt x="25493" y="7834"/>
                  </a:lnTo>
                  <a:lnTo>
                    <a:pt x="25501" y="7834"/>
                  </a:lnTo>
                  <a:lnTo>
                    <a:pt x="25507" y="7843"/>
                  </a:lnTo>
                  <a:lnTo>
                    <a:pt x="25534" y="7857"/>
                  </a:lnTo>
                  <a:lnTo>
                    <a:pt x="25541" y="7865"/>
                  </a:lnTo>
                  <a:lnTo>
                    <a:pt x="25544" y="7866"/>
                  </a:lnTo>
                  <a:lnTo>
                    <a:pt x="25556" y="7877"/>
                  </a:lnTo>
                  <a:lnTo>
                    <a:pt x="25556" y="7880"/>
                  </a:lnTo>
                  <a:lnTo>
                    <a:pt x="25559" y="7882"/>
                  </a:lnTo>
                  <a:lnTo>
                    <a:pt x="25568" y="7893"/>
                  </a:lnTo>
                  <a:lnTo>
                    <a:pt x="25572" y="7893"/>
                  </a:lnTo>
                  <a:lnTo>
                    <a:pt x="25579" y="7889"/>
                  </a:lnTo>
                  <a:lnTo>
                    <a:pt x="25587" y="7891"/>
                  </a:lnTo>
                  <a:lnTo>
                    <a:pt x="25603" y="7902"/>
                  </a:lnTo>
                  <a:lnTo>
                    <a:pt x="25618" y="7890"/>
                  </a:lnTo>
                  <a:lnTo>
                    <a:pt x="25664" y="7871"/>
                  </a:lnTo>
                  <a:lnTo>
                    <a:pt x="25674" y="7856"/>
                  </a:lnTo>
                  <a:lnTo>
                    <a:pt x="25676" y="7846"/>
                  </a:lnTo>
                  <a:lnTo>
                    <a:pt x="25688" y="7820"/>
                  </a:lnTo>
                  <a:lnTo>
                    <a:pt x="25694" y="7812"/>
                  </a:lnTo>
                  <a:lnTo>
                    <a:pt x="25696" y="7805"/>
                  </a:lnTo>
                  <a:lnTo>
                    <a:pt x="25691" y="7792"/>
                  </a:lnTo>
                  <a:lnTo>
                    <a:pt x="25694" y="7786"/>
                  </a:lnTo>
                  <a:close/>
                  <a:moveTo>
                    <a:pt x="20954" y="3092"/>
                  </a:moveTo>
                  <a:lnTo>
                    <a:pt x="20954" y="3092"/>
                  </a:lnTo>
                  <a:lnTo>
                    <a:pt x="20949" y="3099"/>
                  </a:lnTo>
                  <a:lnTo>
                    <a:pt x="20945" y="3104"/>
                  </a:lnTo>
                  <a:lnTo>
                    <a:pt x="20942" y="3110"/>
                  </a:lnTo>
                  <a:lnTo>
                    <a:pt x="20941" y="3118"/>
                  </a:lnTo>
                  <a:lnTo>
                    <a:pt x="20945" y="3133"/>
                  </a:lnTo>
                  <a:lnTo>
                    <a:pt x="20953" y="3134"/>
                  </a:lnTo>
                  <a:lnTo>
                    <a:pt x="20963" y="3130"/>
                  </a:lnTo>
                  <a:lnTo>
                    <a:pt x="20974" y="3127"/>
                  </a:lnTo>
                  <a:lnTo>
                    <a:pt x="20978" y="3125"/>
                  </a:lnTo>
                  <a:lnTo>
                    <a:pt x="20983" y="3121"/>
                  </a:lnTo>
                  <a:lnTo>
                    <a:pt x="20989" y="3118"/>
                  </a:lnTo>
                  <a:lnTo>
                    <a:pt x="20994" y="3118"/>
                  </a:lnTo>
                  <a:lnTo>
                    <a:pt x="21002" y="3125"/>
                  </a:lnTo>
                  <a:lnTo>
                    <a:pt x="21002" y="3131"/>
                  </a:lnTo>
                  <a:lnTo>
                    <a:pt x="21000" y="3138"/>
                  </a:lnTo>
                  <a:lnTo>
                    <a:pt x="20999" y="3145"/>
                  </a:lnTo>
                  <a:lnTo>
                    <a:pt x="21000" y="3148"/>
                  </a:lnTo>
                  <a:lnTo>
                    <a:pt x="20999" y="3160"/>
                  </a:lnTo>
                  <a:lnTo>
                    <a:pt x="21000" y="3163"/>
                  </a:lnTo>
                  <a:lnTo>
                    <a:pt x="21006" y="3163"/>
                  </a:lnTo>
                  <a:lnTo>
                    <a:pt x="21008" y="3165"/>
                  </a:lnTo>
                  <a:lnTo>
                    <a:pt x="21009" y="3168"/>
                  </a:lnTo>
                  <a:lnTo>
                    <a:pt x="21015" y="3180"/>
                  </a:lnTo>
                  <a:lnTo>
                    <a:pt x="21016" y="3187"/>
                  </a:lnTo>
                  <a:lnTo>
                    <a:pt x="21013" y="3198"/>
                  </a:lnTo>
                  <a:lnTo>
                    <a:pt x="21006" y="3210"/>
                  </a:lnTo>
                  <a:lnTo>
                    <a:pt x="21003" y="3221"/>
                  </a:lnTo>
                  <a:lnTo>
                    <a:pt x="21012" y="3233"/>
                  </a:lnTo>
                  <a:lnTo>
                    <a:pt x="21031" y="3240"/>
                  </a:lnTo>
                  <a:lnTo>
                    <a:pt x="21057" y="3244"/>
                  </a:lnTo>
                  <a:lnTo>
                    <a:pt x="21079" y="3252"/>
                  </a:lnTo>
                  <a:lnTo>
                    <a:pt x="21087" y="3268"/>
                  </a:lnTo>
                  <a:lnTo>
                    <a:pt x="21084" y="3280"/>
                  </a:lnTo>
                  <a:lnTo>
                    <a:pt x="21074" y="3298"/>
                  </a:lnTo>
                  <a:lnTo>
                    <a:pt x="21064" y="3314"/>
                  </a:lnTo>
                  <a:lnTo>
                    <a:pt x="21043" y="3327"/>
                  </a:lnTo>
                  <a:lnTo>
                    <a:pt x="21038" y="3343"/>
                  </a:lnTo>
                  <a:lnTo>
                    <a:pt x="21034" y="3374"/>
                  </a:lnTo>
                  <a:lnTo>
                    <a:pt x="21026" y="3413"/>
                  </a:lnTo>
                  <a:lnTo>
                    <a:pt x="21024" y="3442"/>
                  </a:lnTo>
                  <a:lnTo>
                    <a:pt x="21025" y="3448"/>
                  </a:lnTo>
                  <a:lnTo>
                    <a:pt x="21029" y="3455"/>
                  </a:lnTo>
                  <a:lnTo>
                    <a:pt x="21034" y="3459"/>
                  </a:lnTo>
                  <a:lnTo>
                    <a:pt x="21039" y="3462"/>
                  </a:lnTo>
                  <a:lnTo>
                    <a:pt x="21043" y="3466"/>
                  </a:lnTo>
                  <a:lnTo>
                    <a:pt x="21046" y="3475"/>
                  </a:lnTo>
                  <a:lnTo>
                    <a:pt x="21051" y="3505"/>
                  </a:lnTo>
                  <a:lnTo>
                    <a:pt x="21052" y="3526"/>
                  </a:lnTo>
                  <a:lnTo>
                    <a:pt x="21054" y="3531"/>
                  </a:lnTo>
                  <a:lnTo>
                    <a:pt x="21056" y="3536"/>
                  </a:lnTo>
                  <a:lnTo>
                    <a:pt x="21061" y="3541"/>
                  </a:lnTo>
                  <a:lnTo>
                    <a:pt x="21074" y="3550"/>
                  </a:lnTo>
                  <a:lnTo>
                    <a:pt x="21075" y="3552"/>
                  </a:lnTo>
                  <a:lnTo>
                    <a:pt x="21077" y="3556"/>
                  </a:lnTo>
                  <a:lnTo>
                    <a:pt x="21079" y="3559"/>
                  </a:lnTo>
                  <a:lnTo>
                    <a:pt x="21107" y="3583"/>
                  </a:lnTo>
                  <a:lnTo>
                    <a:pt x="21113" y="3584"/>
                  </a:lnTo>
                  <a:lnTo>
                    <a:pt x="21127" y="3580"/>
                  </a:lnTo>
                  <a:lnTo>
                    <a:pt x="21134" y="3583"/>
                  </a:lnTo>
                  <a:lnTo>
                    <a:pt x="21142" y="3592"/>
                  </a:lnTo>
                  <a:lnTo>
                    <a:pt x="21146" y="3602"/>
                  </a:lnTo>
                  <a:lnTo>
                    <a:pt x="21147" y="3612"/>
                  </a:lnTo>
                  <a:lnTo>
                    <a:pt x="21145" y="3624"/>
                  </a:lnTo>
                  <a:lnTo>
                    <a:pt x="21124" y="3698"/>
                  </a:lnTo>
                  <a:lnTo>
                    <a:pt x="21123" y="3726"/>
                  </a:lnTo>
                  <a:lnTo>
                    <a:pt x="21126" y="3739"/>
                  </a:lnTo>
                  <a:lnTo>
                    <a:pt x="21135" y="3757"/>
                  </a:lnTo>
                  <a:lnTo>
                    <a:pt x="21136" y="3772"/>
                  </a:lnTo>
                  <a:lnTo>
                    <a:pt x="21135" y="3778"/>
                  </a:lnTo>
                  <a:lnTo>
                    <a:pt x="21129" y="3793"/>
                  </a:lnTo>
                  <a:lnTo>
                    <a:pt x="21128" y="3800"/>
                  </a:lnTo>
                  <a:lnTo>
                    <a:pt x="21127" y="3808"/>
                  </a:lnTo>
                  <a:lnTo>
                    <a:pt x="21128" y="3882"/>
                  </a:lnTo>
                  <a:lnTo>
                    <a:pt x="21125" y="3896"/>
                  </a:lnTo>
                  <a:lnTo>
                    <a:pt x="21115" y="3922"/>
                  </a:lnTo>
                  <a:lnTo>
                    <a:pt x="21114" y="3937"/>
                  </a:lnTo>
                  <a:lnTo>
                    <a:pt x="21118" y="3950"/>
                  </a:lnTo>
                  <a:lnTo>
                    <a:pt x="21129" y="3970"/>
                  </a:lnTo>
                  <a:lnTo>
                    <a:pt x="21142" y="3987"/>
                  </a:lnTo>
                  <a:lnTo>
                    <a:pt x="21152" y="3994"/>
                  </a:lnTo>
                  <a:lnTo>
                    <a:pt x="21163" y="3997"/>
                  </a:lnTo>
                  <a:lnTo>
                    <a:pt x="21186" y="4013"/>
                  </a:lnTo>
                  <a:lnTo>
                    <a:pt x="21222" y="4032"/>
                  </a:lnTo>
                  <a:lnTo>
                    <a:pt x="21227" y="4034"/>
                  </a:lnTo>
                  <a:lnTo>
                    <a:pt x="21234" y="4037"/>
                  </a:lnTo>
                  <a:lnTo>
                    <a:pt x="21245" y="4053"/>
                  </a:lnTo>
                  <a:lnTo>
                    <a:pt x="21256" y="4063"/>
                  </a:lnTo>
                  <a:lnTo>
                    <a:pt x="21274" y="4109"/>
                  </a:lnTo>
                  <a:lnTo>
                    <a:pt x="21310" y="4162"/>
                  </a:lnTo>
                  <a:lnTo>
                    <a:pt x="21344" y="4241"/>
                  </a:lnTo>
                  <a:lnTo>
                    <a:pt x="21351" y="4252"/>
                  </a:lnTo>
                  <a:lnTo>
                    <a:pt x="21362" y="4260"/>
                  </a:lnTo>
                  <a:lnTo>
                    <a:pt x="21462" y="4297"/>
                  </a:lnTo>
                  <a:lnTo>
                    <a:pt x="21492" y="4314"/>
                  </a:lnTo>
                  <a:lnTo>
                    <a:pt x="21504" y="4338"/>
                  </a:lnTo>
                  <a:lnTo>
                    <a:pt x="21500" y="4338"/>
                  </a:lnTo>
                  <a:lnTo>
                    <a:pt x="21491" y="4333"/>
                  </a:lnTo>
                  <a:lnTo>
                    <a:pt x="21482" y="4335"/>
                  </a:lnTo>
                  <a:lnTo>
                    <a:pt x="21478" y="4342"/>
                  </a:lnTo>
                  <a:lnTo>
                    <a:pt x="21484" y="4353"/>
                  </a:lnTo>
                  <a:lnTo>
                    <a:pt x="21493" y="4359"/>
                  </a:lnTo>
                  <a:lnTo>
                    <a:pt x="21503" y="4364"/>
                  </a:lnTo>
                  <a:lnTo>
                    <a:pt x="21514" y="4367"/>
                  </a:lnTo>
                  <a:lnTo>
                    <a:pt x="21570" y="4371"/>
                  </a:lnTo>
                  <a:lnTo>
                    <a:pt x="21593" y="4376"/>
                  </a:lnTo>
                  <a:lnTo>
                    <a:pt x="21610" y="4386"/>
                  </a:lnTo>
                  <a:lnTo>
                    <a:pt x="21615" y="4386"/>
                  </a:lnTo>
                  <a:lnTo>
                    <a:pt x="21612" y="4376"/>
                  </a:lnTo>
                  <a:lnTo>
                    <a:pt x="21602" y="4370"/>
                  </a:lnTo>
                  <a:lnTo>
                    <a:pt x="21579" y="4360"/>
                  </a:lnTo>
                  <a:lnTo>
                    <a:pt x="21569" y="4350"/>
                  </a:lnTo>
                  <a:lnTo>
                    <a:pt x="21555" y="4331"/>
                  </a:lnTo>
                  <a:lnTo>
                    <a:pt x="21549" y="4324"/>
                  </a:lnTo>
                  <a:lnTo>
                    <a:pt x="21512" y="4295"/>
                  </a:lnTo>
                  <a:lnTo>
                    <a:pt x="21477" y="4258"/>
                  </a:lnTo>
                  <a:lnTo>
                    <a:pt x="21420" y="4161"/>
                  </a:lnTo>
                  <a:lnTo>
                    <a:pt x="21411" y="4152"/>
                  </a:lnTo>
                  <a:lnTo>
                    <a:pt x="21392" y="4135"/>
                  </a:lnTo>
                  <a:lnTo>
                    <a:pt x="21385" y="4111"/>
                  </a:lnTo>
                  <a:lnTo>
                    <a:pt x="21358" y="4069"/>
                  </a:lnTo>
                  <a:lnTo>
                    <a:pt x="21353" y="4057"/>
                  </a:lnTo>
                  <a:lnTo>
                    <a:pt x="21346" y="4027"/>
                  </a:lnTo>
                  <a:lnTo>
                    <a:pt x="21345" y="4014"/>
                  </a:lnTo>
                  <a:lnTo>
                    <a:pt x="21341" y="4003"/>
                  </a:lnTo>
                  <a:lnTo>
                    <a:pt x="21325" y="3983"/>
                  </a:lnTo>
                  <a:lnTo>
                    <a:pt x="21318" y="3972"/>
                  </a:lnTo>
                  <a:lnTo>
                    <a:pt x="21315" y="3959"/>
                  </a:lnTo>
                  <a:lnTo>
                    <a:pt x="21313" y="3929"/>
                  </a:lnTo>
                  <a:lnTo>
                    <a:pt x="21301" y="3908"/>
                  </a:lnTo>
                  <a:lnTo>
                    <a:pt x="21287" y="3871"/>
                  </a:lnTo>
                  <a:lnTo>
                    <a:pt x="21268" y="3834"/>
                  </a:lnTo>
                  <a:lnTo>
                    <a:pt x="21261" y="3814"/>
                  </a:lnTo>
                  <a:lnTo>
                    <a:pt x="21256" y="3787"/>
                  </a:lnTo>
                  <a:lnTo>
                    <a:pt x="21255" y="3759"/>
                  </a:lnTo>
                  <a:lnTo>
                    <a:pt x="21258" y="3746"/>
                  </a:lnTo>
                  <a:lnTo>
                    <a:pt x="21263" y="3737"/>
                  </a:lnTo>
                  <a:lnTo>
                    <a:pt x="21273" y="3726"/>
                  </a:lnTo>
                  <a:lnTo>
                    <a:pt x="21278" y="3718"/>
                  </a:lnTo>
                  <a:lnTo>
                    <a:pt x="21279" y="3709"/>
                  </a:lnTo>
                  <a:lnTo>
                    <a:pt x="21274" y="3640"/>
                  </a:lnTo>
                  <a:lnTo>
                    <a:pt x="21269" y="3626"/>
                  </a:lnTo>
                  <a:lnTo>
                    <a:pt x="21253" y="3609"/>
                  </a:lnTo>
                  <a:lnTo>
                    <a:pt x="21252" y="3594"/>
                  </a:lnTo>
                  <a:lnTo>
                    <a:pt x="21255" y="3587"/>
                  </a:lnTo>
                  <a:lnTo>
                    <a:pt x="21263" y="3574"/>
                  </a:lnTo>
                  <a:lnTo>
                    <a:pt x="21272" y="3521"/>
                  </a:lnTo>
                  <a:lnTo>
                    <a:pt x="21281" y="3511"/>
                  </a:lnTo>
                  <a:lnTo>
                    <a:pt x="21292" y="3503"/>
                  </a:lnTo>
                  <a:lnTo>
                    <a:pt x="21304" y="3492"/>
                  </a:lnTo>
                  <a:lnTo>
                    <a:pt x="21316" y="3499"/>
                  </a:lnTo>
                  <a:lnTo>
                    <a:pt x="21351" y="3500"/>
                  </a:lnTo>
                  <a:lnTo>
                    <a:pt x="21366" y="3506"/>
                  </a:lnTo>
                  <a:lnTo>
                    <a:pt x="21376" y="3505"/>
                  </a:lnTo>
                  <a:lnTo>
                    <a:pt x="21429" y="3510"/>
                  </a:lnTo>
                  <a:lnTo>
                    <a:pt x="21439" y="3519"/>
                  </a:lnTo>
                  <a:lnTo>
                    <a:pt x="21452" y="3532"/>
                  </a:lnTo>
                  <a:lnTo>
                    <a:pt x="21466" y="3541"/>
                  </a:lnTo>
                  <a:lnTo>
                    <a:pt x="21482" y="3537"/>
                  </a:lnTo>
                  <a:lnTo>
                    <a:pt x="21500" y="3551"/>
                  </a:lnTo>
                  <a:lnTo>
                    <a:pt x="21521" y="3553"/>
                  </a:lnTo>
                  <a:lnTo>
                    <a:pt x="21564" y="3545"/>
                  </a:lnTo>
                  <a:lnTo>
                    <a:pt x="21574" y="3546"/>
                  </a:lnTo>
                  <a:lnTo>
                    <a:pt x="21591" y="3550"/>
                  </a:lnTo>
                  <a:lnTo>
                    <a:pt x="21601" y="3550"/>
                  </a:lnTo>
                  <a:lnTo>
                    <a:pt x="21621" y="3548"/>
                  </a:lnTo>
                  <a:lnTo>
                    <a:pt x="21628" y="3549"/>
                  </a:lnTo>
                  <a:lnTo>
                    <a:pt x="21637" y="3554"/>
                  </a:lnTo>
                  <a:lnTo>
                    <a:pt x="21662" y="3580"/>
                  </a:lnTo>
                  <a:lnTo>
                    <a:pt x="21678" y="3592"/>
                  </a:lnTo>
                  <a:lnTo>
                    <a:pt x="21697" y="3598"/>
                  </a:lnTo>
                  <a:lnTo>
                    <a:pt x="21717" y="3600"/>
                  </a:lnTo>
                  <a:lnTo>
                    <a:pt x="21737" y="3605"/>
                  </a:lnTo>
                  <a:lnTo>
                    <a:pt x="21755" y="3612"/>
                  </a:lnTo>
                  <a:lnTo>
                    <a:pt x="21770" y="3620"/>
                  </a:lnTo>
                  <a:lnTo>
                    <a:pt x="21783" y="3616"/>
                  </a:lnTo>
                  <a:lnTo>
                    <a:pt x="21870" y="3641"/>
                  </a:lnTo>
                  <a:lnTo>
                    <a:pt x="21878" y="3642"/>
                  </a:lnTo>
                  <a:lnTo>
                    <a:pt x="21887" y="3646"/>
                  </a:lnTo>
                  <a:lnTo>
                    <a:pt x="21912" y="3669"/>
                  </a:lnTo>
                  <a:lnTo>
                    <a:pt x="21912" y="3660"/>
                  </a:lnTo>
                  <a:lnTo>
                    <a:pt x="21899" y="3638"/>
                  </a:lnTo>
                  <a:lnTo>
                    <a:pt x="21880" y="3616"/>
                  </a:lnTo>
                  <a:lnTo>
                    <a:pt x="21863" y="3603"/>
                  </a:lnTo>
                  <a:lnTo>
                    <a:pt x="21828" y="3600"/>
                  </a:lnTo>
                  <a:lnTo>
                    <a:pt x="21823" y="3596"/>
                  </a:lnTo>
                  <a:lnTo>
                    <a:pt x="21785" y="3589"/>
                  </a:lnTo>
                  <a:lnTo>
                    <a:pt x="21776" y="3580"/>
                  </a:lnTo>
                  <a:lnTo>
                    <a:pt x="21773" y="3557"/>
                  </a:lnTo>
                  <a:lnTo>
                    <a:pt x="21774" y="3506"/>
                  </a:lnTo>
                  <a:lnTo>
                    <a:pt x="21773" y="3500"/>
                  </a:lnTo>
                  <a:lnTo>
                    <a:pt x="21771" y="3495"/>
                  </a:lnTo>
                  <a:lnTo>
                    <a:pt x="21765" y="3485"/>
                  </a:lnTo>
                  <a:lnTo>
                    <a:pt x="21766" y="3482"/>
                  </a:lnTo>
                  <a:lnTo>
                    <a:pt x="21768" y="3478"/>
                  </a:lnTo>
                  <a:lnTo>
                    <a:pt x="21770" y="3475"/>
                  </a:lnTo>
                  <a:lnTo>
                    <a:pt x="21773" y="3455"/>
                  </a:lnTo>
                  <a:lnTo>
                    <a:pt x="21770" y="3446"/>
                  </a:lnTo>
                  <a:lnTo>
                    <a:pt x="21761" y="3440"/>
                  </a:lnTo>
                  <a:lnTo>
                    <a:pt x="21753" y="3444"/>
                  </a:lnTo>
                  <a:lnTo>
                    <a:pt x="21745" y="3442"/>
                  </a:lnTo>
                  <a:lnTo>
                    <a:pt x="21737" y="3438"/>
                  </a:lnTo>
                  <a:lnTo>
                    <a:pt x="21730" y="3435"/>
                  </a:lnTo>
                  <a:lnTo>
                    <a:pt x="21718" y="3436"/>
                  </a:lnTo>
                  <a:lnTo>
                    <a:pt x="21709" y="3437"/>
                  </a:lnTo>
                  <a:lnTo>
                    <a:pt x="21699" y="3436"/>
                  </a:lnTo>
                  <a:lnTo>
                    <a:pt x="21679" y="3424"/>
                  </a:lnTo>
                  <a:lnTo>
                    <a:pt x="21666" y="3421"/>
                  </a:lnTo>
                  <a:lnTo>
                    <a:pt x="21644" y="3418"/>
                  </a:lnTo>
                  <a:lnTo>
                    <a:pt x="21638" y="3415"/>
                  </a:lnTo>
                  <a:lnTo>
                    <a:pt x="21632" y="3410"/>
                  </a:lnTo>
                  <a:lnTo>
                    <a:pt x="21622" y="3398"/>
                  </a:lnTo>
                  <a:lnTo>
                    <a:pt x="21617" y="3394"/>
                  </a:lnTo>
                  <a:lnTo>
                    <a:pt x="21612" y="3392"/>
                  </a:lnTo>
                  <a:lnTo>
                    <a:pt x="21595" y="3390"/>
                  </a:lnTo>
                  <a:lnTo>
                    <a:pt x="21573" y="3391"/>
                  </a:lnTo>
                  <a:lnTo>
                    <a:pt x="21566" y="3389"/>
                  </a:lnTo>
                  <a:lnTo>
                    <a:pt x="21552" y="3380"/>
                  </a:lnTo>
                  <a:lnTo>
                    <a:pt x="21533" y="3373"/>
                  </a:lnTo>
                  <a:lnTo>
                    <a:pt x="21521" y="3363"/>
                  </a:lnTo>
                  <a:lnTo>
                    <a:pt x="21504" y="3343"/>
                  </a:lnTo>
                  <a:lnTo>
                    <a:pt x="21482" y="3326"/>
                  </a:lnTo>
                  <a:lnTo>
                    <a:pt x="21472" y="3315"/>
                  </a:lnTo>
                  <a:lnTo>
                    <a:pt x="21468" y="3305"/>
                  </a:lnTo>
                  <a:lnTo>
                    <a:pt x="21469" y="3292"/>
                  </a:lnTo>
                  <a:lnTo>
                    <a:pt x="21473" y="3281"/>
                  </a:lnTo>
                  <a:lnTo>
                    <a:pt x="21480" y="3272"/>
                  </a:lnTo>
                  <a:lnTo>
                    <a:pt x="21491" y="3268"/>
                  </a:lnTo>
                  <a:lnTo>
                    <a:pt x="21498" y="3269"/>
                  </a:lnTo>
                  <a:lnTo>
                    <a:pt x="21512" y="3275"/>
                  </a:lnTo>
                  <a:lnTo>
                    <a:pt x="21520" y="3277"/>
                  </a:lnTo>
                  <a:lnTo>
                    <a:pt x="21523" y="3274"/>
                  </a:lnTo>
                  <a:lnTo>
                    <a:pt x="21522" y="3266"/>
                  </a:lnTo>
                  <a:lnTo>
                    <a:pt x="21517" y="3253"/>
                  </a:lnTo>
                  <a:lnTo>
                    <a:pt x="21519" y="3237"/>
                  </a:lnTo>
                  <a:lnTo>
                    <a:pt x="21524" y="3228"/>
                  </a:lnTo>
                  <a:lnTo>
                    <a:pt x="21534" y="3223"/>
                  </a:lnTo>
                  <a:lnTo>
                    <a:pt x="21591" y="3208"/>
                  </a:lnTo>
                  <a:lnTo>
                    <a:pt x="21604" y="3207"/>
                  </a:lnTo>
                  <a:lnTo>
                    <a:pt x="21615" y="3204"/>
                  </a:lnTo>
                  <a:lnTo>
                    <a:pt x="21623" y="3198"/>
                  </a:lnTo>
                  <a:lnTo>
                    <a:pt x="21637" y="3184"/>
                  </a:lnTo>
                  <a:lnTo>
                    <a:pt x="21675" y="3173"/>
                  </a:lnTo>
                  <a:lnTo>
                    <a:pt x="21681" y="3169"/>
                  </a:lnTo>
                  <a:lnTo>
                    <a:pt x="21685" y="3163"/>
                  </a:lnTo>
                  <a:lnTo>
                    <a:pt x="21694" y="3156"/>
                  </a:lnTo>
                  <a:lnTo>
                    <a:pt x="21748" y="3125"/>
                  </a:lnTo>
                  <a:lnTo>
                    <a:pt x="21751" y="3120"/>
                  </a:lnTo>
                  <a:lnTo>
                    <a:pt x="21759" y="3119"/>
                  </a:lnTo>
                  <a:lnTo>
                    <a:pt x="21767" y="3119"/>
                  </a:lnTo>
                  <a:lnTo>
                    <a:pt x="21774" y="3118"/>
                  </a:lnTo>
                  <a:lnTo>
                    <a:pt x="21784" y="3115"/>
                  </a:lnTo>
                  <a:lnTo>
                    <a:pt x="21785" y="3112"/>
                  </a:lnTo>
                  <a:lnTo>
                    <a:pt x="21787" y="3105"/>
                  </a:lnTo>
                  <a:lnTo>
                    <a:pt x="21788" y="3094"/>
                  </a:lnTo>
                  <a:lnTo>
                    <a:pt x="21783" y="3050"/>
                  </a:lnTo>
                  <a:lnTo>
                    <a:pt x="21784" y="3036"/>
                  </a:lnTo>
                  <a:lnTo>
                    <a:pt x="21792" y="3004"/>
                  </a:lnTo>
                  <a:lnTo>
                    <a:pt x="21793" y="2976"/>
                  </a:lnTo>
                  <a:lnTo>
                    <a:pt x="21797" y="2965"/>
                  </a:lnTo>
                  <a:lnTo>
                    <a:pt x="21808" y="2960"/>
                  </a:lnTo>
                  <a:lnTo>
                    <a:pt x="21813" y="2954"/>
                  </a:lnTo>
                  <a:lnTo>
                    <a:pt x="21814" y="2939"/>
                  </a:lnTo>
                  <a:lnTo>
                    <a:pt x="21812" y="2923"/>
                  </a:lnTo>
                  <a:lnTo>
                    <a:pt x="21810" y="2911"/>
                  </a:lnTo>
                  <a:lnTo>
                    <a:pt x="21811" y="2904"/>
                  </a:lnTo>
                  <a:lnTo>
                    <a:pt x="21809" y="2900"/>
                  </a:lnTo>
                  <a:lnTo>
                    <a:pt x="21800" y="2898"/>
                  </a:lnTo>
                  <a:lnTo>
                    <a:pt x="21792" y="2894"/>
                  </a:lnTo>
                  <a:lnTo>
                    <a:pt x="21780" y="2884"/>
                  </a:lnTo>
                  <a:lnTo>
                    <a:pt x="21776" y="2880"/>
                  </a:lnTo>
                  <a:lnTo>
                    <a:pt x="21774" y="2874"/>
                  </a:lnTo>
                  <a:lnTo>
                    <a:pt x="21773" y="2850"/>
                  </a:lnTo>
                  <a:lnTo>
                    <a:pt x="21775" y="2837"/>
                  </a:lnTo>
                  <a:lnTo>
                    <a:pt x="21783" y="2824"/>
                  </a:lnTo>
                  <a:lnTo>
                    <a:pt x="21799" y="2812"/>
                  </a:lnTo>
                  <a:lnTo>
                    <a:pt x="21801" y="2808"/>
                  </a:lnTo>
                  <a:lnTo>
                    <a:pt x="21800" y="2801"/>
                  </a:lnTo>
                  <a:lnTo>
                    <a:pt x="21799" y="2797"/>
                  </a:lnTo>
                  <a:lnTo>
                    <a:pt x="21795" y="2794"/>
                  </a:lnTo>
                  <a:lnTo>
                    <a:pt x="21749" y="2788"/>
                  </a:lnTo>
                  <a:lnTo>
                    <a:pt x="21721" y="2790"/>
                  </a:lnTo>
                  <a:lnTo>
                    <a:pt x="21688" y="2795"/>
                  </a:lnTo>
                  <a:lnTo>
                    <a:pt x="21679" y="2799"/>
                  </a:lnTo>
                  <a:lnTo>
                    <a:pt x="21671" y="2811"/>
                  </a:lnTo>
                  <a:lnTo>
                    <a:pt x="21666" y="2816"/>
                  </a:lnTo>
                  <a:lnTo>
                    <a:pt x="21659" y="2819"/>
                  </a:lnTo>
                  <a:lnTo>
                    <a:pt x="21653" y="2818"/>
                  </a:lnTo>
                  <a:lnTo>
                    <a:pt x="21649" y="2815"/>
                  </a:lnTo>
                  <a:lnTo>
                    <a:pt x="21646" y="2812"/>
                  </a:lnTo>
                  <a:lnTo>
                    <a:pt x="21642" y="2810"/>
                  </a:lnTo>
                  <a:lnTo>
                    <a:pt x="21628" y="2810"/>
                  </a:lnTo>
                  <a:lnTo>
                    <a:pt x="21613" y="2814"/>
                  </a:lnTo>
                  <a:lnTo>
                    <a:pt x="21600" y="2819"/>
                  </a:lnTo>
                  <a:lnTo>
                    <a:pt x="21585" y="2829"/>
                  </a:lnTo>
                  <a:lnTo>
                    <a:pt x="21571" y="2834"/>
                  </a:lnTo>
                  <a:lnTo>
                    <a:pt x="21566" y="2837"/>
                  </a:lnTo>
                  <a:lnTo>
                    <a:pt x="21562" y="2842"/>
                  </a:lnTo>
                  <a:lnTo>
                    <a:pt x="21557" y="2853"/>
                  </a:lnTo>
                  <a:lnTo>
                    <a:pt x="21553" y="2859"/>
                  </a:lnTo>
                  <a:lnTo>
                    <a:pt x="21541" y="2867"/>
                  </a:lnTo>
                  <a:lnTo>
                    <a:pt x="21513" y="2876"/>
                  </a:lnTo>
                  <a:lnTo>
                    <a:pt x="21502" y="2883"/>
                  </a:lnTo>
                  <a:lnTo>
                    <a:pt x="21490" y="2893"/>
                  </a:lnTo>
                  <a:lnTo>
                    <a:pt x="21463" y="2910"/>
                  </a:lnTo>
                  <a:lnTo>
                    <a:pt x="21451" y="2920"/>
                  </a:lnTo>
                  <a:lnTo>
                    <a:pt x="21443" y="2931"/>
                  </a:lnTo>
                  <a:lnTo>
                    <a:pt x="21430" y="2955"/>
                  </a:lnTo>
                  <a:lnTo>
                    <a:pt x="21422" y="2966"/>
                  </a:lnTo>
                  <a:lnTo>
                    <a:pt x="21399" y="2982"/>
                  </a:lnTo>
                  <a:lnTo>
                    <a:pt x="21390" y="2995"/>
                  </a:lnTo>
                  <a:lnTo>
                    <a:pt x="21393" y="3008"/>
                  </a:lnTo>
                  <a:lnTo>
                    <a:pt x="21404" y="3011"/>
                  </a:lnTo>
                  <a:lnTo>
                    <a:pt x="21431" y="3005"/>
                  </a:lnTo>
                  <a:lnTo>
                    <a:pt x="21444" y="3010"/>
                  </a:lnTo>
                  <a:lnTo>
                    <a:pt x="21453" y="3023"/>
                  </a:lnTo>
                  <a:lnTo>
                    <a:pt x="21457" y="3034"/>
                  </a:lnTo>
                  <a:lnTo>
                    <a:pt x="21455" y="3046"/>
                  </a:lnTo>
                  <a:lnTo>
                    <a:pt x="21446" y="3061"/>
                  </a:lnTo>
                  <a:lnTo>
                    <a:pt x="21434" y="3075"/>
                  </a:lnTo>
                  <a:lnTo>
                    <a:pt x="21424" y="3080"/>
                  </a:lnTo>
                  <a:lnTo>
                    <a:pt x="21379" y="3080"/>
                  </a:lnTo>
                  <a:lnTo>
                    <a:pt x="21366" y="3083"/>
                  </a:lnTo>
                  <a:lnTo>
                    <a:pt x="21353" y="3088"/>
                  </a:lnTo>
                  <a:lnTo>
                    <a:pt x="21340" y="3096"/>
                  </a:lnTo>
                  <a:lnTo>
                    <a:pt x="21326" y="3107"/>
                  </a:lnTo>
                  <a:lnTo>
                    <a:pt x="21289" y="3156"/>
                  </a:lnTo>
                  <a:lnTo>
                    <a:pt x="21286" y="3167"/>
                  </a:lnTo>
                  <a:lnTo>
                    <a:pt x="21287" y="3177"/>
                  </a:lnTo>
                  <a:lnTo>
                    <a:pt x="21283" y="3234"/>
                  </a:lnTo>
                  <a:lnTo>
                    <a:pt x="21280" y="3244"/>
                  </a:lnTo>
                  <a:lnTo>
                    <a:pt x="21270" y="3255"/>
                  </a:lnTo>
                  <a:lnTo>
                    <a:pt x="21248" y="3273"/>
                  </a:lnTo>
                  <a:lnTo>
                    <a:pt x="21234" y="3281"/>
                  </a:lnTo>
                  <a:lnTo>
                    <a:pt x="21224" y="3286"/>
                  </a:lnTo>
                  <a:lnTo>
                    <a:pt x="21211" y="3289"/>
                  </a:lnTo>
                  <a:lnTo>
                    <a:pt x="21198" y="3289"/>
                  </a:lnTo>
                  <a:lnTo>
                    <a:pt x="21181" y="3279"/>
                  </a:lnTo>
                  <a:lnTo>
                    <a:pt x="21174" y="3279"/>
                  </a:lnTo>
                  <a:lnTo>
                    <a:pt x="21169" y="3279"/>
                  </a:lnTo>
                  <a:lnTo>
                    <a:pt x="21163" y="3277"/>
                  </a:lnTo>
                  <a:lnTo>
                    <a:pt x="21159" y="3272"/>
                  </a:lnTo>
                  <a:lnTo>
                    <a:pt x="21153" y="3259"/>
                  </a:lnTo>
                  <a:lnTo>
                    <a:pt x="21150" y="3255"/>
                  </a:lnTo>
                  <a:lnTo>
                    <a:pt x="21140" y="3248"/>
                  </a:lnTo>
                  <a:lnTo>
                    <a:pt x="21117" y="3238"/>
                  </a:lnTo>
                  <a:lnTo>
                    <a:pt x="21107" y="3231"/>
                  </a:lnTo>
                  <a:lnTo>
                    <a:pt x="21101" y="3223"/>
                  </a:lnTo>
                  <a:lnTo>
                    <a:pt x="21094" y="3212"/>
                  </a:lnTo>
                  <a:lnTo>
                    <a:pt x="21089" y="3200"/>
                  </a:lnTo>
                  <a:lnTo>
                    <a:pt x="21087" y="3189"/>
                  </a:lnTo>
                  <a:lnTo>
                    <a:pt x="21096" y="3160"/>
                  </a:lnTo>
                  <a:lnTo>
                    <a:pt x="21118" y="3140"/>
                  </a:lnTo>
                  <a:lnTo>
                    <a:pt x="21171" y="3110"/>
                  </a:lnTo>
                  <a:lnTo>
                    <a:pt x="21223" y="3068"/>
                  </a:lnTo>
                  <a:lnTo>
                    <a:pt x="21229" y="3065"/>
                  </a:lnTo>
                  <a:lnTo>
                    <a:pt x="21245" y="3066"/>
                  </a:lnTo>
                  <a:lnTo>
                    <a:pt x="21252" y="3066"/>
                  </a:lnTo>
                  <a:lnTo>
                    <a:pt x="21259" y="3062"/>
                  </a:lnTo>
                  <a:lnTo>
                    <a:pt x="21262" y="3060"/>
                  </a:lnTo>
                  <a:lnTo>
                    <a:pt x="21263" y="3055"/>
                  </a:lnTo>
                  <a:lnTo>
                    <a:pt x="21265" y="3048"/>
                  </a:lnTo>
                  <a:lnTo>
                    <a:pt x="21278" y="3021"/>
                  </a:lnTo>
                  <a:lnTo>
                    <a:pt x="21286" y="3010"/>
                  </a:lnTo>
                  <a:lnTo>
                    <a:pt x="21298" y="2997"/>
                  </a:lnTo>
                  <a:lnTo>
                    <a:pt x="21303" y="2990"/>
                  </a:lnTo>
                  <a:lnTo>
                    <a:pt x="21310" y="2973"/>
                  </a:lnTo>
                  <a:lnTo>
                    <a:pt x="21313" y="2969"/>
                  </a:lnTo>
                  <a:lnTo>
                    <a:pt x="21319" y="2967"/>
                  </a:lnTo>
                  <a:lnTo>
                    <a:pt x="21334" y="2968"/>
                  </a:lnTo>
                  <a:lnTo>
                    <a:pt x="21340" y="2964"/>
                  </a:lnTo>
                  <a:lnTo>
                    <a:pt x="21340" y="2956"/>
                  </a:lnTo>
                  <a:lnTo>
                    <a:pt x="21330" y="2934"/>
                  </a:lnTo>
                  <a:lnTo>
                    <a:pt x="21327" y="2922"/>
                  </a:lnTo>
                  <a:lnTo>
                    <a:pt x="21329" y="2916"/>
                  </a:lnTo>
                  <a:lnTo>
                    <a:pt x="21333" y="2913"/>
                  </a:lnTo>
                  <a:lnTo>
                    <a:pt x="21337" y="2910"/>
                  </a:lnTo>
                  <a:lnTo>
                    <a:pt x="21340" y="2907"/>
                  </a:lnTo>
                  <a:lnTo>
                    <a:pt x="21341" y="2901"/>
                  </a:lnTo>
                  <a:lnTo>
                    <a:pt x="21340" y="2880"/>
                  </a:lnTo>
                  <a:lnTo>
                    <a:pt x="21340" y="2862"/>
                  </a:lnTo>
                  <a:lnTo>
                    <a:pt x="21351" y="2828"/>
                  </a:lnTo>
                  <a:lnTo>
                    <a:pt x="21353" y="2815"/>
                  </a:lnTo>
                  <a:lnTo>
                    <a:pt x="21348" y="2787"/>
                  </a:lnTo>
                  <a:lnTo>
                    <a:pt x="21345" y="2779"/>
                  </a:lnTo>
                  <a:lnTo>
                    <a:pt x="21340" y="2774"/>
                  </a:lnTo>
                  <a:lnTo>
                    <a:pt x="21336" y="2771"/>
                  </a:lnTo>
                  <a:lnTo>
                    <a:pt x="21331" y="2766"/>
                  </a:lnTo>
                  <a:lnTo>
                    <a:pt x="21327" y="2757"/>
                  </a:lnTo>
                  <a:lnTo>
                    <a:pt x="21332" y="2753"/>
                  </a:lnTo>
                  <a:lnTo>
                    <a:pt x="21334" y="2745"/>
                  </a:lnTo>
                  <a:lnTo>
                    <a:pt x="21340" y="2698"/>
                  </a:lnTo>
                  <a:lnTo>
                    <a:pt x="21334" y="2685"/>
                  </a:lnTo>
                  <a:lnTo>
                    <a:pt x="21307" y="2663"/>
                  </a:lnTo>
                  <a:lnTo>
                    <a:pt x="21301" y="2654"/>
                  </a:lnTo>
                  <a:lnTo>
                    <a:pt x="21292" y="2646"/>
                  </a:lnTo>
                  <a:lnTo>
                    <a:pt x="21250" y="2641"/>
                  </a:lnTo>
                  <a:lnTo>
                    <a:pt x="21234" y="2630"/>
                  </a:lnTo>
                  <a:lnTo>
                    <a:pt x="21231" y="2613"/>
                  </a:lnTo>
                  <a:lnTo>
                    <a:pt x="21233" y="2592"/>
                  </a:lnTo>
                  <a:lnTo>
                    <a:pt x="21237" y="2574"/>
                  </a:lnTo>
                  <a:lnTo>
                    <a:pt x="21243" y="2563"/>
                  </a:lnTo>
                  <a:lnTo>
                    <a:pt x="21250" y="2557"/>
                  </a:lnTo>
                  <a:lnTo>
                    <a:pt x="21258" y="2552"/>
                  </a:lnTo>
                  <a:lnTo>
                    <a:pt x="21269" y="2548"/>
                  </a:lnTo>
                  <a:lnTo>
                    <a:pt x="21280" y="2546"/>
                  </a:lnTo>
                  <a:lnTo>
                    <a:pt x="21288" y="2541"/>
                  </a:lnTo>
                  <a:lnTo>
                    <a:pt x="21294" y="2530"/>
                  </a:lnTo>
                  <a:lnTo>
                    <a:pt x="21301" y="2507"/>
                  </a:lnTo>
                  <a:lnTo>
                    <a:pt x="21303" y="2490"/>
                  </a:lnTo>
                  <a:lnTo>
                    <a:pt x="21307" y="2483"/>
                  </a:lnTo>
                  <a:lnTo>
                    <a:pt x="21322" y="2477"/>
                  </a:lnTo>
                  <a:lnTo>
                    <a:pt x="21327" y="2471"/>
                  </a:lnTo>
                  <a:lnTo>
                    <a:pt x="21330" y="2465"/>
                  </a:lnTo>
                  <a:lnTo>
                    <a:pt x="21333" y="2462"/>
                  </a:lnTo>
                  <a:lnTo>
                    <a:pt x="21341" y="2458"/>
                  </a:lnTo>
                  <a:lnTo>
                    <a:pt x="21349" y="2447"/>
                  </a:lnTo>
                  <a:lnTo>
                    <a:pt x="21363" y="2423"/>
                  </a:lnTo>
                  <a:lnTo>
                    <a:pt x="21367" y="2408"/>
                  </a:lnTo>
                  <a:lnTo>
                    <a:pt x="21367" y="2394"/>
                  </a:lnTo>
                  <a:lnTo>
                    <a:pt x="21361" y="2387"/>
                  </a:lnTo>
                  <a:lnTo>
                    <a:pt x="21333" y="2402"/>
                  </a:lnTo>
                  <a:lnTo>
                    <a:pt x="21323" y="2399"/>
                  </a:lnTo>
                  <a:lnTo>
                    <a:pt x="21313" y="2393"/>
                  </a:lnTo>
                  <a:lnTo>
                    <a:pt x="21301" y="2392"/>
                  </a:lnTo>
                  <a:lnTo>
                    <a:pt x="21288" y="2397"/>
                  </a:lnTo>
                  <a:lnTo>
                    <a:pt x="21277" y="2407"/>
                  </a:lnTo>
                  <a:lnTo>
                    <a:pt x="21268" y="2419"/>
                  </a:lnTo>
                  <a:lnTo>
                    <a:pt x="21265" y="2429"/>
                  </a:lnTo>
                  <a:lnTo>
                    <a:pt x="21261" y="2435"/>
                  </a:lnTo>
                  <a:lnTo>
                    <a:pt x="21240" y="2451"/>
                  </a:lnTo>
                  <a:lnTo>
                    <a:pt x="21181" y="2512"/>
                  </a:lnTo>
                  <a:lnTo>
                    <a:pt x="21166" y="2535"/>
                  </a:lnTo>
                  <a:lnTo>
                    <a:pt x="21130" y="2566"/>
                  </a:lnTo>
                  <a:lnTo>
                    <a:pt x="21122" y="2577"/>
                  </a:lnTo>
                  <a:lnTo>
                    <a:pt x="21107" y="2604"/>
                  </a:lnTo>
                  <a:lnTo>
                    <a:pt x="21091" y="2623"/>
                  </a:lnTo>
                  <a:lnTo>
                    <a:pt x="21059" y="2677"/>
                  </a:lnTo>
                  <a:lnTo>
                    <a:pt x="21052" y="2700"/>
                  </a:lnTo>
                  <a:lnTo>
                    <a:pt x="21046" y="2710"/>
                  </a:lnTo>
                  <a:lnTo>
                    <a:pt x="21043" y="2715"/>
                  </a:lnTo>
                  <a:lnTo>
                    <a:pt x="21045" y="2718"/>
                  </a:lnTo>
                  <a:lnTo>
                    <a:pt x="21053" y="2720"/>
                  </a:lnTo>
                  <a:lnTo>
                    <a:pt x="21055" y="2726"/>
                  </a:lnTo>
                  <a:lnTo>
                    <a:pt x="21054" y="2734"/>
                  </a:lnTo>
                  <a:lnTo>
                    <a:pt x="21052" y="2740"/>
                  </a:lnTo>
                  <a:lnTo>
                    <a:pt x="21048" y="2742"/>
                  </a:lnTo>
                  <a:lnTo>
                    <a:pt x="21043" y="2744"/>
                  </a:lnTo>
                  <a:lnTo>
                    <a:pt x="21037" y="2747"/>
                  </a:lnTo>
                  <a:lnTo>
                    <a:pt x="21034" y="2755"/>
                  </a:lnTo>
                  <a:lnTo>
                    <a:pt x="21035" y="2760"/>
                  </a:lnTo>
                  <a:lnTo>
                    <a:pt x="21037" y="2765"/>
                  </a:lnTo>
                  <a:lnTo>
                    <a:pt x="21043" y="2775"/>
                  </a:lnTo>
                  <a:lnTo>
                    <a:pt x="21023" y="2802"/>
                  </a:lnTo>
                  <a:lnTo>
                    <a:pt x="21020" y="2818"/>
                  </a:lnTo>
                  <a:lnTo>
                    <a:pt x="21028" y="2835"/>
                  </a:lnTo>
                  <a:lnTo>
                    <a:pt x="21033" y="2854"/>
                  </a:lnTo>
                  <a:lnTo>
                    <a:pt x="21024" y="2878"/>
                  </a:lnTo>
                  <a:lnTo>
                    <a:pt x="20999" y="2916"/>
                  </a:lnTo>
                  <a:lnTo>
                    <a:pt x="20983" y="2958"/>
                  </a:lnTo>
                  <a:lnTo>
                    <a:pt x="20965" y="2982"/>
                  </a:lnTo>
                  <a:lnTo>
                    <a:pt x="20946" y="3013"/>
                  </a:lnTo>
                  <a:lnTo>
                    <a:pt x="20941" y="3026"/>
                  </a:lnTo>
                  <a:lnTo>
                    <a:pt x="20942" y="3038"/>
                  </a:lnTo>
                  <a:lnTo>
                    <a:pt x="20949" y="3047"/>
                  </a:lnTo>
                  <a:lnTo>
                    <a:pt x="20956" y="3055"/>
                  </a:lnTo>
                  <a:lnTo>
                    <a:pt x="20959" y="3063"/>
                  </a:lnTo>
                  <a:lnTo>
                    <a:pt x="20960" y="3078"/>
                  </a:lnTo>
                  <a:lnTo>
                    <a:pt x="20959" y="3083"/>
                  </a:lnTo>
                  <a:lnTo>
                    <a:pt x="20954" y="3092"/>
                  </a:lnTo>
                  <a:close/>
                  <a:moveTo>
                    <a:pt x="28198" y="9110"/>
                  </a:moveTo>
                  <a:lnTo>
                    <a:pt x="28198" y="9110"/>
                  </a:lnTo>
                  <a:lnTo>
                    <a:pt x="28214" y="9080"/>
                  </a:lnTo>
                  <a:lnTo>
                    <a:pt x="28224" y="9068"/>
                  </a:lnTo>
                  <a:lnTo>
                    <a:pt x="28236" y="9060"/>
                  </a:lnTo>
                  <a:lnTo>
                    <a:pt x="28250" y="9058"/>
                  </a:lnTo>
                  <a:lnTo>
                    <a:pt x="28279" y="9056"/>
                  </a:lnTo>
                  <a:lnTo>
                    <a:pt x="28296" y="9051"/>
                  </a:lnTo>
                  <a:lnTo>
                    <a:pt x="28306" y="9042"/>
                  </a:lnTo>
                  <a:lnTo>
                    <a:pt x="28326" y="9018"/>
                  </a:lnTo>
                  <a:lnTo>
                    <a:pt x="28337" y="9010"/>
                  </a:lnTo>
                  <a:lnTo>
                    <a:pt x="28351" y="9007"/>
                  </a:lnTo>
                  <a:lnTo>
                    <a:pt x="28381" y="9007"/>
                  </a:lnTo>
                  <a:lnTo>
                    <a:pt x="28374" y="8985"/>
                  </a:lnTo>
                  <a:lnTo>
                    <a:pt x="28370" y="8962"/>
                  </a:lnTo>
                  <a:lnTo>
                    <a:pt x="28368" y="8914"/>
                  </a:lnTo>
                  <a:lnTo>
                    <a:pt x="28373" y="8892"/>
                  </a:lnTo>
                  <a:lnTo>
                    <a:pt x="28385" y="8879"/>
                  </a:lnTo>
                  <a:lnTo>
                    <a:pt x="28421" y="8861"/>
                  </a:lnTo>
                  <a:lnTo>
                    <a:pt x="28428" y="8855"/>
                  </a:lnTo>
                  <a:lnTo>
                    <a:pt x="28432" y="8848"/>
                  </a:lnTo>
                  <a:lnTo>
                    <a:pt x="28436" y="8788"/>
                  </a:lnTo>
                  <a:lnTo>
                    <a:pt x="28439" y="8776"/>
                  </a:lnTo>
                  <a:lnTo>
                    <a:pt x="28456" y="8745"/>
                  </a:lnTo>
                  <a:lnTo>
                    <a:pt x="28466" y="8718"/>
                  </a:lnTo>
                  <a:lnTo>
                    <a:pt x="28472" y="8706"/>
                  </a:lnTo>
                  <a:lnTo>
                    <a:pt x="28480" y="8695"/>
                  </a:lnTo>
                  <a:lnTo>
                    <a:pt x="28492" y="8683"/>
                  </a:lnTo>
                  <a:lnTo>
                    <a:pt x="28473" y="8674"/>
                  </a:lnTo>
                  <a:lnTo>
                    <a:pt x="28426" y="8668"/>
                  </a:lnTo>
                  <a:lnTo>
                    <a:pt x="28404" y="8661"/>
                  </a:lnTo>
                  <a:lnTo>
                    <a:pt x="28393" y="8654"/>
                  </a:lnTo>
                  <a:lnTo>
                    <a:pt x="28384" y="8647"/>
                  </a:lnTo>
                  <a:lnTo>
                    <a:pt x="28376" y="8637"/>
                  </a:lnTo>
                  <a:lnTo>
                    <a:pt x="28345" y="8592"/>
                  </a:lnTo>
                  <a:lnTo>
                    <a:pt x="28341" y="8583"/>
                  </a:lnTo>
                  <a:lnTo>
                    <a:pt x="28317" y="8552"/>
                  </a:lnTo>
                  <a:lnTo>
                    <a:pt x="28260" y="8543"/>
                  </a:lnTo>
                  <a:lnTo>
                    <a:pt x="28198" y="8546"/>
                  </a:lnTo>
                  <a:lnTo>
                    <a:pt x="28156" y="8554"/>
                  </a:lnTo>
                  <a:lnTo>
                    <a:pt x="28139" y="8560"/>
                  </a:lnTo>
                  <a:lnTo>
                    <a:pt x="28052" y="8572"/>
                  </a:lnTo>
                  <a:lnTo>
                    <a:pt x="27954" y="8606"/>
                  </a:lnTo>
                  <a:lnTo>
                    <a:pt x="27854" y="8672"/>
                  </a:lnTo>
                  <a:lnTo>
                    <a:pt x="27815" y="8705"/>
                  </a:lnTo>
                  <a:lnTo>
                    <a:pt x="27801" y="8723"/>
                  </a:lnTo>
                  <a:lnTo>
                    <a:pt x="27787" y="8750"/>
                  </a:lnTo>
                  <a:lnTo>
                    <a:pt x="27781" y="8765"/>
                  </a:lnTo>
                  <a:lnTo>
                    <a:pt x="27779" y="8779"/>
                  </a:lnTo>
                  <a:lnTo>
                    <a:pt x="27774" y="8789"/>
                  </a:lnTo>
                  <a:lnTo>
                    <a:pt x="27744" y="8816"/>
                  </a:lnTo>
                  <a:lnTo>
                    <a:pt x="27728" y="8839"/>
                  </a:lnTo>
                  <a:lnTo>
                    <a:pt x="27683" y="8935"/>
                  </a:lnTo>
                  <a:lnTo>
                    <a:pt x="27679" y="8941"/>
                  </a:lnTo>
                  <a:lnTo>
                    <a:pt x="27674" y="8947"/>
                  </a:lnTo>
                  <a:lnTo>
                    <a:pt x="27668" y="8985"/>
                  </a:lnTo>
                  <a:lnTo>
                    <a:pt x="27660" y="8992"/>
                  </a:lnTo>
                  <a:lnTo>
                    <a:pt x="27641" y="9006"/>
                  </a:lnTo>
                  <a:lnTo>
                    <a:pt x="27637" y="9014"/>
                  </a:lnTo>
                  <a:lnTo>
                    <a:pt x="27635" y="9023"/>
                  </a:lnTo>
                  <a:lnTo>
                    <a:pt x="27619" y="9052"/>
                  </a:lnTo>
                  <a:lnTo>
                    <a:pt x="27562" y="9211"/>
                  </a:lnTo>
                  <a:lnTo>
                    <a:pt x="27563" y="9234"/>
                  </a:lnTo>
                  <a:lnTo>
                    <a:pt x="27588" y="9234"/>
                  </a:lnTo>
                  <a:lnTo>
                    <a:pt x="27641" y="9214"/>
                  </a:lnTo>
                  <a:lnTo>
                    <a:pt x="27668" y="9206"/>
                  </a:lnTo>
                  <a:lnTo>
                    <a:pt x="27699" y="9203"/>
                  </a:lnTo>
                  <a:lnTo>
                    <a:pt x="27818" y="9206"/>
                  </a:lnTo>
                  <a:lnTo>
                    <a:pt x="27912" y="9208"/>
                  </a:lnTo>
                  <a:lnTo>
                    <a:pt x="27941" y="9212"/>
                  </a:lnTo>
                  <a:lnTo>
                    <a:pt x="27986" y="9230"/>
                  </a:lnTo>
                  <a:lnTo>
                    <a:pt x="28014" y="9230"/>
                  </a:lnTo>
                  <a:lnTo>
                    <a:pt x="28039" y="9224"/>
                  </a:lnTo>
                  <a:lnTo>
                    <a:pt x="28063" y="9215"/>
                  </a:lnTo>
                  <a:lnTo>
                    <a:pt x="28084" y="9204"/>
                  </a:lnTo>
                  <a:lnTo>
                    <a:pt x="28102" y="9190"/>
                  </a:lnTo>
                  <a:lnTo>
                    <a:pt x="28125" y="9163"/>
                  </a:lnTo>
                  <a:lnTo>
                    <a:pt x="28131" y="9159"/>
                  </a:lnTo>
                  <a:lnTo>
                    <a:pt x="28143" y="9154"/>
                  </a:lnTo>
                  <a:lnTo>
                    <a:pt x="28186" y="9123"/>
                  </a:lnTo>
                  <a:lnTo>
                    <a:pt x="28198" y="9110"/>
                  </a:lnTo>
                  <a:close/>
                </a:path>
              </a:pathLst>
            </a:custGeom>
            <a:solidFill>
              <a:srgbClr val="273257"/>
            </a:solidFill>
            <a:ln w="3175" cap="flat">
              <a:no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prstClr val="black"/>
                </a:solidFill>
                <a:effectLst/>
                <a:uLnTx/>
                <a:uFillTx/>
                <a:latin typeface="GothamBook" pitchFamily="50" charset="0"/>
                <a:ea typeface="+mn-ea"/>
                <a:cs typeface="+mn-cs"/>
              </a:endParaRPr>
            </a:p>
          </p:txBody>
        </p:sp>
        <p:grpSp>
          <p:nvGrpSpPr>
            <p:cNvPr id="92" name="Group 91"/>
            <p:cNvGrpSpPr/>
            <p:nvPr/>
          </p:nvGrpSpPr>
          <p:grpSpPr>
            <a:xfrm>
              <a:off x="1655214" y="2046665"/>
              <a:ext cx="776968" cy="179473"/>
              <a:chOff x="1360034" y="1281256"/>
              <a:chExt cx="1084310" cy="179473"/>
            </a:xfrm>
            <a:solidFill>
              <a:srgbClr val="0862A3"/>
            </a:solidFill>
          </p:grpSpPr>
          <p:sp>
            <p:nvSpPr>
              <p:cNvPr id="272" name="Rectangle: Rounded Corners 271"/>
              <p:cNvSpPr/>
              <p:nvPr/>
            </p:nvSpPr>
            <p:spPr>
              <a:xfrm>
                <a:off x="1360034" y="1295629"/>
                <a:ext cx="1084310" cy="165100"/>
              </a:xfrm>
              <a:prstGeom prst="roundRect">
                <a:avLst>
                  <a:gd name="adj" fmla="val 50000"/>
                </a:avLst>
              </a:prstGeom>
              <a:solidFill>
                <a:srgbClr val="FA7D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73" name="object 36"/>
              <p:cNvSpPr txBox="1"/>
              <p:nvPr/>
            </p:nvSpPr>
            <p:spPr>
              <a:xfrm>
                <a:off x="1412541" y="1281256"/>
                <a:ext cx="691468" cy="152606"/>
              </a:xfrm>
              <a:prstGeom prst="rect">
                <a:avLst/>
              </a:prstGeom>
              <a:noFill/>
              <a:ln>
                <a:noFill/>
              </a:ln>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defRPr/>
                </a:pPr>
                <a:r>
                  <a:rPr kumimoji="0" lang="zh-CN" altLang="en-US" sz="900" b="0" i="0" u="none" strike="noStrike" kern="0" cap="none" spc="-45" normalizeH="0" baseline="0" noProof="0" dirty="0">
                    <a:ln>
                      <a:noFill/>
                    </a:ln>
                    <a:solidFill>
                      <a:prstClr val="white"/>
                    </a:solidFill>
                    <a:effectLst/>
                    <a:uLnTx/>
                    <a:uFillTx/>
                    <a:latin typeface="GothamBook" pitchFamily="50" charset="0"/>
                    <a:ea typeface="+mn-ea"/>
                    <a:cs typeface="Trebuchet MS" panose="020B0703020202090204"/>
                  </a:rPr>
                  <a:t>培拉纳普</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93" name="Group 92"/>
            <p:cNvGrpSpPr/>
            <p:nvPr/>
          </p:nvGrpSpPr>
          <p:grpSpPr>
            <a:xfrm>
              <a:off x="2154220" y="1991903"/>
              <a:ext cx="296826" cy="296826"/>
              <a:chOff x="2186094" y="1229766"/>
              <a:chExt cx="296826" cy="296826"/>
            </a:xfrm>
          </p:grpSpPr>
          <p:sp>
            <p:nvSpPr>
              <p:cNvPr id="269" name="Oval 26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70" name="Oval 26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71" name="Oval 270"/>
              <p:cNvSpPr/>
              <p:nvPr/>
            </p:nvSpPr>
            <p:spPr>
              <a:xfrm>
                <a:off x="2262294" y="1305966"/>
                <a:ext cx="144426" cy="1444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94" name="Oval 93"/>
            <p:cNvSpPr/>
            <p:nvPr/>
          </p:nvSpPr>
          <p:spPr>
            <a:xfrm flipV="1">
              <a:off x="2251157" y="2701577"/>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95" name="Straight Connector 94"/>
            <p:cNvCxnSpPr>
              <a:stCxn id="269" idx="4"/>
              <a:endCxn id="94" idx="4"/>
            </p:cNvCxnSpPr>
            <p:nvPr/>
          </p:nvCxnSpPr>
          <p:spPr>
            <a:xfrm>
              <a:off x="2302633" y="2288729"/>
              <a:ext cx="4127" cy="412848"/>
            </a:xfrm>
            <a:prstGeom prst="line">
              <a:avLst/>
            </a:prstGeom>
            <a:noFill/>
            <a:ln w="12700" cap="flat" cmpd="sng" algn="ctr">
              <a:solidFill>
                <a:srgbClr val="E81C24"/>
              </a:solidFill>
              <a:prstDash val="solid"/>
              <a:miter lim="800000"/>
            </a:ln>
            <a:effectLst/>
          </p:spPr>
        </p:cxnSp>
        <p:grpSp>
          <p:nvGrpSpPr>
            <p:cNvPr id="96" name="Group 95"/>
            <p:cNvGrpSpPr/>
            <p:nvPr/>
          </p:nvGrpSpPr>
          <p:grpSpPr>
            <a:xfrm>
              <a:off x="1118087" y="2302225"/>
              <a:ext cx="788901" cy="175226"/>
              <a:chOff x="1360034" y="1285503"/>
              <a:chExt cx="1084310" cy="175226"/>
            </a:xfrm>
            <a:solidFill>
              <a:srgbClr val="0862A3"/>
            </a:solidFill>
          </p:grpSpPr>
          <p:sp>
            <p:nvSpPr>
              <p:cNvPr id="267" name="Rectangle: Rounded Corners 266"/>
              <p:cNvSpPr/>
              <p:nvPr/>
            </p:nvSpPr>
            <p:spPr>
              <a:xfrm>
                <a:off x="1360034" y="1295629"/>
                <a:ext cx="1084310" cy="165100"/>
              </a:xfrm>
              <a:prstGeom prst="roundRect">
                <a:avLst>
                  <a:gd name="adj" fmla="val 50000"/>
                </a:avLst>
              </a:prstGeom>
              <a:solidFill>
                <a:srgbClr val="FA7D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68" name="object 36"/>
              <p:cNvSpPr txBox="1"/>
              <p:nvPr/>
            </p:nvSpPr>
            <p:spPr>
              <a:xfrm>
                <a:off x="1585711" y="1285503"/>
                <a:ext cx="657951"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翁比林</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97" name="Group 96"/>
            <p:cNvGrpSpPr/>
            <p:nvPr/>
          </p:nvGrpSpPr>
          <p:grpSpPr>
            <a:xfrm>
              <a:off x="1710433" y="2241212"/>
              <a:ext cx="296826" cy="296826"/>
              <a:chOff x="2186094" y="1229766"/>
              <a:chExt cx="296826" cy="296826"/>
            </a:xfrm>
          </p:grpSpPr>
          <p:sp>
            <p:nvSpPr>
              <p:cNvPr id="264" name="Oval 26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65" name="Oval 26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66" name="Oval 265"/>
              <p:cNvSpPr/>
              <p:nvPr/>
            </p:nvSpPr>
            <p:spPr>
              <a:xfrm>
                <a:off x="2262294" y="1305966"/>
                <a:ext cx="144426" cy="1444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98" name="Oval 97"/>
            <p:cNvSpPr/>
            <p:nvPr/>
          </p:nvSpPr>
          <p:spPr>
            <a:xfrm flipV="1">
              <a:off x="1795399" y="2618149"/>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99" name="Straight Connector 98"/>
            <p:cNvCxnSpPr>
              <a:stCxn id="264" idx="4"/>
              <a:endCxn id="98" idx="0"/>
            </p:cNvCxnSpPr>
            <p:nvPr/>
          </p:nvCxnSpPr>
          <p:spPr>
            <a:xfrm flipH="1">
              <a:off x="1851002" y="2538038"/>
              <a:ext cx="7844" cy="125830"/>
            </a:xfrm>
            <a:prstGeom prst="line">
              <a:avLst/>
            </a:prstGeom>
            <a:noFill/>
            <a:ln w="12700" cap="flat" cmpd="sng" algn="ctr">
              <a:solidFill>
                <a:srgbClr val="E81C24"/>
              </a:solidFill>
              <a:prstDash val="solid"/>
              <a:miter lim="800000"/>
            </a:ln>
            <a:effectLst/>
          </p:spPr>
        </p:cxnSp>
        <p:sp>
          <p:nvSpPr>
            <p:cNvPr id="100" name="Oval 99"/>
            <p:cNvSpPr/>
            <p:nvPr/>
          </p:nvSpPr>
          <p:spPr>
            <a:xfrm flipV="1">
              <a:off x="2556575" y="2489805"/>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01" name="Straight Connector 100"/>
            <p:cNvCxnSpPr/>
            <p:nvPr/>
          </p:nvCxnSpPr>
          <p:spPr>
            <a:xfrm flipH="1">
              <a:off x="2612178" y="2125839"/>
              <a:ext cx="2358" cy="364264"/>
            </a:xfrm>
            <a:prstGeom prst="line">
              <a:avLst/>
            </a:prstGeom>
            <a:noFill/>
            <a:ln w="12700" cap="flat" cmpd="sng" algn="ctr">
              <a:solidFill>
                <a:srgbClr val="E81C24"/>
              </a:solidFill>
              <a:prstDash val="solid"/>
              <a:miter lim="800000"/>
            </a:ln>
            <a:effectLst/>
          </p:spPr>
        </p:cxnSp>
        <p:grpSp>
          <p:nvGrpSpPr>
            <p:cNvPr id="102" name="Group 101"/>
            <p:cNvGrpSpPr/>
            <p:nvPr/>
          </p:nvGrpSpPr>
          <p:grpSpPr>
            <a:xfrm>
              <a:off x="2585385" y="1914470"/>
              <a:ext cx="1473287" cy="179473"/>
              <a:chOff x="1360033" y="1281256"/>
              <a:chExt cx="1473287" cy="179473"/>
            </a:xfrm>
            <a:solidFill>
              <a:srgbClr val="0070C0"/>
            </a:solidFill>
          </p:grpSpPr>
          <p:sp>
            <p:nvSpPr>
              <p:cNvPr id="262" name="Rectangle: Rounded Corners 261"/>
              <p:cNvSpPr/>
              <p:nvPr/>
            </p:nvSpPr>
            <p:spPr>
              <a:xfrm>
                <a:off x="1360033" y="1295629"/>
                <a:ext cx="1288217" cy="165100"/>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63" name="object 36"/>
              <p:cNvSpPr txBox="1"/>
              <p:nvPr/>
            </p:nvSpPr>
            <p:spPr>
              <a:xfrm>
                <a:off x="1590931" y="1281256"/>
                <a:ext cx="1242389"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卡里门昆杜尔</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03" name="Group 102"/>
            <p:cNvGrpSpPr/>
            <p:nvPr/>
          </p:nvGrpSpPr>
          <p:grpSpPr>
            <a:xfrm>
              <a:off x="2467465" y="1862980"/>
              <a:ext cx="296826" cy="296826"/>
              <a:chOff x="2186094" y="1229766"/>
              <a:chExt cx="296826" cy="296826"/>
            </a:xfrm>
          </p:grpSpPr>
          <p:sp>
            <p:nvSpPr>
              <p:cNvPr id="259" name="Oval 25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60" name="Oval 25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61" name="Oval 260"/>
              <p:cNvSpPr/>
              <p:nvPr/>
            </p:nvSpPr>
            <p:spPr>
              <a:xfrm>
                <a:off x="2262294" y="1305966"/>
                <a:ext cx="144426" cy="144426"/>
              </a:xfrm>
              <a:prstGeom prst="ellipse">
                <a:avLst/>
              </a:prstGeom>
              <a:solidFill>
                <a:srgbClr val="4A2D4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04" name="Oval 103"/>
            <p:cNvSpPr/>
            <p:nvPr/>
          </p:nvSpPr>
          <p:spPr>
            <a:xfrm flipV="1">
              <a:off x="2799801" y="3362766"/>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05" name="Straight Connector 104"/>
            <p:cNvCxnSpPr>
              <a:stCxn id="256" idx="4"/>
              <a:endCxn id="104" idx="0"/>
            </p:cNvCxnSpPr>
            <p:nvPr/>
          </p:nvCxnSpPr>
          <p:spPr>
            <a:xfrm flipH="1">
              <a:off x="2855404" y="3074657"/>
              <a:ext cx="1371" cy="333828"/>
            </a:xfrm>
            <a:prstGeom prst="line">
              <a:avLst/>
            </a:prstGeom>
            <a:noFill/>
            <a:ln w="12700" cap="flat" cmpd="sng" algn="ctr">
              <a:solidFill>
                <a:srgbClr val="E81C24"/>
              </a:solidFill>
              <a:prstDash val="solid"/>
              <a:miter lim="800000"/>
            </a:ln>
            <a:effectLst/>
          </p:spPr>
        </p:cxnSp>
        <p:grpSp>
          <p:nvGrpSpPr>
            <p:cNvPr id="106" name="Group 105"/>
            <p:cNvGrpSpPr/>
            <p:nvPr/>
          </p:nvGrpSpPr>
          <p:grpSpPr>
            <a:xfrm>
              <a:off x="1882302" y="2906092"/>
              <a:ext cx="1084310" cy="179115"/>
              <a:chOff x="1360034" y="1281614"/>
              <a:chExt cx="1084310" cy="179115"/>
            </a:xfrm>
            <a:solidFill>
              <a:srgbClr val="0862A3"/>
            </a:solidFill>
          </p:grpSpPr>
          <p:sp>
            <p:nvSpPr>
              <p:cNvPr id="257" name="Rectangle: Rounded Corners 256"/>
              <p:cNvSpPr/>
              <p:nvPr/>
            </p:nvSpPr>
            <p:spPr>
              <a:xfrm>
                <a:off x="1360034" y="1295629"/>
                <a:ext cx="1084310" cy="165100"/>
              </a:xfrm>
              <a:prstGeom prst="roundRect">
                <a:avLst>
                  <a:gd name="adj" fmla="val 50000"/>
                </a:avLst>
              </a:prstGeom>
              <a:solidFill>
                <a:srgbClr val="FA7D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58" name="object 36"/>
              <p:cNvSpPr txBox="1"/>
              <p:nvPr/>
            </p:nvSpPr>
            <p:spPr>
              <a:xfrm>
                <a:off x="1453460" y="1281614"/>
                <a:ext cx="740768"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丹戎艾宁</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07" name="Group 106"/>
            <p:cNvGrpSpPr/>
            <p:nvPr/>
          </p:nvGrpSpPr>
          <p:grpSpPr>
            <a:xfrm>
              <a:off x="2708362" y="2854031"/>
              <a:ext cx="296826" cy="296826"/>
              <a:chOff x="2186094" y="1229766"/>
              <a:chExt cx="296826" cy="296826"/>
            </a:xfrm>
          </p:grpSpPr>
          <p:sp>
            <p:nvSpPr>
              <p:cNvPr id="254" name="Oval 25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55" name="Oval 25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56" name="Oval 255"/>
              <p:cNvSpPr/>
              <p:nvPr/>
            </p:nvSpPr>
            <p:spPr>
              <a:xfrm>
                <a:off x="2262294" y="1305966"/>
                <a:ext cx="144426" cy="1444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08" name="Oval 107"/>
            <p:cNvSpPr/>
            <p:nvPr/>
          </p:nvSpPr>
          <p:spPr>
            <a:xfrm flipV="1">
              <a:off x="3126552" y="3049216"/>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09" name="Straight Connector 108"/>
            <p:cNvCxnSpPr>
              <a:stCxn id="251" idx="4"/>
            </p:cNvCxnSpPr>
            <p:nvPr/>
          </p:nvCxnSpPr>
          <p:spPr>
            <a:xfrm flipH="1">
              <a:off x="3182155" y="2719883"/>
              <a:ext cx="2358" cy="364264"/>
            </a:xfrm>
            <a:prstGeom prst="line">
              <a:avLst/>
            </a:prstGeom>
            <a:noFill/>
            <a:ln w="12700" cap="flat" cmpd="sng" algn="ctr">
              <a:solidFill>
                <a:srgbClr val="E81C24"/>
              </a:solidFill>
              <a:prstDash val="solid"/>
              <a:miter lim="800000"/>
            </a:ln>
            <a:effectLst/>
          </p:spPr>
        </p:cxnSp>
        <p:grpSp>
          <p:nvGrpSpPr>
            <p:cNvPr id="110" name="Group 109"/>
            <p:cNvGrpSpPr/>
            <p:nvPr/>
          </p:nvGrpSpPr>
          <p:grpSpPr>
            <a:xfrm>
              <a:off x="3154020" y="2550747"/>
              <a:ext cx="771251" cy="179473"/>
              <a:chOff x="1360033" y="1281256"/>
              <a:chExt cx="771251" cy="179473"/>
            </a:xfrm>
            <a:solidFill>
              <a:srgbClr val="0070C0"/>
            </a:solidFill>
          </p:grpSpPr>
          <p:sp>
            <p:nvSpPr>
              <p:cNvPr id="252" name="Rectangle: Rounded Corners 251"/>
              <p:cNvSpPr/>
              <p:nvPr/>
            </p:nvSpPr>
            <p:spPr>
              <a:xfrm>
                <a:off x="1360033" y="1295629"/>
                <a:ext cx="771251" cy="165100"/>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53" name="object 36"/>
              <p:cNvSpPr txBox="1"/>
              <p:nvPr/>
            </p:nvSpPr>
            <p:spPr>
              <a:xfrm>
                <a:off x="1590932" y="1281256"/>
                <a:ext cx="513168"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邦加</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11" name="Group 110"/>
            <p:cNvGrpSpPr/>
            <p:nvPr/>
          </p:nvGrpSpPr>
          <p:grpSpPr>
            <a:xfrm>
              <a:off x="3036100" y="2499257"/>
              <a:ext cx="296826" cy="296826"/>
              <a:chOff x="2186094" y="1229766"/>
              <a:chExt cx="296826" cy="296826"/>
            </a:xfrm>
          </p:grpSpPr>
          <p:sp>
            <p:nvSpPr>
              <p:cNvPr id="249" name="Oval 24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50" name="Oval 24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51" name="Oval 250"/>
              <p:cNvSpPr/>
              <p:nvPr/>
            </p:nvSpPr>
            <p:spPr>
              <a:xfrm>
                <a:off x="2262294" y="1305966"/>
                <a:ext cx="144426" cy="144426"/>
              </a:xfrm>
              <a:prstGeom prst="ellipse">
                <a:avLst/>
              </a:prstGeom>
              <a:solidFill>
                <a:srgbClr val="4A2D4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12" name="Oval 111"/>
            <p:cNvSpPr/>
            <p:nvPr/>
          </p:nvSpPr>
          <p:spPr>
            <a:xfrm flipV="1">
              <a:off x="3590273" y="3237799"/>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13" name="Straight Connector 112"/>
            <p:cNvCxnSpPr/>
            <p:nvPr/>
          </p:nvCxnSpPr>
          <p:spPr>
            <a:xfrm>
              <a:off x="3644124" y="3018267"/>
              <a:ext cx="0" cy="242391"/>
            </a:xfrm>
            <a:prstGeom prst="line">
              <a:avLst/>
            </a:prstGeom>
            <a:noFill/>
            <a:ln w="12700" cap="flat" cmpd="sng" algn="ctr">
              <a:solidFill>
                <a:srgbClr val="E81C24"/>
              </a:solidFill>
              <a:prstDash val="solid"/>
              <a:miter lim="800000"/>
            </a:ln>
            <a:effectLst/>
          </p:spPr>
        </p:cxnSp>
        <p:grpSp>
          <p:nvGrpSpPr>
            <p:cNvPr id="114" name="Group 113"/>
            <p:cNvGrpSpPr/>
            <p:nvPr/>
          </p:nvGrpSpPr>
          <p:grpSpPr>
            <a:xfrm>
              <a:off x="3613631" y="2924475"/>
              <a:ext cx="720887" cy="174277"/>
              <a:chOff x="1360033" y="1286452"/>
              <a:chExt cx="720887" cy="174277"/>
            </a:xfrm>
            <a:solidFill>
              <a:srgbClr val="0070C0"/>
            </a:solidFill>
          </p:grpSpPr>
          <p:sp>
            <p:nvSpPr>
              <p:cNvPr id="247" name="Rectangle: Rounded Corners 246"/>
              <p:cNvSpPr/>
              <p:nvPr/>
            </p:nvSpPr>
            <p:spPr>
              <a:xfrm>
                <a:off x="1360033" y="1295629"/>
                <a:ext cx="720887" cy="165100"/>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48" name="object 36"/>
              <p:cNvSpPr txBox="1"/>
              <p:nvPr/>
            </p:nvSpPr>
            <p:spPr>
              <a:xfrm>
                <a:off x="1545595" y="1286452"/>
                <a:ext cx="513168" cy="152606"/>
              </a:xfrm>
              <a:prstGeom prst="rect">
                <a:avLst/>
              </a:prstGeom>
              <a:grp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勿里洞</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15" name="Group 114"/>
            <p:cNvGrpSpPr/>
            <p:nvPr/>
          </p:nvGrpSpPr>
          <p:grpSpPr>
            <a:xfrm>
              <a:off x="3495711" y="2867789"/>
              <a:ext cx="296826" cy="296826"/>
              <a:chOff x="2186094" y="1229766"/>
              <a:chExt cx="296826" cy="296826"/>
            </a:xfrm>
          </p:grpSpPr>
          <p:sp>
            <p:nvSpPr>
              <p:cNvPr id="244" name="Oval 24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45" name="Oval 24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46" name="Oval 245"/>
              <p:cNvSpPr/>
              <p:nvPr/>
            </p:nvSpPr>
            <p:spPr>
              <a:xfrm>
                <a:off x="2262294" y="1305966"/>
                <a:ext cx="144426" cy="144426"/>
              </a:xfrm>
              <a:prstGeom prst="ellipse">
                <a:avLst/>
              </a:prstGeom>
              <a:solidFill>
                <a:srgbClr val="4A2D4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16" name="Oval 115"/>
            <p:cNvSpPr/>
            <p:nvPr/>
          </p:nvSpPr>
          <p:spPr>
            <a:xfrm flipV="1">
              <a:off x="3209639" y="4025573"/>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17" name="Straight Connector 116"/>
            <p:cNvCxnSpPr>
              <a:stCxn id="241" idx="4"/>
              <a:endCxn id="116" idx="0"/>
            </p:cNvCxnSpPr>
            <p:nvPr/>
          </p:nvCxnSpPr>
          <p:spPr>
            <a:xfrm flipH="1">
              <a:off x="3265242" y="3835747"/>
              <a:ext cx="1371" cy="235545"/>
            </a:xfrm>
            <a:prstGeom prst="line">
              <a:avLst/>
            </a:prstGeom>
            <a:noFill/>
            <a:ln w="12700" cap="flat" cmpd="sng" algn="ctr">
              <a:solidFill>
                <a:srgbClr val="E81C24"/>
              </a:solidFill>
              <a:prstDash val="solid"/>
              <a:miter lim="800000"/>
            </a:ln>
            <a:effectLst/>
          </p:spPr>
        </p:cxnSp>
        <p:grpSp>
          <p:nvGrpSpPr>
            <p:cNvPr id="118" name="Group 117"/>
            <p:cNvGrpSpPr/>
            <p:nvPr/>
          </p:nvGrpSpPr>
          <p:grpSpPr>
            <a:xfrm>
              <a:off x="2413262" y="3664519"/>
              <a:ext cx="963188" cy="179473"/>
              <a:chOff x="1481156" y="1281256"/>
              <a:chExt cx="963188" cy="179473"/>
            </a:xfrm>
            <a:solidFill>
              <a:srgbClr val="EC1C24">
                <a:lumMod val="75000"/>
              </a:srgbClr>
            </a:solidFill>
          </p:grpSpPr>
          <p:sp>
            <p:nvSpPr>
              <p:cNvPr id="242" name="Rectangle: Rounded Corners 241"/>
              <p:cNvSpPr/>
              <p:nvPr/>
            </p:nvSpPr>
            <p:spPr>
              <a:xfrm>
                <a:off x="1481156" y="1295629"/>
                <a:ext cx="963188"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43" name="object 36"/>
              <p:cNvSpPr txBox="1"/>
              <p:nvPr/>
            </p:nvSpPr>
            <p:spPr>
              <a:xfrm>
                <a:off x="1585712" y="1281256"/>
                <a:ext cx="518296"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芝巴里翁</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19" name="Group 118"/>
            <p:cNvGrpSpPr/>
            <p:nvPr/>
          </p:nvGrpSpPr>
          <p:grpSpPr>
            <a:xfrm>
              <a:off x="3118200" y="3615121"/>
              <a:ext cx="296826" cy="296826"/>
              <a:chOff x="2186094" y="1229766"/>
              <a:chExt cx="296826" cy="296826"/>
            </a:xfrm>
          </p:grpSpPr>
          <p:sp>
            <p:nvSpPr>
              <p:cNvPr id="239" name="Oval 23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40" name="Oval 23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41" name="Oval 240"/>
              <p:cNvSpPr/>
              <p:nvPr/>
            </p:nvSpPr>
            <p:spPr>
              <a:xfrm>
                <a:off x="2262294" y="1305966"/>
                <a:ext cx="144426" cy="144426"/>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20" name="Oval 119"/>
            <p:cNvSpPr/>
            <p:nvPr/>
          </p:nvSpPr>
          <p:spPr>
            <a:xfrm flipV="1">
              <a:off x="3398906" y="4130447"/>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21" name="Straight Connector 120"/>
            <p:cNvCxnSpPr/>
            <p:nvPr/>
          </p:nvCxnSpPr>
          <p:spPr>
            <a:xfrm>
              <a:off x="3452757" y="4143600"/>
              <a:ext cx="0" cy="242391"/>
            </a:xfrm>
            <a:prstGeom prst="line">
              <a:avLst/>
            </a:prstGeom>
            <a:noFill/>
            <a:ln w="12700" cap="flat" cmpd="sng" algn="ctr">
              <a:solidFill>
                <a:srgbClr val="E81C24"/>
              </a:solidFill>
              <a:prstDash val="solid"/>
              <a:miter lim="800000"/>
            </a:ln>
            <a:effectLst/>
          </p:spPr>
        </p:cxnSp>
        <p:grpSp>
          <p:nvGrpSpPr>
            <p:cNvPr id="122" name="Group 121"/>
            <p:cNvGrpSpPr/>
            <p:nvPr/>
          </p:nvGrpSpPr>
          <p:grpSpPr>
            <a:xfrm>
              <a:off x="2514222" y="4350245"/>
              <a:ext cx="963188" cy="179473"/>
              <a:chOff x="1481156" y="1281256"/>
              <a:chExt cx="963188" cy="179473"/>
            </a:xfrm>
            <a:solidFill>
              <a:srgbClr val="EC1C24">
                <a:lumMod val="75000"/>
              </a:srgbClr>
            </a:solidFill>
          </p:grpSpPr>
          <p:sp>
            <p:nvSpPr>
              <p:cNvPr id="237" name="Rectangle: Rounded Corners 236"/>
              <p:cNvSpPr/>
              <p:nvPr/>
            </p:nvSpPr>
            <p:spPr>
              <a:xfrm>
                <a:off x="1481156" y="1295629"/>
                <a:ext cx="963188"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38" name="object 36"/>
              <p:cNvSpPr txBox="1"/>
              <p:nvPr/>
            </p:nvSpPr>
            <p:spPr>
              <a:xfrm>
                <a:off x="1648510" y="1281256"/>
                <a:ext cx="518296" cy="152400"/>
              </a:xfrm>
              <a:prstGeom prst="rect">
                <a:avLst/>
              </a:prstGeom>
              <a:noFill/>
              <a:ln>
                <a:noFill/>
              </a:ln>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defRPr/>
                </a:pPr>
                <a:r>
                  <a:rPr kumimoji="0" lang="zh-CN" altLang="en-US" sz="900" b="0" i="0" u="none" strike="noStrike" kern="0" cap="none" spc="-45" normalizeH="0" baseline="0" dirty="0">
                    <a:solidFill>
                      <a:prstClr val="white"/>
                    </a:solidFill>
                    <a:latin typeface="GothamBook" pitchFamily="50" charset="0"/>
                    <a:ea typeface="+mn-ea"/>
                    <a:cs typeface="Trebuchet MS" panose="020B0703020202090204"/>
                  </a:rPr>
                  <a:t>蓬戈尔</a:t>
                </a:r>
              </a:p>
            </p:txBody>
          </p:sp>
        </p:grpSp>
        <p:grpSp>
          <p:nvGrpSpPr>
            <p:cNvPr id="123" name="Group 122"/>
            <p:cNvGrpSpPr/>
            <p:nvPr/>
          </p:nvGrpSpPr>
          <p:grpSpPr>
            <a:xfrm>
              <a:off x="3219160" y="4300847"/>
              <a:ext cx="296826" cy="296826"/>
              <a:chOff x="2186094" y="1229766"/>
              <a:chExt cx="296826" cy="296826"/>
            </a:xfrm>
          </p:grpSpPr>
          <p:sp>
            <p:nvSpPr>
              <p:cNvPr id="234" name="Oval 23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35" name="Oval 23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36" name="Oval 235"/>
              <p:cNvSpPr/>
              <p:nvPr/>
            </p:nvSpPr>
            <p:spPr>
              <a:xfrm>
                <a:off x="2262294" y="1305966"/>
                <a:ext cx="144426" cy="144426"/>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24" name="Oval 123"/>
            <p:cNvSpPr/>
            <p:nvPr/>
          </p:nvSpPr>
          <p:spPr>
            <a:xfrm flipV="1">
              <a:off x="3535676" y="4188920"/>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25" name="Straight Connector 124"/>
            <p:cNvCxnSpPr/>
            <p:nvPr/>
          </p:nvCxnSpPr>
          <p:spPr>
            <a:xfrm>
              <a:off x="3674617" y="3969388"/>
              <a:ext cx="0" cy="242391"/>
            </a:xfrm>
            <a:prstGeom prst="line">
              <a:avLst/>
            </a:prstGeom>
            <a:noFill/>
            <a:ln w="12700" cap="flat" cmpd="sng" algn="ctr">
              <a:solidFill>
                <a:srgbClr val="E81C24"/>
              </a:solidFill>
              <a:prstDash val="solid"/>
              <a:miter lim="800000"/>
            </a:ln>
            <a:effectLst/>
          </p:spPr>
        </p:cxnSp>
        <p:grpSp>
          <p:nvGrpSpPr>
            <p:cNvPr id="126" name="Group 125"/>
            <p:cNvGrpSpPr/>
            <p:nvPr/>
          </p:nvGrpSpPr>
          <p:grpSpPr>
            <a:xfrm>
              <a:off x="3644123" y="3790659"/>
              <a:ext cx="942507" cy="173224"/>
              <a:chOff x="1360032" y="1287505"/>
              <a:chExt cx="942507" cy="173224"/>
            </a:xfrm>
            <a:solidFill>
              <a:srgbClr val="EC1C24">
                <a:lumMod val="75000"/>
              </a:srgbClr>
            </a:solidFill>
          </p:grpSpPr>
          <p:sp>
            <p:nvSpPr>
              <p:cNvPr id="232" name="Rectangle: Rounded Corners 231"/>
              <p:cNvSpPr/>
              <p:nvPr/>
            </p:nvSpPr>
            <p:spPr>
              <a:xfrm>
                <a:off x="1360032" y="1295629"/>
                <a:ext cx="942507"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33" name="object 36"/>
              <p:cNvSpPr txBox="1"/>
              <p:nvPr/>
            </p:nvSpPr>
            <p:spPr>
              <a:xfrm>
                <a:off x="1560193" y="1287505"/>
                <a:ext cx="713777"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帕潘达扬</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27" name="Group 126"/>
            <p:cNvGrpSpPr/>
            <p:nvPr/>
          </p:nvGrpSpPr>
          <p:grpSpPr>
            <a:xfrm>
              <a:off x="3526204" y="3735012"/>
              <a:ext cx="296826" cy="296826"/>
              <a:chOff x="2186094" y="1229766"/>
              <a:chExt cx="296826" cy="296826"/>
            </a:xfrm>
          </p:grpSpPr>
          <p:sp>
            <p:nvSpPr>
              <p:cNvPr id="229" name="Oval 22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30" name="Oval 22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31" name="Oval 230"/>
              <p:cNvSpPr/>
              <p:nvPr/>
            </p:nvSpPr>
            <p:spPr>
              <a:xfrm>
                <a:off x="2262294" y="1305966"/>
                <a:ext cx="144426" cy="144426"/>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28" name="Oval 127"/>
            <p:cNvSpPr/>
            <p:nvPr/>
          </p:nvSpPr>
          <p:spPr>
            <a:xfrm flipV="1">
              <a:off x="4103389" y="2767710"/>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29" name="Straight Connector 128"/>
            <p:cNvCxnSpPr/>
            <p:nvPr/>
          </p:nvCxnSpPr>
          <p:spPr>
            <a:xfrm>
              <a:off x="4157240" y="2548178"/>
              <a:ext cx="0" cy="242391"/>
            </a:xfrm>
            <a:prstGeom prst="line">
              <a:avLst/>
            </a:prstGeom>
            <a:noFill/>
            <a:ln w="12700" cap="flat" cmpd="sng" algn="ctr">
              <a:solidFill>
                <a:srgbClr val="E81C24"/>
              </a:solidFill>
              <a:prstDash val="solid"/>
              <a:miter lim="800000"/>
            </a:ln>
            <a:effectLst/>
          </p:spPr>
        </p:cxnSp>
        <p:grpSp>
          <p:nvGrpSpPr>
            <p:cNvPr id="130" name="Group 129"/>
            <p:cNvGrpSpPr/>
            <p:nvPr/>
          </p:nvGrpSpPr>
          <p:grpSpPr>
            <a:xfrm>
              <a:off x="4143369" y="2406314"/>
              <a:ext cx="713420" cy="165477"/>
              <a:chOff x="1360033" y="1295252"/>
              <a:chExt cx="713420" cy="165477"/>
            </a:xfrm>
            <a:solidFill>
              <a:srgbClr val="EC1C24">
                <a:lumMod val="75000"/>
              </a:srgbClr>
            </a:solidFill>
          </p:grpSpPr>
          <p:sp>
            <p:nvSpPr>
              <p:cNvPr id="227" name="Rectangle: Rounded Corners 226"/>
              <p:cNvSpPr/>
              <p:nvPr/>
            </p:nvSpPr>
            <p:spPr>
              <a:xfrm>
                <a:off x="1360033" y="1295629"/>
                <a:ext cx="627143"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28" name="object 36"/>
              <p:cNvSpPr txBox="1"/>
              <p:nvPr/>
            </p:nvSpPr>
            <p:spPr>
              <a:xfrm>
                <a:off x="1560285" y="1295252"/>
                <a:ext cx="513168"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塔扬</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31" name="Group 130"/>
            <p:cNvGrpSpPr/>
            <p:nvPr/>
          </p:nvGrpSpPr>
          <p:grpSpPr>
            <a:xfrm>
              <a:off x="4020128" y="2349243"/>
              <a:ext cx="296826" cy="296826"/>
              <a:chOff x="2186094" y="1229766"/>
              <a:chExt cx="296826" cy="296826"/>
            </a:xfrm>
          </p:grpSpPr>
          <p:sp>
            <p:nvSpPr>
              <p:cNvPr id="224" name="Oval 22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25" name="Oval 22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26" name="Oval 225"/>
              <p:cNvSpPr/>
              <p:nvPr/>
            </p:nvSpPr>
            <p:spPr>
              <a:xfrm>
                <a:off x="2262294" y="1305966"/>
                <a:ext cx="144426" cy="144426"/>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32" name="Oval 131"/>
            <p:cNvSpPr/>
            <p:nvPr/>
          </p:nvSpPr>
          <p:spPr>
            <a:xfrm flipV="1">
              <a:off x="3888567" y="2482617"/>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33" name="Straight Connector 132"/>
            <p:cNvCxnSpPr/>
            <p:nvPr/>
          </p:nvCxnSpPr>
          <p:spPr>
            <a:xfrm>
              <a:off x="3944170" y="2263085"/>
              <a:ext cx="0" cy="242391"/>
            </a:xfrm>
            <a:prstGeom prst="line">
              <a:avLst/>
            </a:prstGeom>
            <a:noFill/>
            <a:ln w="12700" cap="flat" cmpd="sng" algn="ctr">
              <a:solidFill>
                <a:srgbClr val="E81C24"/>
              </a:solidFill>
              <a:prstDash val="solid"/>
              <a:miter lim="800000"/>
            </a:ln>
            <a:effectLst/>
          </p:spPr>
        </p:cxnSp>
        <p:grpSp>
          <p:nvGrpSpPr>
            <p:cNvPr id="134" name="Group 133"/>
            <p:cNvGrpSpPr/>
            <p:nvPr/>
          </p:nvGrpSpPr>
          <p:grpSpPr>
            <a:xfrm>
              <a:off x="3918731" y="2114799"/>
              <a:ext cx="899458" cy="173930"/>
              <a:chOff x="1360033" y="1286799"/>
              <a:chExt cx="899458" cy="173930"/>
            </a:xfrm>
          </p:grpSpPr>
          <p:sp>
            <p:nvSpPr>
              <p:cNvPr id="222" name="Rectangle: Rounded Corners 221"/>
              <p:cNvSpPr/>
              <p:nvPr/>
            </p:nvSpPr>
            <p:spPr>
              <a:xfrm>
                <a:off x="1360033" y="1295629"/>
                <a:ext cx="891055"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23" name="object 36"/>
              <p:cNvSpPr txBox="1"/>
              <p:nvPr/>
            </p:nvSpPr>
            <p:spPr>
              <a:xfrm>
                <a:off x="1554000" y="1286799"/>
                <a:ext cx="705491" cy="152606"/>
              </a:xfrm>
              <a:prstGeom prst="rect">
                <a:avLst/>
              </a:prstGeom>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曼帕瓦</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35" name="Group 134"/>
            <p:cNvGrpSpPr/>
            <p:nvPr/>
          </p:nvGrpSpPr>
          <p:grpSpPr>
            <a:xfrm>
              <a:off x="3800811" y="2057766"/>
              <a:ext cx="296826" cy="296826"/>
              <a:chOff x="2186094" y="1229766"/>
              <a:chExt cx="296826" cy="296826"/>
            </a:xfrm>
          </p:grpSpPr>
          <p:sp>
            <p:nvSpPr>
              <p:cNvPr id="219" name="Oval 21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20" name="Oval 21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21" name="Oval 220"/>
              <p:cNvSpPr/>
              <p:nvPr/>
            </p:nvSpPr>
            <p:spPr>
              <a:xfrm>
                <a:off x="2262294" y="1305966"/>
                <a:ext cx="144426" cy="144426"/>
              </a:xfrm>
              <a:prstGeom prst="ellipse">
                <a:avLst/>
              </a:prstGeom>
              <a:solidFill>
                <a:srgbClr val="00B0F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36" name="Oval 135"/>
            <p:cNvSpPr/>
            <p:nvPr/>
          </p:nvSpPr>
          <p:spPr>
            <a:xfrm flipV="1">
              <a:off x="5744145" y="2735787"/>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37" name="Straight Connector 136"/>
            <p:cNvCxnSpPr/>
            <p:nvPr/>
          </p:nvCxnSpPr>
          <p:spPr>
            <a:xfrm>
              <a:off x="5799748" y="2499257"/>
              <a:ext cx="0" cy="242391"/>
            </a:xfrm>
            <a:prstGeom prst="line">
              <a:avLst/>
            </a:prstGeom>
            <a:noFill/>
            <a:ln w="12700" cap="flat" cmpd="sng" algn="ctr">
              <a:solidFill>
                <a:srgbClr val="E81C24"/>
              </a:solidFill>
              <a:prstDash val="solid"/>
              <a:miter lim="800000"/>
            </a:ln>
            <a:effectLst/>
          </p:spPr>
        </p:cxnSp>
        <p:grpSp>
          <p:nvGrpSpPr>
            <p:cNvPr id="138" name="Group 137"/>
            <p:cNvGrpSpPr/>
            <p:nvPr/>
          </p:nvGrpSpPr>
          <p:grpSpPr>
            <a:xfrm>
              <a:off x="5792521" y="2272837"/>
              <a:ext cx="917657" cy="174482"/>
              <a:chOff x="1360034" y="1286247"/>
              <a:chExt cx="917657" cy="174482"/>
            </a:xfrm>
            <a:solidFill>
              <a:srgbClr val="0862A3"/>
            </a:solidFill>
          </p:grpSpPr>
          <p:sp>
            <p:nvSpPr>
              <p:cNvPr id="217" name="Rectangle: Rounded Corners 216"/>
              <p:cNvSpPr/>
              <p:nvPr/>
            </p:nvSpPr>
            <p:spPr>
              <a:xfrm>
                <a:off x="1360034" y="1295629"/>
                <a:ext cx="712212" cy="165100"/>
              </a:xfrm>
              <a:prstGeom prst="roundRect">
                <a:avLst>
                  <a:gd name="adj" fmla="val 50000"/>
                </a:avLst>
              </a:prstGeom>
              <a:solidFill>
                <a:srgbClr val="FA7D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18" name="object 36"/>
              <p:cNvSpPr txBox="1"/>
              <p:nvPr/>
            </p:nvSpPr>
            <p:spPr>
              <a:xfrm>
                <a:off x="1572200" y="1286247"/>
                <a:ext cx="705491" cy="152606"/>
              </a:xfrm>
              <a:prstGeom prst="rect">
                <a:avLst/>
              </a:prstGeom>
              <a:noFill/>
              <a:ln>
                <a:noFill/>
              </a:ln>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defRPr/>
                </a:pPr>
                <a:r>
                  <a:rPr kumimoji="0" lang="zh-CN" altLang="en-US" sz="900" b="0" i="0" u="none" strike="noStrike" kern="0" cap="none" spc="-45" normalizeH="0" baseline="0" noProof="0" dirty="0">
                    <a:ln>
                      <a:noFill/>
                    </a:ln>
                    <a:solidFill>
                      <a:prstClr val="white"/>
                    </a:solidFill>
                    <a:effectLst/>
                    <a:uLnTx/>
                    <a:uFillTx/>
                    <a:latin typeface="GothamBook" pitchFamily="50" charset="0"/>
                    <a:ea typeface="+mn-ea"/>
                    <a:cs typeface="Trebuchet MS" panose="020B0703020202090204"/>
                  </a:rPr>
                  <a:t>班图斯</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39" name="Group 138"/>
            <p:cNvGrpSpPr/>
            <p:nvPr/>
          </p:nvGrpSpPr>
          <p:grpSpPr>
            <a:xfrm>
              <a:off x="5660076" y="2217847"/>
              <a:ext cx="296826" cy="296826"/>
              <a:chOff x="2186094" y="1229766"/>
              <a:chExt cx="296826" cy="296826"/>
            </a:xfrm>
          </p:grpSpPr>
          <p:sp>
            <p:nvSpPr>
              <p:cNvPr id="214" name="Oval 21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15" name="Oval 21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16" name="Oval 215"/>
              <p:cNvSpPr/>
              <p:nvPr/>
            </p:nvSpPr>
            <p:spPr>
              <a:xfrm>
                <a:off x="2262294" y="1305966"/>
                <a:ext cx="144426" cy="1444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40" name="Oval 139"/>
            <p:cNvSpPr/>
            <p:nvPr/>
          </p:nvSpPr>
          <p:spPr>
            <a:xfrm flipV="1">
              <a:off x="6853083" y="3314481"/>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41" name="Straight Connector 140"/>
            <p:cNvCxnSpPr/>
            <p:nvPr/>
          </p:nvCxnSpPr>
          <p:spPr>
            <a:xfrm>
              <a:off x="6908686" y="3094949"/>
              <a:ext cx="0" cy="242391"/>
            </a:xfrm>
            <a:prstGeom prst="line">
              <a:avLst/>
            </a:prstGeom>
            <a:noFill/>
            <a:ln w="12700" cap="flat" cmpd="sng" algn="ctr">
              <a:solidFill>
                <a:srgbClr val="E81C24"/>
              </a:solidFill>
              <a:prstDash val="solid"/>
              <a:miter lim="800000"/>
            </a:ln>
            <a:effectLst/>
          </p:spPr>
        </p:cxnSp>
        <p:grpSp>
          <p:nvGrpSpPr>
            <p:cNvPr id="142" name="Group 141"/>
            <p:cNvGrpSpPr/>
            <p:nvPr/>
          </p:nvGrpSpPr>
          <p:grpSpPr>
            <a:xfrm>
              <a:off x="6876441" y="2880699"/>
              <a:ext cx="1101896" cy="174069"/>
              <a:chOff x="1360033" y="1286660"/>
              <a:chExt cx="1101896" cy="174069"/>
            </a:xfrm>
            <a:solidFill>
              <a:srgbClr val="EC1C24">
                <a:lumMod val="75000"/>
              </a:srgbClr>
            </a:solidFill>
          </p:grpSpPr>
          <p:sp>
            <p:nvSpPr>
              <p:cNvPr id="212" name="Rectangle: Rounded Corners 211"/>
              <p:cNvSpPr/>
              <p:nvPr/>
            </p:nvSpPr>
            <p:spPr>
              <a:xfrm>
                <a:off x="1360033" y="1295629"/>
                <a:ext cx="1043947"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13" name="object 36"/>
              <p:cNvSpPr txBox="1"/>
              <p:nvPr/>
            </p:nvSpPr>
            <p:spPr>
              <a:xfrm>
                <a:off x="1569255" y="1286660"/>
                <a:ext cx="892674"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北科纳威</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43" name="Group 142"/>
            <p:cNvGrpSpPr/>
            <p:nvPr/>
          </p:nvGrpSpPr>
          <p:grpSpPr>
            <a:xfrm>
              <a:off x="6758521" y="2827522"/>
              <a:ext cx="296826" cy="296826"/>
              <a:chOff x="2186094" y="1229766"/>
              <a:chExt cx="296826" cy="296826"/>
            </a:xfrm>
          </p:grpSpPr>
          <p:sp>
            <p:nvSpPr>
              <p:cNvPr id="209" name="Oval 20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10" name="Oval 20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11" name="Oval 210"/>
              <p:cNvSpPr/>
              <p:nvPr/>
            </p:nvSpPr>
            <p:spPr>
              <a:xfrm>
                <a:off x="2262294" y="1305966"/>
                <a:ext cx="144426" cy="144426"/>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44" name="Oval 143"/>
            <p:cNvSpPr/>
            <p:nvPr/>
          </p:nvSpPr>
          <p:spPr>
            <a:xfrm flipV="1">
              <a:off x="6796990" y="3459389"/>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45" name="Straight Connector 144"/>
            <p:cNvCxnSpPr/>
            <p:nvPr/>
          </p:nvCxnSpPr>
          <p:spPr>
            <a:xfrm>
              <a:off x="6850841" y="3472542"/>
              <a:ext cx="0" cy="242391"/>
            </a:xfrm>
            <a:prstGeom prst="line">
              <a:avLst/>
            </a:prstGeom>
            <a:noFill/>
            <a:ln w="12700" cap="flat" cmpd="sng" algn="ctr">
              <a:solidFill>
                <a:srgbClr val="E81C24"/>
              </a:solidFill>
              <a:prstDash val="solid"/>
              <a:miter lim="800000"/>
            </a:ln>
            <a:effectLst/>
          </p:spPr>
        </p:cxnSp>
        <p:grpSp>
          <p:nvGrpSpPr>
            <p:cNvPr id="146" name="Group 145"/>
            <p:cNvGrpSpPr/>
            <p:nvPr/>
          </p:nvGrpSpPr>
          <p:grpSpPr>
            <a:xfrm>
              <a:off x="6044973" y="3724037"/>
              <a:ext cx="918320" cy="179473"/>
              <a:chOff x="1526024" y="1281256"/>
              <a:chExt cx="918320" cy="179473"/>
            </a:xfrm>
            <a:solidFill>
              <a:srgbClr val="EC1C24">
                <a:lumMod val="75000"/>
              </a:srgbClr>
            </a:solidFill>
          </p:grpSpPr>
          <p:sp>
            <p:nvSpPr>
              <p:cNvPr id="207" name="Rectangle: Rounded Corners 206"/>
              <p:cNvSpPr/>
              <p:nvPr/>
            </p:nvSpPr>
            <p:spPr>
              <a:xfrm>
                <a:off x="1526024" y="1295629"/>
                <a:ext cx="918320"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08" name="object 36"/>
              <p:cNvSpPr txBox="1"/>
              <p:nvPr/>
            </p:nvSpPr>
            <p:spPr>
              <a:xfrm>
                <a:off x="1648510" y="1281256"/>
                <a:ext cx="518296"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波马拉</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47" name="Group 146"/>
            <p:cNvGrpSpPr/>
            <p:nvPr/>
          </p:nvGrpSpPr>
          <p:grpSpPr>
            <a:xfrm>
              <a:off x="6704670" y="3676357"/>
              <a:ext cx="296826" cy="296826"/>
              <a:chOff x="2186094" y="1229766"/>
              <a:chExt cx="296826" cy="296826"/>
            </a:xfrm>
          </p:grpSpPr>
          <p:sp>
            <p:nvSpPr>
              <p:cNvPr id="204" name="Oval 20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05" name="Oval 20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06" name="Oval 205"/>
              <p:cNvSpPr/>
              <p:nvPr/>
            </p:nvSpPr>
            <p:spPr>
              <a:xfrm>
                <a:off x="2262294" y="1305966"/>
                <a:ext cx="144426" cy="144426"/>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48" name="Oval 147"/>
            <p:cNvSpPr/>
            <p:nvPr/>
          </p:nvSpPr>
          <p:spPr>
            <a:xfrm flipV="1">
              <a:off x="8290771" y="2509722"/>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49" name="Straight Connector 148"/>
            <p:cNvCxnSpPr/>
            <p:nvPr/>
          </p:nvCxnSpPr>
          <p:spPr>
            <a:xfrm>
              <a:off x="8346374" y="2290190"/>
              <a:ext cx="0" cy="242391"/>
            </a:xfrm>
            <a:prstGeom prst="line">
              <a:avLst/>
            </a:prstGeom>
            <a:noFill/>
            <a:ln w="12700" cap="flat" cmpd="sng" algn="ctr">
              <a:solidFill>
                <a:srgbClr val="E81C24"/>
              </a:solidFill>
              <a:prstDash val="solid"/>
              <a:miter lim="800000"/>
            </a:ln>
            <a:effectLst/>
          </p:spPr>
        </p:cxnSp>
        <p:grpSp>
          <p:nvGrpSpPr>
            <p:cNvPr id="150" name="Group 149"/>
            <p:cNvGrpSpPr/>
            <p:nvPr/>
          </p:nvGrpSpPr>
          <p:grpSpPr>
            <a:xfrm>
              <a:off x="8314129" y="2077166"/>
              <a:ext cx="1110156" cy="174277"/>
              <a:chOff x="1360033" y="1286452"/>
              <a:chExt cx="1110156" cy="174277"/>
            </a:xfrm>
            <a:solidFill>
              <a:srgbClr val="EC1C24">
                <a:lumMod val="75000"/>
              </a:srgbClr>
            </a:solidFill>
          </p:grpSpPr>
          <p:sp>
            <p:nvSpPr>
              <p:cNvPr id="202" name="Rectangle: Rounded Corners 201"/>
              <p:cNvSpPr/>
              <p:nvPr/>
            </p:nvSpPr>
            <p:spPr>
              <a:xfrm>
                <a:off x="1360033" y="1295629"/>
                <a:ext cx="1043947"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03" name="object 36"/>
              <p:cNvSpPr txBox="1"/>
              <p:nvPr/>
            </p:nvSpPr>
            <p:spPr>
              <a:xfrm>
                <a:off x="1577515" y="1286452"/>
                <a:ext cx="892674"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哈马黑拉</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51" name="Group 150"/>
            <p:cNvGrpSpPr/>
            <p:nvPr/>
          </p:nvGrpSpPr>
          <p:grpSpPr>
            <a:xfrm>
              <a:off x="8196209" y="2022763"/>
              <a:ext cx="296826" cy="296826"/>
              <a:chOff x="2186094" y="1229766"/>
              <a:chExt cx="296826" cy="296826"/>
            </a:xfrm>
          </p:grpSpPr>
          <p:sp>
            <p:nvSpPr>
              <p:cNvPr id="199" name="Oval 19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00" name="Oval 19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201" name="Oval 200"/>
              <p:cNvSpPr/>
              <p:nvPr/>
            </p:nvSpPr>
            <p:spPr>
              <a:xfrm>
                <a:off x="2262294" y="1305966"/>
                <a:ext cx="144426" cy="144426"/>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52" name="Oval 151"/>
            <p:cNvSpPr/>
            <p:nvPr/>
          </p:nvSpPr>
          <p:spPr>
            <a:xfrm flipV="1">
              <a:off x="8686219" y="2726348"/>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53" name="Straight Connector 152"/>
            <p:cNvCxnSpPr/>
            <p:nvPr/>
          </p:nvCxnSpPr>
          <p:spPr>
            <a:xfrm>
              <a:off x="8740070" y="2506816"/>
              <a:ext cx="0" cy="242391"/>
            </a:xfrm>
            <a:prstGeom prst="line">
              <a:avLst/>
            </a:prstGeom>
            <a:noFill/>
            <a:ln w="12700" cap="flat" cmpd="sng" algn="ctr">
              <a:solidFill>
                <a:srgbClr val="E81C24"/>
              </a:solidFill>
              <a:prstDash val="solid"/>
              <a:miter lim="800000"/>
            </a:ln>
            <a:effectLst/>
          </p:spPr>
        </p:cxnSp>
        <p:grpSp>
          <p:nvGrpSpPr>
            <p:cNvPr id="154" name="Group 153"/>
            <p:cNvGrpSpPr/>
            <p:nvPr/>
          </p:nvGrpSpPr>
          <p:grpSpPr>
            <a:xfrm>
              <a:off x="8709578" y="2409193"/>
              <a:ext cx="702906" cy="178108"/>
              <a:chOff x="1360034" y="1282621"/>
              <a:chExt cx="702906" cy="178108"/>
            </a:xfrm>
            <a:solidFill>
              <a:srgbClr val="EC1C24">
                <a:lumMod val="75000"/>
              </a:srgbClr>
            </a:solidFill>
          </p:grpSpPr>
          <p:sp>
            <p:nvSpPr>
              <p:cNvPr id="197" name="Rectangle: Rounded Corners 196"/>
              <p:cNvSpPr/>
              <p:nvPr/>
            </p:nvSpPr>
            <p:spPr>
              <a:xfrm>
                <a:off x="1360034" y="1295629"/>
                <a:ext cx="524504" cy="165100"/>
              </a:xfrm>
              <a:prstGeom prst="roundRect">
                <a:avLst>
                  <a:gd name="adj" fmla="val 50000"/>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98" name="object 36"/>
              <p:cNvSpPr txBox="1"/>
              <p:nvPr/>
            </p:nvSpPr>
            <p:spPr>
              <a:xfrm>
                <a:off x="1549772" y="1282621"/>
                <a:ext cx="513168"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戛戈</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55" name="Group 154"/>
            <p:cNvGrpSpPr/>
            <p:nvPr/>
          </p:nvGrpSpPr>
          <p:grpSpPr>
            <a:xfrm>
              <a:off x="8591657" y="2356338"/>
              <a:ext cx="296826" cy="296826"/>
              <a:chOff x="2186094" y="1229766"/>
              <a:chExt cx="296826" cy="296826"/>
            </a:xfrm>
          </p:grpSpPr>
          <p:sp>
            <p:nvSpPr>
              <p:cNvPr id="194" name="Oval 19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95" name="Oval 19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96" name="Oval 195"/>
              <p:cNvSpPr/>
              <p:nvPr/>
            </p:nvSpPr>
            <p:spPr>
              <a:xfrm>
                <a:off x="2262294" y="1305966"/>
                <a:ext cx="144426" cy="144426"/>
              </a:xfrm>
              <a:prstGeom prst="ellipse">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56" name="Oval 155"/>
            <p:cNvSpPr/>
            <p:nvPr/>
          </p:nvSpPr>
          <p:spPr>
            <a:xfrm flipV="1">
              <a:off x="10684880" y="3447098"/>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57" name="Straight Connector 156"/>
            <p:cNvCxnSpPr/>
            <p:nvPr/>
          </p:nvCxnSpPr>
          <p:spPr>
            <a:xfrm>
              <a:off x="10742541" y="3227566"/>
              <a:ext cx="0" cy="242391"/>
            </a:xfrm>
            <a:prstGeom prst="line">
              <a:avLst/>
            </a:prstGeom>
            <a:noFill/>
            <a:ln w="12700" cap="flat" cmpd="sng" algn="ctr">
              <a:solidFill>
                <a:srgbClr val="E81C24"/>
              </a:solidFill>
              <a:prstDash val="solid"/>
              <a:miter lim="800000"/>
            </a:ln>
            <a:effectLst/>
          </p:spPr>
        </p:cxnSp>
        <p:grpSp>
          <p:nvGrpSpPr>
            <p:cNvPr id="158" name="Group 157"/>
            <p:cNvGrpSpPr/>
            <p:nvPr/>
          </p:nvGrpSpPr>
          <p:grpSpPr>
            <a:xfrm>
              <a:off x="10711252" y="3050300"/>
              <a:ext cx="1047550" cy="174277"/>
              <a:chOff x="1360032" y="1286452"/>
              <a:chExt cx="1047550" cy="174277"/>
            </a:xfrm>
            <a:solidFill>
              <a:srgbClr val="000000">
                <a:lumMod val="50000"/>
                <a:lumOff val="50000"/>
              </a:srgbClr>
            </a:solidFill>
          </p:grpSpPr>
          <p:sp>
            <p:nvSpPr>
              <p:cNvPr id="192" name="Rectangle: Rounded Corners 191"/>
              <p:cNvSpPr/>
              <p:nvPr/>
            </p:nvSpPr>
            <p:spPr>
              <a:xfrm>
                <a:off x="1360032" y="1295629"/>
                <a:ext cx="1047550" cy="165100"/>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93" name="object 36"/>
              <p:cNvSpPr txBox="1"/>
              <p:nvPr/>
            </p:nvSpPr>
            <p:spPr>
              <a:xfrm>
                <a:off x="1545594" y="1286452"/>
                <a:ext cx="818809"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特巴加普拉</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59" name="Group 158"/>
            <p:cNvGrpSpPr/>
            <p:nvPr/>
          </p:nvGrpSpPr>
          <p:grpSpPr>
            <a:xfrm>
              <a:off x="10594128" y="2993190"/>
              <a:ext cx="296826" cy="296826"/>
              <a:chOff x="2186094" y="1229766"/>
              <a:chExt cx="296826" cy="296826"/>
            </a:xfrm>
          </p:grpSpPr>
          <p:sp>
            <p:nvSpPr>
              <p:cNvPr id="189" name="Oval 18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90" name="Oval 18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91" name="Oval 190"/>
              <p:cNvSpPr/>
              <p:nvPr/>
            </p:nvSpPr>
            <p:spPr>
              <a:xfrm>
                <a:off x="2262294" y="1305966"/>
                <a:ext cx="144426" cy="144426"/>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60" name="Oval 159"/>
            <p:cNvSpPr/>
            <p:nvPr/>
          </p:nvSpPr>
          <p:spPr>
            <a:xfrm flipV="1">
              <a:off x="10541236" y="3457858"/>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61" name="Straight Connector 160"/>
            <p:cNvCxnSpPr/>
            <p:nvPr/>
          </p:nvCxnSpPr>
          <p:spPr>
            <a:xfrm>
              <a:off x="10598897" y="3480718"/>
              <a:ext cx="0" cy="242391"/>
            </a:xfrm>
            <a:prstGeom prst="line">
              <a:avLst/>
            </a:prstGeom>
            <a:noFill/>
            <a:ln w="12700" cap="flat" cmpd="sng" algn="ctr">
              <a:solidFill>
                <a:srgbClr val="E81C24"/>
              </a:solidFill>
              <a:prstDash val="solid"/>
              <a:miter lim="800000"/>
            </a:ln>
            <a:effectLst/>
          </p:spPr>
        </p:cxnSp>
        <p:grpSp>
          <p:nvGrpSpPr>
            <p:cNvPr id="162" name="Group 161"/>
            <p:cNvGrpSpPr/>
            <p:nvPr/>
          </p:nvGrpSpPr>
          <p:grpSpPr>
            <a:xfrm>
              <a:off x="9575718" y="3714356"/>
              <a:ext cx="1047550" cy="174277"/>
              <a:chOff x="368142" y="1286452"/>
              <a:chExt cx="1047550" cy="174277"/>
            </a:xfrm>
            <a:solidFill>
              <a:srgbClr val="000000">
                <a:lumMod val="50000"/>
                <a:lumOff val="50000"/>
              </a:srgbClr>
            </a:solidFill>
          </p:grpSpPr>
          <p:sp>
            <p:nvSpPr>
              <p:cNvPr id="187" name="Rectangle: Rounded Corners 186"/>
              <p:cNvSpPr/>
              <p:nvPr/>
            </p:nvSpPr>
            <p:spPr>
              <a:xfrm>
                <a:off x="368142" y="1295629"/>
                <a:ext cx="1047550" cy="165100"/>
              </a:xfrm>
              <a:prstGeom prst="roundRect">
                <a:avLst>
                  <a:gd name="adj" fmla="val 50000"/>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88" name="object 36"/>
              <p:cNvSpPr txBox="1"/>
              <p:nvPr/>
            </p:nvSpPr>
            <p:spPr>
              <a:xfrm>
                <a:off x="458878" y="1286452"/>
                <a:ext cx="818809" cy="152606"/>
              </a:xfrm>
              <a:prstGeom prst="rect">
                <a:avLst/>
              </a:prstGeom>
              <a:noFill/>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特巴加普拉</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63" name="Group 162"/>
            <p:cNvGrpSpPr/>
            <p:nvPr/>
          </p:nvGrpSpPr>
          <p:grpSpPr>
            <a:xfrm>
              <a:off x="10450484" y="3657246"/>
              <a:ext cx="296826" cy="296826"/>
              <a:chOff x="2186094" y="1229766"/>
              <a:chExt cx="296826" cy="296826"/>
            </a:xfrm>
          </p:grpSpPr>
          <p:sp>
            <p:nvSpPr>
              <p:cNvPr id="184" name="Oval 183"/>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85" name="Oval 184"/>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86" name="Oval 185"/>
              <p:cNvSpPr/>
              <p:nvPr/>
            </p:nvSpPr>
            <p:spPr>
              <a:xfrm>
                <a:off x="2262294" y="1305966"/>
                <a:ext cx="144426" cy="144426"/>
              </a:xfrm>
              <a:prstGeom prst="ellipse">
                <a:avLst/>
              </a:prstGeom>
              <a:solidFill>
                <a:srgbClr val="064A7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cxnSp>
          <p:nvCxnSpPr>
            <p:cNvPr id="164" name="Straight Connector 163"/>
            <p:cNvCxnSpPr/>
            <p:nvPr/>
          </p:nvCxnSpPr>
          <p:spPr>
            <a:xfrm>
              <a:off x="1472459" y="1628468"/>
              <a:ext cx="0" cy="206469"/>
            </a:xfrm>
            <a:prstGeom prst="line">
              <a:avLst/>
            </a:prstGeom>
            <a:noFill/>
            <a:ln w="12700" cap="flat" cmpd="sng" algn="ctr">
              <a:solidFill>
                <a:srgbClr val="E81C24"/>
              </a:solidFill>
              <a:prstDash val="solid"/>
              <a:miter lim="800000"/>
            </a:ln>
            <a:effectLst/>
          </p:spPr>
        </p:cxnSp>
        <p:grpSp>
          <p:nvGrpSpPr>
            <p:cNvPr id="165" name="Group 164"/>
            <p:cNvGrpSpPr/>
            <p:nvPr/>
          </p:nvGrpSpPr>
          <p:grpSpPr>
            <a:xfrm>
              <a:off x="1467368" y="1413991"/>
              <a:ext cx="1124503" cy="190689"/>
              <a:chOff x="1373053" y="1281486"/>
              <a:chExt cx="985514" cy="139168"/>
            </a:xfrm>
          </p:grpSpPr>
          <p:sp>
            <p:nvSpPr>
              <p:cNvPr id="182" name="Rectangle: Rounded Corners 181"/>
              <p:cNvSpPr/>
              <p:nvPr/>
            </p:nvSpPr>
            <p:spPr>
              <a:xfrm>
                <a:off x="1373053" y="1281486"/>
                <a:ext cx="891055" cy="139168"/>
              </a:xfrm>
              <a:prstGeom prst="roundRect">
                <a:avLst>
                  <a:gd name="adj" fmla="val 50000"/>
                </a:avLst>
              </a:prstGeom>
              <a:solidFill>
                <a:srgbClr val="EC1C2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83" name="object 36"/>
              <p:cNvSpPr txBox="1"/>
              <p:nvPr/>
            </p:nvSpPr>
            <p:spPr>
              <a:xfrm>
                <a:off x="1545594" y="1286452"/>
                <a:ext cx="812973" cy="111375"/>
              </a:xfrm>
              <a:prstGeom prst="rect">
                <a:avLst/>
              </a:prstGeom>
              <a:ln>
                <a:noFill/>
              </a:ln>
            </p:spPr>
            <p:txBody>
              <a:bodyPr vert="horz" wrap="square" lIns="0" tIns="13970" rIns="0" bIns="0" rtlCol="0">
                <a:spAutoFit/>
              </a:bodyPr>
              <a:lstStyle/>
              <a:p>
                <a:pPr marL="12700" lvl="0">
                  <a:spcBef>
                    <a:spcPts val="110"/>
                  </a:spcBef>
                  <a:defRPr/>
                </a:pPr>
                <a:r>
                  <a:rPr lang="zh-CN" altLang="en-US" sz="900" kern="0" spc="-45" dirty="0">
                    <a:solidFill>
                      <a:prstClr val="white"/>
                    </a:solidFill>
                    <a:latin typeface="GothamBook" pitchFamily="50" charset="0"/>
                    <a:cs typeface="Trebuchet MS" panose="020B0703020202090204"/>
                  </a:rPr>
                  <a:t>瓜拉丹绒</a:t>
                </a:r>
                <a:endParaRPr kumimoji="0" sz="900" b="0" i="0" u="none" strike="noStrike" kern="0" cap="none" spc="0" normalizeH="0" baseline="0" noProof="0" dirty="0">
                  <a:ln>
                    <a:noFill/>
                  </a:ln>
                  <a:solidFill>
                    <a:prstClr val="white"/>
                  </a:solidFill>
                  <a:effectLst/>
                  <a:uLnTx/>
                  <a:uFillTx/>
                  <a:latin typeface="GothamBook" pitchFamily="50" charset="0"/>
                  <a:ea typeface="+mn-ea"/>
                  <a:cs typeface="Trebuchet MS" panose="020B0703020202090204"/>
                </a:endParaRPr>
              </a:p>
            </p:txBody>
          </p:sp>
        </p:grpSp>
        <p:grpSp>
          <p:nvGrpSpPr>
            <p:cNvPr id="166" name="Group 165"/>
            <p:cNvGrpSpPr/>
            <p:nvPr/>
          </p:nvGrpSpPr>
          <p:grpSpPr>
            <a:xfrm>
              <a:off x="1334592" y="1364113"/>
              <a:ext cx="296826" cy="296826"/>
              <a:chOff x="2186094" y="1229766"/>
              <a:chExt cx="296826" cy="296826"/>
            </a:xfrm>
          </p:grpSpPr>
          <p:sp>
            <p:nvSpPr>
              <p:cNvPr id="179" name="Oval 178"/>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80" name="Oval 179"/>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81" name="Oval 180"/>
              <p:cNvSpPr/>
              <p:nvPr/>
            </p:nvSpPr>
            <p:spPr>
              <a:xfrm>
                <a:off x="2262294" y="1305966"/>
                <a:ext cx="144426" cy="144426"/>
              </a:xfrm>
              <a:prstGeom prst="ellipse">
                <a:avLst/>
              </a:prstGeom>
              <a:solidFill>
                <a:srgbClr val="FFFFFF">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grpSp>
          <p:nvGrpSpPr>
            <p:cNvPr id="167" name="Group 166"/>
            <p:cNvGrpSpPr/>
            <p:nvPr/>
          </p:nvGrpSpPr>
          <p:grpSpPr>
            <a:xfrm>
              <a:off x="4568484" y="3711390"/>
              <a:ext cx="296826" cy="296826"/>
              <a:chOff x="2186094" y="1229766"/>
              <a:chExt cx="296826" cy="296826"/>
            </a:xfrm>
          </p:grpSpPr>
          <p:sp>
            <p:nvSpPr>
              <p:cNvPr id="176" name="Oval 175"/>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77" name="Oval 176"/>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78" name="Oval 177"/>
              <p:cNvSpPr/>
              <p:nvPr/>
            </p:nvSpPr>
            <p:spPr>
              <a:xfrm>
                <a:off x="2262294" y="1305966"/>
                <a:ext cx="144426" cy="144426"/>
              </a:xfrm>
              <a:prstGeom prst="ellipse">
                <a:avLst/>
              </a:prstGeom>
              <a:solidFill>
                <a:srgbClr val="064A7A"/>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sp>
          <p:nvSpPr>
            <p:cNvPr id="168" name="Oval 167"/>
            <p:cNvSpPr/>
            <p:nvPr/>
          </p:nvSpPr>
          <p:spPr>
            <a:xfrm flipV="1">
              <a:off x="4589764" y="4214709"/>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69" name="Straight Connector 168"/>
            <p:cNvCxnSpPr/>
            <p:nvPr/>
          </p:nvCxnSpPr>
          <p:spPr>
            <a:xfrm>
              <a:off x="4722185" y="4007862"/>
              <a:ext cx="0" cy="242391"/>
            </a:xfrm>
            <a:prstGeom prst="line">
              <a:avLst/>
            </a:prstGeom>
            <a:noFill/>
            <a:ln w="12700" cap="flat" cmpd="sng" algn="ctr">
              <a:solidFill>
                <a:srgbClr val="E81C24"/>
              </a:solidFill>
              <a:prstDash val="solid"/>
              <a:miter lim="800000"/>
            </a:ln>
            <a:effectLst/>
          </p:spPr>
        </p:cxnSp>
        <p:sp>
          <p:nvSpPr>
            <p:cNvPr id="170" name="Oval 169"/>
            <p:cNvSpPr/>
            <p:nvPr/>
          </p:nvSpPr>
          <p:spPr>
            <a:xfrm flipV="1">
              <a:off x="5981630" y="4514799"/>
              <a:ext cx="111206" cy="45719"/>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cxnSp>
          <p:nvCxnSpPr>
            <p:cNvPr id="171" name="Straight Connector 170"/>
            <p:cNvCxnSpPr/>
            <p:nvPr/>
          </p:nvCxnSpPr>
          <p:spPr>
            <a:xfrm>
              <a:off x="6037233" y="4295268"/>
              <a:ext cx="0" cy="242391"/>
            </a:xfrm>
            <a:prstGeom prst="line">
              <a:avLst/>
            </a:prstGeom>
            <a:noFill/>
            <a:ln w="12700" cap="flat" cmpd="sng" algn="ctr">
              <a:solidFill>
                <a:srgbClr val="E81C24"/>
              </a:solidFill>
              <a:prstDash val="solid"/>
              <a:miter lim="800000"/>
            </a:ln>
            <a:effectLst/>
          </p:spPr>
        </p:cxnSp>
        <p:grpSp>
          <p:nvGrpSpPr>
            <p:cNvPr id="172" name="Group 171"/>
            <p:cNvGrpSpPr/>
            <p:nvPr/>
          </p:nvGrpSpPr>
          <p:grpSpPr>
            <a:xfrm>
              <a:off x="5970100" y="4060892"/>
              <a:ext cx="296826" cy="296826"/>
              <a:chOff x="2186094" y="1229766"/>
              <a:chExt cx="296826" cy="296826"/>
            </a:xfrm>
          </p:grpSpPr>
          <p:sp>
            <p:nvSpPr>
              <p:cNvPr id="173" name="Oval 172"/>
              <p:cNvSpPr/>
              <p:nvPr/>
            </p:nvSpPr>
            <p:spPr>
              <a:xfrm>
                <a:off x="2186094" y="1229766"/>
                <a:ext cx="296826" cy="296826"/>
              </a:xfrm>
              <a:prstGeom prst="ellipse">
                <a:avLst/>
              </a:prstGeom>
              <a:solidFill>
                <a:srgbClr val="E81C2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74" name="Oval 173"/>
              <p:cNvSpPr/>
              <p:nvPr/>
            </p:nvSpPr>
            <p:spPr>
              <a:xfrm>
                <a:off x="2224670" y="1268342"/>
                <a:ext cx="219674" cy="2196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sp>
            <p:nvSpPr>
              <p:cNvPr id="175" name="Oval 174"/>
              <p:cNvSpPr/>
              <p:nvPr/>
            </p:nvSpPr>
            <p:spPr>
              <a:xfrm>
                <a:off x="2262294" y="1305966"/>
                <a:ext cx="144426" cy="144426"/>
              </a:xfrm>
              <a:prstGeom prst="ellipse">
                <a:avLst/>
              </a:prstGeom>
              <a:solidFill>
                <a:srgbClr val="FFC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prstClr val="white"/>
                  </a:solidFill>
                  <a:effectLst/>
                  <a:uLnTx/>
                  <a:uFillTx/>
                  <a:latin typeface="GothamBook" pitchFamily="50" charset="0"/>
                  <a:ea typeface="+mn-ea"/>
                  <a:cs typeface="+mn-cs"/>
                </a:endParaRPr>
              </a:p>
            </p:txBody>
          </p:sp>
        </p:grpSp>
      </p:grpSp>
      <p:sp>
        <p:nvSpPr>
          <p:cNvPr id="2" name="Oval 1"/>
          <p:cNvSpPr/>
          <p:nvPr/>
        </p:nvSpPr>
        <p:spPr>
          <a:xfrm>
            <a:off x="3680524" y="1672041"/>
            <a:ext cx="1106556" cy="1052339"/>
          </a:xfrm>
          <a:prstGeom prst="ellipse">
            <a:avLst/>
          </a:prstGeom>
          <a:noFill/>
          <a:ln>
            <a:solidFill>
              <a:srgbClr val="E81C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solidFill>
                <a:srgbClr val="FFFF0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p>
            <a:pPr lvl="0" algn="l">
              <a:defRPr/>
            </a:pPr>
            <a:r>
              <a:rPr lang="zh-CN" altLang="zh-CN" dirty="0"/>
              <a:t>本演示文稿由</a:t>
            </a:r>
            <a:r>
              <a:rPr lang="en-US" altLang="zh-CN" dirty="0"/>
              <a:t>MIND ID</a:t>
            </a:r>
            <a:r>
              <a:rPr lang="zh-CN" altLang="zh-CN" dirty="0"/>
              <a:t>专门编制。未经</a:t>
            </a:r>
            <a:r>
              <a:rPr lang="en-US" altLang="zh-CN" dirty="0"/>
              <a:t>MIND ID</a:t>
            </a:r>
            <a:r>
              <a:rPr lang="zh-CN" altLang="zh-CN" dirty="0"/>
              <a:t>书面同意，不得以任何形式使用、复制或传输本演示文稿的内容。版权所有。</a:t>
            </a:r>
            <a:endParaRPr kumimoji="0" lang="en-US" sz="900" b="0" i="0" u="none" strike="noStrike" kern="1200" cap="none" spc="0" normalizeH="0" baseline="0" noProof="0" dirty="0">
              <a:ln>
                <a:noFill/>
              </a:ln>
              <a:solidFill>
                <a:srgbClr val="FFFFFF">
                  <a:lumMod val="50000"/>
                </a:srgbClr>
              </a:solidFill>
              <a:effectLst/>
              <a:uLnTx/>
              <a:uFillTx/>
              <a:latin typeface="Gotham Book" charset="0"/>
              <a:ea typeface="Gotham Book" charset="0"/>
              <a:cs typeface="Gotham Book" charset="0"/>
            </a:endParaRPr>
          </a:p>
        </p:txBody>
      </p:sp>
      <p:sp>
        <p:nvSpPr>
          <p:cNvPr id="6" name="Date Placeholder 5"/>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ID" sz="900" b="0" i="0" u="none" strike="noStrike" kern="1200" cap="none" spc="0" normalizeH="0" baseline="0" noProof="0" dirty="0">
                <a:ln>
                  <a:noFill/>
                </a:ln>
                <a:solidFill>
                  <a:srgbClr val="000000">
                    <a:lumMod val="65000"/>
                    <a:lumOff val="35000"/>
                  </a:srgbClr>
                </a:solidFill>
                <a:effectLst/>
                <a:uLnTx/>
                <a:uFillTx/>
                <a:latin typeface="Gotham Book" charset="0"/>
              </a:rPr>
              <a:t>2021</a:t>
            </a:r>
            <a:r>
              <a:rPr kumimoji="0" lang="zh-CN" altLang="en-US" sz="900" b="0" i="0" u="none" strike="noStrike" kern="1200" cap="none" spc="0" normalizeH="0" baseline="0" noProof="0" dirty="0">
                <a:ln>
                  <a:noFill/>
                </a:ln>
                <a:solidFill>
                  <a:srgbClr val="000000">
                    <a:lumMod val="65000"/>
                    <a:lumOff val="35000"/>
                  </a:srgbClr>
                </a:solidFill>
                <a:effectLst/>
                <a:uLnTx/>
                <a:uFillTx/>
                <a:latin typeface="Gotham Book" charset="0"/>
              </a:rPr>
              <a:t>年</a:t>
            </a:r>
            <a:r>
              <a:rPr kumimoji="0" lang="en-US" altLang="zh-CN" sz="900" b="0" i="0" u="none" strike="noStrike" kern="1200" cap="none" spc="0" normalizeH="0" baseline="0" noProof="0" dirty="0">
                <a:ln>
                  <a:noFill/>
                </a:ln>
                <a:solidFill>
                  <a:srgbClr val="000000">
                    <a:lumMod val="65000"/>
                    <a:lumOff val="35000"/>
                  </a:srgbClr>
                </a:solidFill>
                <a:effectLst/>
                <a:uLnTx/>
                <a:uFillTx/>
                <a:latin typeface="Gotham Book" charset="0"/>
              </a:rPr>
              <a:t>12</a:t>
            </a:r>
            <a:r>
              <a:rPr kumimoji="0" lang="zh-CN" altLang="en-US" sz="900" b="0" i="0" u="none" strike="noStrike" kern="1200" cap="none" spc="0" normalizeH="0" baseline="0" noProof="0" dirty="0">
                <a:ln>
                  <a:noFill/>
                </a:ln>
                <a:solidFill>
                  <a:srgbClr val="000000">
                    <a:lumMod val="65000"/>
                    <a:lumOff val="35000"/>
                  </a:srgbClr>
                </a:solidFill>
                <a:effectLst/>
                <a:uLnTx/>
                <a:uFillTx/>
                <a:latin typeface="Gotham Book" charset="0"/>
              </a:rPr>
              <a:t>月</a:t>
            </a:r>
            <a:r>
              <a:rPr kumimoji="0" lang="en-US" altLang="zh-CN" sz="900" b="0" i="0" u="none" strike="noStrike" kern="1200" cap="none" spc="0" normalizeH="0" baseline="0" noProof="0" dirty="0">
                <a:ln>
                  <a:noFill/>
                </a:ln>
                <a:solidFill>
                  <a:srgbClr val="000000">
                    <a:lumMod val="65000"/>
                    <a:lumOff val="35000"/>
                  </a:srgbClr>
                </a:solidFill>
                <a:effectLst/>
                <a:uLnTx/>
                <a:uFillTx/>
                <a:latin typeface="Gotham Book" charset="0"/>
              </a:rPr>
              <a:t>11</a:t>
            </a:r>
            <a:r>
              <a:rPr kumimoji="0" lang="zh-CN" altLang="en-US" sz="900" b="0" i="0" u="none" strike="noStrike" kern="1200" cap="none" spc="0" normalizeH="0" baseline="0" noProof="0" dirty="0">
                <a:ln>
                  <a:noFill/>
                </a:ln>
                <a:solidFill>
                  <a:srgbClr val="000000">
                    <a:lumMod val="65000"/>
                    <a:lumOff val="35000"/>
                  </a:srgbClr>
                </a:solidFill>
                <a:effectLst/>
                <a:uLnTx/>
                <a:uFillTx/>
                <a:latin typeface="Gotham Book" charset="0"/>
              </a:rPr>
              <a:t>日，周四</a:t>
            </a:r>
            <a:endParaRPr kumimoji="0" lang="id-ID" sz="900" b="0" i="0" u="none" strike="noStrike" kern="1200" cap="none" spc="0" normalizeH="0" baseline="0" noProof="0" dirty="0">
              <a:ln>
                <a:noFill/>
              </a:ln>
              <a:solidFill>
                <a:srgbClr val="000000">
                  <a:lumMod val="65000"/>
                  <a:lumOff val="35000"/>
                </a:srgbClr>
              </a:solidFill>
              <a:effectLst/>
              <a:uLnTx/>
              <a:uFillTx/>
              <a:latin typeface="Gotham Book" charset="0"/>
            </a:endParaRPr>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id-ID" sz="1100" b="0" i="0" u="none" strike="noStrike" kern="1200" cap="none" spc="0" normalizeH="0" baseline="0" noProof="0">
                <a:ln>
                  <a:noFill/>
                </a:ln>
                <a:solidFill>
                  <a:srgbClr val="000000">
                    <a:lumMod val="75000"/>
                    <a:lumOff val="25000"/>
                  </a:srgbClr>
                </a:solidFill>
                <a:effectLst/>
                <a:uLnTx/>
                <a:uFillTx/>
                <a:latin typeface="Gotham Book" charset="0"/>
              </a:rPr>
              <a:t>|         </a:t>
            </a:r>
            <a:fld id="{7904F5B5-DD6E-6442-8C14-4BFE420CE974}" type="slidenum">
              <a:rPr kumimoji="0" lang="id-ID" sz="1100" b="0" i="0" u="none" strike="noStrike" kern="1200" cap="none" spc="0" normalizeH="0" baseline="0" noProof="0" smtClean="0">
                <a:ln>
                  <a:noFill/>
                </a:ln>
                <a:solidFill>
                  <a:srgbClr val="000000">
                    <a:lumMod val="75000"/>
                    <a:lumOff val="25000"/>
                  </a:srgbClr>
                </a:solidFill>
                <a:effectLst/>
                <a:uLnTx/>
                <a:uFillTx/>
                <a:latin typeface="Gotham Book" charset="0"/>
              </a:rPr>
              <a:t>5</a:t>
            </a:fld>
            <a:endParaRPr kumimoji="0" lang="id-ID" sz="1100" b="0" i="0" u="none" strike="noStrike" kern="1200" cap="none" spc="0" normalizeH="0" baseline="0" noProof="0">
              <a:ln>
                <a:noFill/>
              </a:ln>
              <a:solidFill>
                <a:srgbClr val="000000">
                  <a:lumMod val="75000"/>
                  <a:lumOff val="25000"/>
                </a:srgbClr>
              </a:solidFill>
              <a:effectLst/>
              <a:uLnTx/>
              <a:uFillTx/>
              <a:latin typeface="Gotham Book" charset="0"/>
            </a:endParaRPr>
          </a:p>
        </p:txBody>
      </p:sp>
      <p:graphicFrame>
        <p:nvGraphicFramePr>
          <p:cNvPr id="8" name="Table 7"/>
          <p:cNvGraphicFramePr>
            <a:graphicFrameLocks noGrp="1"/>
          </p:cNvGraphicFramePr>
          <p:nvPr/>
        </p:nvGraphicFramePr>
        <p:xfrm>
          <a:off x="2411367" y="1030300"/>
          <a:ext cx="5458800" cy="5048124"/>
        </p:xfrm>
        <a:graphic>
          <a:graphicData uri="http://schemas.openxmlformats.org/drawingml/2006/table">
            <a:tbl>
              <a:tblPr firstRow="1" bandRow="1"/>
              <a:tblGrid>
                <a:gridCol w="1154949">
                  <a:extLst>
                    <a:ext uri="{9D8B030D-6E8A-4147-A177-3AD203B41FA5}">
                      <a16:colId xmlns:a16="http://schemas.microsoft.com/office/drawing/2014/main" val="20000"/>
                    </a:ext>
                  </a:extLst>
                </a:gridCol>
                <a:gridCol w="1066644">
                  <a:extLst>
                    <a:ext uri="{9D8B030D-6E8A-4147-A177-3AD203B41FA5}">
                      <a16:colId xmlns:a16="http://schemas.microsoft.com/office/drawing/2014/main" val="20001"/>
                    </a:ext>
                  </a:extLst>
                </a:gridCol>
                <a:gridCol w="1097280">
                  <a:extLst>
                    <a:ext uri="{9D8B030D-6E8A-4147-A177-3AD203B41FA5}">
                      <a16:colId xmlns:a16="http://schemas.microsoft.com/office/drawing/2014/main" val="20002"/>
                    </a:ext>
                  </a:extLst>
                </a:gridCol>
                <a:gridCol w="975360">
                  <a:extLst>
                    <a:ext uri="{9D8B030D-6E8A-4147-A177-3AD203B41FA5}">
                      <a16:colId xmlns:a16="http://schemas.microsoft.com/office/drawing/2014/main" val="20003"/>
                    </a:ext>
                  </a:extLst>
                </a:gridCol>
                <a:gridCol w="1164567">
                  <a:extLst>
                    <a:ext uri="{9D8B030D-6E8A-4147-A177-3AD203B41FA5}">
                      <a16:colId xmlns:a16="http://schemas.microsoft.com/office/drawing/2014/main" val="20004"/>
                    </a:ext>
                  </a:extLst>
                </a:gridCol>
              </a:tblGrid>
              <a:tr h="398477">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marL="0" algn="ctr" defTabSz="913765" rtl="0" eaLnBrk="1" latinLnBrk="0" hangingPunct="1">
                        <a:lnSpc>
                          <a:spcPct val="90000"/>
                        </a:lnSpc>
                        <a:spcBef>
                          <a:spcPts val="0"/>
                        </a:spcBef>
                        <a:spcAft>
                          <a:spcPct val="0"/>
                        </a:spcAft>
                        <a:buNone/>
                      </a:pPr>
                      <a:r>
                        <a:rPr lang="zh-CN" altLang="en-US" sz="1200" b="1" i="0" u="none" dirty="0">
                          <a:solidFill>
                            <a:srgbClr val="FFFFFF"/>
                          </a:solidFill>
                          <a:latin typeface="GothamBold" pitchFamily="50" charset="0"/>
                        </a:rPr>
                        <a:t>子控股公司</a:t>
                      </a:r>
                      <a:endParaRPr lang="en-US" sz="1200" b="1" i="0" u="none" dirty="0">
                        <a:solidFill>
                          <a:srgbClr val="FFFFFF"/>
                        </a:solidFill>
                        <a:latin typeface="GothamBold" pitchFamily="50" charset="0"/>
                      </a:endParaRPr>
                    </a:p>
                  </a:txBody>
                  <a:tcPr marL="71120" marR="71120" marT="35560" marB="35560" anchor="ctr">
                    <a:lnL w="57150" cmpd="sng">
                      <a:solidFill>
                        <a:srgbClr val="FFFFFF"/>
                      </a:solidFill>
                    </a:lnL>
                    <a:lnR w="57150" cmpd="sng">
                      <a:solidFill>
                        <a:srgbClr val="FFFFFF"/>
                      </a:solidFill>
                    </a:lnR>
                    <a:lnT w="6350" cmpd="sng">
                      <a:solidFill>
                        <a:srgbClr val="FFFFFF"/>
                      </a:solidFill>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marL="0" algn="ctr" defTabSz="913765" rtl="0" eaLnBrk="1" latinLnBrk="0" hangingPunct="1">
                        <a:lnSpc>
                          <a:spcPct val="90000"/>
                        </a:lnSpc>
                        <a:spcBef>
                          <a:spcPts val="0"/>
                        </a:spcBef>
                        <a:spcAft>
                          <a:spcPct val="0"/>
                        </a:spcAft>
                        <a:buNone/>
                      </a:pPr>
                      <a:r>
                        <a:rPr lang="zh-CN" altLang="en-US" sz="1200" b="1" i="0" u="none" dirty="0">
                          <a:solidFill>
                            <a:srgbClr val="FFFFFF"/>
                          </a:solidFill>
                          <a:latin typeface="GothamBold" pitchFamily="50" charset="0"/>
                        </a:rPr>
                        <a:t>产品类别</a:t>
                      </a:r>
                      <a:endParaRPr lang="en-US" sz="1200" b="1" i="0" u="none" dirty="0">
                        <a:solidFill>
                          <a:srgbClr val="FFFFFF"/>
                        </a:solidFill>
                        <a:latin typeface="GothamBold" pitchFamily="50" charset="0"/>
                      </a:endParaRPr>
                    </a:p>
                  </a:txBody>
                  <a:tcPr marL="71120" marR="71120" marT="35560" marB="35560" anchor="ctr">
                    <a:lnL w="57150" cmpd="sng">
                      <a:solidFill>
                        <a:srgbClr val="FFFFFF"/>
                      </a:solidFill>
                    </a:lnL>
                    <a:lnR w="57150" cmpd="sng">
                      <a:solidFill>
                        <a:srgbClr val="FFFFFF"/>
                      </a:solidFill>
                    </a:lnR>
                    <a:lnT w="6350" cmpd="sng">
                      <a:solidFill>
                        <a:srgbClr val="FFFFFF"/>
                      </a:solidFill>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464646"/>
                    </a:solidFill>
                  </a:tcPr>
                </a:tc>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marL="0" algn="ctr" defTabSz="913765" rtl="0" eaLnBrk="1" latinLnBrk="0" hangingPunct="1">
                        <a:lnSpc>
                          <a:spcPct val="90000"/>
                        </a:lnSpc>
                        <a:spcBef>
                          <a:spcPts val="0"/>
                        </a:spcBef>
                        <a:spcAft>
                          <a:spcPct val="0"/>
                        </a:spcAft>
                        <a:buNone/>
                      </a:pPr>
                      <a:r>
                        <a:rPr lang="zh-CN" altLang="en-US" sz="1200" b="1" i="0" u="none" dirty="0">
                          <a:solidFill>
                            <a:srgbClr val="FFFFFF"/>
                          </a:solidFill>
                          <a:latin typeface="GothamBold" pitchFamily="50" charset="0"/>
                        </a:rPr>
                        <a:t>形态</a:t>
                      </a:r>
                      <a:r>
                        <a:rPr lang="en-US" altLang="zh-CN" sz="1200" b="1" i="0" u="none" dirty="0">
                          <a:solidFill>
                            <a:srgbClr val="FFFFFF"/>
                          </a:solidFill>
                          <a:latin typeface="GothamBold" pitchFamily="50" charset="0"/>
                        </a:rPr>
                        <a:t>/</a:t>
                      </a:r>
                      <a:r>
                        <a:rPr lang="zh-CN" altLang="en-US" sz="1200" b="1" i="0" u="none" dirty="0">
                          <a:solidFill>
                            <a:srgbClr val="FFFFFF"/>
                          </a:solidFill>
                          <a:latin typeface="GothamBold" pitchFamily="50" charset="0"/>
                        </a:rPr>
                        <a:t>品位</a:t>
                      </a:r>
                      <a:r>
                        <a:rPr lang="en-US" altLang="zh-CN" sz="1200" b="1" i="0" u="none" dirty="0">
                          <a:solidFill>
                            <a:srgbClr val="FFFFFF"/>
                          </a:solidFill>
                          <a:latin typeface="GothamBold" pitchFamily="50" charset="0"/>
                        </a:rPr>
                        <a:t>/</a:t>
                      </a:r>
                      <a:r>
                        <a:rPr lang="zh-CN" altLang="en-US" sz="1200" b="1" i="0" u="none" dirty="0">
                          <a:solidFill>
                            <a:srgbClr val="FFFFFF"/>
                          </a:solidFill>
                          <a:latin typeface="GothamBold" pitchFamily="50" charset="0"/>
                        </a:rPr>
                        <a:t>规格</a:t>
                      </a:r>
                      <a:endParaRPr lang="en-US" sz="1200" b="1" i="0" u="none" dirty="0">
                        <a:solidFill>
                          <a:srgbClr val="FFFFFF"/>
                        </a:solidFill>
                        <a:latin typeface="GothamBold" pitchFamily="50" charset="0"/>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rgbClr val="FFFFFF"/>
                      </a:solidFill>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464646"/>
                    </a:solidFill>
                  </a:tcPr>
                </a:tc>
                <a:tc>
                  <a:txBody>
                    <a:bodyPr/>
                    <a:lstStyle/>
                    <a:p>
                      <a:pPr marL="0" algn="ctr" defTabSz="913765" rtl="0" eaLnBrk="1" latinLnBrk="0" hangingPunct="1">
                        <a:lnSpc>
                          <a:spcPct val="90000"/>
                        </a:lnSpc>
                        <a:spcBef>
                          <a:spcPts val="0"/>
                        </a:spcBef>
                        <a:spcAft>
                          <a:spcPct val="0"/>
                        </a:spcAft>
                        <a:buNone/>
                      </a:pPr>
                      <a:r>
                        <a:rPr lang="zh-CN" altLang="en-US" sz="1200" b="1" i="0" u="none" dirty="0">
                          <a:solidFill>
                            <a:srgbClr val="FFFFFF"/>
                          </a:solidFill>
                          <a:latin typeface="GothamBold" pitchFamily="50" charset="0"/>
                        </a:rPr>
                        <a:t>尺寸</a:t>
                      </a:r>
                      <a:endParaRPr lang="en-US" sz="1200" b="1" i="0" u="none" dirty="0">
                        <a:solidFill>
                          <a:srgbClr val="FFFFFF"/>
                        </a:solidFill>
                        <a:latin typeface="GothamBold" pitchFamily="50" charset="0"/>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rgbClr val="FFFFFF"/>
                      </a:solidFill>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464646"/>
                    </a:solidFill>
                  </a:tcPr>
                </a:tc>
                <a:tc>
                  <a:txBody>
                    <a:bodyPr/>
                    <a:lstStyle>
                      <a:lvl1pPr marL="0" algn="l" defTabSz="914400" rtl="0" eaLnBrk="1" latinLnBrk="0" hangingPunct="1">
                        <a:defRPr sz="1800" b="1" kern="1200">
                          <a:solidFill>
                            <a:schemeClr val="lt1"/>
                          </a:solidFill>
                          <a:latin typeface="Arial" panose="020B0604020202090204"/>
                        </a:defRPr>
                      </a:lvl1pPr>
                      <a:lvl2pPr marL="457200" algn="l" defTabSz="914400" rtl="0" eaLnBrk="1" latinLnBrk="0" hangingPunct="1">
                        <a:defRPr sz="1800" b="1" kern="1200">
                          <a:solidFill>
                            <a:schemeClr val="lt1"/>
                          </a:solidFill>
                          <a:latin typeface="Arial" panose="020B0604020202090204"/>
                        </a:defRPr>
                      </a:lvl2pPr>
                      <a:lvl3pPr marL="914400" algn="l" defTabSz="914400" rtl="0" eaLnBrk="1" latinLnBrk="0" hangingPunct="1">
                        <a:defRPr sz="1800" b="1" kern="1200">
                          <a:solidFill>
                            <a:schemeClr val="lt1"/>
                          </a:solidFill>
                          <a:latin typeface="Arial" panose="020B0604020202090204"/>
                        </a:defRPr>
                      </a:lvl3pPr>
                      <a:lvl4pPr marL="1371600" algn="l" defTabSz="914400" rtl="0" eaLnBrk="1" latinLnBrk="0" hangingPunct="1">
                        <a:defRPr sz="1800" b="1" kern="1200">
                          <a:solidFill>
                            <a:schemeClr val="lt1"/>
                          </a:solidFill>
                          <a:latin typeface="Arial" panose="020B0604020202090204"/>
                        </a:defRPr>
                      </a:lvl4pPr>
                      <a:lvl5pPr marL="1828800" algn="l" defTabSz="914400" rtl="0" eaLnBrk="1" latinLnBrk="0" hangingPunct="1">
                        <a:defRPr sz="1800" b="1" kern="1200">
                          <a:solidFill>
                            <a:schemeClr val="lt1"/>
                          </a:solidFill>
                          <a:latin typeface="Arial" panose="020B0604020202090204"/>
                        </a:defRPr>
                      </a:lvl5pPr>
                      <a:lvl6pPr marL="2286000" algn="l" defTabSz="914400" rtl="0" eaLnBrk="1" latinLnBrk="0" hangingPunct="1">
                        <a:defRPr sz="1800" b="1" kern="1200">
                          <a:solidFill>
                            <a:schemeClr val="lt1"/>
                          </a:solidFill>
                          <a:latin typeface="Arial" panose="020B0604020202090204"/>
                        </a:defRPr>
                      </a:lvl6pPr>
                      <a:lvl7pPr marL="2743200" algn="l" defTabSz="914400" rtl="0" eaLnBrk="1" latinLnBrk="0" hangingPunct="1">
                        <a:defRPr sz="1800" b="1" kern="1200">
                          <a:solidFill>
                            <a:schemeClr val="lt1"/>
                          </a:solidFill>
                          <a:latin typeface="Arial" panose="020B0604020202090204"/>
                        </a:defRPr>
                      </a:lvl7pPr>
                      <a:lvl8pPr marL="3200400" algn="l" defTabSz="914400" rtl="0" eaLnBrk="1" latinLnBrk="0" hangingPunct="1">
                        <a:defRPr sz="1800" b="1" kern="1200">
                          <a:solidFill>
                            <a:schemeClr val="lt1"/>
                          </a:solidFill>
                          <a:latin typeface="Arial" panose="020B0604020202090204"/>
                        </a:defRPr>
                      </a:lvl8pPr>
                      <a:lvl9pPr marL="3657600" algn="l" defTabSz="914400" rtl="0" eaLnBrk="1" latinLnBrk="0" hangingPunct="1">
                        <a:defRPr sz="1800" b="1" kern="1200">
                          <a:solidFill>
                            <a:schemeClr val="lt1"/>
                          </a:solidFill>
                          <a:latin typeface="Arial" panose="020B0604020202090204"/>
                        </a:defRPr>
                      </a:lvl9pPr>
                    </a:lstStyle>
                    <a:p>
                      <a:pPr marL="0" algn="ctr" defTabSz="913765" rtl="0" eaLnBrk="1" latinLnBrk="0" hangingPunct="1">
                        <a:lnSpc>
                          <a:spcPct val="90000"/>
                        </a:lnSpc>
                        <a:spcBef>
                          <a:spcPts val="0"/>
                        </a:spcBef>
                        <a:spcAft>
                          <a:spcPct val="0"/>
                        </a:spcAft>
                        <a:buNone/>
                      </a:pPr>
                      <a:r>
                        <a:rPr lang="zh-CN" altLang="en-US" sz="1200" b="1" i="0" u="none" dirty="0">
                          <a:solidFill>
                            <a:srgbClr val="FFFFFF"/>
                          </a:solidFill>
                          <a:latin typeface="GothamBold" pitchFamily="50" charset="0"/>
                        </a:rPr>
                        <a:t>定价</a:t>
                      </a:r>
                      <a:endParaRPr lang="en-US" sz="1200" b="1" i="0" u="none" dirty="0">
                        <a:solidFill>
                          <a:srgbClr val="FFFFFF"/>
                        </a:solidFill>
                        <a:latin typeface="GothamBold" pitchFamily="50" charset="0"/>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6350" cmpd="sng">
                      <a:solidFill>
                        <a:srgbClr val="FFFFFF"/>
                      </a:solidFill>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464646"/>
                    </a:solidFill>
                  </a:tcPr>
                </a:tc>
                <a:extLst>
                  <a:ext uri="{0D108BD9-81ED-4DB2-BD59-A6C34878D82A}">
                    <a16:rowId xmlns:a16="http://schemas.microsoft.com/office/drawing/2014/main" val="10000"/>
                  </a:ext>
                </a:extLst>
              </a:tr>
              <a:tr h="207329">
                <a:tc rowSpan="3">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algn="ctr">
                        <a:lnSpc>
                          <a:spcPct val="90000"/>
                        </a:lnSpc>
                        <a:spcBef>
                          <a:spcPts val="300"/>
                        </a:spcBef>
                        <a:spcAft>
                          <a:spcPct val="0"/>
                        </a:spcAft>
                      </a:pPr>
                      <a:r>
                        <a:rPr lang="en-US" sz="1200" b="1" i="0" u="none" dirty="0">
                          <a:solidFill>
                            <a:schemeClr val="bg1"/>
                          </a:solidFill>
                          <a:latin typeface="GothamBold" pitchFamily="50" charset="0"/>
                        </a:rPr>
                        <a:t>INALUM</a:t>
                      </a: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铝锭</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3</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rowSpan="3">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0" marR="0" lvl="0" indent="0" algn="ctr" defTabSz="913765" rtl="0" eaLnBrk="1" fontAlgn="auto" latinLnBrk="0" hangingPunct="1">
                        <a:lnSpc>
                          <a:spcPct val="90000"/>
                        </a:lnSpc>
                        <a:spcBef>
                          <a:spcPts val="300"/>
                        </a:spcBef>
                        <a:spcAft>
                          <a:spcPct val="0"/>
                        </a:spcAft>
                        <a:buClr>
                          <a:srgbClr val="C00000"/>
                        </a:buClr>
                        <a:buSzTx/>
                        <a:buFont typeface="Arial" panose="020B0604020202090204" pitchFamily="34" charset="0"/>
                        <a:buNone/>
                        <a:defRPr/>
                      </a:pPr>
                      <a:r>
                        <a:rPr lang="zh-CN" altLang="en-US" sz="1000" b="0" kern="1200" baseline="0" noProof="0" dirty="0">
                          <a:solidFill>
                            <a:schemeClr val="tx1"/>
                          </a:solidFill>
                          <a:latin typeface="GothamBook" pitchFamily="50" charset="0"/>
                          <a:ea typeface="+mn-ea"/>
                          <a:cs typeface="Arial" panose="020B0604020202090204" pitchFamily="34" charset="0"/>
                        </a:rPr>
                        <a:t>市场机制</a:t>
                      </a:r>
                      <a:endParaRPr lang="en-US" sz="1000" b="0" kern="1200" baseline="0" noProof="0" dirty="0">
                        <a:solidFill>
                          <a:schemeClr val="tx1"/>
                        </a:solidFill>
                        <a:latin typeface="GothamBook" pitchFamily="50" charset="0"/>
                        <a:ea typeface="+mn-ea"/>
                        <a:cs typeface="Arial" panose="020B0604020202090204" pitchFamily="34" charset="0"/>
                      </a:endParaRPr>
                    </a:p>
                  </a:txBody>
                  <a:tcPr marL="73153" marR="73153" marT="18288" marB="18288"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8DDE0"/>
                    </a:solidFill>
                  </a:tcPr>
                </a:tc>
                <a:extLst>
                  <a:ext uri="{0D108BD9-81ED-4DB2-BD59-A6C34878D82A}">
                    <a16:rowId xmlns:a16="http://schemas.microsoft.com/office/drawing/2014/main" val="10001"/>
                  </a:ext>
                </a:extLst>
              </a:tr>
              <a:tr h="207329">
                <a:tc vMerge="1">
                  <a:txBody>
                    <a:bodyPr/>
                    <a:lstStyle/>
                    <a:p>
                      <a:endParaRPr lang="zh-CN"/>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铝合金</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mpd="sng">
                      <a:solidFill>
                        <a:srgbClr val="ADABA1"/>
                      </a:solidFill>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02"/>
                  </a:ext>
                </a:extLst>
              </a:tr>
              <a:tr h="207329">
                <a:tc vMerge="1">
                  <a:txBody>
                    <a:bodyPr/>
                    <a:lstStyle/>
                    <a:p>
                      <a:endParaRPr lang="zh-CN"/>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铝坯</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lvl1pPr marL="0" algn="l" defTabSz="914400" rtl="0" eaLnBrk="1" latinLnBrk="0" hangingPunct="1">
                        <a:defRPr sz="1800" kern="1200">
                          <a:solidFill>
                            <a:schemeClr val="dk1"/>
                          </a:solidFill>
                          <a:latin typeface="Arial" panose="020B0604020202090204"/>
                        </a:defRPr>
                      </a:lvl1pPr>
                      <a:lvl2pPr marL="457200" algn="l" defTabSz="914400" rtl="0" eaLnBrk="1" latinLnBrk="0" hangingPunct="1">
                        <a:defRPr sz="1800" kern="1200">
                          <a:solidFill>
                            <a:schemeClr val="dk1"/>
                          </a:solidFill>
                          <a:latin typeface="Arial" panose="020B0604020202090204"/>
                        </a:defRPr>
                      </a:lvl2pPr>
                      <a:lvl3pPr marL="914400" algn="l" defTabSz="914400" rtl="0" eaLnBrk="1" latinLnBrk="0" hangingPunct="1">
                        <a:defRPr sz="1800" kern="1200">
                          <a:solidFill>
                            <a:schemeClr val="dk1"/>
                          </a:solidFill>
                          <a:latin typeface="Arial" panose="020B0604020202090204"/>
                        </a:defRPr>
                      </a:lvl3pPr>
                      <a:lvl4pPr marL="1371600" algn="l" defTabSz="914400" rtl="0" eaLnBrk="1" latinLnBrk="0" hangingPunct="1">
                        <a:defRPr sz="1800" kern="1200">
                          <a:solidFill>
                            <a:schemeClr val="dk1"/>
                          </a:solidFill>
                          <a:latin typeface="Arial" panose="020B0604020202090204"/>
                        </a:defRPr>
                      </a:lvl4pPr>
                      <a:lvl5pPr marL="1828800" algn="l" defTabSz="914400" rtl="0" eaLnBrk="1" latinLnBrk="0" hangingPunct="1">
                        <a:defRPr sz="1800" kern="1200">
                          <a:solidFill>
                            <a:schemeClr val="dk1"/>
                          </a:solidFill>
                          <a:latin typeface="Arial" panose="020B0604020202090204"/>
                        </a:defRPr>
                      </a:lvl5pPr>
                      <a:lvl6pPr marL="2286000" algn="l" defTabSz="914400" rtl="0" eaLnBrk="1" latinLnBrk="0" hangingPunct="1">
                        <a:defRPr sz="1800" kern="1200">
                          <a:solidFill>
                            <a:schemeClr val="dk1"/>
                          </a:solidFill>
                          <a:latin typeface="Arial" panose="020B0604020202090204"/>
                        </a:defRPr>
                      </a:lvl6pPr>
                      <a:lvl7pPr marL="2743200" algn="l" defTabSz="914400" rtl="0" eaLnBrk="1" latinLnBrk="0" hangingPunct="1">
                        <a:defRPr sz="1800" kern="1200">
                          <a:solidFill>
                            <a:schemeClr val="dk1"/>
                          </a:solidFill>
                          <a:latin typeface="Arial" panose="020B0604020202090204"/>
                        </a:defRPr>
                      </a:lvl7pPr>
                      <a:lvl8pPr marL="3200400" algn="l" defTabSz="914400" rtl="0" eaLnBrk="1" latinLnBrk="0" hangingPunct="1">
                        <a:defRPr sz="1800" kern="1200">
                          <a:solidFill>
                            <a:schemeClr val="dk1"/>
                          </a:solidFill>
                          <a:latin typeface="Arial" panose="020B0604020202090204"/>
                        </a:defRPr>
                      </a:lvl8pPr>
                      <a:lvl9pPr marL="3657600" algn="l" defTabSz="914400" rtl="0" eaLnBrk="1" latinLnBrk="0" hangingPunct="1">
                        <a:defRPr sz="1800" kern="1200">
                          <a:solidFill>
                            <a:schemeClr val="dk1"/>
                          </a:solidFill>
                          <a:latin typeface="Arial" panose="020B0604020202090204"/>
                        </a:defRPr>
                      </a:lvl9p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5</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3</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03"/>
                  </a:ext>
                </a:extLst>
              </a:tr>
              <a:tr h="207329">
                <a:tc rowSpan="7">
                  <a:txBody>
                    <a:bodyPr/>
                    <a:lstStyle/>
                    <a:p>
                      <a:pPr algn="ctr">
                        <a:lnSpc>
                          <a:spcPct val="90000"/>
                        </a:lnSpc>
                        <a:spcBef>
                          <a:spcPts val="300"/>
                        </a:spcBef>
                        <a:spcAft>
                          <a:spcPct val="0"/>
                        </a:spcAft>
                      </a:pPr>
                      <a:r>
                        <a:rPr lang="en-US" sz="1200" b="1" i="0" u="none" dirty="0">
                          <a:solidFill>
                            <a:schemeClr val="bg1"/>
                          </a:solidFill>
                          <a:latin typeface="GothamBold" pitchFamily="50" charset="0"/>
                        </a:rPr>
                        <a:t>ANTAM</a:t>
                      </a: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7434"/>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铝土矿</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3765" rtl="0" eaLnBrk="1" fontAlgn="auto" latinLnBrk="0" hangingPunct="1">
                        <a:lnSpc>
                          <a:spcPct val="90000"/>
                        </a:lnSpc>
                        <a:spcBef>
                          <a:spcPts val="300"/>
                        </a:spcBef>
                        <a:spcAft>
                          <a:spcPct val="0"/>
                        </a:spcAft>
                        <a:buClr>
                          <a:srgbClr val="C00000"/>
                        </a:buClr>
                        <a:buSzTx/>
                        <a:buFont typeface="Arial" panose="020B0604020202090204" pitchFamily="34" charset="0"/>
                        <a:buNone/>
                        <a:defRPr/>
                      </a:pPr>
                      <a:r>
                        <a:rPr lang="zh-CN" altLang="en-US" sz="1000" b="0" kern="1200" baseline="0" noProof="0" dirty="0">
                          <a:solidFill>
                            <a:schemeClr val="tx1"/>
                          </a:solidFill>
                          <a:latin typeface="GothamBook" pitchFamily="50" charset="0"/>
                          <a:ea typeface="+mn-ea"/>
                          <a:cs typeface="Arial" panose="020B0604020202090204" pitchFamily="34" charset="0"/>
                        </a:rPr>
                        <a:t>规定价格</a:t>
                      </a:r>
                      <a:endParaRPr lang="en-US" sz="1000" b="0" kern="1200" baseline="0" noProof="0" dirty="0">
                        <a:solidFill>
                          <a:schemeClr val="tx1"/>
                        </a:solidFill>
                        <a:latin typeface="GothamBook" pitchFamily="50" charset="0"/>
                        <a:ea typeface="+mn-ea"/>
                        <a:cs typeface="Arial" panose="020B0604020202090204" pitchFamily="34" charset="0"/>
                      </a:endParaRPr>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04"/>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氧化铝</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6</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rowSpan="2">
                  <a:txBody>
                    <a:bodyPr/>
                    <a:lstStyle/>
                    <a:p>
                      <a:pPr marL="0" marR="0" lvl="0" indent="0" algn="ctr" defTabSz="913765" rtl="0" eaLnBrk="1" fontAlgn="auto" latinLnBrk="0" hangingPunct="1">
                        <a:lnSpc>
                          <a:spcPct val="90000"/>
                        </a:lnSpc>
                        <a:spcBef>
                          <a:spcPts val="300"/>
                        </a:spcBef>
                        <a:spcAft>
                          <a:spcPct val="0"/>
                        </a:spcAft>
                        <a:buClr>
                          <a:srgbClr val="C00000"/>
                        </a:buClr>
                        <a:buSzTx/>
                        <a:buFont typeface="Arial" panose="020B0604020202090204" pitchFamily="34" charset="0"/>
                        <a:buNone/>
                        <a:defRPr/>
                      </a:pPr>
                      <a:r>
                        <a:rPr lang="zh-CN" altLang="en-US" sz="1000" b="0" kern="1200" baseline="0" noProof="0" dirty="0">
                          <a:solidFill>
                            <a:schemeClr val="tx1"/>
                          </a:solidFill>
                          <a:latin typeface="GothamBook" pitchFamily="50" charset="0"/>
                          <a:ea typeface="+mn-ea"/>
                          <a:cs typeface="Arial" panose="020B0604020202090204" pitchFamily="34" charset="0"/>
                        </a:rPr>
                        <a:t>市场机制</a:t>
                      </a:r>
                      <a:endParaRPr lang="en-US" sz="1000" b="0" kern="1200" baseline="0" noProof="0" dirty="0">
                        <a:solidFill>
                          <a:schemeClr val="tx1"/>
                        </a:solidFill>
                        <a:latin typeface="GothamBook" pitchFamily="50" charset="0"/>
                        <a:ea typeface="+mn-ea"/>
                        <a:cs typeface="Arial" panose="020B0604020202090204" pitchFamily="34" charset="0"/>
                      </a:endParaRPr>
                    </a:p>
                  </a:txBody>
                  <a:tcPr marL="73153" marR="73153" marT="18288" marB="18288"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8DDE0"/>
                    </a:solidFill>
                  </a:tcPr>
                </a:tc>
                <a:extLst>
                  <a:ext uri="{0D108BD9-81ED-4DB2-BD59-A6C34878D82A}">
                    <a16:rowId xmlns:a16="http://schemas.microsoft.com/office/drawing/2014/main" val="10005"/>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氢氧化铝</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8</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06"/>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镍矿</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rowSpan="4">
                  <a:txBody>
                    <a:bodyPr/>
                    <a:lstStyle/>
                    <a:p>
                      <a:pPr marL="0" marR="0" lvl="0" indent="0" algn="ctr" defTabSz="913765" rtl="0" eaLnBrk="1" fontAlgn="auto" latinLnBrk="0" hangingPunct="1">
                        <a:lnSpc>
                          <a:spcPct val="90000"/>
                        </a:lnSpc>
                        <a:spcBef>
                          <a:spcPts val="300"/>
                        </a:spcBef>
                        <a:spcAft>
                          <a:spcPct val="0"/>
                        </a:spcAft>
                        <a:buClr>
                          <a:srgbClr val="C00000"/>
                        </a:buClr>
                        <a:buSzTx/>
                        <a:buFont typeface="Arial" panose="020B0604020202090204" pitchFamily="34" charset="0"/>
                        <a:buNone/>
                        <a:defRPr/>
                      </a:pPr>
                      <a:r>
                        <a:rPr lang="zh-CN" altLang="en-US" sz="1000" b="0" kern="1200" baseline="0" noProof="0" dirty="0">
                          <a:solidFill>
                            <a:schemeClr val="tx1"/>
                          </a:solidFill>
                          <a:latin typeface="GothamBook" pitchFamily="50" charset="0"/>
                          <a:ea typeface="+mn-ea"/>
                          <a:cs typeface="Arial" panose="020B0604020202090204" pitchFamily="34" charset="0"/>
                        </a:rPr>
                        <a:t>规定价格</a:t>
                      </a:r>
                      <a:endParaRPr lang="en-US" altLang="zh-CN" sz="1000" b="0" kern="1200" baseline="0" noProof="0" dirty="0">
                        <a:solidFill>
                          <a:schemeClr val="tx1"/>
                        </a:solidFill>
                        <a:latin typeface="GothamBook" pitchFamily="50" charset="0"/>
                        <a:ea typeface="+mn-ea"/>
                        <a:cs typeface="Arial" panose="020B0604020202090204" pitchFamily="34" charset="0"/>
                      </a:endParaRPr>
                    </a:p>
                  </a:txBody>
                  <a:tcPr marL="73153" marR="73153" marT="18288" marB="18288"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07"/>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镍铁</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08"/>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金（</a:t>
                      </a:r>
                      <a:r>
                        <a:rPr lang="en-US" altLang="zh-CN" sz="1000" b="0" i="0" u="none" kern="1200" dirty="0">
                          <a:solidFill>
                            <a:srgbClr val="000000"/>
                          </a:solidFill>
                          <a:latin typeface="GothamBook" pitchFamily="50" charset="0"/>
                          <a:ea typeface="+mn-ea"/>
                          <a:cs typeface="+mn-cs"/>
                        </a:rPr>
                        <a:t>LM</a:t>
                      </a:r>
                      <a:r>
                        <a:rPr lang="zh-CN" altLang="en-US" sz="1000" b="0" i="0" u="none" kern="1200" dirty="0">
                          <a:solidFill>
                            <a:srgbClr val="000000"/>
                          </a:solidFill>
                          <a:latin typeface="GothamBook" pitchFamily="50" charset="0"/>
                          <a:ea typeface="+mn-ea"/>
                          <a:cs typeface="+mn-cs"/>
                        </a:rPr>
                        <a:t>）</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3</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39</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09"/>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银</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10"/>
                  </a:ext>
                </a:extLst>
              </a:tr>
              <a:tr h="207329">
                <a:tc rowSpan="8">
                  <a:txBody>
                    <a:bodyPr/>
                    <a:lstStyle/>
                    <a:p>
                      <a:pPr algn="ctr">
                        <a:lnSpc>
                          <a:spcPct val="90000"/>
                        </a:lnSpc>
                        <a:spcBef>
                          <a:spcPts val="300"/>
                        </a:spcBef>
                        <a:spcAft>
                          <a:spcPct val="0"/>
                        </a:spcAft>
                      </a:pPr>
                      <a:r>
                        <a:rPr lang="en-US" sz="1200" b="1" i="0" u="none" dirty="0">
                          <a:solidFill>
                            <a:schemeClr val="bg1"/>
                          </a:solidFill>
                          <a:latin typeface="GothamBold" pitchFamily="50" charset="0"/>
                        </a:rPr>
                        <a:t>TIMAH</a:t>
                      </a: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铝锭</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0</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marR="0" lvl="0" indent="0" algn="ctr" defTabSz="913765" rtl="0" eaLnBrk="1" fontAlgn="auto" latinLnBrk="0" hangingPunct="1">
                        <a:lnSpc>
                          <a:spcPct val="90000"/>
                        </a:lnSpc>
                        <a:spcBef>
                          <a:spcPts val="300"/>
                        </a:spcBef>
                        <a:spcAft>
                          <a:spcPct val="0"/>
                        </a:spcAft>
                        <a:buClr>
                          <a:srgbClr val="C00000"/>
                        </a:buClr>
                        <a:buSzTx/>
                        <a:buFont typeface="Arial" panose="020B0604020202090204" pitchFamily="34" charset="0"/>
                        <a:buNone/>
                        <a:defRPr/>
                      </a:pPr>
                      <a:r>
                        <a:rPr lang="zh-CN" altLang="en-US" sz="1000" b="0" kern="1200" baseline="0" noProof="0" dirty="0">
                          <a:solidFill>
                            <a:schemeClr val="tx1"/>
                          </a:solidFill>
                          <a:latin typeface="GothamBook" pitchFamily="50" charset="0"/>
                          <a:ea typeface="+mn-ea"/>
                          <a:cs typeface="Arial" panose="020B0604020202090204" pitchFamily="34" charset="0"/>
                        </a:rPr>
                        <a:t>规定价格</a:t>
                      </a:r>
                      <a:endParaRPr lang="en-US" altLang="zh-CN" sz="1000" b="0" kern="1200" baseline="0" noProof="0" dirty="0">
                        <a:solidFill>
                          <a:schemeClr val="tx1"/>
                        </a:solidFill>
                        <a:latin typeface="GothamBook" pitchFamily="50" charset="0"/>
                        <a:ea typeface="+mn-ea"/>
                        <a:cs typeface="Arial" panose="020B0604020202090204" pitchFamily="34" charset="0"/>
                      </a:endParaRPr>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11"/>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7434"/>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焊锡</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3</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3</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rowSpan="2">
                  <a:txBody>
                    <a:bodyPr/>
                    <a:lstStyle/>
                    <a:p>
                      <a:pPr marL="0" marR="0" lvl="0" indent="0" algn="ctr" defTabSz="913765" rtl="0" eaLnBrk="1" fontAlgn="auto" latinLnBrk="0" hangingPunct="1">
                        <a:lnSpc>
                          <a:spcPct val="90000"/>
                        </a:lnSpc>
                        <a:spcBef>
                          <a:spcPts val="300"/>
                        </a:spcBef>
                        <a:spcAft>
                          <a:spcPct val="0"/>
                        </a:spcAft>
                        <a:buClr>
                          <a:srgbClr val="C00000"/>
                        </a:buClr>
                        <a:buSzTx/>
                        <a:buFont typeface="Arial" panose="020B0604020202090204" pitchFamily="34" charset="0"/>
                        <a:buNone/>
                        <a:defRPr/>
                      </a:pPr>
                      <a:r>
                        <a:rPr lang="zh-CN" altLang="en-US" sz="1000" b="0" kern="1200" baseline="0" noProof="0" dirty="0">
                          <a:solidFill>
                            <a:schemeClr val="tx1"/>
                          </a:solidFill>
                          <a:latin typeface="GothamBook" pitchFamily="50" charset="0"/>
                          <a:ea typeface="+mn-ea"/>
                          <a:cs typeface="Arial" panose="020B0604020202090204" pitchFamily="34" charset="0"/>
                        </a:rPr>
                        <a:t>市场机制</a:t>
                      </a:r>
                      <a:endParaRPr lang="en-US" sz="1000" b="0" kern="1200" baseline="0" noProof="0" dirty="0">
                        <a:solidFill>
                          <a:schemeClr val="tx1"/>
                        </a:solidFill>
                        <a:latin typeface="GothamBook" pitchFamily="50" charset="0"/>
                        <a:ea typeface="+mn-ea"/>
                        <a:cs typeface="Arial" panose="020B0604020202090204" pitchFamily="34" charset="0"/>
                      </a:endParaRPr>
                    </a:p>
                  </a:txBody>
                  <a:tcPr marL="73153" marR="73153" marT="18288" marB="18288"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8DDE0"/>
                    </a:solidFill>
                  </a:tcPr>
                </a:tc>
                <a:extLst>
                  <a:ext uri="{0D108BD9-81ED-4DB2-BD59-A6C34878D82A}">
                    <a16:rowId xmlns:a16="http://schemas.microsoft.com/office/drawing/2014/main" val="10012"/>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7434"/>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锡化学品</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13"/>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7434"/>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LTJ</a:t>
                      </a: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5</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5</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rowSpan="9">
                  <a:txBody>
                    <a:bodyPr/>
                    <a:lstStyle/>
                    <a:p>
                      <a:pPr marL="0" marR="0" lvl="0" indent="0" algn="ctr" defTabSz="913765" rtl="0" eaLnBrk="1" fontAlgn="auto" latinLnBrk="0" hangingPunct="1">
                        <a:lnSpc>
                          <a:spcPct val="90000"/>
                        </a:lnSpc>
                        <a:spcBef>
                          <a:spcPts val="300"/>
                        </a:spcBef>
                        <a:spcAft>
                          <a:spcPct val="0"/>
                        </a:spcAft>
                        <a:buClr>
                          <a:srgbClr val="C00000"/>
                        </a:buClr>
                        <a:buSzTx/>
                        <a:buFont typeface="Arial" panose="020B0604020202090204" pitchFamily="34" charset="0"/>
                        <a:buNone/>
                        <a:defRPr/>
                      </a:pPr>
                      <a:r>
                        <a:rPr lang="zh-CN" altLang="en-US" sz="1000" b="0" kern="1200" baseline="0" noProof="0" dirty="0">
                          <a:solidFill>
                            <a:schemeClr val="tx1"/>
                          </a:solidFill>
                          <a:latin typeface="GothamBook" pitchFamily="50" charset="0"/>
                          <a:ea typeface="+mn-ea"/>
                          <a:cs typeface="Arial" panose="020B0604020202090204" pitchFamily="34" charset="0"/>
                        </a:rPr>
                        <a:t>规定价格</a:t>
                      </a:r>
                      <a:endParaRPr lang="en-US" altLang="zh-CN" sz="1000" b="0" kern="1200" baseline="0" noProof="0" dirty="0">
                        <a:solidFill>
                          <a:schemeClr val="tx1"/>
                        </a:solidFill>
                        <a:latin typeface="GothamBook" pitchFamily="50" charset="0"/>
                        <a:ea typeface="+mn-ea"/>
                        <a:cs typeface="Arial" panose="020B0604020202090204" pitchFamily="34" charset="0"/>
                      </a:endParaRPr>
                    </a:p>
                  </a:txBody>
                  <a:tcPr marL="73153" marR="73153" marT="18288" marB="18288"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14"/>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7434"/>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硅砂</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15"/>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007434"/>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锆石</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16"/>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镍</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2</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a:tc>
                <a:extLst>
                  <a:ext uri="{0D108BD9-81ED-4DB2-BD59-A6C34878D82A}">
                    <a16:rowId xmlns:a16="http://schemas.microsoft.com/office/drawing/2014/main" val="10017"/>
                  </a:ext>
                </a:extLst>
              </a:tr>
              <a:tr h="207329">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煤</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a:tc>
                <a:extLst>
                  <a:ext uri="{0D108BD9-81ED-4DB2-BD59-A6C34878D82A}">
                    <a16:rowId xmlns:a16="http://schemas.microsoft.com/office/drawing/2014/main" val="10018"/>
                  </a:ext>
                </a:extLst>
              </a:tr>
              <a:tr h="234636">
                <a:tc>
                  <a:txBody>
                    <a:bodyPr/>
                    <a:lstStyle/>
                    <a:p>
                      <a:pPr algn="ctr">
                        <a:lnSpc>
                          <a:spcPct val="90000"/>
                        </a:lnSpc>
                        <a:spcBef>
                          <a:spcPts val="300"/>
                        </a:spcBef>
                        <a:spcAft>
                          <a:spcPct val="0"/>
                        </a:spcAft>
                      </a:pPr>
                      <a:r>
                        <a:rPr lang="en-US" sz="1200" b="1" i="0" u="none" dirty="0">
                          <a:solidFill>
                            <a:schemeClr val="bg1"/>
                          </a:solidFill>
                          <a:latin typeface="GothamBold" pitchFamily="50" charset="0"/>
                        </a:rPr>
                        <a:t>PTBA</a:t>
                      </a: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煤</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0</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19"/>
                  </a:ext>
                </a:extLst>
              </a:tr>
              <a:tr h="213678">
                <a:tc rowSpan="2">
                  <a:txBody>
                    <a:bodyPr/>
                    <a:lstStyle/>
                    <a:p>
                      <a:pPr algn="ctr">
                        <a:lnSpc>
                          <a:spcPct val="90000"/>
                        </a:lnSpc>
                        <a:spcBef>
                          <a:spcPts val="300"/>
                        </a:spcBef>
                        <a:spcAft>
                          <a:spcPct val="0"/>
                        </a:spcAft>
                      </a:pPr>
                      <a:r>
                        <a:rPr lang="en-US" sz="1200" b="1" i="0" u="none" dirty="0">
                          <a:solidFill>
                            <a:srgbClr val="000000"/>
                          </a:solidFill>
                          <a:latin typeface="GothamBold" pitchFamily="50" charset="0"/>
                        </a:rPr>
                        <a:t>PTFI</a:t>
                      </a: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E2A63A"/>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铜</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3</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20"/>
                  </a:ext>
                </a:extLst>
              </a:tr>
              <a:tr h="213678">
                <a:tc vMerge="1">
                  <a:txBody>
                    <a:bodyPr/>
                    <a:lstStyle/>
                    <a:p>
                      <a:endParaRPr lang="zh-CN"/>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E2A63A"/>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金（大量）</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ap="flat" cmpd="sng" algn="ctr">
                      <a:solidFill>
                        <a:srgbClr val="ADABA1"/>
                      </a:solidFill>
                      <a:prstDash val="solid"/>
                      <a:round/>
                      <a:headEnd type="none" w="med" len="med"/>
                      <a:tailEnd type="none" w="med" len="med"/>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21"/>
                  </a:ext>
                </a:extLst>
              </a:tr>
              <a:tr h="234636">
                <a:tc>
                  <a:txBody>
                    <a:bodyPr/>
                    <a:lstStyle/>
                    <a:p>
                      <a:pPr algn="ctr">
                        <a:lnSpc>
                          <a:spcPct val="90000"/>
                        </a:lnSpc>
                        <a:spcBef>
                          <a:spcPts val="300"/>
                        </a:spcBef>
                        <a:spcAft>
                          <a:spcPct val="0"/>
                        </a:spcAft>
                      </a:pPr>
                      <a:r>
                        <a:rPr lang="en-US" sz="1200" b="1" i="0" u="none" dirty="0">
                          <a:solidFill>
                            <a:srgbClr val="000000"/>
                          </a:solidFill>
                          <a:latin typeface="GothamBold" pitchFamily="50" charset="0"/>
                        </a:rPr>
                        <a:t>PTVI</a:t>
                      </a: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lnB>
                    <a:lnTlToBr w="12700" cmpd="sng">
                      <a:noFill/>
                      <a:prstDash val="solid"/>
                    </a:lnTlToBr>
                    <a:lnBlToTr w="12700" cmpd="sng">
                      <a:noFill/>
                      <a:prstDash val="solid"/>
                    </a:lnBlToTr>
                    <a:solidFill>
                      <a:srgbClr val="92D050"/>
                    </a:solidFill>
                  </a:tcPr>
                </a:tc>
                <a:tc>
                  <a:txBody>
                    <a:bodyPr/>
                    <a:lstStyle/>
                    <a:p>
                      <a:pPr marL="0" indent="0" algn="l" defTabSz="913765" rtl="0" eaLnBrk="1" latinLnBrk="0" hangingPunct="1">
                        <a:lnSpc>
                          <a:spcPct val="90000"/>
                        </a:lnSpc>
                        <a:spcBef>
                          <a:spcPts val="300"/>
                        </a:spcBef>
                        <a:spcAft>
                          <a:spcPct val="0"/>
                        </a:spcAft>
                        <a:buClr>
                          <a:srgbClr val="C00000"/>
                        </a:buClr>
                        <a:buFont typeface="Arial" panose="020B0604020202090204" pitchFamily="34" charset="0"/>
                        <a:buNone/>
                      </a:pPr>
                      <a:r>
                        <a:rPr lang="zh-CN" altLang="en-US" sz="1000" b="0" i="0" u="none" kern="1200" dirty="0">
                          <a:solidFill>
                            <a:srgbClr val="000000"/>
                          </a:solidFill>
                          <a:latin typeface="GothamBook" pitchFamily="50" charset="0"/>
                          <a:ea typeface="+mn-ea"/>
                          <a:cs typeface="+mn-cs"/>
                        </a:rPr>
                        <a:t>冰镍</a:t>
                      </a:r>
                      <a:endParaRPr lang="en-US" sz="1000" b="0" i="0" u="none" kern="1200" dirty="0">
                        <a:solidFill>
                          <a:srgbClr val="000000"/>
                        </a:solidFill>
                        <a:latin typeface="GothamBook" pitchFamily="50" charset="0"/>
                        <a:ea typeface="+mn-ea"/>
                        <a:cs typeface="+mn-cs"/>
                      </a:endParaRPr>
                    </a:p>
                  </a:txBody>
                  <a:tcPr marL="71120" marR="71120" marT="35560" marB="35560" anchor="ct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lnB>
                    <a:lnTlToBr w="12700" cmpd="sng">
                      <a:noFill/>
                      <a:prstDash val="solid"/>
                    </a:lnTlToBr>
                    <a:lnBlToTr w="12700" cmpd="sng">
                      <a:noFill/>
                      <a:prstDash val="solid"/>
                    </a:lnBlToTr>
                    <a:solidFill>
                      <a:srgbClr val="F1F1F1"/>
                    </a:solidFill>
                  </a:tcPr>
                </a:tc>
                <a:tc>
                  <a:txBody>
                    <a:bodyPr/>
                    <a:lstStyle/>
                    <a:p>
                      <a:pPr marL="0" indent="0" algn="ctr" defTabSz="913765" rtl="0" eaLnBrk="1" latinLnBrk="0" hangingPunct="1">
                        <a:lnSpc>
                          <a:spcPct val="90000"/>
                        </a:lnSpc>
                        <a:spcBef>
                          <a:spcPts val="300"/>
                        </a:spcBef>
                        <a:spcAft>
                          <a:spcPct val="0"/>
                        </a:spcAft>
                        <a:buClr>
                          <a:srgbClr val="C00000"/>
                        </a:buClr>
                        <a:buFont typeface="Arial" panose="020B0604020202090204" pitchFamily="34" charset="0"/>
                        <a:buNone/>
                      </a:pPr>
                      <a:r>
                        <a:rPr lang="en-US" sz="1000" b="0" i="0" u="none" kern="1200" dirty="0">
                          <a:solidFill>
                            <a:srgbClr val="000000"/>
                          </a:solidFill>
                          <a:latin typeface="GothamBook" pitchFamily="50" charset="0"/>
                          <a:ea typeface="+mn-ea"/>
                          <a:cs typeface="+mn-cs"/>
                        </a:rPr>
                        <a:t>1</a:t>
                      </a:r>
                    </a:p>
                  </a:txBody>
                  <a:tcPr marL="71120" marR="71120" marT="35560" marB="35560">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lnB>
                    <a:lnTlToBr w="12700" cmpd="sng">
                      <a:noFill/>
                      <a:prstDash val="solid"/>
                    </a:lnTlToBr>
                    <a:lnBlToTr w="12700" cmpd="sng">
                      <a:noFill/>
                      <a:prstDash val="solid"/>
                    </a:lnBlToTr>
                    <a:solidFill>
                      <a:srgbClr val="F1F1F1"/>
                    </a:solidFill>
                  </a:tcPr>
                </a:tc>
                <a:tc vMerge="1">
                  <a:txBody>
                    <a:bodyPr/>
                    <a:lstStyle/>
                    <a:p>
                      <a:endParaRPr lang="zh-CN"/>
                    </a:p>
                  </a:txBody>
                  <a:tcPr marL="73153" marR="73153" marT="18288" marB="18288">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3175" cap="flat" cmpd="sng" algn="ctr">
                      <a:solidFill>
                        <a:srgbClr val="ADABA1"/>
                      </a:solidFill>
                      <a:prstDash val="solid"/>
                      <a:round/>
                      <a:headEnd type="none" w="med" len="med"/>
                      <a:tailEnd type="none" w="med" len="med"/>
                    </a:lnT>
                    <a:lnB w="3175" cmpd="sng">
                      <a:solidFill>
                        <a:srgbClr val="ADABA1"/>
                      </a:solidFill>
                    </a:lnB>
                    <a:lnTlToBr w="12700" cmpd="sng">
                      <a:noFill/>
                      <a:prstDash val="solid"/>
                    </a:lnTlToBr>
                    <a:lnBlToTr w="12700" cmpd="sng">
                      <a:noFill/>
                      <a:prstDash val="solid"/>
                    </a:lnBlToTr>
                    <a:solidFill>
                      <a:srgbClr val="F1F1F1"/>
                    </a:solidFill>
                  </a:tcPr>
                </a:tc>
                <a:extLst>
                  <a:ext uri="{0D108BD9-81ED-4DB2-BD59-A6C34878D82A}">
                    <a16:rowId xmlns:a16="http://schemas.microsoft.com/office/drawing/2014/main" val="10022"/>
                  </a:ext>
                </a:extLst>
              </a:tr>
            </a:tbl>
          </a:graphicData>
        </a:graphic>
      </p:graphicFrame>
      <p:sp>
        <p:nvSpPr>
          <p:cNvPr id="10" name="Rectangle 9"/>
          <p:cNvSpPr/>
          <p:nvPr/>
        </p:nvSpPr>
        <p:spPr>
          <a:xfrm>
            <a:off x="334963" y="1258990"/>
            <a:ext cx="1941513" cy="5137335"/>
          </a:xfrm>
          <a:prstGeom prst="rect">
            <a:avLst/>
          </a:prstGeom>
          <a:solidFill>
            <a:srgbClr val="FFFFFF"/>
          </a:solidFill>
          <a:ln w="12700" cap="flat" cmpd="sng" algn="ctr">
            <a:solidFill>
              <a:srgbClr val="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0" cap="none" spc="0" normalizeH="0" baseline="0" noProof="0">
              <a:ln>
                <a:noFill/>
              </a:ln>
              <a:solidFill>
                <a:srgbClr val="000000"/>
              </a:solidFill>
              <a:effectLst/>
              <a:uLnTx/>
              <a:uFillTx/>
              <a:latin typeface="Calibri"/>
              <a:ea typeface="+mn-ea"/>
              <a:cs typeface="+mn-cs"/>
            </a:endParaRPr>
          </a:p>
        </p:txBody>
      </p:sp>
      <p:pic>
        <p:nvPicPr>
          <p:cNvPr id="11" name="Picture 10"/>
          <p:cNvPicPr>
            <a:picLocks noChangeAspect="1"/>
          </p:cNvPicPr>
          <p:nvPr/>
        </p:nvPicPr>
        <p:blipFill>
          <a:blip r:embed="rId2"/>
          <a:stretch>
            <a:fillRect/>
          </a:stretch>
        </p:blipFill>
        <p:spPr>
          <a:xfrm>
            <a:off x="433898" y="1380668"/>
            <a:ext cx="1743642" cy="1347806"/>
          </a:xfrm>
          <a:prstGeom prst="rect">
            <a:avLst/>
          </a:prstGeom>
        </p:spPr>
      </p:pic>
      <p:pic>
        <p:nvPicPr>
          <p:cNvPr id="12" name="Picture 11"/>
          <p:cNvPicPr>
            <a:picLocks noChangeAspect="1"/>
          </p:cNvPicPr>
          <p:nvPr/>
        </p:nvPicPr>
        <p:blipFill>
          <a:blip r:embed="rId3">
            <a:clrChange>
              <a:clrFrom>
                <a:srgbClr val="FEFEFE"/>
              </a:clrFrom>
              <a:clrTo>
                <a:srgbClr val="FEFEFE">
                  <a:alpha val="0"/>
                </a:srgbClr>
              </a:clrTo>
            </a:clrChange>
          </a:blip>
          <a:stretch>
            <a:fillRect/>
          </a:stretch>
        </p:blipFill>
        <p:spPr>
          <a:xfrm>
            <a:off x="565285" y="2710343"/>
            <a:ext cx="1243965" cy="931773"/>
          </a:xfrm>
          <a:prstGeom prst="rect">
            <a:avLst/>
          </a:prstGeom>
        </p:spPr>
      </p:pic>
      <p:pic>
        <p:nvPicPr>
          <p:cNvPr id="13" name="Picture 12"/>
          <p:cNvPicPr>
            <a:picLocks noChangeAspect="1"/>
          </p:cNvPicPr>
          <p:nvPr/>
        </p:nvPicPr>
        <p:blipFill>
          <a:blip r:embed="rId4"/>
          <a:stretch>
            <a:fillRect/>
          </a:stretch>
        </p:blipFill>
        <p:spPr>
          <a:xfrm>
            <a:off x="512721" y="3606180"/>
            <a:ext cx="1498270" cy="1351447"/>
          </a:xfrm>
          <a:prstGeom prst="rect">
            <a:avLst/>
          </a:prstGeom>
        </p:spPr>
      </p:pic>
      <p:pic>
        <p:nvPicPr>
          <p:cNvPr id="14" name="Picture 13"/>
          <p:cNvPicPr>
            <a:picLocks noChangeAspect="1"/>
          </p:cNvPicPr>
          <p:nvPr/>
        </p:nvPicPr>
        <p:blipFill>
          <a:blip r:embed="rId5"/>
          <a:stretch>
            <a:fillRect/>
          </a:stretch>
        </p:blipFill>
        <p:spPr>
          <a:xfrm>
            <a:off x="399204" y="5085010"/>
            <a:ext cx="1813029" cy="1162739"/>
          </a:xfrm>
          <a:prstGeom prst="rect">
            <a:avLst/>
          </a:prstGeom>
        </p:spPr>
      </p:pic>
      <p:sp>
        <p:nvSpPr>
          <p:cNvPr id="15" name="Rectangle: Rounded Corners 14"/>
          <p:cNvSpPr/>
          <p:nvPr/>
        </p:nvSpPr>
        <p:spPr>
          <a:xfrm>
            <a:off x="437036" y="1030299"/>
            <a:ext cx="1743642" cy="495439"/>
          </a:xfrm>
          <a:prstGeom prst="roundRect">
            <a:avLst/>
          </a:prstGeom>
          <a:solidFill>
            <a:srgbClr val="FF0000"/>
          </a:solidFill>
          <a:ln w="12700" cap="flat" cmpd="sng" algn="ctr">
            <a:solidFill>
              <a:srgbClr val="FF0000"/>
            </a:solidFill>
            <a:prstDash val="solid"/>
            <a:miter lim="800000"/>
          </a:ln>
          <a:effectLst/>
        </p:spPr>
        <p:txBody>
          <a:bodyPr rtlCol="0" anchor="ctr"/>
          <a:lstStyle/>
          <a:p>
            <a:pPr lvl="0" algn="ctr">
              <a:defRPr/>
            </a:pPr>
            <a:r>
              <a:rPr lang="zh-CN" altLang="en-US" sz="1000" b="1" i="1" kern="0" dirty="0">
                <a:solidFill>
                  <a:srgbClr val="FFFFFF"/>
                </a:solidFill>
                <a:latin typeface="GothamBold" pitchFamily="50" charset="0"/>
              </a:rPr>
              <a:t>集团产品需求策略和概念</a:t>
            </a:r>
            <a:endParaRPr kumimoji="0" lang="en-ID" sz="1000" b="1" i="1" u="none" strike="noStrike" kern="0" cap="none" spc="0" normalizeH="0" baseline="0" noProof="0" dirty="0">
              <a:ln>
                <a:noFill/>
              </a:ln>
              <a:solidFill>
                <a:srgbClr val="FFFFFF"/>
              </a:solidFill>
              <a:effectLst/>
              <a:uLnTx/>
              <a:uFillTx/>
              <a:latin typeface="GothamBold" pitchFamily="50" charset="0"/>
              <a:ea typeface="+mn-ea"/>
              <a:cs typeface="+mn-cs"/>
            </a:endParaRPr>
          </a:p>
        </p:txBody>
      </p:sp>
      <p:sp>
        <p:nvSpPr>
          <p:cNvPr id="16" name="TextBox 15"/>
          <p:cNvSpPr txBox="1"/>
          <p:nvPr/>
        </p:nvSpPr>
        <p:spPr>
          <a:xfrm>
            <a:off x="2411367" y="6057329"/>
            <a:ext cx="5458800" cy="365125"/>
          </a:xfrm>
          <a:prstGeom prst="rect">
            <a:avLst/>
          </a:prstGeom>
          <a:solidFill>
            <a:srgbClr val="FCEAEA"/>
          </a:solidFill>
          <a:ln w="6350" cap="flat">
            <a:noFill/>
            <a:miter lim="800000"/>
          </a:ln>
        </p:spPr>
        <p:txBody>
          <a:bodyPr wrap="square" lIns="73152" tIns="0" rIns="0" bIns="0" rtlCol="0" anchor="ctr" anchorCtr="0">
            <a:noAutofit/>
          </a:bodyPr>
          <a:lstStyle/>
          <a:p>
            <a:pPr lvl="0" algn="ctr" fontAlgn="base">
              <a:lnSpc>
                <a:spcPct val="90000"/>
              </a:lnSpc>
              <a:spcBef>
                <a:spcPts val="600"/>
              </a:spcBef>
              <a:spcAft>
                <a:spcPct val="0"/>
              </a:spcAft>
              <a:buClr>
                <a:srgbClr val="9B1717"/>
              </a:buClr>
              <a:buSzPct val="100000"/>
              <a:defRPr/>
            </a:pPr>
            <a:r>
              <a:rPr lang="zh-CN" altLang="en-US" sz="1200" b="1" dirty="0">
                <a:solidFill>
                  <a:srgbClr val="C00000"/>
                </a:solidFill>
                <a:latin typeface="GothamBold" pitchFamily="50" charset="0"/>
                <a:cs typeface="Arial" panose="020B0604020202090204" pitchFamily="34" charset="0"/>
              </a:rPr>
              <a:t>共</a:t>
            </a:r>
            <a:r>
              <a:rPr lang="en-US" altLang="zh-CN" sz="1500" b="1" dirty="0">
                <a:solidFill>
                  <a:srgbClr val="000000"/>
                </a:solidFill>
                <a:latin typeface="GothamBold" pitchFamily="50" charset="0"/>
                <a:cs typeface="Arial" panose="020B0604020202090204" pitchFamily="34" charset="0"/>
              </a:rPr>
              <a:t>22</a:t>
            </a:r>
            <a:r>
              <a:rPr lang="zh-CN" altLang="en-US" sz="1500" b="1" dirty="0">
                <a:solidFill>
                  <a:srgbClr val="000000"/>
                </a:solidFill>
                <a:latin typeface="GothamBold" pitchFamily="50" charset="0"/>
                <a:cs typeface="Arial" panose="020B0604020202090204" pitchFamily="34" charset="0"/>
              </a:rPr>
              <a:t>个产品类别</a:t>
            </a:r>
            <a:r>
              <a:rPr lang="zh-CN" altLang="en-US" sz="1200" b="1" dirty="0">
                <a:solidFill>
                  <a:srgbClr val="C00000"/>
                </a:solidFill>
                <a:latin typeface="GothamBold" pitchFamily="50" charset="0"/>
                <a:cs typeface="Arial" panose="020B0604020202090204" pitchFamily="34" charset="0"/>
              </a:rPr>
              <a:t>，</a:t>
            </a:r>
            <a:r>
              <a:rPr lang="en-US" altLang="zh-CN" sz="1200" b="1" dirty="0">
                <a:solidFill>
                  <a:srgbClr val="C00000"/>
                </a:solidFill>
                <a:latin typeface="GothamBold" pitchFamily="50" charset="0"/>
                <a:cs typeface="Arial" panose="020B0604020202090204" pitchFamily="34" charset="0"/>
              </a:rPr>
              <a:t>71</a:t>
            </a:r>
            <a:r>
              <a:rPr lang="zh-CN" altLang="en-US" sz="1200" b="1" dirty="0">
                <a:solidFill>
                  <a:srgbClr val="C00000"/>
                </a:solidFill>
                <a:latin typeface="GothamBold" pitchFamily="50" charset="0"/>
                <a:cs typeface="Arial" panose="020B0604020202090204" pitchFamily="34" charset="0"/>
              </a:rPr>
              <a:t>个规格和</a:t>
            </a:r>
            <a:r>
              <a:rPr lang="en-US" altLang="zh-CN" sz="1200" b="1" dirty="0">
                <a:solidFill>
                  <a:srgbClr val="C00000"/>
                </a:solidFill>
                <a:latin typeface="GothamBold" pitchFamily="50" charset="0"/>
                <a:cs typeface="Arial" panose="020B0604020202090204" pitchFamily="34" charset="0"/>
              </a:rPr>
              <a:t>73</a:t>
            </a:r>
            <a:r>
              <a:rPr lang="zh-CN" altLang="en-US" sz="1200" b="1" dirty="0">
                <a:solidFill>
                  <a:srgbClr val="C00000"/>
                </a:solidFill>
                <a:latin typeface="GothamBold" pitchFamily="50" charset="0"/>
                <a:cs typeface="Arial" panose="020B0604020202090204" pitchFamily="34" charset="0"/>
              </a:rPr>
              <a:t>个尺寸</a:t>
            </a:r>
            <a:endParaRPr kumimoji="0" lang="en-GB" sz="1200" b="1" i="0" u="none" strike="noStrike" kern="1200" cap="none" spc="0" normalizeH="0" baseline="0" noProof="0" dirty="0">
              <a:ln>
                <a:noFill/>
              </a:ln>
              <a:solidFill>
                <a:srgbClr val="C00000"/>
              </a:solidFill>
              <a:effectLst/>
              <a:uLnTx/>
              <a:uFillTx/>
              <a:latin typeface="GothamBold" pitchFamily="50" charset="0"/>
              <a:ea typeface="+mn-ea"/>
              <a:cs typeface="Arial" panose="020B0604020202090204" pitchFamily="34" charset="0"/>
            </a:endParaRPr>
          </a:p>
        </p:txBody>
      </p:sp>
      <p:pic>
        <p:nvPicPr>
          <p:cNvPr id="20" name="Picture 19"/>
          <p:cNvPicPr>
            <a:picLocks noChangeAspect="1"/>
          </p:cNvPicPr>
          <p:nvPr/>
        </p:nvPicPr>
        <p:blipFill>
          <a:blip r:embed="rId6"/>
          <a:stretch>
            <a:fillRect/>
          </a:stretch>
        </p:blipFill>
        <p:spPr>
          <a:xfrm>
            <a:off x="7969251" y="1021588"/>
            <a:ext cx="3710028" cy="5366029"/>
          </a:xfrm>
          <a:prstGeom prst="rect">
            <a:avLst/>
          </a:prstGeom>
          <a:effectLst>
            <a:outerShdw blurRad="50800" dist="38100" dir="2700000" algn="tl" rotWithShape="0">
              <a:prstClr val="black">
                <a:alpha val="40000"/>
              </a:prstClr>
            </a:outerShdw>
          </a:effectLst>
        </p:spPr>
      </p:pic>
      <p:sp>
        <p:nvSpPr>
          <p:cNvPr id="21" name="Title 2"/>
          <p:cNvSpPr txBox="1"/>
          <p:nvPr/>
        </p:nvSpPr>
        <p:spPr>
          <a:xfrm>
            <a:off x="197166" y="310962"/>
            <a:ext cx="11623359" cy="695573"/>
          </a:xfrm>
          <a:prstGeom prst="rect">
            <a:avLst/>
          </a:prstGeom>
        </p:spPr>
        <p:txBody>
          <a:bodyPr anchor="t" anchorCtr="0"/>
          <a:lstStyle>
            <a:lvl1pPr algn="l" defTabSz="914400" rtl="0" eaLnBrk="1" latinLnBrk="0" hangingPunct="1">
              <a:lnSpc>
                <a:spcPct val="90000"/>
              </a:lnSpc>
              <a:spcBef>
                <a:spcPct val="0"/>
              </a:spcBef>
              <a:buNone/>
              <a:defRPr sz="2200" b="1" kern="1200">
                <a:solidFill>
                  <a:srgbClr val="000000"/>
                </a:solidFill>
                <a:latin typeface="Arial" panose="020B0604020202090204" pitchFamily="34" charset="0"/>
                <a:ea typeface="+mj-ea"/>
                <a:cs typeface="Arial" panose="020B060402020209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defRPr/>
            </a:pPr>
            <a:r>
              <a:rPr kumimoji="0" lang="en-ID" sz="3000" b="1" i="0" u="none" strike="noStrike" kern="1200" cap="none" spc="0" normalizeH="0" baseline="0" noProof="0" dirty="0">
                <a:ln>
                  <a:noFill/>
                </a:ln>
                <a:solidFill>
                  <a:srgbClr val="000000"/>
                </a:solidFill>
                <a:effectLst/>
                <a:uLnTx/>
                <a:uFillTx/>
                <a:latin typeface="GothamBold" pitchFamily="50" charset="0"/>
                <a:ea typeface="+mj-ea"/>
                <a:cs typeface="Arial" panose="020B0604020202090204" pitchFamily="34" charset="0"/>
              </a:rPr>
              <a:t>2024</a:t>
            </a:r>
            <a:r>
              <a:rPr kumimoji="0" lang="zh-CN" altLang="en-US" sz="3000" b="1" i="0" u="none" strike="noStrike" kern="1200" cap="none" spc="0" normalizeH="0" baseline="0" noProof="0" dirty="0">
                <a:ln>
                  <a:noFill/>
                </a:ln>
                <a:solidFill>
                  <a:srgbClr val="000000"/>
                </a:solidFill>
                <a:effectLst/>
                <a:uLnTx/>
                <a:uFillTx/>
                <a:latin typeface="GothamBold" pitchFamily="50" charset="0"/>
                <a:ea typeface="+mj-ea"/>
                <a:cs typeface="Arial" panose="020B0604020202090204" pitchFamily="34" charset="0"/>
              </a:rPr>
              <a:t>年</a:t>
            </a:r>
            <a:r>
              <a:rPr kumimoji="0" lang="en-US" altLang="zh-CN" sz="3000" b="1" i="0" u="none" strike="noStrike" kern="1200" cap="none" spc="0" normalizeH="0" baseline="0" noProof="0" dirty="0">
                <a:ln>
                  <a:noFill/>
                </a:ln>
                <a:solidFill>
                  <a:srgbClr val="000000"/>
                </a:solidFill>
                <a:effectLst/>
                <a:uLnTx/>
                <a:uFillTx/>
                <a:latin typeface="GothamBold" pitchFamily="50" charset="0"/>
                <a:ea typeface="+mj-ea"/>
                <a:cs typeface="Arial" panose="020B0604020202090204" pitchFamily="34" charset="0"/>
              </a:rPr>
              <a:t>MIND ID</a:t>
            </a:r>
            <a:r>
              <a:rPr kumimoji="0" lang="zh-CN" altLang="en-US" sz="3000" b="1" i="0" u="none" strike="noStrike" kern="1200" cap="none" spc="0" normalizeH="0" baseline="0" noProof="0" dirty="0">
                <a:ln>
                  <a:noFill/>
                </a:ln>
                <a:solidFill>
                  <a:srgbClr val="000000"/>
                </a:solidFill>
                <a:effectLst/>
                <a:uLnTx/>
                <a:uFillTx/>
                <a:latin typeface="GothamBold" pitchFamily="50" charset="0"/>
                <a:ea typeface="+mj-ea"/>
                <a:cs typeface="Arial" panose="020B0604020202090204" pitchFamily="34" charset="0"/>
              </a:rPr>
              <a:t>集团产品展望</a:t>
            </a:r>
            <a:endParaRPr kumimoji="0" lang="en-US" sz="3000" b="1" i="0" u="none" strike="noStrike" kern="1200" cap="none" spc="0" normalizeH="0" baseline="0" noProof="0" dirty="0">
              <a:ln>
                <a:noFill/>
              </a:ln>
              <a:solidFill>
                <a:srgbClr val="000000"/>
              </a:solidFill>
              <a:effectLst/>
              <a:uLnTx/>
              <a:uFillTx/>
              <a:latin typeface="GothamBold" pitchFamily="50" charset="0"/>
              <a:ea typeface="+mj-ea"/>
              <a:cs typeface="Arial" panose="020B0604020202090204" pitchFamily="34" charset="0"/>
            </a:endParaRPr>
          </a:p>
        </p:txBody>
      </p:sp>
      <p:sp>
        <p:nvSpPr>
          <p:cNvPr id="22" name="Isosceles Triangle 6"/>
          <p:cNvSpPr/>
          <p:nvPr/>
        </p:nvSpPr>
        <p:spPr>
          <a:xfrm rot="5400000">
            <a:off x="1332731" y="3538888"/>
            <a:ext cx="2061890" cy="87311"/>
          </a:xfrm>
          <a:prstGeom prst="triangle">
            <a:avLst/>
          </a:prstGeom>
          <a:solidFill>
            <a:schemeClr val="tx2"/>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952" tIns="72952" rIns="72952" bIns="72952" numCol="1" spcCol="0" rtlCol="0" fromWordArt="0" anchor="ctr" anchorCtr="0" forceAA="0" compatLnSpc="1">
            <a:noAutofit/>
          </a:bodyPr>
          <a:lstStyle/>
          <a:p>
            <a:pPr marL="0" marR="0" lvl="0" indent="0" algn="ctr" defTabSz="914400" rtl="0" eaLnBrk="1" fontAlgn="auto" latinLnBrk="0" hangingPunct="1">
              <a:lnSpc>
                <a:spcPct val="90000"/>
              </a:lnSpc>
              <a:spcBef>
                <a:spcPts val="900"/>
              </a:spcBef>
              <a:spcAft>
                <a:spcPts val="0"/>
              </a:spcAft>
              <a:buClrTx/>
              <a:buSzTx/>
              <a:buFontTx/>
              <a:buNone/>
              <a:defRPr/>
            </a:pPr>
            <a:endParaRPr kumimoji="0" lang="en-GB" sz="1600" b="0" i="0" u="none" strike="noStrike" kern="1200" cap="none" spc="0" normalizeH="0" baseline="0" noProof="0" err="1">
              <a:ln>
                <a:noFill/>
              </a:ln>
              <a:solidFill>
                <a:srgbClr val="FFFFFF"/>
              </a:solidFill>
              <a:effectLst/>
              <a:uLnTx/>
              <a:uFillTx/>
              <a:latin typeface="Arial" panose="020B0604020202090204"/>
              <a:ea typeface="+mn-ea"/>
              <a:cs typeface="Arial" panose="020B0604020202090204"/>
              <a:sym typeface="Arial" panose="020B0604020202090204"/>
            </a:endParaRPr>
          </a:p>
        </p:txBody>
      </p:sp>
      <p:sp>
        <p:nvSpPr>
          <p:cNvPr id="2" name="Rectangle 1"/>
          <p:cNvSpPr/>
          <p:nvPr/>
        </p:nvSpPr>
        <p:spPr>
          <a:xfrm>
            <a:off x="3593432" y="1451811"/>
            <a:ext cx="4276735" cy="1250511"/>
          </a:xfrm>
          <a:prstGeom prst="rect">
            <a:avLst/>
          </a:prstGeom>
          <a:noFill/>
          <a:ln w="28575">
            <a:solidFill>
              <a:srgbClr val="E81C2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Calibri"/>
              <a:ea typeface="+mn-ea"/>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extBox 113"/>
          <p:cNvSpPr txBox="1"/>
          <p:nvPr/>
        </p:nvSpPr>
        <p:spPr>
          <a:xfrm>
            <a:off x="3716655" y="5798185"/>
            <a:ext cx="1756410"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经济增速较高的国家倾向于使用再生铝</a:t>
            </a:r>
          </a:p>
        </p:txBody>
      </p:sp>
      <p:sp>
        <p:nvSpPr>
          <p:cNvPr id="144" name="TextBox 143"/>
          <p:cNvSpPr txBox="1"/>
          <p:nvPr/>
        </p:nvSpPr>
        <p:spPr>
          <a:xfrm>
            <a:off x="426826" y="6537087"/>
            <a:ext cx="1533973"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有利影响</a:t>
            </a:r>
            <a:endParaRPr kumimoji="0" lang="zh-CN" alt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endParaRPr>
          </a:p>
        </p:txBody>
      </p:sp>
      <p:sp>
        <p:nvSpPr>
          <p:cNvPr id="8" name="Title 19"/>
          <p:cNvSpPr txBox="1"/>
          <p:nvPr/>
        </p:nvSpPr>
        <p:spPr>
          <a:xfrm>
            <a:off x="310249" y="715434"/>
            <a:ext cx="11485562" cy="661670"/>
          </a:xfrm>
          <a:prstGeom prst="rect">
            <a:avLst/>
          </a:prstGeom>
        </p:spPr>
        <p:txBody>
          <a:bodyPr vert="horz"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2000" b="1" i="0" u="none" strike="noStrike" kern="1200" cap="none" spc="0" normalizeH="0" baseline="0" noProof="0" dirty="0">
                <a:ln>
                  <a:noFill/>
                </a:ln>
                <a:solidFill>
                  <a:srgbClr val="C00000"/>
                </a:solidFill>
                <a:effectLst/>
                <a:uLnTx/>
                <a:uFillTx/>
                <a:latin typeface="GothamBold" pitchFamily="50" charset="0"/>
              </a:rPr>
              <a:t>全球大趋势</a:t>
            </a:r>
            <a:endParaRPr kumimoji="0" lang="en-US" sz="2000" b="1" i="0" u="none" strike="noStrike" kern="1200" cap="none" spc="0" normalizeH="0" baseline="0" noProof="0" dirty="0">
              <a:ln>
                <a:noFill/>
              </a:ln>
              <a:solidFill>
                <a:srgbClr val="C00000"/>
              </a:solidFill>
              <a:effectLst/>
              <a:uLnTx/>
              <a:uFillTx/>
              <a:latin typeface="GothamBold" pitchFamily="50" charset="0"/>
            </a:endParaRPr>
          </a:p>
          <a:p>
            <a:pPr marL="0" marR="0" lvl="0" indent="0" algn="l" defTabSz="914400" rtl="0" eaLnBrk="1" fontAlgn="auto" latinLnBrk="0" hangingPunct="1">
              <a:lnSpc>
                <a:spcPct val="100000"/>
              </a:lnSpc>
              <a:spcBef>
                <a:spcPct val="0"/>
              </a:spcBef>
              <a:spcAft>
                <a:spcPts val="0"/>
              </a:spcAft>
              <a:buClrTx/>
              <a:buSzTx/>
              <a:buFontTx/>
              <a:buNone/>
              <a:defRPr/>
            </a:pPr>
            <a:r>
              <a:rPr kumimoji="0" lang="en-US" sz="2000" b="1" i="0" u="none" strike="noStrike" kern="1200" cap="none" spc="0" normalizeH="0" baseline="0" noProof="0" dirty="0">
                <a:ln>
                  <a:noFill/>
                </a:ln>
                <a:solidFill>
                  <a:srgbClr val="15325B"/>
                </a:solidFill>
                <a:effectLst/>
                <a:uLnTx/>
                <a:uFillTx/>
                <a:latin typeface="GothamBold" pitchFamily="50" charset="0"/>
              </a:rPr>
              <a:t>从长远来看，全球大趋势将</a:t>
            </a:r>
            <a:r>
              <a:rPr kumimoji="0" lang="zh-CN" altLang="en-US" sz="2000" b="1" i="0" u="none" strike="noStrike" kern="1200" cap="none" spc="0" normalizeH="0" baseline="0" noProof="0" dirty="0">
                <a:ln>
                  <a:noFill/>
                </a:ln>
                <a:solidFill>
                  <a:srgbClr val="15325B"/>
                </a:solidFill>
                <a:effectLst/>
                <a:uLnTx/>
                <a:uFillTx/>
                <a:latin typeface="GothamBold" pitchFamily="50" charset="0"/>
              </a:rPr>
              <a:t>在下述几个方面</a:t>
            </a:r>
            <a:r>
              <a:rPr kumimoji="0" lang="en-US" sz="2000" b="1" i="0" u="none" strike="noStrike" kern="1200" cap="none" spc="0" normalizeH="0" baseline="0" noProof="0" dirty="0">
                <a:ln>
                  <a:noFill/>
                </a:ln>
                <a:solidFill>
                  <a:srgbClr val="15325B"/>
                </a:solidFill>
                <a:effectLst/>
                <a:uLnTx/>
                <a:uFillTx/>
                <a:latin typeface="GothamBold" pitchFamily="50" charset="0"/>
              </a:rPr>
              <a:t>影响铝</a:t>
            </a:r>
            <a:r>
              <a:rPr kumimoji="0" lang="zh-CN" altLang="en-US" sz="2000" b="1" i="0" u="none" strike="noStrike" kern="1200" cap="none" spc="0" normalizeH="0" baseline="0" noProof="0" dirty="0">
                <a:ln>
                  <a:noFill/>
                </a:ln>
                <a:solidFill>
                  <a:srgbClr val="15325B"/>
                </a:solidFill>
                <a:effectLst/>
                <a:uLnTx/>
                <a:uFillTx/>
                <a:latin typeface="GothamBold" pitchFamily="50" charset="0"/>
              </a:rPr>
              <a:t>产业</a:t>
            </a:r>
          </a:p>
        </p:txBody>
      </p:sp>
      <p:grpSp>
        <p:nvGrpSpPr>
          <p:cNvPr id="37" name="Group 36"/>
          <p:cNvGrpSpPr>
            <a:grpSpLocks noChangeAspect="1"/>
          </p:cNvGrpSpPr>
          <p:nvPr/>
        </p:nvGrpSpPr>
        <p:grpSpPr>
          <a:xfrm>
            <a:off x="10411026" y="1430502"/>
            <a:ext cx="609027" cy="609027"/>
            <a:chOff x="8858817" y="1812099"/>
            <a:chExt cx="1015045" cy="1015045"/>
          </a:xfrm>
        </p:grpSpPr>
        <p:grpSp>
          <p:nvGrpSpPr>
            <p:cNvPr id="45" name="Group 44"/>
            <p:cNvGrpSpPr>
              <a:grpSpLocks noChangeAspect="1"/>
            </p:cNvGrpSpPr>
            <p:nvPr/>
          </p:nvGrpSpPr>
          <p:grpSpPr>
            <a:xfrm>
              <a:off x="8973967" y="1927629"/>
              <a:ext cx="784745" cy="783985"/>
              <a:chOff x="6464300" y="2606675"/>
              <a:chExt cx="1646238" cy="1644650"/>
            </a:xfrm>
          </p:grpSpPr>
          <p:sp>
            <p:nvSpPr>
              <p:cNvPr id="46"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7160" tIns="68580" rIns="137160" bIns="6858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Gotham Book"/>
                  <a:ea typeface="+mn-ea"/>
                  <a:cs typeface="+mn-cs"/>
                </a:endParaRPr>
              </a:p>
            </p:txBody>
          </p:sp>
          <p:grpSp>
            <p:nvGrpSpPr>
              <p:cNvPr id="47" name="Group 46"/>
              <p:cNvGrpSpPr/>
              <p:nvPr/>
            </p:nvGrpSpPr>
            <p:grpSpPr>
              <a:xfrm>
                <a:off x="6729413" y="2881313"/>
                <a:ext cx="1123838" cy="1125538"/>
                <a:chOff x="6729413" y="2881313"/>
                <a:chExt cx="1123838" cy="1125538"/>
              </a:xfrm>
            </p:grpSpPr>
            <p:sp>
              <p:nvSpPr>
                <p:cNvPr id="48" name="Freeform 16"/>
                <p:cNvSpPr/>
                <p:nvPr/>
              </p:nvSpPr>
              <p:spPr bwMode="auto">
                <a:xfrm>
                  <a:off x="7073900" y="2881313"/>
                  <a:ext cx="709613" cy="574675"/>
                </a:xfrm>
                <a:custGeom>
                  <a:avLst/>
                  <a:gdLst>
                    <a:gd name="T0" fmla="*/ 992 w 993"/>
                    <a:gd name="T1" fmla="*/ 8 h 805"/>
                    <a:gd name="T2" fmla="*/ 983 w 993"/>
                    <a:gd name="T3" fmla="*/ 0 h 805"/>
                    <a:gd name="T4" fmla="*/ 486 w 993"/>
                    <a:gd name="T5" fmla="*/ 429 h 805"/>
                    <a:gd name="T6" fmla="*/ 469 w 993"/>
                    <a:gd name="T7" fmla="*/ 433 h 805"/>
                    <a:gd name="T8" fmla="*/ 9 w 993"/>
                    <a:gd name="T9" fmla="*/ 255 h 805"/>
                    <a:gd name="T10" fmla="*/ 0 w 993"/>
                    <a:gd name="T11" fmla="*/ 264 h 805"/>
                    <a:gd name="T12" fmla="*/ 385 w 993"/>
                    <a:gd name="T13" fmla="*/ 649 h 805"/>
                    <a:gd name="T14" fmla="*/ 393 w 993"/>
                    <a:gd name="T15" fmla="*/ 641 h 805"/>
                    <a:gd name="T16" fmla="*/ 284 w 993"/>
                    <a:gd name="T17" fmla="*/ 426 h 805"/>
                    <a:gd name="T18" fmla="*/ 294 w 993"/>
                    <a:gd name="T19" fmla="*/ 412 h 805"/>
                    <a:gd name="T20" fmla="*/ 461 w 993"/>
                    <a:gd name="T21" fmla="*/ 766 h 805"/>
                    <a:gd name="T22" fmla="*/ 461 w 993"/>
                    <a:gd name="T23" fmla="*/ 794 h 805"/>
                    <a:gd name="T24" fmla="*/ 521 w 993"/>
                    <a:gd name="T25" fmla="*/ 797 h 805"/>
                    <a:gd name="T26" fmla="*/ 562 w 993"/>
                    <a:gd name="T27" fmla="*/ 805 h 805"/>
                    <a:gd name="T28" fmla="*/ 554 w 993"/>
                    <a:gd name="T29" fmla="*/ 681 h 805"/>
                    <a:gd name="T30" fmla="*/ 555 w 993"/>
                    <a:gd name="T31" fmla="*/ 524 h 805"/>
                    <a:gd name="T32" fmla="*/ 578 w 993"/>
                    <a:gd name="T33" fmla="*/ 391 h 805"/>
                    <a:gd name="T34" fmla="*/ 679 w 993"/>
                    <a:gd name="T35" fmla="*/ 227 h 805"/>
                    <a:gd name="T36" fmla="*/ 745 w 993"/>
                    <a:gd name="T37" fmla="*/ 180 h 805"/>
                    <a:gd name="T38" fmla="*/ 755 w 993"/>
                    <a:gd name="T39" fmla="*/ 194 h 805"/>
                    <a:gd name="T40" fmla="*/ 623 w 993"/>
                    <a:gd name="T41" fmla="*/ 477 h 805"/>
                    <a:gd name="T42" fmla="*/ 632 w 993"/>
                    <a:gd name="T43" fmla="*/ 487 h 805"/>
                    <a:gd name="T44" fmla="*/ 992 w 993"/>
                    <a:gd name="T45" fmla="*/ 8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3" h="805">
                      <a:moveTo>
                        <a:pt x="992" y="8"/>
                      </a:moveTo>
                      <a:cubicBezTo>
                        <a:pt x="992" y="3"/>
                        <a:pt x="988" y="0"/>
                        <a:pt x="983" y="0"/>
                      </a:cubicBezTo>
                      <a:cubicBezTo>
                        <a:pt x="559" y="3"/>
                        <a:pt x="495" y="259"/>
                        <a:pt x="486" y="429"/>
                      </a:cubicBezTo>
                      <a:cubicBezTo>
                        <a:pt x="486" y="438"/>
                        <a:pt x="474" y="441"/>
                        <a:pt x="469" y="433"/>
                      </a:cubicBezTo>
                      <a:cubicBezTo>
                        <a:pt x="417" y="327"/>
                        <a:pt x="293" y="242"/>
                        <a:pt x="9" y="255"/>
                      </a:cubicBezTo>
                      <a:cubicBezTo>
                        <a:pt x="4" y="255"/>
                        <a:pt x="0" y="259"/>
                        <a:pt x="0" y="264"/>
                      </a:cubicBezTo>
                      <a:cubicBezTo>
                        <a:pt x="3" y="321"/>
                        <a:pt x="35" y="645"/>
                        <a:pt x="385" y="649"/>
                      </a:cubicBezTo>
                      <a:cubicBezTo>
                        <a:pt x="389" y="649"/>
                        <a:pt x="393" y="645"/>
                        <a:pt x="393" y="641"/>
                      </a:cubicBezTo>
                      <a:cubicBezTo>
                        <a:pt x="395" y="614"/>
                        <a:pt x="392" y="523"/>
                        <a:pt x="284" y="426"/>
                      </a:cubicBezTo>
                      <a:cubicBezTo>
                        <a:pt x="276" y="420"/>
                        <a:pt x="284" y="408"/>
                        <a:pt x="294" y="412"/>
                      </a:cubicBezTo>
                      <a:cubicBezTo>
                        <a:pt x="427" y="475"/>
                        <a:pt x="467" y="630"/>
                        <a:pt x="461" y="766"/>
                      </a:cubicBezTo>
                      <a:cubicBezTo>
                        <a:pt x="460" y="772"/>
                        <a:pt x="460" y="782"/>
                        <a:pt x="461" y="794"/>
                      </a:cubicBezTo>
                      <a:cubicBezTo>
                        <a:pt x="521" y="797"/>
                        <a:pt x="521" y="797"/>
                        <a:pt x="521" y="797"/>
                      </a:cubicBezTo>
                      <a:cubicBezTo>
                        <a:pt x="535" y="798"/>
                        <a:pt x="549" y="801"/>
                        <a:pt x="562" y="805"/>
                      </a:cubicBezTo>
                      <a:cubicBezTo>
                        <a:pt x="565" y="763"/>
                        <a:pt x="557" y="710"/>
                        <a:pt x="554" y="681"/>
                      </a:cubicBezTo>
                      <a:cubicBezTo>
                        <a:pt x="551" y="628"/>
                        <a:pt x="552" y="576"/>
                        <a:pt x="555" y="524"/>
                      </a:cubicBezTo>
                      <a:cubicBezTo>
                        <a:pt x="557" y="479"/>
                        <a:pt x="564" y="434"/>
                        <a:pt x="578" y="391"/>
                      </a:cubicBezTo>
                      <a:cubicBezTo>
                        <a:pt x="597" y="329"/>
                        <a:pt x="632" y="272"/>
                        <a:pt x="679" y="227"/>
                      </a:cubicBezTo>
                      <a:cubicBezTo>
                        <a:pt x="699" y="209"/>
                        <a:pt x="721" y="193"/>
                        <a:pt x="745" y="180"/>
                      </a:cubicBezTo>
                      <a:cubicBezTo>
                        <a:pt x="753" y="175"/>
                        <a:pt x="761" y="186"/>
                        <a:pt x="755" y="194"/>
                      </a:cubicBezTo>
                      <a:cubicBezTo>
                        <a:pt x="643" y="322"/>
                        <a:pt x="626" y="444"/>
                        <a:pt x="623" y="477"/>
                      </a:cubicBezTo>
                      <a:cubicBezTo>
                        <a:pt x="623" y="482"/>
                        <a:pt x="627" y="487"/>
                        <a:pt x="632" y="487"/>
                      </a:cubicBezTo>
                      <a:cubicBezTo>
                        <a:pt x="984" y="480"/>
                        <a:pt x="993" y="73"/>
                        <a:pt x="992" y="8"/>
                      </a:cubicBezTo>
                      <a:close/>
                    </a:path>
                  </a:pathLst>
                </a:custGeom>
                <a:solidFill>
                  <a:schemeClr val="accent1"/>
                </a:solidFill>
                <a:ln>
                  <a:noFill/>
                </a:ln>
              </p:spPr>
              <p:txBody>
                <a:bodyPr vert="horz" wrap="square" lIns="137160" tIns="68580" rIns="137160" bIns="6858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Gotham Book"/>
                    <a:ea typeface="+mn-ea"/>
                    <a:cs typeface="+mn-cs"/>
                  </a:endParaRPr>
                </a:p>
              </p:txBody>
            </p:sp>
            <p:sp>
              <p:nvSpPr>
                <p:cNvPr id="49" name="Freeform 17"/>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862A4"/>
                </a:solidFill>
                <a:ln>
                  <a:noFill/>
                </a:ln>
              </p:spPr>
              <p:txBody>
                <a:bodyPr vert="horz" wrap="square" lIns="137160" tIns="68580" rIns="137160" bIns="68580" numCol="1" anchor="t" anchorCtr="0" compatLnSpc="1">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Gotham Book"/>
                    <a:ea typeface="+mn-ea"/>
                    <a:cs typeface="+mn-cs"/>
                  </a:endParaRPr>
                </a:p>
              </p:txBody>
            </p:sp>
          </p:grpSp>
        </p:grpSp>
        <p:sp>
          <p:nvSpPr>
            <p:cNvPr id="51" name="Oval 50"/>
            <p:cNvSpPr/>
            <p:nvPr/>
          </p:nvSpPr>
          <p:spPr>
            <a:xfrm>
              <a:off x="8858817" y="1812099"/>
              <a:ext cx="1015045" cy="1015045"/>
            </a:xfrm>
            <a:prstGeom prst="ellipse">
              <a:avLst/>
            </a:prstGeom>
            <a:noFill/>
            <a:ln>
              <a:solidFill>
                <a:schemeClr val="tx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grpSp>
      <p:sp>
        <p:nvSpPr>
          <p:cNvPr id="104" name="Title 19"/>
          <p:cNvSpPr txBox="1"/>
          <p:nvPr/>
        </p:nvSpPr>
        <p:spPr>
          <a:xfrm>
            <a:off x="186777" y="7183956"/>
            <a:ext cx="4409495" cy="20114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sz="1000" b="0" i="1" u="none" strike="noStrike" kern="1200" cap="none" spc="0" normalizeH="0" baseline="0" noProof="0">
                <a:ln>
                  <a:noFill/>
                </a:ln>
                <a:solidFill>
                  <a:srgbClr val="FFFFFF">
                    <a:lumMod val="50000"/>
                  </a:srgbClr>
                </a:solidFill>
                <a:effectLst/>
                <a:uLnTx/>
                <a:uFillTx/>
                <a:latin typeface="GothamBook" pitchFamily="50" charset="0"/>
              </a:rPr>
              <a:t>1. CM Group, 2020, 2. CRU, 2021, 3. European </a:t>
            </a:r>
            <a:r>
              <a:rPr kumimoji="0" lang="en-US" sz="1000" b="0" i="1" u="none" strike="noStrike" kern="1200" cap="none" spc="0" normalizeH="0" baseline="0" noProof="0" err="1">
                <a:ln>
                  <a:noFill/>
                </a:ln>
                <a:solidFill>
                  <a:srgbClr val="FFFFFF">
                    <a:lumMod val="50000"/>
                  </a:srgbClr>
                </a:solidFill>
                <a:effectLst/>
                <a:uLnTx/>
                <a:uFillTx/>
                <a:latin typeface="GothamBook" pitchFamily="50" charset="0"/>
              </a:rPr>
              <a:t>Aluminium</a:t>
            </a:r>
            <a:r>
              <a:rPr kumimoji="0" lang="en-US" sz="1000" b="0" i="1" u="none" strike="noStrike" kern="1200" cap="none" spc="0" normalizeH="0" baseline="0" noProof="0">
                <a:ln>
                  <a:noFill/>
                </a:ln>
                <a:solidFill>
                  <a:srgbClr val="FFFFFF">
                    <a:lumMod val="50000"/>
                  </a:srgbClr>
                </a:solidFill>
                <a:effectLst/>
                <a:uLnTx/>
                <a:uFillTx/>
                <a:latin typeface="GothamBook" pitchFamily="50" charset="0"/>
              </a:rPr>
              <a:t>, 2023</a:t>
            </a:r>
          </a:p>
        </p:txBody>
      </p:sp>
      <p:sp>
        <p:nvSpPr>
          <p:cNvPr id="3" name="Title 19"/>
          <p:cNvSpPr txBox="1"/>
          <p:nvPr/>
        </p:nvSpPr>
        <p:spPr>
          <a:xfrm>
            <a:off x="10039001" y="2041402"/>
            <a:ext cx="1388734" cy="261620"/>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en-US" sz="1400" b="0" i="0" u="none" strike="noStrike" kern="1200" cap="none" spc="0" normalizeH="0" baseline="0" noProof="0">
                <a:ln>
                  <a:noFill/>
                </a:ln>
                <a:solidFill>
                  <a:srgbClr val="15325B"/>
                </a:solidFill>
                <a:effectLst/>
                <a:uLnTx/>
                <a:uFillTx/>
                <a:latin typeface="GothamBold" pitchFamily="50" charset="0"/>
              </a:rPr>
              <a:t>环境</a:t>
            </a:r>
          </a:p>
        </p:txBody>
      </p:sp>
      <p:grpSp>
        <p:nvGrpSpPr>
          <p:cNvPr id="36" name="Group 35"/>
          <p:cNvGrpSpPr>
            <a:grpSpLocks noChangeAspect="1"/>
          </p:cNvGrpSpPr>
          <p:nvPr/>
        </p:nvGrpSpPr>
        <p:grpSpPr>
          <a:xfrm>
            <a:off x="8388884" y="1430501"/>
            <a:ext cx="609312" cy="609312"/>
            <a:chOff x="6443273" y="1812100"/>
            <a:chExt cx="1015520" cy="1015520"/>
          </a:xfrm>
        </p:grpSpPr>
        <p:sp>
          <p:nvSpPr>
            <p:cNvPr id="13" name="Oval 12"/>
            <p:cNvSpPr/>
            <p:nvPr/>
          </p:nvSpPr>
          <p:spPr>
            <a:xfrm>
              <a:off x="6443273" y="1812100"/>
              <a:ext cx="1015520" cy="1015520"/>
            </a:xfrm>
            <a:prstGeom prst="ellipse">
              <a:avLst/>
            </a:prstGeom>
            <a:solidFill>
              <a:srgbClr val="FFFFFF"/>
            </a:solidFill>
            <a:ln w="19050" cap="flat" cmpd="sng" algn="ctr">
              <a:gradFill flip="none" rotWithShape="1">
                <a:gsLst>
                  <a:gs pos="0">
                    <a:srgbClr val="0862A3"/>
                  </a:gs>
                  <a:gs pos="100000">
                    <a:srgbClr val="44546A"/>
                  </a:gs>
                </a:gsLst>
                <a:lin ang="2700000" scaled="1"/>
                <a:tileRect/>
              </a:gra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latin typeface="Gotham Book"/>
                <a:ea typeface="+mn-ea"/>
                <a:cs typeface="+mn-cs"/>
              </a:endParaRPr>
            </a:p>
          </p:txBody>
        </p:sp>
        <p:pic>
          <p:nvPicPr>
            <p:cNvPr id="14" name="Graphic 13" descr="Robot Hand with solid fill"/>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55455" y="1947111"/>
              <a:ext cx="683624" cy="683624"/>
            </a:xfrm>
            <a:prstGeom prst="rect">
              <a:avLst/>
            </a:prstGeom>
          </p:spPr>
        </p:pic>
      </p:grpSp>
      <p:grpSp>
        <p:nvGrpSpPr>
          <p:cNvPr id="32" name="Group 31"/>
          <p:cNvGrpSpPr>
            <a:grpSpLocks noChangeAspect="1"/>
          </p:cNvGrpSpPr>
          <p:nvPr/>
        </p:nvGrpSpPr>
        <p:grpSpPr>
          <a:xfrm>
            <a:off x="4351960" y="1430501"/>
            <a:ext cx="604898" cy="604897"/>
            <a:chOff x="2641291" y="1819458"/>
            <a:chExt cx="1008162" cy="1008162"/>
          </a:xfrm>
        </p:grpSpPr>
        <p:sp>
          <p:nvSpPr>
            <p:cNvPr id="15" name="Oval 14"/>
            <p:cNvSpPr/>
            <p:nvPr/>
          </p:nvSpPr>
          <p:spPr>
            <a:xfrm>
              <a:off x="2641291" y="1819458"/>
              <a:ext cx="1008162" cy="1008162"/>
            </a:xfrm>
            <a:prstGeom prst="ellipse">
              <a:avLst/>
            </a:prstGeom>
            <a:solidFill>
              <a:srgbClr val="FFFFFF"/>
            </a:solidFill>
            <a:ln w="19050" cap="flat" cmpd="sng" algn="ctr">
              <a:gradFill flip="none" rotWithShape="1">
                <a:gsLst>
                  <a:gs pos="0">
                    <a:srgbClr val="0862A3"/>
                  </a:gs>
                  <a:gs pos="100000">
                    <a:srgbClr val="44546A"/>
                  </a:gs>
                </a:gsLst>
                <a:lin ang="2700000" scaled="1"/>
                <a:tileRect/>
              </a:gra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latin typeface="Gotham Book"/>
                <a:ea typeface="+mn-ea"/>
                <a:cs typeface="+mn-cs"/>
              </a:endParaRPr>
            </a:p>
          </p:txBody>
        </p:sp>
        <p:pic>
          <p:nvPicPr>
            <p:cNvPr id="16" name="Graphic 15" descr="Upward trend"/>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41977" y="1979217"/>
              <a:ext cx="606790" cy="645522"/>
            </a:xfrm>
            <a:prstGeom prst="rect">
              <a:avLst/>
            </a:prstGeom>
          </p:spPr>
        </p:pic>
      </p:grpSp>
      <p:grpSp>
        <p:nvGrpSpPr>
          <p:cNvPr id="33" name="Group 32"/>
          <p:cNvGrpSpPr>
            <a:grpSpLocks noChangeAspect="1"/>
          </p:cNvGrpSpPr>
          <p:nvPr/>
        </p:nvGrpSpPr>
        <p:grpSpPr>
          <a:xfrm>
            <a:off x="6366743" y="1430501"/>
            <a:ext cx="609312" cy="609312"/>
            <a:chOff x="4681534" y="1812099"/>
            <a:chExt cx="1015520" cy="1015520"/>
          </a:xfrm>
        </p:grpSpPr>
        <p:sp>
          <p:nvSpPr>
            <p:cNvPr id="19" name="Oval 18"/>
            <p:cNvSpPr/>
            <p:nvPr/>
          </p:nvSpPr>
          <p:spPr>
            <a:xfrm>
              <a:off x="4681534" y="1812099"/>
              <a:ext cx="1015520" cy="1015520"/>
            </a:xfrm>
            <a:prstGeom prst="ellipse">
              <a:avLst/>
            </a:prstGeom>
            <a:solidFill>
              <a:srgbClr val="FFFFFF"/>
            </a:solidFill>
            <a:ln w="19050" cap="flat" cmpd="sng" algn="ctr">
              <a:gradFill flip="none" rotWithShape="1">
                <a:gsLst>
                  <a:gs pos="0">
                    <a:srgbClr val="0862A3"/>
                  </a:gs>
                  <a:gs pos="100000">
                    <a:srgbClr val="44546A"/>
                  </a:gs>
                </a:gsLst>
                <a:lin ang="2700000" scaled="1"/>
                <a:tileRect/>
              </a:gra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latin typeface="Gotham Book"/>
                <a:ea typeface="+mn-ea"/>
                <a:cs typeface="+mn-cs"/>
              </a:endParaRPr>
            </a:p>
          </p:txBody>
        </p:sp>
        <p:pic>
          <p:nvPicPr>
            <p:cNvPr id="20" name="Graphic 19" descr="User network with solid fill"/>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77043" y="1907608"/>
              <a:ext cx="824503" cy="824503"/>
            </a:xfrm>
            <a:prstGeom prst="rect">
              <a:avLst/>
            </a:prstGeom>
          </p:spPr>
        </p:pic>
      </p:grpSp>
      <p:sp>
        <p:nvSpPr>
          <p:cNvPr id="26" name="TextBox 25"/>
          <p:cNvSpPr txBox="1"/>
          <p:nvPr/>
        </p:nvSpPr>
        <p:spPr>
          <a:xfrm>
            <a:off x="7647372" y="2063813"/>
            <a:ext cx="2085953" cy="21526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SG" sz="1400" b="1" i="0" u="none" strike="noStrike" kern="1200" cap="none" spc="0" normalizeH="0" baseline="0" noProof="0">
                <a:ln>
                  <a:noFill/>
                </a:ln>
                <a:solidFill>
                  <a:srgbClr val="44546A"/>
                </a:solidFill>
                <a:effectLst/>
                <a:uLnTx/>
                <a:uFillTx/>
                <a:latin typeface="GothamBold" pitchFamily="50" charset="0"/>
                <a:ea typeface="+mn-ea"/>
                <a:cs typeface="+mn-cs"/>
              </a:rPr>
              <a:t>科技</a:t>
            </a:r>
          </a:p>
        </p:txBody>
      </p:sp>
      <p:sp>
        <p:nvSpPr>
          <p:cNvPr id="29" name="TextBox 28"/>
          <p:cNvSpPr txBox="1"/>
          <p:nvPr/>
        </p:nvSpPr>
        <p:spPr>
          <a:xfrm>
            <a:off x="3653820" y="2063813"/>
            <a:ext cx="2085953" cy="21526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44546A"/>
                </a:solidFill>
                <a:effectLst/>
                <a:uLnTx/>
                <a:uFillTx/>
                <a:latin typeface="GothamBold" pitchFamily="50" charset="0"/>
                <a:ea typeface="+mn-ea"/>
                <a:cs typeface="+mn-cs"/>
              </a:rPr>
              <a:t>经济</a:t>
            </a:r>
          </a:p>
        </p:txBody>
      </p:sp>
      <p:sp>
        <p:nvSpPr>
          <p:cNvPr id="30" name="TextBox 29"/>
          <p:cNvSpPr txBox="1"/>
          <p:nvPr/>
        </p:nvSpPr>
        <p:spPr>
          <a:xfrm>
            <a:off x="5601463" y="2063813"/>
            <a:ext cx="2085953" cy="215265"/>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SG" sz="1400" b="1" i="0" u="none" strike="noStrike" kern="1200" cap="none" spc="0" normalizeH="0" baseline="0" noProof="0">
                <a:ln>
                  <a:noFill/>
                </a:ln>
                <a:solidFill>
                  <a:srgbClr val="44546A"/>
                </a:solidFill>
                <a:effectLst/>
                <a:uLnTx/>
                <a:uFillTx/>
                <a:latin typeface="GothamBold" pitchFamily="50" charset="0"/>
                <a:ea typeface="+mn-ea"/>
                <a:cs typeface="+mn-cs"/>
              </a:rPr>
              <a:t>社会</a:t>
            </a:r>
          </a:p>
        </p:txBody>
      </p:sp>
      <p:sp>
        <p:nvSpPr>
          <p:cNvPr id="31" name="TextBox 30"/>
          <p:cNvSpPr txBox="1"/>
          <p:nvPr/>
        </p:nvSpPr>
        <p:spPr>
          <a:xfrm>
            <a:off x="1547876" y="2063813"/>
            <a:ext cx="2085953" cy="215265"/>
          </a:xfrm>
          <a:prstGeom prst="rect">
            <a:avLst/>
          </a:prstGeom>
          <a:noFill/>
          <a:ln>
            <a:noFill/>
          </a:ln>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a:ln>
                  <a:noFill/>
                </a:ln>
                <a:solidFill>
                  <a:srgbClr val="44546A"/>
                </a:solidFill>
                <a:effectLst/>
                <a:uLnTx/>
                <a:uFillTx/>
                <a:latin typeface="GothamBold" pitchFamily="50" charset="0"/>
                <a:ea typeface="+mn-ea"/>
                <a:cs typeface="+mn-cs"/>
              </a:rPr>
              <a:t>政治</a:t>
            </a:r>
          </a:p>
        </p:txBody>
      </p:sp>
      <p:grpSp>
        <p:nvGrpSpPr>
          <p:cNvPr id="79" name="Group 78"/>
          <p:cNvGrpSpPr/>
          <p:nvPr/>
        </p:nvGrpSpPr>
        <p:grpSpPr>
          <a:xfrm>
            <a:off x="463851" y="2147291"/>
            <a:ext cx="1388734" cy="680176"/>
            <a:chOff x="334963" y="3072371"/>
            <a:chExt cx="1388734" cy="680176"/>
          </a:xfrm>
        </p:grpSpPr>
        <p:pic>
          <p:nvPicPr>
            <p:cNvPr id="39" name="Graphic 38" descr="Modern architecture with solid fill"/>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7950" y="3072371"/>
              <a:ext cx="442761" cy="442761"/>
            </a:xfrm>
            <a:prstGeom prst="rect">
              <a:avLst/>
            </a:prstGeom>
          </p:spPr>
        </p:pic>
        <p:sp>
          <p:nvSpPr>
            <p:cNvPr id="40" name="Title 19"/>
            <p:cNvSpPr txBox="1"/>
            <p:nvPr/>
          </p:nvSpPr>
          <p:spPr>
            <a:xfrm>
              <a:off x="334963" y="3522042"/>
              <a:ext cx="1388734" cy="23050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200" b="0" i="0" u="none" strike="noStrike" kern="1200" cap="none" spc="0" normalizeH="0" baseline="0" noProof="0">
                  <a:ln>
                    <a:noFill/>
                  </a:ln>
                  <a:solidFill>
                    <a:srgbClr val="15325B"/>
                  </a:solidFill>
                  <a:effectLst/>
                  <a:uLnTx/>
                  <a:uFillTx/>
                  <a:latin typeface="GothamBold" pitchFamily="50" charset="0"/>
                </a:rPr>
                <a:t>建筑工程</a:t>
              </a:r>
            </a:p>
          </p:txBody>
        </p:sp>
      </p:grpSp>
      <p:grpSp>
        <p:nvGrpSpPr>
          <p:cNvPr id="80" name="Group 79"/>
          <p:cNvGrpSpPr/>
          <p:nvPr/>
        </p:nvGrpSpPr>
        <p:grpSpPr>
          <a:xfrm>
            <a:off x="463851" y="2975785"/>
            <a:ext cx="1388734" cy="614646"/>
            <a:chOff x="334963" y="3911119"/>
            <a:chExt cx="1388734" cy="614646"/>
          </a:xfrm>
        </p:grpSpPr>
        <p:pic>
          <p:nvPicPr>
            <p:cNvPr id="41" name="Graphic 40" descr="Car with solid fill"/>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7950" y="3911119"/>
              <a:ext cx="442761" cy="442761"/>
            </a:xfrm>
            <a:prstGeom prst="rect">
              <a:avLst/>
            </a:prstGeom>
          </p:spPr>
        </p:pic>
        <p:sp>
          <p:nvSpPr>
            <p:cNvPr id="42" name="Title 19"/>
            <p:cNvSpPr txBox="1"/>
            <p:nvPr/>
          </p:nvSpPr>
          <p:spPr>
            <a:xfrm>
              <a:off x="334963" y="4295260"/>
              <a:ext cx="1388734" cy="23050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200" b="0" i="0" u="none" strike="noStrike" kern="1200" cap="none" spc="0" normalizeH="0" baseline="0" noProof="0">
                  <a:ln>
                    <a:noFill/>
                  </a:ln>
                  <a:solidFill>
                    <a:srgbClr val="15325B"/>
                  </a:solidFill>
                  <a:effectLst/>
                  <a:uLnTx/>
                  <a:uFillTx/>
                  <a:latin typeface="GothamBold" pitchFamily="50" charset="0"/>
                </a:rPr>
                <a:t>一般交通</a:t>
              </a:r>
            </a:p>
          </p:txBody>
        </p:sp>
      </p:grpSp>
      <p:grpSp>
        <p:nvGrpSpPr>
          <p:cNvPr id="77" name="Group 76"/>
          <p:cNvGrpSpPr/>
          <p:nvPr/>
        </p:nvGrpSpPr>
        <p:grpSpPr>
          <a:xfrm>
            <a:off x="416865" y="5125038"/>
            <a:ext cx="1388734" cy="542482"/>
            <a:chOff x="284530" y="5194615"/>
            <a:chExt cx="1388734" cy="542482"/>
          </a:xfrm>
        </p:grpSpPr>
        <p:pic>
          <p:nvPicPr>
            <p:cNvPr id="50" name="Graphic 49" descr="Burger and drink with solid fill"/>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78805" y="5194615"/>
              <a:ext cx="391201" cy="391201"/>
            </a:xfrm>
            <a:prstGeom prst="rect">
              <a:avLst/>
            </a:prstGeom>
          </p:spPr>
        </p:pic>
        <p:sp>
          <p:nvSpPr>
            <p:cNvPr id="52" name="Title 19"/>
            <p:cNvSpPr txBox="1"/>
            <p:nvPr/>
          </p:nvSpPr>
          <p:spPr>
            <a:xfrm>
              <a:off x="284530" y="5506592"/>
              <a:ext cx="1388734" cy="23050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en-US" sz="1200" b="0" i="0" u="none" strike="noStrike" kern="1200" cap="none" spc="0" normalizeH="0" baseline="0" noProof="0">
                  <a:ln>
                    <a:noFill/>
                  </a:ln>
                  <a:solidFill>
                    <a:srgbClr val="15325B"/>
                  </a:solidFill>
                  <a:effectLst/>
                  <a:uLnTx/>
                  <a:uFillTx/>
                  <a:latin typeface="GothamBold" pitchFamily="50" charset="0"/>
                </a:rPr>
                <a:t>包装</a:t>
              </a:r>
            </a:p>
          </p:txBody>
        </p:sp>
      </p:grpSp>
      <p:grpSp>
        <p:nvGrpSpPr>
          <p:cNvPr id="56" name="Group 55"/>
          <p:cNvGrpSpPr>
            <a:grpSpLocks noChangeAspect="1"/>
          </p:cNvGrpSpPr>
          <p:nvPr/>
        </p:nvGrpSpPr>
        <p:grpSpPr>
          <a:xfrm>
            <a:off x="2329819" y="1430501"/>
            <a:ext cx="609312" cy="609312"/>
            <a:chOff x="777136" y="1817948"/>
            <a:chExt cx="1015520" cy="1015520"/>
          </a:xfrm>
        </p:grpSpPr>
        <p:sp>
          <p:nvSpPr>
            <p:cNvPr id="58" name="Oval 57"/>
            <p:cNvSpPr/>
            <p:nvPr/>
          </p:nvSpPr>
          <p:spPr>
            <a:xfrm>
              <a:off x="777136" y="1817948"/>
              <a:ext cx="1015520" cy="1015520"/>
            </a:xfrm>
            <a:prstGeom prst="ellipse">
              <a:avLst/>
            </a:prstGeom>
            <a:solidFill>
              <a:srgbClr val="FFFFFF"/>
            </a:solidFill>
            <a:ln w="19050" cap="flat" cmpd="sng" algn="ctr">
              <a:gradFill flip="none" rotWithShape="1">
                <a:gsLst>
                  <a:gs pos="0">
                    <a:srgbClr val="0862A3"/>
                  </a:gs>
                  <a:gs pos="100000">
                    <a:srgbClr val="44546A"/>
                  </a:gs>
                </a:gsLst>
                <a:lin ang="2700000" scaled="1"/>
                <a:tileRect/>
              </a:gradFill>
              <a:prstDash val="solid"/>
              <a:miter lim="800000"/>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defRPr/>
              </a:pPr>
              <a:endParaRPr kumimoji="0" lang="en-US" sz="1800" b="0" i="0" u="none" strike="noStrike" kern="0" cap="none" spc="0" normalizeH="0" baseline="0" noProof="0">
                <a:ln>
                  <a:noFill/>
                </a:ln>
                <a:solidFill>
                  <a:srgbClr val="000000"/>
                </a:solidFill>
                <a:effectLst/>
                <a:uLnTx/>
                <a:uFillTx/>
                <a:latin typeface="Gotham Book"/>
                <a:ea typeface="+mn-ea"/>
                <a:cs typeface="+mn-cs"/>
              </a:endParaRPr>
            </a:p>
          </p:txBody>
        </p:sp>
        <p:pic>
          <p:nvPicPr>
            <p:cNvPr id="61" name="Graphic 60" descr="World with solid fill"/>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23443" y="1964255"/>
              <a:ext cx="722907" cy="722907"/>
            </a:xfrm>
            <a:prstGeom prst="rect">
              <a:avLst/>
            </a:prstGeom>
          </p:spPr>
        </p:pic>
      </p:grpSp>
      <p:grpSp>
        <p:nvGrpSpPr>
          <p:cNvPr id="69" name="Group 68"/>
          <p:cNvGrpSpPr/>
          <p:nvPr/>
        </p:nvGrpSpPr>
        <p:grpSpPr>
          <a:xfrm>
            <a:off x="459358" y="3709275"/>
            <a:ext cx="1486559" cy="590557"/>
            <a:chOff x="2122249" y="4740494"/>
            <a:chExt cx="1486559" cy="590557"/>
          </a:xfrm>
        </p:grpSpPr>
        <p:pic>
          <p:nvPicPr>
            <p:cNvPr id="65" name="Graphic 64" descr="Electric car with solid fill"/>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509049" y="4740494"/>
              <a:ext cx="548103" cy="548103"/>
            </a:xfrm>
            <a:prstGeom prst="rect">
              <a:avLst/>
            </a:prstGeom>
          </p:spPr>
        </p:pic>
        <p:sp>
          <p:nvSpPr>
            <p:cNvPr id="66" name="Title 19"/>
            <p:cNvSpPr txBox="1"/>
            <p:nvPr/>
          </p:nvSpPr>
          <p:spPr>
            <a:xfrm>
              <a:off x="2122249" y="5100546"/>
              <a:ext cx="1486559" cy="23050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en-US" sz="1200" b="0" i="0" u="none" strike="noStrike" kern="1200" cap="none" spc="0" normalizeH="0" baseline="0" noProof="0">
                  <a:ln>
                    <a:noFill/>
                  </a:ln>
                  <a:solidFill>
                    <a:srgbClr val="15325B"/>
                  </a:solidFill>
                  <a:effectLst/>
                  <a:uLnTx/>
                  <a:uFillTx/>
                  <a:latin typeface="GothamBold" pitchFamily="50" charset="0"/>
                </a:rPr>
                <a:t>新能源汽车</a:t>
              </a:r>
            </a:p>
          </p:txBody>
        </p:sp>
      </p:grpSp>
      <p:grpSp>
        <p:nvGrpSpPr>
          <p:cNvPr id="78" name="Group 77"/>
          <p:cNvGrpSpPr/>
          <p:nvPr/>
        </p:nvGrpSpPr>
        <p:grpSpPr>
          <a:xfrm>
            <a:off x="186777" y="5818020"/>
            <a:ext cx="1866864" cy="529360"/>
            <a:chOff x="95898" y="6613730"/>
            <a:chExt cx="1866864" cy="529360"/>
          </a:xfrm>
        </p:grpSpPr>
        <p:pic>
          <p:nvPicPr>
            <p:cNvPr id="72" name="Graphic 71" descr="Sustainability with solid fill"/>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55222" y="6613730"/>
              <a:ext cx="348216" cy="348216"/>
            </a:xfrm>
            <a:prstGeom prst="rect">
              <a:avLst/>
            </a:prstGeom>
          </p:spPr>
        </p:pic>
        <p:sp>
          <p:nvSpPr>
            <p:cNvPr id="73" name="Title 19"/>
            <p:cNvSpPr txBox="1"/>
            <p:nvPr/>
          </p:nvSpPr>
          <p:spPr>
            <a:xfrm>
              <a:off x="95898" y="6912585"/>
              <a:ext cx="1866864" cy="23050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en-US" sz="1200" b="0" i="0" u="none" strike="noStrike" kern="1200" cap="none" spc="0" normalizeH="0" baseline="0" noProof="0">
                  <a:ln>
                    <a:noFill/>
                  </a:ln>
                  <a:solidFill>
                    <a:srgbClr val="15325B"/>
                  </a:solidFill>
                  <a:effectLst/>
                  <a:uLnTx/>
                  <a:uFillTx/>
                  <a:latin typeface="GothamBold" pitchFamily="50" charset="0"/>
                </a:rPr>
                <a:t>再生铝</a:t>
              </a:r>
            </a:p>
          </p:txBody>
        </p:sp>
      </p:grpSp>
      <p:grpSp>
        <p:nvGrpSpPr>
          <p:cNvPr id="81" name="Group 80"/>
          <p:cNvGrpSpPr/>
          <p:nvPr/>
        </p:nvGrpSpPr>
        <p:grpSpPr>
          <a:xfrm>
            <a:off x="252931" y="4385395"/>
            <a:ext cx="1734556" cy="632435"/>
            <a:chOff x="162052" y="5216251"/>
            <a:chExt cx="1734556" cy="632435"/>
          </a:xfrm>
        </p:grpSpPr>
        <p:pic>
          <p:nvPicPr>
            <p:cNvPr id="75" name="Graphic 74" descr="Wind Turbines with solid fill"/>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07950" y="5216251"/>
              <a:ext cx="442761" cy="442761"/>
            </a:xfrm>
            <a:prstGeom prst="rect">
              <a:avLst/>
            </a:prstGeom>
          </p:spPr>
        </p:pic>
        <p:sp>
          <p:nvSpPr>
            <p:cNvPr id="76" name="Title 19"/>
            <p:cNvSpPr txBox="1"/>
            <p:nvPr/>
          </p:nvSpPr>
          <p:spPr>
            <a:xfrm>
              <a:off x="162052" y="5618181"/>
              <a:ext cx="1734556" cy="23050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zh-CN" altLang="en-US" sz="1200" b="0" i="0" u="none" strike="noStrike" kern="1200" cap="none" spc="0" normalizeH="0" baseline="0" noProof="0">
                  <a:ln>
                    <a:noFill/>
                  </a:ln>
                  <a:solidFill>
                    <a:srgbClr val="15325B"/>
                  </a:solidFill>
                  <a:effectLst/>
                  <a:uLnTx/>
                  <a:uFillTx/>
                  <a:latin typeface="GothamBold" pitchFamily="50" charset="0"/>
                </a:rPr>
                <a:t>能源</a:t>
              </a:r>
              <a:r>
                <a:rPr kumimoji="0" lang="en-US" altLang="zh-CN" sz="1200" b="0" i="0" u="none" strike="noStrike" kern="1200" cap="none" spc="0" normalizeH="0" baseline="0" noProof="0">
                  <a:ln>
                    <a:noFill/>
                  </a:ln>
                  <a:solidFill>
                    <a:srgbClr val="15325B"/>
                  </a:solidFill>
                  <a:effectLst/>
                  <a:uLnTx/>
                  <a:uFillTx/>
                  <a:latin typeface="GothamBold" pitchFamily="50" charset="0"/>
                </a:rPr>
                <a:t>&amp;</a:t>
              </a:r>
              <a:r>
                <a:rPr kumimoji="0" lang="zh-CN" altLang="en-US" sz="1200" b="0" i="0" u="none" strike="noStrike" kern="1200" cap="none" spc="0" normalizeH="0" baseline="0" noProof="0">
                  <a:ln>
                    <a:noFill/>
                  </a:ln>
                  <a:solidFill>
                    <a:srgbClr val="15325B"/>
                  </a:solidFill>
                  <a:effectLst/>
                  <a:uLnTx/>
                  <a:uFillTx/>
                  <a:latin typeface="GothamBold" pitchFamily="50" charset="0"/>
                </a:rPr>
                <a:t>电力</a:t>
              </a:r>
            </a:p>
          </p:txBody>
        </p:sp>
      </p:grpSp>
      <p:cxnSp>
        <p:nvCxnSpPr>
          <p:cNvPr id="83" name="Straight Connector 82"/>
          <p:cNvCxnSpPr/>
          <p:nvPr/>
        </p:nvCxnSpPr>
        <p:spPr>
          <a:xfrm>
            <a:off x="252931" y="2975785"/>
            <a:ext cx="11440630"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252931" y="3709275"/>
            <a:ext cx="11440630"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252931" y="4385395"/>
            <a:ext cx="11440630"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252931" y="5079153"/>
            <a:ext cx="11440630" cy="0"/>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a:off x="252931" y="5768008"/>
            <a:ext cx="11440630" cy="0"/>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92" name="TextBox 91"/>
          <p:cNvSpPr txBox="1"/>
          <p:nvPr/>
        </p:nvSpPr>
        <p:spPr>
          <a:xfrm>
            <a:off x="3701415" y="2393950"/>
            <a:ext cx="1833880"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增长将来自中国以外的亚洲，主要是印度和中东</a:t>
            </a:r>
          </a:p>
        </p:txBody>
      </p:sp>
      <p:sp>
        <p:nvSpPr>
          <p:cNvPr id="93" name="TextBox 92"/>
          <p:cNvSpPr txBox="1"/>
          <p:nvPr/>
        </p:nvSpPr>
        <p:spPr>
          <a:xfrm>
            <a:off x="2053590" y="4459605"/>
            <a:ext cx="1289050"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地缘政治紧张局势令脱碳进程受阻</a:t>
            </a:r>
            <a:endParaRPr kumimoji="0" lang="zh-CN" alt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endParaRPr>
          </a:p>
        </p:txBody>
      </p:sp>
      <p:sp>
        <p:nvSpPr>
          <p:cNvPr id="94" name="TextBox 93"/>
          <p:cNvSpPr txBox="1"/>
          <p:nvPr/>
        </p:nvSpPr>
        <p:spPr>
          <a:xfrm>
            <a:off x="7859218" y="2508783"/>
            <a:ext cx="1546758"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替代材料的开发</a:t>
            </a:r>
          </a:p>
        </p:txBody>
      </p:sp>
      <p:sp>
        <p:nvSpPr>
          <p:cNvPr id="99" name="TextBox 98"/>
          <p:cNvSpPr txBox="1"/>
          <p:nvPr/>
        </p:nvSpPr>
        <p:spPr>
          <a:xfrm>
            <a:off x="9831803" y="2421787"/>
            <a:ext cx="1645333"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绿色建筑需求缓慢增长</a:t>
            </a:r>
            <a:endParaRPr kumimoji="0" lang="zh-CN" alt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endParaRPr>
          </a:p>
        </p:txBody>
      </p:sp>
      <p:sp>
        <p:nvSpPr>
          <p:cNvPr id="103" name="TextBox 102"/>
          <p:cNvSpPr txBox="1"/>
          <p:nvPr/>
        </p:nvSpPr>
        <p:spPr>
          <a:xfrm>
            <a:off x="7787384" y="3359663"/>
            <a:ext cx="1793084"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替代材料的开发</a:t>
            </a:r>
          </a:p>
        </p:txBody>
      </p:sp>
      <p:sp>
        <p:nvSpPr>
          <p:cNvPr id="105" name="TextBox 104"/>
          <p:cNvSpPr txBox="1"/>
          <p:nvPr/>
        </p:nvSpPr>
        <p:spPr>
          <a:xfrm>
            <a:off x="7890151" y="5174839"/>
            <a:ext cx="1546758"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开发铝以外的替代材料</a:t>
            </a:r>
          </a:p>
        </p:txBody>
      </p:sp>
      <p:sp>
        <p:nvSpPr>
          <p:cNvPr id="106" name="TextBox 105"/>
          <p:cNvSpPr txBox="1"/>
          <p:nvPr/>
        </p:nvSpPr>
        <p:spPr>
          <a:xfrm>
            <a:off x="3831590" y="4459605"/>
            <a:ext cx="1518920"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经济增长缓慢</a:t>
            </a:r>
            <a:r>
              <a:rPr kumimoji="0" lang="zh-CN" alt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导致</a:t>
            </a:r>
            <a:r>
              <a:rPr lang="en-US" sz="1000" noProof="0">
                <a:ln>
                  <a:noFill/>
                </a:ln>
                <a:solidFill>
                  <a:srgbClr val="000000">
                    <a:lumMod val="50000"/>
                    <a:lumOff val="50000"/>
                  </a:srgbClr>
                </a:solidFill>
                <a:effectLst/>
                <a:uLnTx/>
                <a:uFillTx/>
                <a:latin typeface="GothamBook" pitchFamily="50" charset="0"/>
                <a:sym typeface="+mn-ea"/>
              </a:rPr>
              <a:t>脱碳进程受</a:t>
            </a:r>
            <a:r>
              <a:rPr lang="zh-CN" altLang="en-US" sz="1000" noProof="0">
                <a:ln>
                  <a:noFill/>
                </a:ln>
                <a:solidFill>
                  <a:srgbClr val="000000">
                    <a:lumMod val="50000"/>
                    <a:lumOff val="50000"/>
                  </a:srgbClr>
                </a:solidFill>
                <a:effectLst/>
                <a:uLnTx/>
                <a:uFillTx/>
                <a:latin typeface="GothamBook" pitchFamily="50" charset="0"/>
                <a:sym typeface="+mn-ea"/>
              </a:rPr>
              <a:t>阻</a:t>
            </a:r>
            <a:endPar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endParaRPr>
          </a:p>
        </p:txBody>
      </p:sp>
      <p:sp>
        <p:nvSpPr>
          <p:cNvPr id="107" name="TextBox 106"/>
          <p:cNvSpPr txBox="1"/>
          <p:nvPr/>
        </p:nvSpPr>
        <p:spPr>
          <a:xfrm>
            <a:off x="5848985" y="4459605"/>
            <a:ext cx="1735455"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民粹主义抬头对脱碳的抵制</a:t>
            </a:r>
          </a:p>
        </p:txBody>
      </p:sp>
      <p:sp>
        <p:nvSpPr>
          <p:cNvPr id="108" name="TextBox 107"/>
          <p:cNvSpPr txBox="1"/>
          <p:nvPr/>
        </p:nvSpPr>
        <p:spPr>
          <a:xfrm>
            <a:off x="9850120" y="5829300"/>
            <a:ext cx="1813560" cy="398780"/>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对再生铝的需求快速增长，对原铝的需求增长较慢</a:t>
            </a:r>
          </a:p>
        </p:txBody>
      </p:sp>
      <p:sp>
        <p:nvSpPr>
          <p:cNvPr id="109" name="TextBox 108"/>
          <p:cNvSpPr txBox="1"/>
          <p:nvPr/>
        </p:nvSpPr>
        <p:spPr>
          <a:xfrm>
            <a:off x="3685540" y="3020060"/>
            <a:ext cx="1833880"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汽车增长率1.6%。汽车</a:t>
            </a:r>
            <a:r>
              <a:rPr kumimoji="0" lang="zh-CN" alt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用</a:t>
            </a: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铝消费的增长将会更高</a:t>
            </a:r>
            <a:r>
              <a:rPr kumimoji="0" lang="en-US" sz="1000" b="0" i="0" u="none" strike="noStrike" kern="1200" cap="none" spc="0" normalizeH="0" baseline="30000" noProof="0">
                <a:ln>
                  <a:noFill/>
                </a:ln>
                <a:solidFill>
                  <a:srgbClr val="000000">
                    <a:lumMod val="50000"/>
                    <a:lumOff val="50000"/>
                  </a:srgbClr>
                </a:solidFill>
                <a:effectLst/>
                <a:uLnTx/>
                <a:uFillTx/>
                <a:latin typeface="GothamBook" pitchFamily="50" charset="0"/>
                <a:ea typeface="+mn-ea"/>
                <a:cs typeface="+mn-cs"/>
              </a:rPr>
              <a:t>1</a:t>
            </a:r>
          </a:p>
        </p:txBody>
      </p:sp>
      <p:sp>
        <p:nvSpPr>
          <p:cNvPr id="111" name="TextBox 110"/>
          <p:cNvSpPr txBox="1"/>
          <p:nvPr/>
        </p:nvSpPr>
        <p:spPr>
          <a:xfrm>
            <a:off x="5732047" y="3020019"/>
            <a:ext cx="1990290"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lang="en-US" sz="1000" noProof="0">
                <a:ln>
                  <a:noFill/>
                </a:ln>
                <a:solidFill>
                  <a:srgbClr val="000000">
                    <a:lumMod val="50000"/>
                    <a:lumOff val="50000"/>
                  </a:srgbClr>
                </a:solidFill>
                <a:effectLst/>
                <a:uLnTx/>
                <a:uFillTx/>
                <a:latin typeface="GothamBook" pitchFamily="50" charset="0"/>
                <a:sym typeface="+mn-ea"/>
              </a:rPr>
              <a:t>汽车增长率1.6%。汽车</a:t>
            </a:r>
            <a:r>
              <a:rPr lang="zh-CN" altLang="en-US" sz="1000" noProof="0">
                <a:ln>
                  <a:noFill/>
                </a:ln>
                <a:solidFill>
                  <a:srgbClr val="000000">
                    <a:lumMod val="50000"/>
                    <a:lumOff val="50000"/>
                  </a:srgbClr>
                </a:solidFill>
                <a:effectLst/>
                <a:uLnTx/>
                <a:uFillTx/>
                <a:latin typeface="GothamBook" pitchFamily="50" charset="0"/>
                <a:sym typeface="+mn-ea"/>
              </a:rPr>
              <a:t>用</a:t>
            </a:r>
            <a:r>
              <a:rPr lang="en-US" sz="1000" noProof="0">
                <a:ln>
                  <a:noFill/>
                </a:ln>
                <a:solidFill>
                  <a:srgbClr val="000000">
                    <a:lumMod val="50000"/>
                    <a:lumOff val="50000"/>
                  </a:srgbClr>
                </a:solidFill>
                <a:effectLst/>
                <a:uLnTx/>
                <a:uFillTx/>
                <a:latin typeface="GothamBook" pitchFamily="50" charset="0"/>
                <a:sym typeface="+mn-ea"/>
              </a:rPr>
              <a:t>铝消费的增长将会更高</a:t>
            </a:r>
            <a:r>
              <a:rPr kumimoji="0" lang="en-US" sz="1000" b="0" i="0" u="none" strike="noStrike" kern="1200" cap="none" spc="0" normalizeH="0" baseline="30000" noProof="0">
                <a:ln>
                  <a:noFill/>
                </a:ln>
                <a:solidFill>
                  <a:srgbClr val="000000">
                    <a:lumMod val="50000"/>
                    <a:lumOff val="50000"/>
                  </a:srgbClr>
                </a:solidFill>
                <a:effectLst/>
                <a:uLnTx/>
                <a:uFillTx/>
                <a:latin typeface="GothamBook" pitchFamily="50" charset="0"/>
                <a:ea typeface="+mn-ea"/>
                <a:cs typeface="+mn-cs"/>
              </a:rPr>
              <a:t>1</a:t>
            </a:r>
          </a:p>
        </p:txBody>
      </p:sp>
      <p:sp>
        <p:nvSpPr>
          <p:cNvPr id="115" name="TextBox 114"/>
          <p:cNvSpPr txBox="1"/>
          <p:nvPr/>
        </p:nvSpPr>
        <p:spPr>
          <a:xfrm>
            <a:off x="9831705" y="5125085"/>
            <a:ext cx="1541145" cy="553085"/>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罐装饮料的日益普及与中国瓶装啤酒向铝罐包装的转变</a:t>
            </a:r>
          </a:p>
        </p:txBody>
      </p:sp>
      <p:sp>
        <p:nvSpPr>
          <p:cNvPr id="116" name="TextBox 115"/>
          <p:cNvSpPr txBox="1"/>
          <p:nvPr/>
        </p:nvSpPr>
        <p:spPr>
          <a:xfrm>
            <a:off x="3827774" y="3836295"/>
            <a:ext cx="1645333"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电动汽车年复合增长率为19%</a:t>
            </a:r>
          </a:p>
        </p:txBody>
      </p:sp>
      <p:sp>
        <p:nvSpPr>
          <p:cNvPr id="118" name="TextBox 117"/>
          <p:cNvSpPr txBox="1"/>
          <p:nvPr/>
        </p:nvSpPr>
        <p:spPr>
          <a:xfrm>
            <a:off x="5826125" y="3836035"/>
            <a:ext cx="1961515"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新能源购车有望迎来第二次高潮</a:t>
            </a:r>
          </a:p>
        </p:txBody>
      </p:sp>
      <p:sp>
        <p:nvSpPr>
          <p:cNvPr id="119" name="TextBox 118"/>
          <p:cNvSpPr txBox="1"/>
          <p:nvPr/>
        </p:nvSpPr>
        <p:spPr>
          <a:xfrm>
            <a:off x="7976301" y="3793185"/>
            <a:ext cx="1645333"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替代材料的开发，</a:t>
            </a:r>
          </a:p>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例如复合材料</a:t>
            </a:r>
          </a:p>
        </p:txBody>
      </p:sp>
      <p:sp>
        <p:nvSpPr>
          <p:cNvPr id="124" name="Isosceles Triangle 123"/>
          <p:cNvSpPr/>
          <p:nvPr/>
        </p:nvSpPr>
        <p:spPr>
          <a:xfrm>
            <a:off x="5427030" y="2757383"/>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25" name="Isosceles Triangle 124"/>
          <p:cNvSpPr/>
          <p:nvPr/>
        </p:nvSpPr>
        <p:spPr>
          <a:xfrm>
            <a:off x="5427030" y="3519384"/>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27" name="Isosceles Triangle 126"/>
          <p:cNvSpPr/>
          <p:nvPr/>
        </p:nvSpPr>
        <p:spPr>
          <a:xfrm>
            <a:off x="5427030" y="4196717"/>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28" name="Isosceles Triangle 127"/>
          <p:cNvSpPr/>
          <p:nvPr/>
        </p:nvSpPr>
        <p:spPr>
          <a:xfrm>
            <a:off x="5427030" y="6192500"/>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29" name="Isosceles Triangle 128"/>
          <p:cNvSpPr/>
          <p:nvPr/>
        </p:nvSpPr>
        <p:spPr>
          <a:xfrm flipV="1">
            <a:off x="5427030" y="4886628"/>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0" name="Isosceles Triangle 129"/>
          <p:cNvSpPr/>
          <p:nvPr/>
        </p:nvSpPr>
        <p:spPr>
          <a:xfrm flipV="1">
            <a:off x="3285171" y="4894498"/>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1" name="Isosceles Triangle 130"/>
          <p:cNvSpPr/>
          <p:nvPr/>
        </p:nvSpPr>
        <p:spPr>
          <a:xfrm flipV="1">
            <a:off x="9419916" y="2777087"/>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2" name="Isosceles Triangle 131"/>
          <p:cNvSpPr/>
          <p:nvPr/>
        </p:nvSpPr>
        <p:spPr>
          <a:xfrm flipV="1">
            <a:off x="9414739" y="3539272"/>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3" name="Isosceles Triangle 132"/>
          <p:cNvSpPr/>
          <p:nvPr/>
        </p:nvSpPr>
        <p:spPr>
          <a:xfrm flipV="1">
            <a:off x="9421992" y="4234948"/>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4" name="Isosceles Triangle 133"/>
          <p:cNvSpPr/>
          <p:nvPr/>
        </p:nvSpPr>
        <p:spPr>
          <a:xfrm flipV="1">
            <a:off x="9419916" y="5555058"/>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5" name="Isosceles Triangle 134"/>
          <p:cNvSpPr/>
          <p:nvPr/>
        </p:nvSpPr>
        <p:spPr>
          <a:xfrm>
            <a:off x="11372758" y="2799223"/>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6" name="Isosceles Triangle 135"/>
          <p:cNvSpPr/>
          <p:nvPr/>
        </p:nvSpPr>
        <p:spPr>
          <a:xfrm>
            <a:off x="11372758" y="5560073"/>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7" name="Isosceles Triangle 136"/>
          <p:cNvSpPr/>
          <p:nvPr/>
        </p:nvSpPr>
        <p:spPr>
          <a:xfrm>
            <a:off x="11404469" y="6358502"/>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38" name="TextBox 137"/>
          <p:cNvSpPr txBox="1"/>
          <p:nvPr/>
        </p:nvSpPr>
        <p:spPr>
          <a:xfrm>
            <a:off x="9849920" y="3864235"/>
            <a:ext cx="1645333"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lang="en-US" sz="1000" noProof="0">
                <a:ln>
                  <a:noFill/>
                </a:ln>
                <a:solidFill>
                  <a:srgbClr val="000000">
                    <a:lumMod val="50000"/>
                    <a:lumOff val="50000"/>
                  </a:srgbClr>
                </a:solidFill>
                <a:effectLst/>
                <a:uLnTx/>
                <a:uFillTx/>
                <a:latin typeface="GothamBook" pitchFamily="50" charset="0"/>
                <a:sym typeface="+mn-ea"/>
              </a:rPr>
              <a:t>电动汽车年复合增长率为19%</a:t>
            </a:r>
            <a:endPar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endParaRPr>
          </a:p>
        </p:txBody>
      </p:sp>
      <p:sp>
        <p:nvSpPr>
          <p:cNvPr id="139" name="Isosceles Triangle 138"/>
          <p:cNvSpPr/>
          <p:nvPr/>
        </p:nvSpPr>
        <p:spPr>
          <a:xfrm>
            <a:off x="11402821" y="4196717"/>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40" name="TextBox 139"/>
          <p:cNvSpPr txBox="1"/>
          <p:nvPr/>
        </p:nvSpPr>
        <p:spPr>
          <a:xfrm>
            <a:off x="7809865" y="5888990"/>
            <a:ext cx="1749425" cy="39878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二次冶炼所需的原铝消费量减少</a:t>
            </a:r>
          </a:p>
        </p:txBody>
      </p:sp>
      <p:sp>
        <p:nvSpPr>
          <p:cNvPr id="141" name="Isosceles Triangle 140"/>
          <p:cNvSpPr/>
          <p:nvPr/>
        </p:nvSpPr>
        <p:spPr>
          <a:xfrm flipV="1">
            <a:off x="9427586" y="6253319"/>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42" name="Isosceles Triangle 141"/>
          <p:cNvSpPr/>
          <p:nvPr/>
        </p:nvSpPr>
        <p:spPr>
          <a:xfrm>
            <a:off x="556647" y="6587761"/>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43" name="Isosceles Triangle 142"/>
          <p:cNvSpPr/>
          <p:nvPr/>
        </p:nvSpPr>
        <p:spPr>
          <a:xfrm flipV="1">
            <a:off x="1987487" y="6601457"/>
            <a:ext cx="145333" cy="117480"/>
          </a:xfrm>
          <a:prstGeom prst="triangl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
        <p:nvSpPr>
          <p:cNvPr id="145" name="TextBox 144"/>
          <p:cNvSpPr txBox="1"/>
          <p:nvPr/>
        </p:nvSpPr>
        <p:spPr>
          <a:xfrm>
            <a:off x="1987487" y="6537087"/>
            <a:ext cx="1533973"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不利影响</a:t>
            </a:r>
            <a:endParaRPr kumimoji="0" lang="zh-CN" alt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endParaRPr>
          </a:p>
        </p:txBody>
      </p:sp>
      <p:sp>
        <p:nvSpPr>
          <p:cNvPr id="2" name="Slide Number Placeholder 2"/>
          <p:cNvSpPr txBox="1"/>
          <p:nvPr/>
        </p:nvSpPr>
        <p:spPr>
          <a:xfrm>
            <a:off x="11208568" y="6396327"/>
            <a:ext cx="611957" cy="365125"/>
          </a:xfrm>
          <a:prstGeom prst="rect">
            <a:avLst/>
          </a:prstGeom>
        </p:spPr>
        <p:txBody>
          <a:bodyPr vert="horz" lIns="0" tIns="45720" rIns="0" bIns="45720" rtlCol="0" anchor="b"/>
          <a:lstStyle>
            <a:defPPr>
              <a:defRPr lang="en-US"/>
            </a:defPPr>
            <a:lvl1pPr algn="r">
              <a:defRPr sz="1050" b="0" i="0">
                <a:solidFill>
                  <a:schemeClr val="tx1">
                    <a:lumMod val="75000"/>
                    <a:lumOff val="25000"/>
                  </a:schemeClr>
                </a:solidFill>
                <a:latin typeface="Gotham Medium" charset="0"/>
                <a:ea typeface="Gotham Medium" charset="0"/>
                <a:cs typeface="Gotham Medium"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id-ID" sz="1050" b="0" i="0" u="none" strike="noStrike" kern="1200" cap="none" spc="0" normalizeH="0" baseline="0" noProof="0">
                <a:ln>
                  <a:noFill/>
                </a:ln>
                <a:solidFill>
                  <a:srgbClr val="000000">
                    <a:lumMod val="75000"/>
                    <a:lumOff val="25000"/>
                  </a:srgbClr>
                </a:solidFill>
                <a:effectLst/>
                <a:uLnTx/>
                <a:uFillTx/>
                <a:latin typeface="Gotham Medium" charset="0"/>
              </a:rPr>
              <a:t>|         </a:t>
            </a:r>
            <a:fld id="{7904F5B5-DD6E-6442-8C14-4BFE420CE974}" type="slidenum">
              <a:rPr kumimoji="0" lang="id-ID" sz="1050" b="0" i="0" u="none" strike="noStrike" kern="1200" cap="none" spc="0" normalizeH="0" baseline="0" noProof="0" smtClean="0">
                <a:ln>
                  <a:noFill/>
                </a:ln>
                <a:solidFill>
                  <a:srgbClr val="000000">
                    <a:lumMod val="75000"/>
                    <a:lumOff val="25000"/>
                  </a:srgbClr>
                </a:solidFill>
                <a:effectLst/>
                <a:uLnTx/>
                <a:uFillTx/>
                <a:latin typeface="Gotham Medium" charset="0"/>
              </a:rPr>
              <a:t>6</a:t>
            </a:fld>
            <a:endParaRPr kumimoji="0" lang="id-ID" sz="1050" b="0" i="0" u="none" strike="noStrike" kern="1200" cap="none" spc="0" normalizeH="0" baseline="0" noProof="0">
              <a:ln>
                <a:noFill/>
              </a:ln>
              <a:solidFill>
                <a:srgbClr val="000000">
                  <a:lumMod val="75000"/>
                  <a:lumOff val="25000"/>
                </a:srgbClr>
              </a:solidFill>
              <a:effectLst/>
              <a:uLnTx/>
              <a:uFillTx/>
              <a:latin typeface="Gotham Medium" charset="0"/>
            </a:endParaRPr>
          </a:p>
        </p:txBody>
      </p:sp>
      <p:sp>
        <p:nvSpPr>
          <p:cNvPr id="4" name="TextBox 3"/>
          <p:cNvSpPr txBox="1"/>
          <p:nvPr/>
        </p:nvSpPr>
        <p:spPr>
          <a:xfrm>
            <a:off x="7787867" y="3020029"/>
            <a:ext cx="1833876" cy="245110"/>
          </a:xfrm>
          <a:prstGeom prst="rect">
            <a:avLst/>
          </a:prstGeom>
          <a:noFill/>
        </p:spPr>
        <p:txBody>
          <a:bodyPr wrap="square">
            <a:spAutoFit/>
          </a:bodyPr>
          <a:lstStyle/>
          <a:p>
            <a:pPr marL="0" marR="0" lvl="0" indent="0" algn="ctr" defTabSz="914400" rtl="0" eaLnBrk="1" fontAlgn="auto" latinLnBrk="0" hangingPunct="1">
              <a:lnSpc>
                <a:spcPct val="100000"/>
              </a:lnSpc>
              <a:spcBef>
                <a:spcPct val="0"/>
              </a:spcBef>
              <a:spcAft>
                <a:spcPts val="0"/>
              </a:spcAft>
              <a:buClrTx/>
              <a:buSzTx/>
              <a:buFontTx/>
              <a:buNone/>
              <a:defRPr/>
            </a:pPr>
            <a:r>
              <a:rPr kumimoji="0" lang="en-US" sz="1000" b="0" i="0" u="none" strike="noStrike" kern="1200" cap="none" spc="0" normalizeH="0" baseline="0" noProof="0">
                <a:ln>
                  <a:noFill/>
                </a:ln>
                <a:solidFill>
                  <a:srgbClr val="000000">
                    <a:lumMod val="50000"/>
                    <a:lumOff val="50000"/>
                  </a:srgbClr>
                </a:solidFill>
                <a:effectLst/>
                <a:uLnTx/>
                <a:uFillTx/>
                <a:latin typeface="GothamBook" pitchFamily="50" charset="0"/>
                <a:ea typeface="+mn-ea"/>
                <a:cs typeface="+mn-cs"/>
              </a:rPr>
              <a:t>轻质材料需求不断增加</a:t>
            </a:r>
          </a:p>
        </p:txBody>
      </p:sp>
      <p:sp>
        <p:nvSpPr>
          <p:cNvPr id="5" name="Isosceles Triangle 4"/>
          <p:cNvSpPr/>
          <p:nvPr/>
        </p:nvSpPr>
        <p:spPr>
          <a:xfrm>
            <a:off x="9421991" y="3227363"/>
            <a:ext cx="145333" cy="117480"/>
          </a:xfrm>
          <a:prstGeom prst="triangl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ID" sz="1800" b="0" i="0" u="none" strike="noStrike" kern="1200" cap="none" spc="0" normalizeH="0" baseline="0" noProof="0">
              <a:ln>
                <a:noFill/>
              </a:ln>
              <a:solidFill>
                <a:srgbClr val="FFFFFF"/>
              </a:solidFill>
              <a:effectLst/>
              <a:uLnTx/>
              <a:uFillTx/>
              <a:latin typeface="Gotham Book"/>
              <a:ea typeface="+mn-ea"/>
              <a:cs typeface="+mn-c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r>
              <a:rPr lang="id-ID"/>
              <a:t>|          </a:t>
            </a:r>
            <a:fld id="{7904F5B5-DD6E-6442-8C14-4BFE420CE974}" type="slidenum">
              <a:rPr lang="id-ID" smtClean="0"/>
              <a:t>7</a:t>
            </a:fld>
            <a:endParaRPr lang="id-ID"/>
          </a:p>
        </p:txBody>
      </p:sp>
      <p:pic>
        <p:nvPicPr>
          <p:cNvPr id="107" name="object 104"/>
          <p:cNvPicPr/>
          <p:nvPr/>
        </p:nvPicPr>
        <p:blipFill>
          <a:blip r:embed="rId3" cstate="print"/>
          <a:stretch>
            <a:fillRect/>
          </a:stretch>
        </p:blipFill>
        <p:spPr>
          <a:xfrm>
            <a:off x="882796" y="2196383"/>
            <a:ext cx="6630419" cy="3073866"/>
          </a:xfrm>
          <a:prstGeom prst="rect">
            <a:avLst/>
          </a:prstGeom>
        </p:spPr>
      </p:pic>
      <p:pic>
        <p:nvPicPr>
          <p:cNvPr id="108" name="object 105"/>
          <p:cNvPicPr/>
          <p:nvPr/>
        </p:nvPicPr>
        <p:blipFill>
          <a:blip r:embed="rId4" cstate="print"/>
          <a:stretch>
            <a:fillRect/>
          </a:stretch>
        </p:blipFill>
        <p:spPr>
          <a:xfrm>
            <a:off x="3084255" y="3048207"/>
            <a:ext cx="259105" cy="294182"/>
          </a:xfrm>
          <a:prstGeom prst="rect">
            <a:avLst/>
          </a:prstGeom>
        </p:spPr>
      </p:pic>
      <p:sp>
        <p:nvSpPr>
          <p:cNvPr id="109" name="object 106"/>
          <p:cNvSpPr/>
          <p:nvPr/>
        </p:nvSpPr>
        <p:spPr>
          <a:xfrm>
            <a:off x="3131499" y="3068070"/>
            <a:ext cx="169545" cy="204470"/>
          </a:xfrm>
          <a:custGeom>
            <a:avLst/>
            <a:gdLst/>
            <a:ahLst/>
            <a:cxnLst/>
            <a:rect l="l" t="t" r="r" b="b"/>
            <a:pathLst>
              <a:path w="169544" h="204470">
                <a:moveTo>
                  <a:pt x="84582" y="0"/>
                </a:moveTo>
                <a:lnTo>
                  <a:pt x="51649" y="8024"/>
                </a:lnTo>
                <a:lnTo>
                  <a:pt x="24764" y="29908"/>
                </a:lnTo>
                <a:lnTo>
                  <a:pt x="6643" y="62364"/>
                </a:lnTo>
                <a:lnTo>
                  <a:pt x="0" y="102108"/>
                </a:lnTo>
                <a:lnTo>
                  <a:pt x="6643" y="141851"/>
                </a:lnTo>
                <a:lnTo>
                  <a:pt x="24764" y="174307"/>
                </a:lnTo>
                <a:lnTo>
                  <a:pt x="51649" y="196191"/>
                </a:lnTo>
                <a:lnTo>
                  <a:pt x="84582" y="204216"/>
                </a:lnTo>
                <a:lnTo>
                  <a:pt x="117514" y="196191"/>
                </a:lnTo>
                <a:lnTo>
                  <a:pt x="144399" y="174307"/>
                </a:lnTo>
                <a:lnTo>
                  <a:pt x="162520" y="141851"/>
                </a:lnTo>
                <a:lnTo>
                  <a:pt x="169164" y="102108"/>
                </a:lnTo>
                <a:lnTo>
                  <a:pt x="162520" y="62364"/>
                </a:lnTo>
                <a:lnTo>
                  <a:pt x="144399" y="29908"/>
                </a:lnTo>
                <a:lnTo>
                  <a:pt x="117514" y="8024"/>
                </a:lnTo>
                <a:lnTo>
                  <a:pt x="84582" y="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10" name="object 107"/>
          <p:cNvPicPr/>
          <p:nvPr/>
        </p:nvPicPr>
        <p:blipFill>
          <a:blip r:embed="rId5" cstate="print"/>
          <a:stretch>
            <a:fillRect/>
          </a:stretch>
        </p:blipFill>
        <p:spPr>
          <a:xfrm>
            <a:off x="3102543" y="3252537"/>
            <a:ext cx="272745" cy="310959"/>
          </a:xfrm>
          <a:prstGeom prst="rect">
            <a:avLst/>
          </a:prstGeom>
        </p:spPr>
      </p:pic>
      <p:sp>
        <p:nvSpPr>
          <p:cNvPr id="111" name="object 108"/>
          <p:cNvSpPr/>
          <p:nvPr/>
        </p:nvSpPr>
        <p:spPr>
          <a:xfrm>
            <a:off x="3149787" y="3272285"/>
            <a:ext cx="182880" cy="220979"/>
          </a:xfrm>
          <a:custGeom>
            <a:avLst/>
            <a:gdLst/>
            <a:ahLst/>
            <a:cxnLst/>
            <a:rect l="l" t="t" r="r" b="b"/>
            <a:pathLst>
              <a:path w="182880" h="220979">
                <a:moveTo>
                  <a:pt x="91440" y="0"/>
                </a:moveTo>
                <a:lnTo>
                  <a:pt x="55828" y="8691"/>
                </a:lnTo>
                <a:lnTo>
                  <a:pt x="26765" y="32384"/>
                </a:lnTo>
                <a:lnTo>
                  <a:pt x="7179" y="67508"/>
                </a:lnTo>
                <a:lnTo>
                  <a:pt x="0" y="110489"/>
                </a:lnTo>
                <a:lnTo>
                  <a:pt x="7179" y="153471"/>
                </a:lnTo>
                <a:lnTo>
                  <a:pt x="26765" y="188594"/>
                </a:lnTo>
                <a:lnTo>
                  <a:pt x="55828" y="212288"/>
                </a:lnTo>
                <a:lnTo>
                  <a:pt x="91440" y="220979"/>
                </a:lnTo>
                <a:lnTo>
                  <a:pt x="127051" y="212288"/>
                </a:lnTo>
                <a:lnTo>
                  <a:pt x="156114" y="188594"/>
                </a:lnTo>
                <a:lnTo>
                  <a:pt x="175700" y="153471"/>
                </a:lnTo>
                <a:lnTo>
                  <a:pt x="182880" y="110489"/>
                </a:lnTo>
                <a:lnTo>
                  <a:pt x="175700" y="67508"/>
                </a:lnTo>
                <a:lnTo>
                  <a:pt x="156114" y="32384"/>
                </a:lnTo>
                <a:lnTo>
                  <a:pt x="127051" y="8691"/>
                </a:lnTo>
                <a:lnTo>
                  <a:pt x="91440" y="0"/>
                </a:lnTo>
                <a:close/>
              </a:path>
            </a:pathLst>
          </a:custGeom>
          <a:solidFill>
            <a:srgbClr val="C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12" name="object 109"/>
          <p:cNvPicPr/>
          <p:nvPr/>
        </p:nvPicPr>
        <p:blipFill>
          <a:blip r:embed="rId6" cstate="print"/>
          <a:stretch>
            <a:fillRect/>
          </a:stretch>
        </p:blipFill>
        <p:spPr>
          <a:xfrm>
            <a:off x="4235450" y="1698625"/>
            <a:ext cx="335280" cy="121920"/>
          </a:xfrm>
          <a:prstGeom prst="rect">
            <a:avLst/>
          </a:prstGeom>
        </p:spPr>
      </p:pic>
      <p:pic>
        <p:nvPicPr>
          <p:cNvPr id="113" name="object 110"/>
          <p:cNvPicPr/>
          <p:nvPr/>
        </p:nvPicPr>
        <p:blipFill>
          <a:blip r:embed="rId7" cstate="print"/>
          <a:stretch>
            <a:fillRect/>
          </a:stretch>
        </p:blipFill>
        <p:spPr>
          <a:xfrm>
            <a:off x="4235763" y="1836043"/>
            <a:ext cx="593216" cy="121920"/>
          </a:xfrm>
          <a:prstGeom prst="rect">
            <a:avLst/>
          </a:prstGeom>
        </p:spPr>
      </p:pic>
      <p:pic>
        <p:nvPicPr>
          <p:cNvPr id="114" name="object 111"/>
          <p:cNvPicPr/>
          <p:nvPr/>
        </p:nvPicPr>
        <p:blipFill>
          <a:blip r:embed="rId8" cstate="print"/>
          <a:stretch>
            <a:fillRect/>
          </a:stretch>
        </p:blipFill>
        <p:spPr>
          <a:xfrm>
            <a:off x="4235763" y="1973203"/>
            <a:ext cx="517283" cy="121920"/>
          </a:xfrm>
          <a:prstGeom prst="rect">
            <a:avLst/>
          </a:prstGeom>
        </p:spPr>
      </p:pic>
      <p:pic>
        <p:nvPicPr>
          <p:cNvPr id="115" name="object 112"/>
          <p:cNvPicPr/>
          <p:nvPr/>
        </p:nvPicPr>
        <p:blipFill>
          <a:blip r:embed="rId9" cstate="print"/>
          <a:stretch>
            <a:fillRect/>
          </a:stretch>
        </p:blipFill>
        <p:spPr>
          <a:xfrm>
            <a:off x="4235763" y="2110363"/>
            <a:ext cx="371855" cy="121920"/>
          </a:xfrm>
          <a:prstGeom prst="rect">
            <a:avLst/>
          </a:prstGeom>
        </p:spPr>
      </p:pic>
      <p:pic>
        <p:nvPicPr>
          <p:cNvPr id="116" name="object 113"/>
          <p:cNvPicPr/>
          <p:nvPr/>
        </p:nvPicPr>
        <p:blipFill>
          <a:blip r:embed="rId10" cstate="print"/>
          <a:stretch>
            <a:fillRect/>
          </a:stretch>
        </p:blipFill>
        <p:spPr>
          <a:xfrm>
            <a:off x="4955092" y="1698324"/>
            <a:ext cx="742950" cy="122224"/>
          </a:xfrm>
          <a:prstGeom prst="rect">
            <a:avLst/>
          </a:prstGeom>
        </p:spPr>
      </p:pic>
      <p:pic>
        <p:nvPicPr>
          <p:cNvPr id="117" name="object 114"/>
          <p:cNvPicPr/>
          <p:nvPr/>
        </p:nvPicPr>
        <p:blipFill>
          <a:blip r:embed="rId11" cstate="print"/>
          <a:stretch>
            <a:fillRect/>
          </a:stretch>
        </p:blipFill>
        <p:spPr>
          <a:xfrm>
            <a:off x="4955092" y="1836043"/>
            <a:ext cx="886637" cy="121920"/>
          </a:xfrm>
          <a:prstGeom prst="rect">
            <a:avLst/>
          </a:prstGeom>
        </p:spPr>
      </p:pic>
      <p:pic>
        <p:nvPicPr>
          <p:cNvPr id="118" name="object 115"/>
          <p:cNvPicPr/>
          <p:nvPr/>
        </p:nvPicPr>
        <p:blipFill>
          <a:blip r:embed="rId12" cstate="print"/>
          <a:stretch>
            <a:fillRect/>
          </a:stretch>
        </p:blipFill>
        <p:spPr>
          <a:xfrm>
            <a:off x="4955092" y="1973203"/>
            <a:ext cx="865416" cy="121920"/>
          </a:xfrm>
          <a:prstGeom prst="rect">
            <a:avLst/>
          </a:prstGeom>
        </p:spPr>
      </p:pic>
      <p:pic>
        <p:nvPicPr>
          <p:cNvPr id="119" name="object 116"/>
          <p:cNvPicPr/>
          <p:nvPr/>
        </p:nvPicPr>
        <p:blipFill>
          <a:blip r:embed="rId13" cstate="print"/>
          <a:stretch>
            <a:fillRect/>
          </a:stretch>
        </p:blipFill>
        <p:spPr>
          <a:xfrm>
            <a:off x="4955092" y="2110363"/>
            <a:ext cx="302895" cy="121920"/>
          </a:xfrm>
          <a:prstGeom prst="rect">
            <a:avLst/>
          </a:prstGeom>
        </p:spPr>
      </p:pic>
      <p:pic>
        <p:nvPicPr>
          <p:cNvPr id="120" name="object 117"/>
          <p:cNvPicPr/>
          <p:nvPr/>
        </p:nvPicPr>
        <p:blipFill>
          <a:blip r:embed="rId14" cstate="print"/>
          <a:stretch>
            <a:fillRect/>
          </a:stretch>
        </p:blipFill>
        <p:spPr>
          <a:xfrm>
            <a:off x="4235763" y="2247523"/>
            <a:ext cx="1027938" cy="121920"/>
          </a:xfrm>
          <a:prstGeom prst="rect">
            <a:avLst/>
          </a:prstGeom>
        </p:spPr>
      </p:pic>
      <p:pic>
        <p:nvPicPr>
          <p:cNvPr id="121" name="object 118"/>
          <p:cNvPicPr/>
          <p:nvPr/>
        </p:nvPicPr>
        <p:blipFill>
          <a:blip r:embed="rId6" cstate="print"/>
          <a:stretch>
            <a:fillRect/>
          </a:stretch>
        </p:blipFill>
        <p:spPr>
          <a:xfrm>
            <a:off x="871711" y="1662053"/>
            <a:ext cx="335280" cy="121920"/>
          </a:xfrm>
          <a:prstGeom prst="rect">
            <a:avLst/>
          </a:prstGeom>
        </p:spPr>
      </p:pic>
      <p:pic>
        <p:nvPicPr>
          <p:cNvPr id="122" name="object 119"/>
          <p:cNvPicPr/>
          <p:nvPr/>
        </p:nvPicPr>
        <p:blipFill>
          <a:blip r:embed="rId15" cstate="print"/>
          <a:stretch>
            <a:fillRect/>
          </a:stretch>
        </p:blipFill>
        <p:spPr>
          <a:xfrm>
            <a:off x="1592563" y="1662053"/>
            <a:ext cx="550329" cy="231648"/>
          </a:xfrm>
          <a:prstGeom prst="rect">
            <a:avLst/>
          </a:prstGeom>
        </p:spPr>
      </p:pic>
      <p:pic>
        <p:nvPicPr>
          <p:cNvPr id="123" name="object 120"/>
          <p:cNvPicPr/>
          <p:nvPr/>
        </p:nvPicPr>
        <p:blipFill>
          <a:blip r:embed="rId7" cstate="print"/>
          <a:stretch>
            <a:fillRect/>
          </a:stretch>
        </p:blipFill>
        <p:spPr>
          <a:xfrm>
            <a:off x="871711" y="1771781"/>
            <a:ext cx="593217" cy="121920"/>
          </a:xfrm>
          <a:prstGeom prst="rect">
            <a:avLst/>
          </a:prstGeom>
        </p:spPr>
      </p:pic>
      <p:pic>
        <p:nvPicPr>
          <p:cNvPr id="124" name="object 121"/>
          <p:cNvPicPr/>
          <p:nvPr/>
        </p:nvPicPr>
        <p:blipFill>
          <a:blip r:embed="rId8" cstate="print"/>
          <a:stretch>
            <a:fillRect/>
          </a:stretch>
        </p:blipFill>
        <p:spPr>
          <a:xfrm>
            <a:off x="871711" y="1881509"/>
            <a:ext cx="517283" cy="121920"/>
          </a:xfrm>
          <a:prstGeom prst="rect">
            <a:avLst/>
          </a:prstGeom>
        </p:spPr>
      </p:pic>
      <p:pic>
        <p:nvPicPr>
          <p:cNvPr id="125" name="object 122"/>
          <p:cNvPicPr/>
          <p:nvPr/>
        </p:nvPicPr>
        <p:blipFill>
          <a:blip r:embed="rId16" cstate="print"/>
          <a:stretch>
            <a:fillRect/>
          </a:stretch>
        </p:blipFill>
        <p:spPr>
          <a:xfrm>
            <a:off x="1592563" y="1881509"/>
            <a:ext cx="777621" cy="121920"/>
          </a:xfrm>
          <a:prstGeom prst="rect">
            <a:avLst/>
          </a:prstGeom>
        </p:spPr>
      </p:pic>
      <p:pic>
        <p:nvPicPr>
          <p:cNvPr id="126" name="object 123"/>
          <p:cNvPicPr/>
          <p:nvPr/>
        </p:nvPicPr>
        <p:blipFill>
          <a:blip r:embed="rId9" cstate="print"/>
          <a:stretch>
            <a:fillRect/>
          </a:stretch>
        </p:blipFill>
        <p:spPr>
          <a:xfrm>
            <a:off x="871711" y="1991237"/>
            <a:ext cx="371856" cy="121920"/>
          </a:xfrm>
          <a:prstGeom prst="rect">
            <a:avLst/>
          </a:prstGeom>
        </p:spPr>
      </p:pic>
      <p:pic>
        <p:nvPicPr>
          <p:cNvPr id="127" name="object 124"/>
          <p:cNvPicPr/>
          <p:nvPr/>
        </p:nvPicPr>
        <p:blipFill>
          <a:blip r:embed="rId17" cstate="print"/>
          <a:stretch>
            <a:fillRect/>
          </a:stretch>
        </p:blipFill>
        <p:spPr>
          <a:xfrm>
            <a:off x="1592563" y="1991237"/>
            <a:ext cx="302895" cy="121920"/>
          </a:xfrm>
          <a:prstGeom prst="rect">
            <a:avLst/>
          </a:prstGeom>
        </p:spPr>
      </p:pic>
      <p:pic>
        <p:nvPicPr>
          <p:cNvPr id="128" name="object 125"/>
          <p:cNvPicPr/>
          <p:nvPr/>
        </p:nvPicPr>
        <p:blipFill>
          <a:blip r:embed="rId18" cstate="print"/>
          <a:stretch>
            <a:fillRect/>
          </a:stretch>
        </p:blipFill>
        <p:spPr>
          <a:xfrm>
            <a:off x="871711" y="2100964"/>
            <a:ext cx="891540" cy="121920"/>
          </a:xfrm>
          <a:prstGeom prst="rect">
            <a:avLst/>
          </a:prstGeom>
        </p:spPr>
      </p:pic>
      <p:pic>
        <p:nvPicPr>
          <p:cNvPr id="129" name="object 126"/>
          <p:cNvPicPr/>
          <p:nvPr/>
        </p:nvPicPr>
        <p:blipFill>
          <a:blip r:embed="rId19" cstate="print"/>
          <a:stretch>
            <a:fillRect/>
          </a:stretch>
        </p:blipFill>
        <p:spPr>
          <a:xfrm>
            <a:off x="1926014" y="2709904"/>
            <a:ext cx="297179" cy="341401"/>
          </a:xfrm>
          <a:prstGeom prst="rect">
            <a:avLst/>
          </a:prstGeom>
        </p:spPr>
      </p:pic>
      <p:pic>
        <p:nvPicPr>
          <p:cNvPr id="130" name="object 127"/>
          <p:cNvPicPr/>
          <p:nvPr/>
        </p:nvPicPr>
        <p:blipFill>
          <a:blip r:embed="rId20" cstate="print"/>
          <a:stretch>
            <a:fillRect/>
          </a:stretch>
        </p:blipFill>
        <p:spPr>
          <a:xfrm>
            <a:off x="1973258" y="2729742"/>
            <a:ext cx="207264" cy="251459"/>
          </a:xfrm>
          <a:prstGeom prst="rect">
            <a:avLst/>
          </a:prstGeom>
        </p:spPr>
      </p:pic>
      <p:sp>
        <p:nvSpPr>
          <p:cNvPr id="131" name="object 128"/>
          <p:cNvSpPr/>
          <p:nvPr/>
        </p:nvSpPr>
        <p:spPr>
          <a:xfrm>
            <a:off x="725966" y="1715647"/>
            <a:ext cx="1247775" cy="1149350"/>
          </a:xfrm>
          <a:custGeom>
            <a:avLst/>
            <a:gdLst/>
            <a:ahLst/>
            <a:cxnLst/>
            <a:rect l="l" t="t" r="r" b="b"/>
            <a:pathLst>
              <a:path w="1247775" h="1149350">
                <a:moveTo>
                  <a:pt x="28383" y="74041"/>
                </a:moveTo>
                <a:lnTo>
                  <a:pt x="25692" y="1149350"/>
                </a:lnTo>
                <a:lnTo>
                  <a:pt x="1247419" y="1149350"/>
                </a:lnTo>
                <a:lnTo>
                  <a:pt x="1247419" y="1139825"/>
                </a:lnTo>
                <a:lnTo>
                  <a:pt x="44767" y="1139825"/>
                </a:lnTo>
                <a:lnTo>
                  <a:pt x="35242" y="1130300"/>
                </a:lnTo>
                <a:lnTo>
                  <a:pt x="44791" y="1130300"/>
                </a:lnTo>
                <a:lnTo>
                  <a:pt x="47428" y="75946"/>
                </a:lnTo>
                <a:lnTo>
                  <a:pt x="35242" y="75946"/>
                </a:lnTo>
                <a:lnTo>
                  <a:pt x="28383" y="74041"/>
                </a:lnTo>
                <a:close/>
              </a:path>
              <a:path w="1247775" h="1149350">
                <a:moveTo>
                  <a:pt x="44791" y="1130300"/>
                </a:moveTo>
                <a:lnTo>
                  <a:pt x="35242" y="1130300"/>
                </a:lnTo>
                <a:lnTo>
                  <a:pt x="44767" y="1139825"/>
                </a:lnTo>
                <a:lnTo>
                  <a:pt x="44791" y="1130300"/>
                </a:lnTo>
                <a:close/>
              </a:path>
              <a:path w="1247775" h="1149350">
                <a:moveTo>
                  <a:pt x="1247419" y="1130300"/>
                </a:moveTo>
                <a:lnTo>
                  <a:pt x="44791" y="1130300"/>
                </a:lnTo>
                <a:lnTo>
                  <a:pt x="44767" y="1139825"/>
                </a:lnTo>
                <a:lnTo>
                  <a:pt x="1247419" y="1139825"/>
                </a:lnTo>
                <a:lnTo>
                  <a:pt x="1247419" y="1130300"/>
                </a:lnTo>
                <a:close/>
              </a:path>
              <a:path w="1247775" h="1149350">
                <a:moveTo>
                  <a:pt x="47523" y="37972"/>
                </a:moveTo>
                <a:lnTo>
                  <a:pt x="28473" y="37972"/>
                </a:lnTo>
                <a:lnTo>
                  <a:pt x="28383" y="74041"/>
                </a:lnTo>
                <a:lnTo>
                  <a:pt x="35242" y="75946"/>
                </a:lnTo>
                <a:lnTo>
                  <a:pt x="47432" y="74396"/>
                </a:lnTo>
                <a:lnTo>
                  <a:pt x="47523" y="37972"/>
                </a:lnTo>
                <a:close/>
              </a:path>
              <a:path w="1247775" h="1149350">
                <a:moveTo>
                  <a:pt x="47432" y="74396"/>
                </a:moveTo>
                <a:lnTo>
                  <a:pt x="35242" y="75946"/>
                </a:lnTo>
                <a:lnTo>
                  <a:pt x="47428" y="75946"/>
                </a:lnTo>
                <a:lnTo>
                  <a:pt x="47432" y="74396"/>
                </a:lnTo>
                <a:close/>
              </a:path>
              <a:path w="1247775" h="1149350">
                <a:moveTo>
                  <a:pt x="75641" y="37972"/>
                </a:moveTo>
                <a:lnTo>
                  <a:pt x="47523" y="37972"/>
                </a:lnTo>
                <a:lnTo>
                  <a:pt x="47432" y="74396"/>
                </a:lnTo>
                <a:lnTo>
                  <a:pt x="50247" y="74039"/>
                </a:lnTo>
                <a:lnTo>
                  <a:pt x="62915" y="66786"/>
                </a:lnTo>
                <a:lnTo>
                  <a:pt x="71936" y="55318"/>
                </a:lnTo>
                <a:lnTo>
                  <a:pt x="75996" y="40766"/>
                </a:lnTo>
                <a:lnTo>
                  <a:pt x="75641" y="37972"/>
                </a:lnTo>
                <a:close/>
              </a:path>
              <a:path w="1247775" h="1149350">
                <a:moveTo>
                  <a:pt x="40754" y="0"/>
                </a:moveTo>
                <a:lnTo>
                  <a:pt x="25749" y="1906"/>
                </a:lnTo>
                <a:lnTo>
                  <a:pt x="13080" y="9159"/>
                </a:lnTo>
                <a:lnTo>
                  <a:pt x="4060" y="20627"/>
                </a:lnTo>
                <a:lnTo>
                  <a:pt x="0" y="35178"/>
                </a:lnTo>
                <a:lnTo>
                  <a:pt x="1911" y="50228"/>
                </a:lnTo>
                <a:lnTo>
                  <a:pt x="9177" y="62896"/>
                </a:lnTo>
                <a:lnTo>
                  <a:pt x="20665" y="71897"/>
                </a:lnTo>
                <a:lnTo>
                  <a:pt x="28383" y="74041"/>
                </a:lnTo>
                <a:lnTo>
                  <a:pt x="28473" y="37972"/>
                </a:lnTo>
                <a:lnTo>
                  <a:pt x="75641" y="37972"/>
                </a:lnTo>
                <a:lnTo>
                  <a:pt x="74085" y="25717"/>
                </a:lnTo>
                <a:lnTo>
                  <a:pt x="66819" y="13049"/>
                </a:lnTo>
                <a:lnTo>
                  <a:pt x="55331" y="4048"/>
                </a:lnTo>
                <a:lnTo>
                  <a:pt x="40754" y="0"/>
                </a:lnTo>
                <a:close/>
              </a:path>
            </a:pathLst>
          </a:custGeom>
          <a:solidFill>
            <a:srgbClr val="7E7E7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32" name="object 129"/>
          <p:cNvPicPr/>
          <p:nvPr/>
        </p:nvPicPr>
        <p:blipFill>
          <a:blip r:embed="rId21" cstate="print"/>
          <a:stretch>
            <a:fillRect/>
          </a:stretch>
        </p:blipFill>
        <p:spPr>
          <a:xfrm>
            <a:off x="4204416" y="1135778"/>
            <a:ext cx="915837" cy="325855"/>
          </a:xfrm>
          <a:prstGeom prst="rect">
            <a:avLst/>
          </a:prstGeom>
        </p:spPr>
      </p:pic>
      <p:sp>
        <p:nvSpPr>
          <p:cNvPr id="133" name="object 130"/>
          <p:cNvSpPr/>
          <p:nvPr/>
        </p:nvSpPr>
        <p:spPr>
          <a:xfrm>
            <a:off x="3301425" y="1453392"/>
            <a:ext cx="915035" cy="1726564"/>
          </a:xfrm>
          <a:custGeom>
            <a:avLst/>
            <a:gdLst/>
            <a:ahLst/>
            <a:cxnLst/>
            <a:rect l="l" t="t" r="r" b="b"/>
            <a:pathLst>
              <a:path w="915035" h="1726564">
                <a:moveTo>
                  <a:pt x="867156" y="1707388"/>
                </a:moveTo>
                <a:lnTo>
                  <a:pt x="0" y="1707388"/>
                </a:lnTo>
                <a:lnTo>
                  <a:pt x="0" y="1726438"/>
                </a:lnTo>
                <a:lnTo>
                  <a:pt x="886206" y="1726438"/>
                </a:lnTo>
                <a:lnTo>
                  <a:pt x="886206" y="1716913"/>
                </a:lnTo>
                <a:lnTo>
                  <a:pt x="867156" y="1716913"/>
                </a:lnTo>
                <a:lnTo>
                  <a:pt x="867156" y="1707388"/>
                </a:lnTo>
                <a:close/>
              </a:path>
              <a:path w="915035" h="1726564">
                <a:moveTo>
                  <a:pt x="867156" y="74282"/>
                </a:moveTo>
                <a:lnTo>
                  <a:pt x="867156" y="1716913"/>
                </a:lnTo>
                <a:lnTo>
                  <a:pt x="876680" y="1707388"/>
                </a:lnTo>
                <a:lnTo>
                  <a:pt x="886206" y="1707388"/>
                </a:lnTo>
                <a:lnTo>
                  <a:pt x="886206" y="76200"/>
                </a:lnTo>
                <a:lnTo>
                  <a:pt x="876681" y="76200"/>
                </a:lnTo>
                <a:lnTo>
                  <a:pt x="867156" y="74282"/>
                </a:lnTo>
                <a:close/>
              </a:path>
              <a:path w="915035" h="1726564">
                <a:moveTo>
                  <a:pt x="886206" y="1707388"/>
                </a:moveTo>
                <a:lnTo>
                  <a:pt x="876680" y="1707388"/>
                </a:lnTo>
                <a:lnTo>
                  <a:pt x="867156" y="1716913"/>
                </a:lnTo>
                <a:lnTo>
                  <a:pt x="886206" y="1716913"/>
                </a:lnTo>
                <a:lnTo>
                  <a:pt x="886206" y="1707388"/>
                </a:lnTo>
                <a:close/>
              </a:path>
              <a:path w="915035" h="1726564">
                <a:moveTo>
                  <a:pt x="886206" y="38100"/>
                </a:moveTo>
                <a:lnTo>
                  <a:pt x="867156" y="38100"/>
                </a:lnTo>
                <a:lnTo>
                  <a:pt x="867156" y="74282"/>
                </a:lnTo>
                <a:lnTo>
                  <a:pt x="876681" y="76200"/>
                </a:lnTo>
                <a:lnTo>
                  <a:pt x="886206" y="74282"/>
                </a:lnTo>
                <a:lnTo>
                  <a:pt x="886206" y="38100"/>
                </a:lnTo>
                <a:close/>
              </a:path>
              <a:path w="915035" h="1726564">
                <a:moveTo>
                  <a:pt x="886206" y="74282"/>
                </a:moveTo>
                <a:lnTo>
                  <a:pt x="876681" y="76200"/>
                </a:lnTo>
                <a:lnTo>
                  <a:pt x="886206" y="76200"/>
                </a:lnTo>
                <a:lnTo>
                  <a:pt x="886206" y="74282"/>
                </a:lnTo>
                <a:close/>
              </a:path>
              <a:path w="915035" h="1726564">
                <a:moveTo>
                  <a:pt x="876681" y="0"/>
                </a:moveTo>
                <a:lnTo>
                  <a:pt x="861833" y="2988"/>
                </a:lnTo>
                <a:lnTo>
                  <a:pt x="849725" y="11144"/>
                </a:lnTo>
                <a:lnTo>
                  <a:pt x="841569" y="23252"/>
                </a:lnTo>
                <a:lnTo>
                  <a:pt x="838581" y="38100"/>
                </a:lnTo>
                <a:lnTo>
                  <a:pt x="841569" y="52947"/>
                </a:lnTo>
                <a:lnTo>
                  <a:pt x="849725" y="65055"/>
                </a:lnTo>
                <a:lnTo>
                  <a:pt x="861833" y="73211"/>
                </a:lnTo>
                <a:lnTo>
                  <a:pt x="867156" y="74282"/>
                </a:lnTo>
                <a:lnTo>
                  <a:pt x="867156" y="38100"/>
                </a:lnTo>
                <a:lnTo>
                  <a:pt x="914781" y="38100"/>
                </a:lnTo>
                <a:lnTo>
                  <a:pt x="911792" y="23252"/>
                </a:lnTo>
                <a:lnTo>
                  <a:pt x="903636" y="11144"/>
                </a:lnTo>
                <a:lnTo>
                  <a:pt x="891528" y="2988"/>
                </a:lnTo>
                <a:lnTo>
                  <a:pt x="876681" y="0"/>
                </a:lnTo>
                <a:close/>
              </a:path>
              <a:path w="915035" h="1726564">
                <a:moveTo>
                  <a:pt x="914781" y="38100"/>
                </a:moveTo>
                <a:lnTo>
                  <a:pt x="886206" y="38100"/>
                </a:lnTo>
                <a:lnTo>
                  <a:pt x="886206" y="74282"/>
                </a:lnTo>
                <a:lnTo>
                  <a:pt x="891528" y="73211"/>
                </a:lnTo>
                <a:lnTo>
                  <a:pt x="903636" y="65055"/>
                </a:lnTo>
                <a:lnTo>
                  <a:pt x="911792" y="52947"/>
                </a:lnTo>
                <a:lnTo>
                  <a:pt x="914781" y="3810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sp>
        <p:nvSpPr>
          <p:cNvPr id="135" name="object 132"/>
          <p:cNvSpPr/>
          <p:nvPr/>
        </p:nvSpPr>
        <p:spPr>
          <a:xfrm>
            <a:off x="3333428" y="1387854"/>
            <a:ext cx="2704465" cy="2006600"/>
          </a:xfrm>
          <a:custGeom>
            <a:avLst/>
            <a:gdLst/>
            <a:ahLst/>
            <a:cxnLst/>
            <a:rect l="l" t="t" r="r" b="b"/>
            <a:pathLst>
              <a:path w="2704465" h="2006600">
                <a:moveTo>
                  <a:pt x="2670993" y="1987174"/>
                </a:moveTo>
                <a:lnTo>
                  <a:pt x="0" y="1987174"/>
                </a:lnTo>
                <a:lnTo>
                  <a:pt x="0" y="2006224"/>
                </a:lnTo>
                <a:lnTo>
                  <a:pt x="2690241" y="2006224"/>
                </a:lnTo>
                <a:lnTo>
                  <a:pt x="2690171" y="1996826"/>
                </a:lnTo>
                <a:lnTo>
                  <a:pt x="2671064" y="1996826"/>
                </a:lnTo>
                <a:lnTo>
                  <a:pt x="2670993" y="1987174"/>
                </a:lnTo>
                <a:close/>
              </a:path>
              <a:path w="2704465" h="2006600">
                <a:moveTo>
                  <a:pt x="2676029" y="74272"/>
                </a:moveTo>
                <a:lnTo>
                  <a:pt x="2665757" y="76211"/>
                </a:lnTo>
                <a:lnTo>
                  <a:pt x="2656991" y="76211"/>
                </a:lnTo>
                <a:lnTo>
                  <a:pt x="2671064" y="1996826"/>
                </a:lnTo>
                <a:lnTo>
                  <a:pt x="2680588" y="1987174"/>
                </a:lnTo>
                <a:lnTo>
                  <a:pt x="2690100" y="1987174"/>
                </a:lnTo>
                <a:lnTo>
                  <a:pt x="2676044" y="76211"/>
                </a:lnTo>
                <a:lnTo>
                  <a:pt x="2665757" y="76211"/>
                </a:lnTo>
                <a:lnTo>
                  <a:pt x="2656977" y="74383"/>
                </a:lnTo>
                <a:lnTo>
                  <a:pt x="2676030" y="74383"/>
                </a:lnTo>
                <a:close/>
              </a:path>
              <a:path w="2704465" h="2006600">
                <a:moveTo>
                  <a:pt x="2690100" y="1987174"/>
                </a:moveTo>
                <a:lnTo>
                  <a:pt x="2680588" y="1987174"/>
                </a:lnTo>
                <a:lnTo>
                  <a:pt x="2671064" y="1996826"/>
                </a:lnTo>
                <a:lnTo>
                  <a:pt x="2690171" y="1996826"/>
                </a:lnTo>
                <a:lnTo>
                  <a:pt x="2690100" y="1987174"/>
                </a:lnTo>
                <a:close/>
              </a:path>
              <a:path w="2704465" h="2006600">
                <a:moveTo>
                  <a:pt x="2675763" y="37978"/>
                </a:moveTo>
                <a:lnTo>
                  <a:pt x="2656713" y="38232"/>
                </a:lnTo>
                <a:lnTo>
                  <a:pt x="2656977" y="74383"/>
                </a:lnTo>
                <a:lnTo>
                  <a:pt x="2665757" y="76211"/>
                </a:lnTo>
                <a:lnTo>
                  <a:pt x="2676029" y="74272"/>
                </a:lnTo>
                <a:lnTo>
                  <a:pt x="2675763" y="37978"/>
                </a:lnTo>
                <a:close/>
              </a:path>
              <a:path w="2704465" h="2006600">
                <a:moveTo>
                  <a:pt x="2666591" y="0"/>
                </a:moveTo>
                <a:lnTo>
                  <a:pt x="2651760" y="2799"/>
                </a:lnTo>
                <a:lnTo>
                  <a:pt x="2639183" y="11203"/>
                </a:lnTo>
                <a:lnTo>
                  <a:pt x="2631059" y="23358"/>
                </a:lnTo>
                <a:lnTo>
                  <a:pt x="2628078" y="37679"/>
                </a:lnTo>
                <a:lnTo>
                  <a:pt x="2630932" y="52583"/>
                </a:lnTo>
                <a:lnTo>
                  <a:pt x="2639333" y="65143"/>
                </a:lnTo>
                <a:lnTo>
                  <a:pt x="2651474" y="73237"/>
                </a:lnTo>
                <a:lnTo>
                  <a:pt x="2656977" y="74383"/>
                </a:lnTo>
                <a:lnTo>
                  <a:pt x="2656713" y="38232"/>
                </a:lnTo>
                <a:lnTo>
                  <a:pt x="2675763" y="37978"/>
                </a:lnTo>
                <a:lnTo>
                  <a:pt x="2704181" y="37978"/>
                </a:lnTo>
                <a:lnTo>
                  <a:pt x="2701417" y="23627"/>
                </a:lnTo>
                <a:lnTo>
                  <a:pt x="2693015" y="11068"/>
                </a:lnTo>
                <a:lnTo>
                  <a:pt x="2680874" y="2974"/>
                </a:lnTo>
                <a:lnTo>
                  <a:pt x="2666591" y="0"/>
                </a:lnTo>
                <a:close/>
              </a:path>
              <a:path w="2704465" h="2006600">
                <a:moveTo>
                  <a:pt x="2704181" y="37978"/>
                </a:moveTo>
                <a:lnTo>
                  <a:pt x="2675763" y="37978"/>
                </a:lnTo>
                <a:lnTo>
                  <a:pt x="2676029" y="74272"/>
                </a:lnTo>
                <a:lnTo>
                  <a:pt x="2680589" y="73411"/>
                </a:lnTo>
                <a:lnTo>
                  <a:pt x="2693219" y="65008"/>
                </a:lnTo>
                <a:lnTo>
                  <a:pt x="2701337" y="52853"/>
                </a:lnTo>
                <a:lnTo>
                  <a:pt x="2704288" y="38532"/>
                </a:lnTo>
                <a:lnTo>
                  <a:pt x="2704181" y="37978"/>
                </a:lnTo>
                <a:close/>
              </a:path>
            </a:pathLst>
          </a:custGeom>
          <a:solidFill>
            <a:srgbClr val="C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36" name="object 133"/>
          <p:cNvPicPr/>
          <p:nvPr/>
        </p:nvPicPr>
        <p:blipFill>
          <a:blip r:embed="rId22" cstate="print"/>
          <a:stretch>
            <a:fillRect/>
          </a:stretch>
        </p:blipFill>
        <p:spPr>
          <a:xfrm>
            <a:off x="2098227" y="2898880"/>
            <a:ext cx="304825" cy="350545"/>
          </a:xfrm>
          <a:prstGeom prst="rect">
            <a:avLst/>
          </a:prstGeom>
        </p:spPr>
      </p:pic>
      <p:sp>
        <p:nvSpPr>
          <p:cNvPr id="137" name="object 134"/>
          <p:cNvSpPr/>
          <p:nvPr/>
        </p:nvSpPr>
        <p:spPr>
          <a:xfrm>
            <a:off x="2145458" y="1677419"/>
            <a:ext cx="353695" cy="1502410"/>
          </a:xfrm>
          <a:custGeom>
            <a:avLst/>
            <a:gdLst/>
            <a:ahLst/>
            <a:cxnLst/>
            <a:rect l="l" t="t" r="r" b="b"/>
            <a:pathLst>
              <a:path w="353694" h="1502410">
                <a:moveTo>
                  <a:pt x="214896" y="1371600"/>
                </a:moveTo>
                <a:lnTo>
                  <a:pt x="206438" y="1320863"/>
                </a:lnTo>
                <a:lnTo>
                  <a:pt x="183413" y="1279448"/>
                </a:lnTo>
                <a:lnTo>
                  <a:pt x="149263" y="1251534"/>
                </a:lnTo>
                <a:lnTo>
                  <a:pt x="107454" y="1241298"/>
                </a:lnTo>
                <a:lnTo>
                  <a:pt x="65633" y="1251534"/>
                </a:lnTo>
                <a:lnTo>
                  <a:pt x="31483" y="1279448"/>
                </a:lnTo>
                <a:lnTo>
                  <a:pt x="8458" y="1320863"/>
                </a:lnTo>
                <a:lnTo>
                  <a:pt x="0" y="1371600"/>
                </a:lnTo>
                <a:lnTo>
                  <a:pt x="8458" y="1422349"/>
                </a:lnTo>
                <a:lnTo>
                  <a:pt x="31483" y="1463763"/>
                </a:lnTo>
                <a:lnTo>
                  <a:pt x="65633" y="1491678"/>
                </a:lnTo>
                <a:lnTo>
                  <a:pt x="107454" y="1501902"/>
                </a:lnTo>
                <a:lnTo>
                  <a:pt x="149263" y="1491678"/>
                </a:lnTo>
                <a:lnTo>
                  <a:pt x="183413" y="1463763"/>
                </a:lnTo>
                <a:lnTo>
                  <a:pt x="206438" y="1422349"/>
                </a:lnTo>
                <a:lnTo>
                  <a:pt x="214896" y="1371600"/>
                </a:lnTo>
                <a:close/>
              </a:path>
              <a:path w="353694" h="1502410">
                <a:moveTo>
                  <a:pt x="353453" y="38100"/>
                </a:moveTo>
                <a:lnTo>
                  <a:pt x="350456" y="23253"/>
                </a:lnTo>
                <a:lnTo>
                  <a:pt x="342303" y="11150"/>
                </a:lnTo>
                <a:lnTo>
                  <a:pt x="330200" y="2997"/>
                </a:lnTo>
                <a:lnTo>
                  <a:pt x="315353" y="0"/>
                </a:lnTo>
                <a:lnTo>
                  <a:pt x="300558" y="2997"/>
                </a:lnTo>
                <a:lnTo>
                  <a:pt x="288442" y="11150"/>
                </a:lnTo>
                <a:lnTo>
                  <a:pt x="280250" y="23253"/>
                </a:lnTo>
                <a:lnTo>
                  <a:pt x="277253" y="38100"/>
                </a:lnTo>
                <a:lnTo>
                  <a:pt x="280250" y="52959"/>
                </a:lnTo>
                <a:lnTo>
                  <a:pt x="288442" y="65062"/>
                </a:lnTo>
                <a:lnTo>
                  <a:pt x="300558" y="73215"/>
                </a:lnTo>
                <a:lnTo>
                  <a:pt x="305828" y="74282"/>
                </a:lnTo>
                <a:lnTo>
                  <a:pt x="305828" y="1363853"/>
                </a:lnTo>
                <a:lnTo>
                  <a:pt x="215658" y="1363853"/>
                </a:lnTo>
                <a:lnTo>
                  <a:pt x="215658" y="1382903"/>
                </a:lnTo>
                <a:lnTo>
                  <a:pt x="324878" y="1382903"/>
                </a:lnTo>
                <a:lnTo>
                  <a:pt x="324878" y="1373378"/>
                </a:lnTo>
                <a:lnTo>
                  <a:pt x="324878" y="1363853"/>
                </a:lnTo>
                <a:lnTo>
                  <a:pt x="324878" y="76200"/>
                </a:lnTo>
                <a:lnTo>
                  <a:pt x="324878" y="74295"/>
                </a:lnTo>
                <a:lnTo>
                  <a:pt x="330200" y="73215"/>
                </a:lnTo>
                <a:lnTo>
                  <a:pt x="342303" y="65062"/>
                </a:lnTo>
                <a:lnTo>
                  <a:pt x="350456" y="52959"/>
                </a:lnTo>
                <a:lnTo>
                  <a:pt x="353453" y="38100"/>
                </a:lnTo>
                <a:close/>
              </a:path>
            </a:pathLst>
          </a:custGeom>
          <a:solidFill>
            <a:srgbClr val="0761A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40" name="object 137"/>
          <p:cNvPicPr/>
          <p:nvPr/>
        </p:nvPicPr>
        <p:blipFill>
          <a:blip r:embed="rId23" cstate="print"/>
          <a:stretch>
            <a:fillRect/>
          </a:stretch>
        </p:blipFill>
        <p:spPr>
          <a:xfrm>
            <a:off x="2533456" y="1662053"/>
            <a:ext cx="335661" cy="121920"/>
          </a:xfrm>
          <a:prstGeom prst="rect">
            <a:avLst/>
          </a:prstGeom>
        </p:spPr>
      </p:pic>
      <p:pic>
        <p:nvPicPr>
          <p:cNvPr id="141" name="object 138"/>
          <p:cNvPicPr/>
          <p:nvPr/>
        </p:nvPicPr>
        <p:blipFill>
          <a:blip r:embed="rId24" cstate="print"/>
          <a:stretch>
            <a:fillRect/>
          </a:stretch>
        </p:blipFill>
        <p:spPr>
          <a:xfrm>
            <a:off x="3254688" y="1662053"/>
            <a:ext cx="550329" cy="121920"/>
          </a:xfrm>
          <a:prstGeom prst="rect">
            <a:avLst/>
          </a:prstGeom>
        </p:spPr>
      </p:pic>
      <p:pic>
        <p:nvPicPr>
          <p:cNvPr id="142" name="object 139"/>
          <p:cNvPicPr/>
          <p:nvPr/>
        </p:nvPicPr>
        <p:blipFill>
          <a:blip r:embed="rId7" cstate="print"/>
          <a:stretch>
            <a:fillRect/>
          </a:stretch>
        </p:blipFill>
        <p:spPr>
          <a:xfrm>
            <a:off x="2533456" y="1785497"/>
            <a:ext cx="593559" cy="121920"/>
          </a:xfrm>
          <a:prstGeom prst="rect">
            <a:avLst/>
          </a:prstGeom>
        </p:spPr>
      </p:pic>
      <p:pic>
        <p:nvPicPr>
          <p:cNvPr id="143" name="object 140"/>
          <p:cNvPicPr/>
          <p:nvPr/>
        </p:nvPicPr>
        <p:blipFill>
          <a:blip r:embed="rId25" cstate="print"/>
          <a:stretch>
            <a:fillRect/>
          </a:stretch>
        </p:blipFill>
        <p:spPr>
          <a:xfrm>
            <a:off x="3254688" y="1785497"/>
            <a:ext cx="799084" cy="121920"/>
          </a:xfrm>
          <a:prstGeom prst="rect">
            <a:avLst/>
          </a:prstGeom>
        </p:spPr>
      </p:pic>
      <p:pic>
        <p:nvPicPr>
          <p:cNvPr id="144" name="object 141"/>
          <p:cNvPicPr/>
          <p:nvPr/>
        </p:nvPicPr>
        <p:blipFill>
          <a:blip r:embed="rId8" cstate="print"/>
          <a:stretch>
            <a:fillRect/>
          </a:stretch>
        </p:blipFill>
        <p:spPr>
          <a:xfrm>
            <a:off x="2533456" y="1908941"/>
            <a:ext cx="517639" cy="121920"/>
          </a:xfrm>
          <a:prstGeom prst="rect">
            <a:avLst/>
          </a:prstGeom>
        </p:spPr>
      </p:pic>
      <p:pic>
        <p:nvPicPr>
          <p:cNvPr id="145" name="object 142"/>
          <p:cNvPicPr/>
          <p:nvPr/>
        </p:nvPicPr>
        <p:blipFill>
          <a:blip r:embed="rId26" cstate="print"/>
          <a:stretch>
            <a:fillRect/>
          </a:stretch>
        </p:blipFill>
        <p:spPr>
          <a:xfrm>
            <a:off x="3254688" y="1908941"/>
            <a:ext cx="812291" cy="121920"/>
          </a:xfrm>
          <a:prstGeom prst="rect">
            <a:avLst/>
          </a:prstGeom>
        </p:spPr>
      </p:pic>
      <p:pic>
        <p:nvPicPr>
          <p:cNvPr id="146" name="object 143"/>
          <p:cNvPicPr/>
          <p:nvPr/>
        </p:nvPicPr>
        <p:blipFill>
          <a:blip r:embed="rId9" cstate="print"/>
          <a:stretch>
            <a:fillRect/>
          </a:stretch>
        </p:blipFill>
        <p:spPr>
          <a:xfrm>
            <a:off x="2533456" y="2032385"/>
            <a:ext cx="372262" cy="121920"/>
          </a:xfrm>
          <a:prstGeom prst="rect">
            <a:avLst/>
          </a:prstGeom>
        </p:spPr>
      </p:pic>
      <p:pic>
        <p:nvPicPr>
          <p:cNvPr id="147" name="object 144"/>
          <p:cNvPicPr/>
          <p:nvPr/>
        </p:nvPicPr>
        <p:blipFill>
          <a:blip r:embed="rId27" cstate="print"/>
          <a:stretch>
            <a:fillRect/>
          </a:stretch>
        </p:blipFill>
        <p:spPr>
          <a:xfrm>
            <a:off x="3254688" y="2032385"/>
            <a:ext cx="308610" cy="121920"/>
          </a:xfrm>
          <a:prstGeom prst="rect">
            <a:avLst/>
          </a:prstGeom>
        </p:spPr>
      </p:pic>
      <p:pic>
        <p:nvPicPr>
          <p:cNvPr id="148" name="object 145"/>
          <p:cNvPicPr/>
          <p:nvPr/>
        </p:nvPicPr>
        <p:blipFill>
          <a:blip r:embed="rId28" cstate="print"/>
          <a:stretch>
            <a:fillRect/>
          </a:stretch>
        </p:blipFill>
        <p:spPr>
          <a:xfrm>
            <a:off x="2533456" y="2155828"/>
            <a:ext cx="891920" cy="121920"/>
          </a:xfrm>
          <a:prstGeom prst="rect">
            <a:avLst/>
          </a:prstGeom>
        </p:spPr>
      </p:pic>
      <p:pic>
        <p:nvPicPr>
          <p:cNvPr id="149" name="object 146"/>
          <p:cNvPicPr/>
          <p:nvPr/>
        </p:nvPicPr>
        <p:blipFill>
          <a:blip r:embed="rId29" cstate="print"/>
          <a:stretch>
            <a:fillRect/>
          </a:stretch>
        </p:blipFill>
        <p:spPr>
          <a:xfrm>
            <a:off x="2826699" y="3072616"/>
            <a:ext cx="274396" cy="313969"/>
          </a:xfrm>
          <a:prstGeom prst="rect">
            <a:avLst/>
          </a:prstGeom>
        </p:spPr>
      </p:pic>
      <p:pic>
        <p:nvPicPr>
          <p:cNvPr id="150" name="object 147"/>
          <p:cNvPicPr/>
          <p:nvPr/>
        </p:nvPicPr>
        <p:blipFill>
          <a:blip r:embed="rId30" cstate="print"/>
          <a:stretch>
            <a:fillRect/>
          </a:stretch>
        </p:blipFill>
        <p:spPr>
          <a:xfrm>
            <a:off x="2873943" y="3092454"/>
            <a:ext cx="184404" cy="224027"/>
          </a:xfrm>
          <a:prstGeom prst="rect">
            <a:avLst/>
          </a:prstGeom>
        </p:spPr>
      </p:pic>
      <p:sp>
        <p:nvSpPr>
          <p:cNvPr id="151" name="object 148"/>
          <p:cNvSpPr/>
          <p:nvPr/>
        </p:nvSpPr>
        <p:spPr>
          <a:xfrm>
            <a:off x="890750" y="3194942"/>
            <a:ext cx="1984375" cy="1279525"/>
          </a:xfrm>
          <a:custGeom>
            <a:avLst/>
            <a:gdLst/>
            <a:ahLst/>
            <a:cxnLst/>
            <a:rect l="l" t="t" r="r" b="b"/>
            <a:pathLst>
              <a:path w="1984375" h="1279525">
                <a:moveTo>
                  <a:pt x="28968" y="1205197"/>
                </a:moveTo>
                <a:lnTo>
                  <a:pt x="19185" y="1208418"/>
                </a:lnTo>
                <a:lnTo>
                  <a:pt x="7720" y="1218311"/>
                </a:lnTo>
                <a:lnTo>
                  <a:pt x="982" y="1231862"/>
                </a:lnTo>
                <a:lnTo>
                  <a:pt x="0" y="1246425"/>
                </a:lnTo>
                <a:lnTo>
                  <a:pt x="4553" y="1260298"/>
                </a:lnTo>
                <a:lnTo>
                  <a:pt x="14425" y="1271778"/>
                </a:lnTo>
                <a:lnTo>
                  <a:pt x="27976" y="1278477"/>
                </a:lnTo>
                <a:lnTo>
                  <a:pt x="42549" y="1279461"/>
                </a:lnTo>
                <a:lnTo>
                  <a:pt x="56427" y="1274921"/>
                </a:lnTo>
                <a:lnTo>
                  <a:pt x="67892" y="1265047"/>
                </a:lnTo>
                <a:lnTo>
                  <a:pt x="74629" y="1251495"/>
                </a:lnTo>
                <a:lnTo>
                  <a:pt x="75283" y="1241806"/>
                </a:lnTo>
                <a:lnTo>
                  <a:pt x="47331" y="1241806"/>
                </a:lnTo>
                <a:lnTo>
                  <a:pt x="28281" y="1241425"/>
                </a:lnTo>
                <a:lnTo>
                  <a:pt x="28968" y="1205197"/>
                </a:lnTo>
                <a:close/>
              </a:path>
              <a:path w="1984375" h="1279525">
                <a:moveTo>
                  <a:pt x="33062" y="1203848"/>
                </a:moveTo>
                <a:lnTo>
                  <a:pt x="28968" y="1205197"/>
                </a:lnTo>
                <a:lnTo>
                  <a:pt x="28281" y="1241425"/>
                </a:lnTo>
                <a:lnTo>
                  <a:pt x="47331" y="1241806"/>
                </a:lnTo>
                <a:lnTo>
                  <a:pt x="48029" y="1205023"/>
                </a:lnTo>
                <a:lnTo>
                  <a:pt x="47635" y="1204827"/>
                </a:lnTo>
                <a:lnTo>
                  <a:pt x="33062" y="1203848"/>
                </a:lnTo>
                <a:close/>
              </a:path>
              <a:path w="1984375" h="1279525">
                <a:moveTo>
                  <a:pt x="48029" y="1205023"/>
                </a:moveTo>
                <a:lnTo>
                  <a:pt x="47331" y="1241806"/>
                </a:lnTo>
                <a:lnTo>
                  <a:pt x="75283" y="1241806"/>
                </a:lnTo>
                <a:lnTo>
                  <a:pt x="75612" y="1236932"/>
                </a:lnTo>
                <a:lnTo>
                  <a:pt x="71059" y="1223059"/>
                </a:lnTo>
                <a:lnTo>
                  <a:pt x="61187" y="1211580"/>
                </a:lnTo>
                <a:lnTo>
                  <a:pt x="48029" y="1205023"/>
                </a:lnTo>
                <a:close/>
              </a:path>
              <a:path w="1984375" h="1279525">
                <a:moveTo>
                  <a:pt x="1984208" y="0"/>
                </a:moveTo>
                <a:lnTo>
                  <a:pt x="51839" y="0"/>
                </a:lnTo>
                <a:lnTo>
                  <a:pt x="28968" y="1205197"/>
                </a:lnTo>
                <a:lnTo>
                  <a:pt x="33062" y="1203848"/>
                </a:lnTo>
                <a:lnTo>
                  <a:pt x="48051" y="1203848"/>
                </a:lnTo>
                <a:lnTo>
                  <a:pt x="70533" y="19050"/>
                </a:lnTo>
                <a:lnTo>
                  <a:pt x="61187" y="19050"/>
                </a:lnTo>
                <a:lnTo>
                  <a:pt x="70712" y="9652"/>
                </a:lnTo>
                <a:lnTo>
                  <a:pt x="1984208" y="9651"/>
                </a:lnTo>
                <a:lnTo>
                  <a:pt x="1984208" y="0"/>
                </a:lnTo>
                <a:close/>
              </a:path>
              <a:path w="1984375" h="1279525">
                <a:moveTo>
                  <a:pt x="48051" y="1203848"/>
                </a:moveTo>
                <a:lnTo>
                  <a:pt x="33062" y="1203848"/>
                </a:lnTo>
                <a:lnTo>
                  <a:pt x="47635" y="1204827"/>
                </a:lnTo>
                <a:lnTo>
                  <a:pt x="48029" y="1205023"/>
                </a:lnTo>
                <a:lnTo>
                  <a:pt x="48051" y="1203848"/>
                </a:lnTo>
                <a:close/>
              </a:path>
              <a:path w="1984375" h="1279525">
                <a:moveTo>
                  <a:pt x="70712" y="9652"/>
                </a:moveTo>
                <a:lnTo>
                  <a:pt x="61187" y="19050"/>
                </a:lnTo>
                <a:lnTo>
                  <a:pt x="70533" y="19050"/>
                </a:lnTo>
                <a:lnTo>
                  <a:pt x="70712" y="9652"/>
                </a:lnTo>
                <a:close/>
              </a:path>
              <a:path w="1984375" h="1279525">
                <a:moveTo>
                  <a:pt x="1984208" y="9651"/>
                </a:moveTo>
                <a:lnTo>
                  <a:pt x="70712" y="9652"/>
                </a:lnTo>
                <a:lnTo>
                  <a:pt x="70533" y="19050"/>
                </a:lnTo>
                <a:lnTo>
                  <a:pt x="1984208" y="19050"/>
                </a:lnTo>
                <a:lnTo>
                  <a:pt x="1984208" y="9651"/>
                </a:lnTo>
                <a:close/>
              </a:path>
            </a:pathLst>
          </a:custGeom>
          <a:solidFill>
            <a:srgbClr val="00AF5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54" name="object 151"/>
          <p:cNvPicPr/>
          <p:nvPr/>
        </p:nvPicPr>
        <p:blipFill>
          <a:blip r:embed="rId6" cstate="print"/>
          <a:stretch>
            <a:fillRect/>
          </a:stretch>
        </p:blipFill>
        <p:spPr>
          <a:xfrm>
            <a:off x="763507" y="4809748"/>
            <a:ext cx="335279" cy="121919"/>
          </a:xfrm>
          <a:prstGeom prst="rect">
            <a:avLst/>
          </a:prstGeom>
        </p:spPr>
      </p:pic>
      <p:pic>
        <p:nvPicPr>
          <p:cNvPr id="155" name="object 152"/>
          <p:cNvPicPr/>
          <p:nvPr/>
        </p:nvPicPr>
        <p:blipFill>
          <a:blip r:embed="rId24" cstate="print"/>
          <a:stretch>
            <a:fillRect/>
          </a:stretch>
        </p:blipFill>
        <p:spPr>
          <a:xfrm>
            <a:off x="1484359" y="4809748"/>
            <a:ext cx="550329" cy="121919"/>
          </a:xfrm>
          <a:prstGeom prst="rect">
            <a:avLst/>
          </a:prstGeom>
        </p:spPr>
      </p:pic>
      <p:pic>
        <p:nvPicPr>
          <p:cNvPr id="156" name="object 153"/>
          <p:cNvPicPr/>
          <p:nvPr/>
        </p:nvPicPr>
        <p:blipFill>
          <a:blip r:embed="rId7" cstate="print"/>
          <a:stretch>
            <a:fillRect/>
          </a:stretch>
        </p:blipFill>
        <p:spPr>
          <a:xfrm>
            <a:off x="763507" y="4946907"/>
            <a:ext cx="593216" cy="121919"/>
          </a:xfrm>
          <a:prstGeom prst="rect">
            <a:avLst/>
          </a:prstGeom>
        </p:spPr>
      </p:pic>
      <p:pic>
        <p:nvPicPr>
          <p:cNvPr id="157" name="object 154"/>
          <p:cNvPicPr/>
          <p:nvPr/>
        </p:nvPicPr>
        <p:blipFill>
          <a:blip r:embed="rId31" cstate="print"/>
          <a:stretch>
            <a:fillRect/>
          </a:stretch>
        </p:blipFill>
        <p:spPr>
          <a:xfrm>
            <a:off x="1484359" y="4946907"/>
            <a:ext cx="762761" cy="121919"/>
          </a:xfrm>
          <a:prstGeom prst="rect">
            <a:avLst/>
          </a:prstGeom>
        </p:spPr>
      </p:pic>
      <p:pic>
        <p:nvPicPr>
          <p:cNvPr id="158" name="object 155"/>
          <p:cNvPicPr/>
          <p:nvPr/>
        </p:nvPicPr>
        <p:blipFill>
          <a:blip r:embed="rId8" cstate="print"/>
          <a:stretch>
            <a:fillRect/>
          </a:stretch>
        </p:blipFill>
        <p:spPr>
          <a:xfrm>
            <a:off x="763507" y="5084068"/>
            <a:ext cx="517283" cy="121919"/>
          </a:xfrm>
          <a:prstGeom prst="rect">
            <a:avLst/>
          </a:prstGeom>
        </p:spPr>
      </p:pic>
      <p:pic>
        <p:nvPicPr>
          <p:cNvPr id="159" name="object 156"/>
          <p:cNvPicPr/>
          <p:nvPr/>
        </p:nvPicPr>
        <p:blipFill>
          <a:blip r:embed="rId32" cstate="print"/>
          <a:stretch>
            <a:fillRect/>
          </a:stretch>
        </p:blipFill>
        <p:spPr>
          <a:xfrm>
            <a:off x="1484359" y="5084068"/>
            <a:ext cx="759460" cy="121919"/>
          </a:xfrm>
          <a:prstGeom prst="rect">
            <a:avLst/>
          </a:prstGeom>
        </p:spPr>
      </p:pic>
      <p:pic>
        <p:nvPicPr>
          <p:cNvPr id="160" name="object 157"/>
          <p:cNvPicPr/>
          <p:nvPr/>
        </p:nvPicPr>
        <p:blipFill>
          <a:blip r:embed="rId9" cstate="print"/>
          <a:stretch>
            <a:fillRect/>
          </a:stretch>
        </p:blipFill>
        <p:spPr>
          <a:xfrm>
            <a:off x="763507" y="5221228"/>
            <a:ext cx="371856" cy="121919"/>
          </a:xfrm>
          <a:prstGeom prst="rect">
            <a:avLst/>
          </a:prstGeom>
        </p:spPr>
      </p:pic>
      <p:pic>
        <p:nvPicPr>
          <p:cNvPr id="161" name="object 158"/>
          <p:cNvPicPr/>
          <p:nvPr/>
        </p:nvPicPr>
        <p:blipFill>
          <a:blip r:embed="rId33" cstate="print"/>
          <a:stretch>
            <a:fillRect/>
          </a:stretch>
        </p:blipFill>
        <p:spPr>
          <a:xfrm>
            <a:off x="1484359" y="5221228"/>
            <a:ext cx="310515" cy="121919"/>
          </a:xfrm>
          <a:prstGeom prst="rect">
            <a:avLst/>
          </a:prstGeom>
        </p:spPr>
      </p:pic>
      <p:pic>
        <p:nvPicPr>
          <p:cNvPr id="162" name="object 159"/>
          <p:cNvPicPr/>
          <p:nvPr/>
        </p:nvPicPr>
        <p:blipFill>
          <a:blip r:embed="rId18" cstate="print"/>
          <a:stretch>
            <a:fillRect/>
          </a:stretch>
        </p:blipFill>
        <p:spPr>
          <a:xfrm>
            <a:off x="763507" y="5358337"/>
            <a:ext cx="891540" cy="121919"/>
          </a:xfrm>
          <a:prstGeom prst="rect">
            <a:avLst/>
          </a:prstGeom>
        </p:spPr>
      </p:pic>
      <p:pic>
        <p:nvPicPr>
          <p:cNvPr id="163" name="object 160"/>
          <p:cNvPicPr/>
          <p:nvPr/>
        </p:nvPicPr>
        <p:blipFill>
          <a:blip r:embed="rId4" cstate="print"/>
          <a:stretch>
            <a:fillRect/>
          </a:stretch>
        </p:blipFill>
        <p:spPr>
          <a:xfrm>
            <a:off x="2905946" y="3313383"/>
            <a:ext cx="259105" cy="294182"/>
          </a:xfrm>
          <a:prstGeom prst="rect">
            <a:avLst/>
          </a:prstGeom>
        </p:spPr>
      </p:pic>
      <p:pic>
        <p:nvPicPr>
          <p:cNvPr id="164" name="object 161"/>
          <p:cNvPicPr/>
          <p:nvPr/>
        </p:nvPicPr>
        <p:blipFill>
          <a:blip r:embed="rId34" cstate="print"/>
          <a:stretch>
            <a:fillRect/>
          </a:stretch>
        </p:blipFill>
        <p:spPr>
          <a:xfrm>
            <a:off x="2953190" y="3333245"/>
            <a:ext cx="169163" cy="204216"/>
          </a:xfrm>
          <a:prstGeom prst="rect">
            <a:avLst/>
          </a:prstGeom>
        </p:spPr>
      </p:pic>
      <p:sp>
        <p:nvSpPr>
          <p:cNvPr id="166" name="object 163"/>
          <p:cNvSpPr/>
          <p:nvPr/>
        </p:nvSpPr>
        <p:spPr>
          <a:xfrm>
            <a:off x="2443412" y="3426591"/>
            <a:ext cx="510540" cy="1882139"/>
          </a:xfrm>
          <a:custGeom>
            <a:avLst/>
            <a:gdLst/>
            <a:ahLst/>
            <a:cxnLst/>
            <a:rect l="l" t="t" r="r" b="b"/>
            <a:pathLst>
              <a:path w="510539" h="1882139">
                <a:moveTo>
                  <a:pt x="28575" y="1807741"/>
                </a:moveTo>
                <a:lnTo>
                  <a:pt x="23252" y="1808819"/>
                </a:lnTo>
                <a:lnTo>
                  <a:pt x="11144" y="1817004"/>
                </a:lnTo>
                <a:lnTo>
                  <a:pt x="2988" y="1829119"/>
                </a:lnTo>
                <a:lnTo>
                  <a:pt x="0" y="1843913"/>
                </a:lnTo>
                <a:lnTo>
                  <a:pt x="2988" y="1858760"/>
                </a:lnTo>
                <a:lnTo>
                  <a:pt x="11144" y="1870868"/>
                </a:lnTo>
                <a:lnTo>
                  <a:pt x="23252" y="1879024"/>
                </a:lnTo>
                <a:lnTo>
                  <a:pt x="38100" y="1882013"/>
                </a:lnTo>
                <a:lnTo>
                  <a:pt x="52947" y="1879024"/>
                </a:lnTo>
                <a:lnTo>
                  <a:pt x="65055" y="1870868"/>
                </a:lnTo>
                <a:lnTo>
                  <a:pt x="73211" y="1858760"/>
                </a:lnTo>
                <a:lnTo>
                  <a:pt x="76200" y="1843913"/>
                </a:lnTo>
                <a:lnTo>
                  <a:pt x="28575" y="1843913"/>
                </a:lnTo>
                <a:lnTo>
                  <a:pt x="28575" y="1807741"/>
                </a:lnTo>
                <a:close/>
              </a:path>
              <a:path w="510539" h="1882139">
                <a:moveTo>
                  <a:pt x="38100" y="1805813"/>
                </a:moveTo>
                <a:lnTo>
                  <a:pt x="28575" y="1807741"/>
                </a:lnTo>
                <a:lnTo>
                  <a:pt x="28575" y="1843913"/>
                </a:lnTo>
                <a:lnTo>
                  <a:pt x="47625" y="1843913"/>
                </a:lnTo>
                <a:lnTo>
                  <a:pt x="47625" y="1807741"/>
                </a:lnTo>
                <a:lnTo>
                  <a:pt x="38100" y="1805813"/>
                </a:lnTo>
                <a:close/>
              </a:path>
              <a:path w="510539" h="1882139">
                <a:moveTo>
                  <a:pt x="47625" y="1807741"/>
                </a:moveTo>
                <a:lnTo>
                  <a:pt x="47625" y="1843913"/>
                </a:lnTo>
                <a:lnTo>
                  <a:pt x="76200" y="1843913"/>
                </a:lnTo>
                <a:lnTo>
                  <a:pt x="73211" y="1829119"/>
                </a:lnTo>
                <a:lnTo>
                  <a:pt x="65055" y="1817004"/>
                </a:lnTo>
                <a:lnTo>
                  <a:pt x="52947" y="1808819"/>
                </a:lnTo>
                <a:lnTo>
                  <a:pt x="47625" y="1807741"/>
                </a:lnTo>
                <a:close/>
              </a:path>
              <a:path w="510539" h="1882139">
                <a:moveTo>
                  <a:pt x="510413" y="0"/>
                </a:moveTo>
                <a:lnTo>
                  <a:pt x="28575" y="0"/>
                </a:lnTo>
                <a:lnTo>
                  <a:pt x="28575" y="1807741"/>
                </a:lnTo>
                <a:lnTo>
                  <a:pt x="38100" y="1805813"/>
                </a:lnTo>
                <a:lnTo>
                  <a:pt x="47625" y="1805813"/>
                </a:lnTo>
                <a:lnTo>
                  <a:pt x="47625" y="19050"/>
                </a:lnTo>
                <a:lnTo>
                  <a:pt x="38100" y="19050"/>
                </a:lnTo>
                <a:lnTo>
                  <a:pt x="47625" y="9525"/>
                </a:lnTo>
                <a:lnTo>
                  <a:pt x="510413" y="9525"/>
                </a:lnTo>
                <a:lnTo>
                  <a:pt x="510413" y="0"/>
                </a:lnTo>
                <a:close/>
              </a:path>
              <a:path w="510539" h="1882139">
                <a:moveTo>
                  <a:pt x="47625" y="1805813"/>
                </a:moveTo>
                <a:lnTo>
                  <a:pt x="38100" y="1805813"/>
                </a:lnTo>
                <a:lnTo>
                  <a:pt x="47625" y="1807741"/>
                </a:lnTo>
                <a:lnTo>
                  <a:pt x="47625" y="1805813"/>
                </a:lnTo>
                <a:close/>
              </a:path>
              <a:path w="510539" h="1882139">
                <a:moveTo>
                  <a:pt x="47625" y="9525"/>
                </a:moveTo>
                <a:lnTo>
                  <a:pt x="38100" y="19050"/>
                </a:lnTo>
                <a:lnTo>
                  <a:pt x="47625" y="19050"/>
                </a:lnTo>
                <a:lnTo>
                  <a:pt x="47625" y="9525"/>
                </a:lnTo>
                <a:close/>
              </a:path>
              <a:path w="510539" h="1882139">
                <a:moveTo>
                  <a:pt x="510413" y="9525"/>
                </a:moveTo>
                <a:lnTo>
                  <a:pt x="47625" y="9525"/>
                </a:lnTo>
                <a:lnTo>
                  <a:pt x="47625" y="19050"/>
                </a:lnTo>
                <a:lnTo>
                  <a:pt x="510413" y="19050"/>
                </a:lnTo>
                <a:lnTo>
                  <a:pt x="510413" y="9525"/>
                </a:lnTo>
                <a:close/>
              </a:path>
            </a:pathLst>
          </a:custGeom>
          <a:solidFill>
            <a:srgbClr val="3AA6D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69" name="object 166"/>
          <p:cNvPicPr/>
          <p:nvPr/>
        </p:nvPicPr>
        <p:blipFill>
          <a:blip r:embed="rId23" cstate="print"/>
          <a:stretch>
            <a:fillRect/>
          </a:stretch>
        </p:blipFill>
        <p:spPr>
          <a:xfrm>
            <a:off x="6069771" y="5507993"/>
            <a:ext cx="335661" cy="121919"/>
          </a:xfrm>
          <a:prstGeom prst="rect">
            <a:avLst/>
          </a:prstGeom>
        </p:spPr>
      </p:pic>
      <p:pic>
        <p:nvPicPr>
          <p:cNvPr id="170" name="object 167"/>
          <p:cNvPicPr/>
          <p:nvPr/>
        </p:nvPicPr>
        <p:blipFill>
          <a:blip r:embed="rId24" cstate="print"/>
          <a:stretch>
            <a:fillRect/>
          </a:stretch>
        </p:blipFill>
        <p:spPr>
          <a:xfrm>
            <a:off x="6790877" y="5507993"/>
            <a:ext cx="550329" cy="121919"/>
          </a:xfrm>
          <a:prstGeom prst="rect">
            <a:avLst/>
          </a:prstGeom>
        </p:spPr>
      </p:pic>
      <p:pic>
        <p:nvPicPr>
          <p:cNvPr id="171" name="object 168"/>
          <p:cNvPicPr/>
          <p:nvPr/>
        </p:nvPicPr>
        <p:blipFill>
          <a:blip r:embed="rId35" cstate="print"/>
          <a:stretch>
            <a:fillRect/>
          </a:stretch>
        </p:blipFill>
        <p:spPr>
          <a:xfrm>
            <a:off x="6069771" y="5631437"/>
            <a:ext cx="593559" cy="121919"/>
          </a:xfrm>
          <a:prstGeom prst="rect">
            <a:avLst/>
          </a:prstGeom>
        </p:spPr>
      </p:pic>
      <p:pic>
        <p:nvPicPr>
          <p:cNvPr id="172" name="object 169"/>
          <p:cNvPicPr/>
          <p:nvPr/>
        </p:nvPicPr>
        <p:blipFill>
          <a:blip r:embed="rId36" cstate="print"/>
          <a:stretch>
            <a:fillRect/>
          </a:stretch>
        </p:blipFill>
        <p:spPr>
          <a:xfrm>
            <a:off x="6790877" y="5631437"/>
            <a:ext cx="756158" cy="121919"/>
          </a:xfrm>
          <a:prstGeom prst="rect">
            <a:avLst/>
          </a:prstGeom>
        </p:spPr>
      </p:pic>
      <p:pic>
        <p:nvPicPr>
          <p:cNvPr id="173" name="object 170"/>
          <p:cNvPicPr/>
          <p:nvPr/>
        </p:nvPicPr>
        <p:blipFill>
          <a:blip r:embed="rId8" cstate="print"/>
          <a:stretch>
            <a:fillRect/>
          </a:stretch>
        </p:blipFill>
        <p:spPr>
          <a:xfrm>
            <a:off x="6069771" y="5754881"/>
            <a:ext cx="517639" cy="121919"/>
          </a:xfrm>
          <a:prstGeom prst="rect">
            <a:avLst/>
          </a:prstGeom>
        </p:spPr>
      </p:pic>
      <p:pic>
        <p:nvPicPr>
          <p:cNvPr id="174" name="object 171"/>
          <p:cNvPicPr/>
          <p:nvPr/>
        </p:nvPicPr>
        <p:blipFill>
          <a:blip r:embed="rId37" cstate="print"/>
          <a:stretch>
            <a:fillRect/>
          </a:stretch>
        </p:blipFill>
        <p:spPr>
          <a:xfrm>
            <a:off x="6790877" y="5754881"/>
            <a:ext cx="686625" cy="121919"/>
          </a:xfrm>
          <a:prstGeom prst="rect">
            <a:avLst/>
          </a:prstGeom>
        </p:spPr>
      </p:pic>
      <p:pic>
        <p:nvPicPr>
          <p:cNvPr id="175" name="object 172"/>
          <p:cNvPicPr/>
          <p:nvPr/>
        </p:nvPicPr>
        <p:blipFill>
          <a:blip r:embed="rId38" cstate="print"/>
          <a:stretch>
            <a:fillRect/>
          </a:stretch>
        </p:blipFill>
        <p:spPr>
          <a:xfrm>
            <a:off x="6069771" y="5878021"/>
            <a:ext cx="372262" cy="122224"/>
          </a:xfrm>
          <a:prstGeom prst="rect">
            <a:avLst/>
          </a:prstGeom>
        </p:spPr>
      </p:pic>
      <p:pic>
        <p:nvPicPr>
          <p:cNvPr id="176" name="object 173"/>
          <p:cNvPicPr/>
          <p:nvPr/>
        </p:nvPicPr>
        <p:blipFill>
          <a:blip r:embed="rId39" cstate="print"/>
          <a:stretch>
            <a:fillRect/>
          </a:stretch>
        </p:blipFill>
        <p:spPr>
          <a:xfrm>
            <a:off x="6790877" y="5878021"/>
            <a:ext cx="300989" cy="122224"/>
          </a:xfrm>
          <a:prstGeom prst="rect">
            <a:avLst/>
          </a:prstGeom>
        </p:spPr>
      </p:pic>
      <p:pic>
        <p:nvPicPr>
          <p:cNvPr id="177" name="object 174"/>
          <p:cNvPicPr/>
          <p:nvPr/>
        </p:nvPicPr>
        <p:blipFill>
          <a:blip r:embed="rId40" cstate="print"/>
          <a:stretch>
            <a:fillRect/>
          </a:stretch>
        </p:blipFill>
        <p:spPr>
          <a:xfrm>
            <a:off x="6069771" y="6002074"/>
            <a:ext cx="891793" cy="121920"/>
          </a:xfrm>
          <a:prstGeom prst="rect">
            <a:avLst/>
          </a:prstGeom>
        </p:spPr>
      </p:pic>
      <p:pic>
        <p:nvPicPr>
          <p:cNvPr id="180" name="object 177"/>
          <p:cNvPicPr/>
          <p:nvPr/>
        </p:nvPicPr>
        <p:blipFill>
          <a:blip r:embed="rId6" cstate="print"/>
          <a:stretch>
            <a:fillRect/>
          </a:stretch>
        </p:blipFill>
        <p:spPr>
          <a:xfrm>
            <a:off x="4166548" y="5517442"/>
            <a:ext cx="335279" cy="122224"/>
          </a:xfrm>
          <a:prstGeom prst="rect">
            <a:avLst/>
          </a:prstGeom>
        </p:spPr>
      </p:pic>
      <p:pic>
        <p:nvPicPr>
          <p:cNvPr id="181" name="object 178"/>
          <p:cNvPicPr/>
          <p:nvPr/>
        </p:nvPicPr>
        <p:blipFill>
          <a:blip r:embed="rId24" cstate="print"/>
          <a:stretch>
            <a:fillRect/>
          </a:stretch>
        </p:blipFill>
        <p:spPr>
          <a:xfrm>
            <a:off x="4887781" y="5517442"/>
            <a:ext cx="550329" cy="122224"/>
          </a:xfrm>
          <a:prstGeom prst="rect">
            <a:avLst/>
          </a:prstGeom>
        </p:spPr>
      </p:pic>
      <p:pic>
        <p:nvPicPr>
          <p:cNvPr id="182" name="object 179"/>
          <p:cNvPicPr/>
          <p:nvPr/>
        </p:nvPicPr>
        <p:blipFill>
          <a:blip r:embed="rId7" cstate="print"/>
          <a:stretch>
            <a:fillRect/>
          </a:stretch>
        </p:blipFill>
        <p:spPr>
          <a:xfrm>
            <a:off x="4166548" y="5641496"/>
            <a:ext cx="593559" cy="121919"/>
          </a:xfrm>
          <a:prstGeom prst="rect">
            <a:avLst/>
          </a:prstGeom>
        </p:spPr>
      </p:pic>
      <p:pic>
        <p:nvPicPr>
          <p:cNvPr id="183" name="object 180"/>
          <p:cNvPicPr/>
          <p:nvPr/>
        </p:nvPicPr>
        <p:blipFill>
          <a:blip r:embed="rId41" cstate="print"/>
          <a:stretch>
            <a:fillRect/>
          </a:stretch>
        </p:blipFill>
        <p:spPr>
          <a:xfrm>
            <a:off x="4887781" y="5641496"/>
            <a:ext cx="729856" cy="121919"/>
          </a:xfrm>
          <a:prstGeom prst="rect">
            <a:avLst/>
          </a:prstGeom>
        </p:spPr>
      </p:pic>
      <p:pic>
        <p:nvPicPr>
          <p:cNvPr id="184" name="object 181"/>
          <p:cNvPicPr/>
          <p:nvPr/>
        </p:nvPicPr>
        <p:blipFill>
          <a:blip r:embed="rId8" cstate="print"/>
          <a:stretch>
            <a:fillRect/>
          </a:stretch>
        </p:blipFill>
        <p:spPr>
          <a:xfrm>
            <a:off x="4166548" y="5764940"/>
            <a:ext cx="517283" cy="121919"/>
          </a:xfrm>
          <a:prstGeom prst="rect">
            <a:avLst/>
          </a:prstGeom>
        </p:spPr>
      </p:pic>
      <p:pic>
        <p:nvPicPr>
          <p:cNvPr id="185" name="object 182"/>
          <p:cNvPicPr/>
          <p:nvPr/>
        </p:nvPicPr>
        <p:blipFill>
          <a:blip r:embed="rId42" cstate="print"/>
          <a:stretch>
            <a:fillRect/>
          </a:stretch>
        </p:blipFill>
        <p:spPr>
          <a:xfrm>
            <a:off x="4887781" y="5764940"/>
            <a:ext cx="718223" cy="121919"/>
          </a:xfrm>
          <a:prstGeom prst="rect">
            <a:avLst/>
          </a:prstGeom>
        </p:spPr>
      </p:pic>
      <p:pic>
        <p:nvPicPr>
          <p:cNvPr id="186" name="object 183"/>
          <p:cNvPicPr/>
          <p:nvPr/>
        </p:nvPicPr>
        <p:blipFill>
          <a:blip r:embed="rId9" cstate="print"/>
          <a:stretch>
            <a:fillRect/>
          </a:stretch>
        </p:blipFill>
        <p:spPr>
          <a:xfrm>
            <a:off x="4166548" y="5888384"/>
            <a:ext cx="371856" cy="121920"/>
          </a:xfrm>
          <a:prstGeom prst="rect">
            <a:avLst/>
          </a:prstGeom>
        </p:spPr>
      </p:pic>
      <p:pic>
        <p:nvPicPr>
          <p:cNvPr id="187" name="object 184"/>
          <p:cNvPicPr/>
          <p:nvPr/>
        </p:nvPicPr>
        <p:blipFill>
          <a:blip r:embed="rId39" cstate="print"/>
          <a:stretch>
            <a:fillRect/>
          </a:stretch>
        </p:blipFill>
        <p:spPr>
          <a:xfrm>
            <a:off x="4887781" y="5888384"/>
            <a:ext cx="300989" cy="121920"/>
          </a:xfrm>
          <a:prstGeom prst="rect">
            <a:avLst/>
          </a:prstGeom>
        </p:spPr>
      </p:pic>
      <p:pic>
        <p:nvPicPr>
          <p:cNvPr id="188" name="object 185"/>
          <p:cNvPicPr/>
          <p:nvPr/>
        </p:nvPicPr>
        <p:blipFill>
          <a:blip r:embed="rId28" cstate="print"/>
          <a:stretch>
            <a:fillRect/>
          </a:stretch>
        </p:blipFill>
        <p:spPr>
          <a:xfrm>
            <a:off x="4166548" y="6011828"/>
            <a:ext cx="891921" cy="121920"/>
          </a:xfrm>
          <a:prstGeom prst="rect">
            <a:avLst/>
          </a:prstGeom>
        </p:spPr>
      </p:pic>
      <p:pic>
        <p:nvPicPr>
          <p:cNvPr id="189" name="object 186"/>
          <p:cNvPicPr/>
          <p:nvPr/>
        </p:nvPicPr>
        <p:blipFill>
          <a:blip r:embed="rId43" cstate="print"/>
          <a:stretch>
            <a:fillRect/>
          </a:stretch>
        </p:blipFill>
        <p:spPr>
          <a:xfrm>
            <a:off x="2979099" y="3632000"/>
            <a:ext cx="219544" cy="246964"/>
          </a:xfrm>
          <a:prstGeom prst="rect">
            <a:avLst/>
          </a:prstGeom>
        </p:spPr>
      </p:pic>
      <p:sp>
        <p:nvSpPr>
          <p:cNvPr id="190" name="object 187"/>
          <p:cNvSpPr/>
          <p:nvPr/>
        </p:nvSpPr>
        <p:spPr>
          <a:xfrm>
            <a:off x="3026343" y="3651762"/>
            <a:ext cx="129539" cy="157480"/>
          </a:xfrm>
          <a:custGeom>
            <a:avLst/>
            <a:gdLst/>
            <a:ahLst/>
            <a:cxnLst/>
            <a:rect l="l" t="t" r="r" b="b"/>
            <a:pathLst>
              <a:path w="129539" h="157479">
                <a:moveTo>
                  <a:pt x="64769" y="0"/>
                </a:moveTo>
                <a:lnTo>
                  <a:pt x="39540" y="6173"/>
                </a:lnTo>
                <a:lnTo>
                  <a:pt x="18954" y="23002"/>
                </a:lnTo>
                <a:lnTo>
                  <a:pt x="5083" y="47952"/>
                </a:lnTo>
                <a:lnTo>
                  <a:pt x="0" y="78486"/>
                </a:lnTo>
                <a:lnTo>
                  <a:pt x="5083" y="109019"/>
                </a:lnTo>
                <a:lnTo>
                  <a:pt x="18954" y="133969"/>
                </a:lnTo>
                <a:lnTo>
                  <a:pt x="39540" y="150798"/>
                </a:lnTo>
                <a:lnTo>
                  <a:pt x="64769" y="156972"/>
                </a:lnTo>
                <a:lnTo>
                  <a:pt x="89999" y="150798"/>
                </a:lnTo>
                <a:lnTo>
                  <a:pt x="110585" y="133969"/>
                </a:lnTo>
                <a:lnTo>
                  <a:pt x="124456" y="109019"/>
                </a:lnTo>
                <a:lnTo>
                  <a:pt x="129539" y="78486"/>
                </a:lnTo>
                <a:lnTo>
                  <a:pt x="124456" y="47952"/>
                </a:lnTo>
                <a:lnTo>
                  <a:pt x="110585" y="23002"/>
                </a:lnTo>
                <a:lnTo>
                  <a:pt x="89999" y="6173"/>
                </a:lnTo>
                <a:lnTo>
                  <a:pt x="64769" y="0"/>
                </a:lnTo>
                <a:close/>
              </a:path>
            </a:pathLst>
          </a:custGeom>
          <a:solidFill>
            <a:srgbClr val="7DABC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91" name="object 188"/>
          <p:cNvPicPr/>
          <p:nvPr/>
        </p:nvPicPr>
        <p:blipFill>
          <a:blip r:embed="rId43" cstate="print"/>
          <a:stretch>
            <a:fillRect/>
          </a:stretch>
        </p:blipFill>
        <p:spPr>
          <a:xfrm>
            <a:off x="3084255" y="3484172"/>
            <a:ext cx="219544" cy="246964"/>
          </a:xfrm>
          <a:prstGeom prst="rect">
            <a:avLst/>
          </a:prstGeom>
        </p:spPr>
      </p:pic>
      <p:sp>
        <p:nvSpPr>
          <p:cNvPr id="192" name="object 189"/>
          <p:cNvSpPr/>
          <p:nvPr/>
        </p:nvSpPr>
        <p:spPr>
          <a:xfrm>
            <a:off x="3131499" y="3503934"/>
            <a:ext cx="129539" cy="157480"/>
          </a:xfrm>
          <a:custGeom>
            <a:avLst/>
            <a:gdLst/>
            <a:ahLst/>
            <a:cxnLst/>
            <a:rect l="l" t="t" r="r" b="b"/>
            <a:pathLst>
              <a:path w="129539" h="157479">
                <a:moveTo>
                  <a:pt x="64769" y="0"/>
                </a:moveTo>
                <a:lnTo>
                  <a:pt x="39540" y="6173"/>
                </a:lnTo>
                <a:lnTo>
                  <a:pt x="18954" y="23002"/>
                </a:lnTo>
                <a:lnTo>
                  <a:pt x="5083" y="47952"/>
                </a:lnTo>
                <a:lnTo>
                  <a:pt x="0" y="78486"/>
                </a:lnTo>
                <a:lnTo>
                  <a:pt x="5083" y="109019"/>
                </a:lnTo>
                <a:lnTo>
                  <a:pt x="18954" y="133969"/>
                </a:lnTo>
                <a:lnTo>
                  <a:pt x="39540" y="150798"/>
                </a:lnTo>
                <a:lnTo>
                  <a:pt x="64769" y="156972"/>
                </a:lnTo>
                <a:lnTo>
                  <a:pt x="89999" y="150798"/>
                </a:lnTo>
                <a:lnTo>
                  <a:pt x="110585" y="133969"/>
                </a:lnTo>
                <a:lnTo>
                  <a:pt x="124456" y="109019"/>
                </a:lnTo>
                <a:lnTo>
                  <a:pt x="129539" y="78486"/>
                </a:lnTo>
                <a:lnTo>
                  <a:pt x="124456" y="47952"/>
                </a:lnTo>
                <a:lnTo>
                  <a:pt x="110585" y="23002"/>
                </a:lnTo>
                <a:lnTo>
                  <a:pt x="89999" y="6173"/>
                </a:lnTo>
                <a:lnTo>
                  <a:pt x="64769"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sp>
        <p:nvSpPr>
          <p:cNvPr id="193" name="object 190"/>
          <p:cNvSpPr/>
          <p:nvPr/>
        </p:nvSpPr>
        <p:spPr>
          <a:xfrm>
            <a:off x="3156644" y="3722247"/>
            <a:ext cx="1134745" cy="1508125"/>
          </a:xfrm>
          <a:custGeom>
            <a:avLst/>
            <a:gdLst/>
            <a:ahLst/>
            <a:cxnLst/>
            <a:rect l="l" t="t" r="r" b="b"/>
            <a:pathLst>
              <a:path w="1134745" h="1508125">
                <a:moveTo>
                  <a:pt x="1087120" y="1433599"/>
                </a:moveTo>
                <a:lnTo>
                  <a:pt x="1081797" y="1434677"/>
                </a:lnTo>
                <a:lnTo>
                  <a:pt x="1069689" y="1442862"/>
                </a:lnTo>
                <a:lnTo>
                  <a:pt x="1061533" y="1454977"/>
                </a:lnTo>
                <a:lnTo>
                  <a:pt x="1058545" y="1469770"/>
                </a:lnTo>
                <a:lnTo>
                  <a:pt x="1061533" y="1484618"/>
                </a:lnTo>
                <a:lnTo>
                  <a:pt x="1069689" y="1496726"/>
                </a:lnTo>
                <a:lnTo>
                  <a:pt x="1081797" y="1504882"/>
                </a:lnTo>
                <a:lnTo>
                  <a:pt x="1096645" y="1507870"/>
                </a:lnTo>
                <a:lnTo>
                  <a:pt x="1111492" y="1504882"/>
                </a:lnTo>
                <a:lnTo>
                  <a:pt x="1123600" y="1496726"/>
                </a:lnTo>
                <a:lnTo>
                  <a:pt x="1131756" y="1484618"/>
                </a:lnTo>
                <a:lnTo>
                  <a:pt x="1134745" y="1469770"/>
                </a:lnTo>
                <a:lnTo>
                  <a:pt x="1087120" y="1469770"/>
                </a:lnTo>
                <a:lnTo>
                  <a:pt x="1087120" y="1433599"/>
                </a:lnTo>
                <a:close/>
              </a:path>
              <a:path w="1134745" h="1508125">
                <a:moveTo>
                  <a:pt x="1096645" y="1431670"/>
                </a:moveTo>
                <a:lnTo>
                  <a:pt x="1087120" y="1433599"/>
                </a:lnTo>
                <a:lnTo>
                  <a:pt x="1087120" y="1469770"/>
                </a:lnTo>
                <a:lnTo>
                  <a:pt x="1106170" y="1469770"/>
                </a:lnTo>
                <a:lnTo>
                  <a:pt x="1106170" y="1433599"/>
                </a:lnTo>
                <a:lnTo>
                  <a:pt x="1096645" y="1431670"/>
                </a:lnTo>
                <a:close/>
              </a:path>
              <a:path w="1134745" h="1508125">
                <a:moveTo>
                  <a:pt x="1106170" y="1433599"/>
                </a:moveTo>
                <a:lnTo>
                  <a:pt x="1106170" y="1469770"/>
                </a:lnTo>
                <a:lnTo>
                  <a:pt x="1134745" y="1469770"/>
                </a:lnTo>
                <a:lnTo>
                  <a:pt x="1131756" y="1454977"/>
                </a:lnTo>
                <a:lnTo>
                  <a:pt x="1123600" y="1442862"/>
                </a:lnTo>
                <a:lnTo>
                  <a:pt x="1111492" y="1434677"/>
                </a:lnTo>
                <a:lnTo>
                  <a:pt x="1106170" y="1433599"/>
                </a:lnTo>
                <a:close/>
              </a:path>
              <a:path w="1134745" h="1508125">
                <a:moveTo>
                  <a:pt x="1087120" y="9524"/>
                </a:moveTo>
                <a:lnTo>
                  <a:pt x="1087120" y="1433599"/>
                </a:lnTo>
                <a:lnTo>
                  <a:pt x="1096645" y="1431670"/>
                </a:lnTo>
                <a:lnTo>
                  <a:pt x="1106170" y="1431670"/>
                </a:lnTo>
                <a:lnTo>
                  <a:pt x="1106170" y="19049"/>
                </a:lnTo>
                <a:lnTo>
                  <a:pt x="1096645" y="19049"/>
                </a:lnTo>
                <a:lnTo>
                  <a:pt x="1087120" y="9524"/>
                </a:lnTo>
                <a:close/>
              </a:path>
              <a:path w="1134745" h="1508125">
                <a:moveTo>
                  <a:pt x="1106170" y="1431670"/>
                </a:moveTo>
                <a:lnTo>
                  <a:pt x="1096645" y="1431670"/>
                </a:lnTo>
                <a:lnTo>
                  <a:pt x="1106170" y="1433599"/>
                </a:lnTo>
                <a:lnTo>
                  <a:pt x="1106170" y="1431670"/>
                </a:lnTo>
                <a:close/>
              </a:path>
              <a:path w="1134745" h="1508125">
                <a:moveTo>
                  <a:pt x="1106170" y="0"/>
                </a:moveTo>
                <a:lnTo>
                  <a:pt x="0" y="0"/>
                </a:lnTo>
                <a:lnTo>
                  <a:pt x="0" y="19049"/>
                </a:lnTo>
                <a:lnTo>
                  <a:pt x="1087120" y="19049"/>
                </a:lnTo>
                <a:lnTo>
                  <a:pt x="1087120" y="9524"/>
                </a:lnTo>
                <a:lnTo>
                  <a:pt x="1106170" y="9524"/>
                </a:lnTo>
                <a:lnTo>
                  <a:pt x="1106170" y="0"/>
                </a:lnTo>
                <a:close/>
              </a:path>
              <a:path w="1134745" h="1508125">
                <a:moveTo>
                  <a:pt x="1106170" y="9524"/>
                </a:moveTo>
                <a:lnTo>
                  <a:pt x="1087120" y="9524"/>
                </a:lnTo>
                <a:lnTo>
                  <a:pt x="1096645" y="19049"/>
                </a:lnTo>
                <a:lnTo>
                  <a:pt x="1106170" y="19049"/>
                </a:lnTo>
                <a:lnTo>
                  <a:pt x="1106170" y="9524"/>
                </a:lnTo>
                <a:close/>
              </a:path>
            </a:pathLst>
          </a:custGeom>
          <a:solidFill>
            <a:srgbClr val="7DABC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sp>
        <p:nvSpPr>
          <p:cNvPr id="194" name="object 191"/>
          <p:cNvSpPr/>
          <p:nvPr/>
        </p:nvSpPr>
        <p:spPr>
          <a:xfrm>
            <a:off x="3261800" y="3572895"/>
            <a:ext cx="2929255" cy="1693545"/>
          </a:xfrm>
          <a:custGeom>
            <a:avLst/>
            <a:gdLst/>
            <a:ahLst/>
            <a:cxnLst/>
            <a:rect l="l" t="t" r="r" b="b"/>
            <a:pathLst>
              <a:path w="2929254" h="1693545">
                <a:moveTo>
                  <a:pt x="2882118" y="1619299"/>
                </a:moveTo>
                <a:lnTo>
                  <a:pt x="2871110" y="1623581"/>
                </a:lnTo>
                <a:lnTo>
                  <a:pt x="2860595" y="1633712"/>
                </a:lnTo>
                <a:lnTo>
                  <a:pt x="2854628" y="1647057"/>
                </a:lnTo>
                <a:lnTo>
                  <a:pt x="2854198" y="1662175"/>
                </a:lnTo>
                <a:lnTo>
                  <a:pt x="2859726" y="1676251"/>
                </a:lnTo>
                <a:lnTo>
                  <a:pt x="2869850" y="1686766"/>
                </a:lnTo>
                <a:lnTo>
                  <a:pt x="2883165" y="1692733"/>
                </a:lnTo>
                <a:lnTo>
                  <a:pt x="2898267" y="1693163"/>
                </a:lnTo>
                <a:lnTo>
                  <a:pt x="2912360" y="1687689"/>
                </a:lnTo>
                <a:lnTo>
                  <a:pt x="2922905" y="1677558"/>
                </a:lnTo>
                <a:lnTo>
                  <a:pt x="2928877" y="1664213"/>
                </a:lnTo>
                <a:lnTo>
                  <a:pt x="2929090" y="1655698"/>
                </a:lnTo>
                <a:lnTo>
                  <a:pt x="2882265" y="1655698"/>
                </a:lnTo>
                <a:lnTo>
                  <a:pt x="2882118" y="1619299"/>
                </a:lnTo>
                <a:close/>
              </a:path>
              <a:path w="2929254" h="1693545">
                <a:moveTo>
                  <a:pt x="2885186" y="1618106"/>
                </a:moveTo>
                <a:lnTo>
                  <a:pt x="2882118" y="1619299"/>
                </a:lnTo>
                <a:lnTo>
                  <a:pt x="2882265" y="1655698"/>
                </a:lnTo>
                <a:lnTo>
                  <a:pt x="2901315" y="1655571"/>
                </a:lnTo>
                <a:lnTo>
                  <a:pt x="2901168" y="1618923"/>
                </a:lnTo>
                <a:lnTo>
                  <a:pt x="2900304" y="1618537"/>
                </a:lnTo>
                <a:lnTo>
                  <a:pt x="2885186" y="1618106"/>
                </a:lnTo>
                <a:close/>
              </a:path>
              <a:path w="2929254" h="1693545">
                <a:moveTo>
                  <a:pt x="2901168" y="1618923"/>
                </a:moveTo>
                <a:lnTo>
                  <a:pt x="2901315" y="1655571"/>
                </a:lnTo>
                <a:lnTo>
                  <a:pt x="2882265" y="1655698"/>
                </a:lnTo>
                <a:lnTo>
                  <a:pt x="2929090" y="1655698"/>
                </a:lnTo>
                <a:lnTo>
                  <a:pt x="2929255" y="1649094"/>
                </a:lnTo>
                <a:lnTo>
                  <a:pt x="2923780" y="1635019"/>
                </a:lnTo>
                <a:lnTo>
                  <a:pt x="2913649" y="1624504"/>
                </a:lnTo>
                <a:lnTo>
                  <a:pt x="2901168" y="1618923"/>
                </a:lnTo>
                <a:close/>
              </a:path>
              <a:path w="2929254" h="1693545">
                <a:moveTo>
                  <a:pt x="2894748" y="9524"/>
                </a:moveTo>
                <a:lnTo>
                  <a:pt x="2875661" y="9524"/>
                </a:lnTo>
                <a:lnTo>
                  <a:pt x="2885186" y="19049"/>
                </a:lnTo>
                <a:lnTo>
                  <a:pt x="2875699" y="19049"/>
                </a:lnTo>
                <a:lnTo>
                  <a:pt x="2882118" y="1619299"/>
                </a:lnTo>
                <a:lnTo>
                  <a:pt x="2885186" y="1618106"/>
                </a:lnTo>
                <a:lnTo>
                  <a:pt x="2901165" y="1618106"/>
                </a:lnTo>
                <a:lnTo>
                  <a:pt x="2894786" y="19049"/>
                </a:lnTo>
                <a:lnTo>
                  <a:pt x="2885186" y="19049"/>
                </a:lnTo>
                <a:lnTo>
                  <a:pt x="2875661" y="9524"/>
                </a:lnTo>
                <a:lnTo>
                  <a:pt x="2894748" y="9524"/>
                </a:lnTo>
                <a:close/>
              </a:path>
              <a:path w="2929254" h="1693545">
                <a:moveTo>
                  <a:pt x="2901165" y="1618106"/>
                </a:moveTo>
                <a:lnTo>
                  <a:pt x="2885186" y="1618106"/>
                </a:lnTo>
                <a:lnTo>
                  <a:pt x="2900304" y="1618537"/>
                </a:lnTo>
                <a:lnTo>
                  <a:pt x="2901168" y="1618923"/>
                </a:lnTo>
                <a:lnTo>
                  <a:pt x="2901165" y="1618106"/>
                </a:lnTo>
                <a:close/>
              </a:path>
              <a:path w="2929254" h="1693545">
                <a:moveTo>
                  <a:pt x="2894711" y="0"/>
                </a:moveTo>
                <a:lnTo>
                  <a:pt x="0" y="0"/>
                </a:lnTo>
                <a:lnTo>
                  <a:pt x="0" y="19049"/>
                </a:lnTo>
                <a:lnTo>
                  <a:pt x="2875699" y="19049"/>
                </a:lnTo>
                <a:lnTo>
                  <a:pt x="2875661" y="9524"/>
                </a:lnTo>
                <a:lnTo>
                  <a:pt x="2894748" y="9524"/>
                </a:lnTo>
                <a:lnTo>
                  <a:pt x="2894711"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95" name="object 192"/>
          <p:cNvPicPr/>
          <p:nvPr/>
        </p:nvPicPr>
        <p:blipFill>
          <a:blip r:embed="rId6" cstate="print"/>
          <a:stretch>
            <a:fillRect/>
          </a:stretch>
        </p:blipFill>
        <p:spPr>
          <a:xfrm>
            <a:off x="6088312" y="1689485"/>
            <a:ext cx="335279" cy="121920"/>
          </a:xfrm>
          <a:prstGeom prst="rect">
            <a:avLst/>
          </a:prstGeom>
        </p:spPr>
      </p:pic>
      <p:pic>
        <p:nvPicPr>
          <p:cNvPr id="196" name="object 193"/>
          <p:cNvPicPr/>
          <p:nvPr/>
        </p:nvPicPr>
        <p:blipFill>
          <a:blip r:embed="rId44" cstate="print"/>
          <a:stretch>
            <a:fillRect/>
          </a:stretch>
        </p:blipFill>
        <p:spPr>
          <a:xfrm>
            <a:off x="6807641" y="1689485"/>
            <a:ext cx="708240" cy="121920"/>
          </a:xfrm>
          <a:prstGeom prst="rect">
            <a:avLst/>
          </a:prstGeom>
        </p:spPr>
      </p:pic>
      <p:pic>
        <p:nvPicPr>
          <p:cNvPr id="197" name="object 194"/>
          <p:cNvPicPr/>
          <p:nvPr/>
        </p:nvPicPr>
        <p:blipFill>
          <a:blip r:embed="rId7" cstate="print"/>
          <a:stretch>
            <a:fillRect/>
          </a:stretch>
        </p:blipFill>
        <p:spPr>
          <a:xfrm>
            <a:off x="6088312" y="1826645"/>
            <a:ext cx="593216" cy="121920"/>
          </a:xfrm>
          <a:prstGeom prst="rect">
            <a:avLst/>
          </a:prstGeom>
        </p:spPr>
      </p:pic>
      <p:pic>
        <p:nvPicPr>
          <p:cNvPr id="198" name="object 195"/>
          <p:cNvPicPr/>
          <p:nvPr/>
        </p:nvPicPr>
        <p:blipFill>
          <a:blip r:embed="rId45" cstate="print"/>
          <a:stretch>
            <a:fillRect/>
          </a:stretch>
        </p:blipFill>
        <p:spPr>
          <a:xfrm>
            <a:off x="6807641" y="1826645"/>
            <a:ext cx="891540" cy="121920"/>
          </a:xfrm>
          <a:prstGeom prst="rect">
            <a:avLst/>
          </a:prstGeom>
        </p:spPr>
      </p:pic>
      <p:pic>
        <p:nvPicPr>
          <p:cNvPr id="199" name="object 196"/>
          <p:cNvPicPr/>
          <p:nvPr/>
        </p:nvPicPr>
        <p:blipFill>
          <a:blip r:embed="rId8" cstate="print"/>
          <a:stretch>
            <a:fillRect/>
          </a:stretch>
        </p:blipFill>
        <p:spPr>
          <a:xfrm>
            <a:off x="6088312" y="1963805"/>
            <a:ext cx="517283" cy="121920"/>
          </a:xfrm>
          <a:prstGeom prst="rect">
            <a:avLst/>
          </a:prstGeom>
        </p:spPr>
      </p:pic>
      <p:pic>
        <p:nvPicPr>
          <p:cNvPr id="200" name="object 197"/>
          <p:cNvPicPr/>
          <p:nvPr/>
        </p:nvPicPr>
        <p:blipFill>
          <a:blip r:embed="rId46" cstate="print"/>
          <a:stretch>
            <a:fillRect/>
          </a:stretch>
        </p:blipFill>
        <p:spPr>
          <a:xfrm>
            <a:off x="6807641" y="1963805"/>
            <a:ext cx="870318" cy="121920"/>
          </a:xfrm>
          <a:prstGeom prst="rect">
            <a:avLst/>
          </a:prstGeom>
        </p:spPr>
      </p:pic>
      <p:pic>
        <p:nvPicPr>
          <p:cNvPr id="201" name="object 198"/>
          <p:cNvPicPr/>
          <p:nvPr/>
        </p:nvPicPr>
        <p:blipFill>
          <a:blip r:embed="rId9" cstate="print"/>
          <a:stretch>
            <a:fillRect/>
          </a:stretch>
        </p:blipFill>
        <p:spPr>
          <a:xfrm>
            <a:off x="6088312" y="2100660"/>
            <a:ext cx="371855" cy="122224"/>
          </a:xfrm>
          <a:prstGeom prst="rect">
            <a:avLst/>
          </a:prstGeom>
        </p:spPr>
      </p:pic>
      <p:pic>
        <p:nvPicPr>
          <p:cNvPr id="202" name="object 199"/>
          <p:cNvPicPr/>
          <p:nvPr/>
        </p:nvPicPr>
        <p:blipFill>
          <a:blip r:embed="rId33" cstate="print"/>
          <a:stretch>
            <a:fillRect/>
          </a:stretch>
        </p:blipFill>
        <p:spPr>
          <a:xfrm>
            <a:off x="6807641" y="2100660"/>
            <a:ext cx="310515" cy="122224"/>
          </a:xfrm>
          <a:prstGeom prst="rect">
            <a:avLst/>
          </a:prstGeom>
        </p:spPr>
      </p:pic>
      <p:pic>
        <p:nvPicPr>
          <p:cNvPr id="203" name="object 200"/>
          <p:cNvPicPr/>
          <p:nvPr/>
        </p:nvPicPr>
        <p:blipFill>
          <a:blip r:embed="rId47" cstate="print"/>
          <a:stretch>
            <a:fillRect/>
          </a:stretch>
        </p:blipFill>
        <p:spPr>
          <a:xfrm>
            <a:off x="6088312" y="2238378"/>
            <a:ext cx="1080046" cy="121920"/>
          </a:xfrm>
          <a:prstGeom prst="rect">
            <a:avLst/>
          </a:prstGeom>
        </p:spPr>
      </p:pic>
      <p:pic>
        <p:nvPicPr>
          <p:cNvPr id="204" name="object 201"/>
          <p:cNvPicPr/>
          <p:nvPr/>
        </p:nvPicPr>
        <p:blipFill>
          <a:blip r:embed="rId48" cstate="print"/>
          <a:stretch>
            <a:fillRect/>
          </a:stretch>
        </p:blipFill>
        <p:spPr>
          <a:xfrm>
            <a:off x="6098727" y="1513590"/>
            <a:ext cx="128015" cy="176784"/>
          </a:xfrm>
          <a:prstGeom prst="rect">
            <a:avLst/>
          </a:prstGeom>
        </p:spPr>
      </p:pic>
      <p:pic>
        <p:nvPicPr>
          <p:cNvPr id="205" name="object 202"/>
          <p:cNvPicPr/>
          <p:nvPr/>
        </p:nvPicPr>
        <p:blipFill>
          <a:blip r:embed="rId49" cstate="print"/>
          <a:stretch>
            <a:fillRect/>
          </a:stretch>
        </p:blipFill>
        <p:spPr>
          <a:xfrm>
            <a:off x="6162735" y="1513590"/>
            <a:ext cx="155448" cy="117348"/>
          </a:xfrm>
          <a:prstGeom prst="rect">
            <a:avLst/>
          </a:prstGeom>
        </p:spPr>
      </p:pic>
      <p:pic>
        <p:nvPicPr>
          <p:cNvPr id="206" name="object 203"/>
          <p:cNvPicPr/>
          <p:nvPr/>
        </p:nvPicPr>
        <p:blipFill>
          <a:blip r:embed="rId50" cstate="print"/>
          <a:stretch>
            <a:fillRect/>
          </a:stretch>
        </p:blipFill>
        <p:spPr>
          <a:xfrm>
            <a:off x="6319706" y="1569978"/>
            <a:ext cx="730351" cy="109727"/>
          </a:xfrm>
          <a:prstGeom prst="rect">
            <a:avLst/>
          </a:prstGeom>
        </p:spPr>
      </p:pic>
      <p:pic>
        <p:nvPicPr>
          <p:cNvPr id="207" name="object 204"/>
          <p:cNvPicPr/>
          <p:nvPr/>
        </p:nvPicPr>
        <p:blipFill>
          <a:blip r:embed="rId51" cstate="print"/>
          <a:stretch>
            <a:fillRect/>
          </a:stretch>
        </p:blipFill>
        <p:spPr>
          <a:xfrm>
            <a:off x="4266879" y="1515749"/>
            <a:ext cx="192024" cy="163067"/>
          </a:xfrm>
          <a:prstGeom prst="rect">
            <a:avLst/>
          </a:prstGeom>
        </p:spPr>
      </p:pic>
      <p:pic>
        <p:nvPicPr>
          <p:cNvPr id="208" name="object 205"/>
          <p:cNvPicPr/>
          <p:nvPr/>
        </p:nvPicPr>
        <p:blipFill>
          <a:blip r:embed="rId52" cstate="print"/>
          <a:stretch>
            <a:fillRect/>
          </a:stretch>
        </p:blipFill>
        <p:spPr>
          <a:xfrm>
            <a:off x="4362891" y="1515749"/>
            <a:ext cx="203911" cy="109727"/>
          </a:xfrm>
          <a:prstGeom prst="rect">
            <a:avLst/>
          </a:prstGeom>
        </p:spPr>
      </p:pic>
      <p:pic>
        <p:nvPicPr>
          <p:cNvPr id="209" name="object 206"/>
          <p:cNvPicPr/>
          <p:nvPr/>
        </p:nvPicPr>
        <p:blipFill>
          <a:blip r:embed="rId53" cstate="print"/>
          <a:stretch>
            <a:fillRect/>
          </a:stretch>
        </p:blipFill>
        <p:spPr>
          <a:xfrm>
            <a:off x="4546024" y="1575185"/>
            <a:ext cx="635152" cy="94487"/>
          </a:xfrm>
          <a:prstGeom prst="rect">
            <a:avLst/>
          </a:prstGeom>
        </p:spPr>
      </p:pic>
      <p:pic>
        <p:nvPicPr>
          <p:cNvPr id="211" name="object 208"/>
          <p:cNvPicPr/>
          <p:nvPr/>
        </p:nvPicPr>
        <p:blipFill>
          <a:blip r:embed="rId54" cstate="print"/>
          <a:stretch>
            <a:fillRect/>
          </a:stretch>
        </p:blipFill>
        <p:spPr>
          <a:xfrm>
            <a:off x="732722" y="5727754"/>
            <a:ext cx="1377696" cy="109728"/>
          </a:xfrm>
          <a:prstGeom prst="rect">
            <a:avLst/>
          </a:prstGeom>
        </p:spPr>
      </p:pic>
      <p:pic>
        <p:nvPicPr>
          <p:cNvPr id="212" name="object 209"/>
          <p:cNvPicPr/>
          <p:nvPr/>
        </p:nvPicPr>
        <p:blipFill>
          <a:blip r:embed="rId55" cstate="print"/>
          <a:stretch>
            <a:fillRect/>
          </a:stretch>
        </p:blipFill>
        <p:spPr>
          <a:xfrm>
            <a:off x="732722" y="5825290"/>
            <a:ext cx="787527" cy="109728"/>
          </a:xfrm>
          <a:prstGeom prst="rect">
            <a:avLst/>
          </a:prstGeom>
        </p:spPr>
      </p:pic>
      <p:pic>
        <p:nvPicPr>
          <p:cNvPr id="213" name="object 210"/>
          <p:cNvPicPr/>
          <p:nvPr/>
        </p:nvPicPr>
        <p:blipFill>
          <a:blip r:embed="rId56" cstate="print"/>
          <a:stretch>
            <a:fillRect/>
          </a:stretch>
        </p:blipFill>
        <p:spPr>
          <a:xfrm>
            <a:off x="732722" y="5922826"/>
            <a:ext cx="1500124" cy="109728"/>
          </a:xfrm>
          <a:prstGeom prst="rect">
            <a:avLst/>
          </a:prstGeom>
        </p:spPr>
      </p:pic>
      <p:pic>
        <p:nvPicPr>
          <p:cNvPr id="214" name="object 211"/>
          <p:cNvPicPr/>
          <p:nvPr/>
        </p:nvPicPr>
        <p:blipFill>
          <a:blip r:embed="rId57" cstate="print"/>
          <a:stretch>
            <a:fillRect/>
          </a:stretch>
        </p:blipFill>
        <p:spPr>
          <a:xfrm>
            <a:off x="732722" y="6020362"/>
            <a:ext cx="276224" cy="109728"/>
          </a:xfrm>
          <a:prstGeom prst="rect">
            <a:avLst/>
          </a:prstGeom>
        </p:spPr>
      </p:pic>
      <p:grpSp>
        <p:nvGrpSpPr>
          <p:cNvPr id="218" name="object 215"/>
          <p:cNvGrpSpPr/>
          <p:nvPr/>
        </p:nvGrpSpPr>
        <p:grpSpPr>
          <a:xfrm>
            <a:off x="2360355" y="5529939"/>
            <a:ext cx="1522095" cy="561340"/>
            <a:chOff x="1879092" y="5671413"/>
            <a:chExt cx="1522095" cy="561340"/>
          </a:xfrm>
        </p:grpSpPr>
        <p:pic>
          <p:nvPicPr>
            <p:cNvPr id="219" name="object 216"/>
            <p:cNvPicPr/>
            <p:nvPr/>
          </p:nvPicPr>
          <p:blipFill>
            <a:blip r:embed="rId6" cstate="print"/>
            <a:stretch>
              <a:fillRect/>
            </a:stretch>
          </p:blipFill>
          <p:spPr>
            <a:xfrm>
              <a:off x="1879092" y="5671413"/>
              <a:ext cx="335280" cy="121919"/>
            </a:xfrm>
            <a:prstGeom prst="rect">
              <a:avLst/>
            </a:prstGeom>
          </p:spPr>
        </p:pic>
        <p:pic>
          <p:nvPicPr>
            <p:cNvPr id="220" name="object 217"/>
            <p:cNvPicPr/>
            <p:nvPr/>
          </p:nvPicPr>
          <p:blipFill>
            <a:blip r:embed="rId7" cstate="print"/>
            <a:stretch>
              <a:fillRect/>
            </a:stretch>
          </p:blipFill>
          <p:spPr>
            <a:xfrm>
              <a:off x="1879092" y="5781141"/>
              <a:ext cx="593217" cy="121919"/>
            </a:xfrm>
            <a:prstGeom prst="rect">
              <a:avLst/>
            </a:prstGeom>
          </p:spPr>
        </p:pic>
        <p:pic>
          <p:nvPicPr>
            <p:cNvPr id="221" name="object 218"/>
            <p:cNvPicPr/>
            <p:nvPr/>
          </p:nvPicPr>
          <p:blipFill>
            <a:blip r:embed="rId8" cstate="print"/>
            <a:stretch>
              <a:fillRect/>
            </a:stretch>
          </p:blipFill>
          <p:spPr>
            <a:xfrm>
              <a:off x="1879092" y="5890869"/>
              <a:ext cx="517283" cy="121919"/>
            </a:xfrm>
            <a:prstGeom prst="rect">
              <a:avLst/>
            </a:prstGeom>
          </p:spPr>
        </p:pic>
        <p:pic>
          <p:nvPicPr>
            <p:cNvPr id="222" name="object 219"/>
            <p:cNvPicPr/>
            <p:nvPr/>
          </p:nvPicPr>
          <p:blipFill>
            <a:blip r:embed="rId9" cstate="print"/>
            <a:stretch>
              <a:fillRect/>
            </a:stretch>
          </p:blipFill>
          <p:spPr>
            <a:xfrm>
              <a:off x="1879092" y="6000597"/>
              <a:ext cx="371856" cy="121920"/>
            </a:xfrm>
            <a:prstGeom prst="rect">
              <a:avLst/>
            </a:prstGeom>
          </p:spPr>
        </p:pic>
        <p:pic>
          <p:nvPicPr>
            <p:cNvPr id="223" name="object 220"/>
            <p:cNvPicPr/>
            <p:nvPr/>
          </p:nvPicPr>
          <p:blipFill>
            <a:blip r:embed="rId24" cstate="print"/>
            <a:stretch>
              <a:fillRect/>
            </a:stretch>
          </p:blipFill>
          <p:spPr>
            <a:xfrm>
              <a:off x="2599944" y="5671413"/>
              <a:ext cx="550329" cy="121919"/>
            </a:xfrm>
            <a:prstGeom prst="rect">
              <a:avLst/>
            </a:prstGeom>
          </p:spPr>
        </p:pic>
        <p:pic>
          <p:nvPicPr>
            <p:cNvPr id="224" name="object 221"/>
            <p:cNvPicPr/>
            <p:nvPr/>
          </p:nvPicPr>
          <p:blipFill>
            <a:blip r:embed="rId58" cstate="print"/>
            <a:stretch>
              <a:fillRect/>
            </a:stretch>
          </p:blipFill>
          <p:spPr>
            <a:xfrm>
              <a:off x="2599944" y="5781141"/>
              <a:ext cx="800734" cy="121919"/>
            </a:xfrm>
            <a:prstGeom prst="rect">
              <a:avLst/>
            </a:prstGeom>
          </p:spPr>
        </p:pic>
        <p:pic>
          <p:nvPicPr>
            <p:cNvPr id="225" name="object 222"/>
            <p:cNvPicPr/>
            <p:nvPr/>
          </p:nvPicPr>
          <p:blipFill>
            <a:blip r:embed="rId59" cstate="print"/>
            <a:stretch>
              <a:fillRect/>
            </a:stretch>
          </p:blipFill>
          <p:spPr>
            <a:xfrm>
              <a:off x="2599944" y="5890869"/>
              <a:ext cx="719886" cy="121919"/>
            </a:xfrm>
            <a:prstGeom prst="rect">
              <a:avLst/>
            </a:prstGeom>
          </p:spPr>
        </p:pic>
        <p:pic>
          <p:nvPicPr>
            <p:cNvPr id="226" name="object 223"/>
            <p:cNvPicPr/>
            <p:nvPr/>
          </p:nvPicPr>
          <p:blipFill>
            <a:blip r:embed="rId13" cstate="print"/>
            <a:stretch>
              <a:fillRect/>
            </a:stretch>
          </p:blipFill>
          <p:spPr>
            <a:xfrm>
              <a:off x="2599944" y="6000597"/>
              <a:ext cx="302894" cy="121920"/>
            </a:xfrm>
            <a:prstGeom prst="rect">
              <a:avLst/>
            </a:prstGeom>
          </p:spPr>
        </p:pic>
        <p:pic>
          <p:nvPicPr>
            <p:cNvPr id="227" name="object 224"/>
            <p:cNvPicPr/>
            <p:nvPr/>
          </p:nvPicPr>
          <p:blipFill>
            <a:blip r:embed="rId18" cstate="print"/>
            <a:stretch>
              <a:fillRect/>
            </a:stretch>
          </p:blipFill>
          <p:spPr>
            <a:xfrm>
              <a:off x="1879092" y="6110325"/>
              <a:ext cx="891539" cy="121920"/>
            </a:xfrm>
            <a:prstGeom prst="rect">
              <a:avLst/>
            </a:prstGeom>
          </p:spPr>
        </p:pic>
      </p:grpSp>
      <p:sp>
        <p:nvSpPr>
          <p:cNvPr id="228" name="object 225"/>
          <p:cNvSpPr txBox="1"/>
          <p:nvPr/>
        </p:nvSpPr>
        <p:spPr>
          <a:xfrm>
            <a:off x="547810" y="5705910"/>
            <a:ext cx="61594" cy="343535"/>
          </a:xfrm>
          <a:prstGeom prst="rect">
            <a:avLst/>
          </a:prstGeom>
        </p:spPr>
        <p:txBody>
          <a:bodyPr vert="horz" wrap="square" lIns="0" tIns="12700" rIns="0" bIns="0" rtlCol="0">
            <a:spAutoFit/>
          </a:bodyPr>
          <a:lstStyle/>
          <a:p>
            <a:pPr marL="12700">
              <a:spcBef>
                <a:spcPts val="100"/>
              </a:spcBef>
            </a:pPr>
            <a:r>
              <a:rPr sz="800" kern="0" dirty="0">
                <a:solidFill>
                  <a:srgbClr val="14315B"/>
                </a:solidFill>
                <a:latin typeface="Arial" panose="020B0604020202090204"/>
                <a:cs typeface="Arial" panose="020B0604020202090204"/>
              </a:rPr>
              <a:t>•</a:t>
            </a:r>
            <a:endParaRPr sz="800" kern="0">
              <a:solidFill>
                <a:sysClr val="windowText" lastClr="000000"/>
              </a:solidFill>
              <a:latin typeface="Arial" panose="020B0604020202090204"/>
              <a:cs typeface="Arial" panose="020B0604020202090204"/>
            </a:endParaRPr>
          </a:p>
          <a:p>
            <a:pPr marL="12700">
              <a:spcBef>
                <a:spcPts val="580"/>
              </a:spcBef>
            </a:pPr>
            <a:r>
              <a:rPr sz="800" kern="0" dirty="0">
                <a:solidFill>
                  <a:srgbClr val="14315B"/>
                </a:solidFill>
                <a:latin typeface="Arial" panose="020B0604020202090204"/>
                <a:cs typeface="Arial" panose="020B0604020202090204"/>
              </a:rPr>
              <a:t>•</a:t>
            </a:r>
            <a:endParaRPr sz="800" kern="0">
              <a:solidFill>
                <a:sysClr val="windowText" lastClr="000000"/>
              </a:solidFill>
              <a:latin typeface="Arial" panose="020B0604020202090204"/>
              <a:cs typeface="Arial" panose="020B0604020202090204"/>
            </a:endParaRPr>
          </a:p>
        </p:txBody>
      </p:sp>
      <p:sp>
        <p:nvSpPr>
          <p:cNvPr id="229" name="TextBox 228"/>
          <p:cNvSpPr txBox="1"/>
          <p:nvPr/>
        </p:nvSpPr>
        <p:spPr>
          <a:xfrm>
            <a:off x="687056" y="6464601"/>
            <a:ext cx="914400" cy="914400"/>
          </a:xfrm>
          <a:prstGeom prst="rect">
            <a:avLst/>
          </a:prstGeom>
        </p:spPr>
        <p:txBody>
          <a:bodyPr vert="horz" wrap="none" lIns="0" tIns="45720" rIns="91440" bIns="45720" rtlCol="0" anchor="ctr">
            <a:noAutofit/>
          </a:bodyPr>
          <a:lstStyle/>
          <a:p>
            <a:endParaRPr lang="en-ID" sz="1600" b="0" i="0" dirty="0">
              <a:solidFill>
                <a:schemeClr val="accent1"/>
              </a:solidFill>
              <a:latin typeface="Gotham Medium" charset="0"/>
              <a:ea typeface="Gotham Medium" charset="0"/>
              <a:cs typeface="Gotham Medium" charset="0"/>
            </a:endParaRPr>
          </a:p>
        </p:txBody>
      </p:sp>
      <p:sp>
        <p:nvSpPr>
          <p:cNvPr id="230" name="TextBox 229"/>
          <p:cNvSpPr txBox="1"/>
          <p:nvPr/>
        </p:nvSpPr>
        <p:spPr>
          <a:xfrm>
            <a:off x="744737" y="1316321"/>
            <a:ext cx="914400" cy="349731"/>
          </a:xfrm>
          <a:prstGeom prst="rect">
            <a:avLst/>
          </a:prstGeom>
        </p:spPr>
        <p:txBody>
          <a:bodyPr vert="horz" wrap="none" lIns="0" tIns="45720" rIns="91440" bIns="45720" rtlCol="0" anchor="ctr">
            <a:noAutofit/>
          </a:bodyPr>
          <a:lstStyle/>
          <a:p>
            <a:r>
              <a:rPr lang="en-US" sz="1400" b="0" i="0" dirty="0">
                <a:solidFill>
                  <a:schemeClr val="accent1"/>
                </a:solidFill>
                <a:latin typeface="GothamBook" pitchFamily="50" charset="0"/>
                <a:ea typeface="Gotham Medium" charset="0"/>
                <a:cs typeface="Gotham Medium" charset="0"/>
              </a:rPr>
              <a:t>Peers #1</a:t>
            </a:r>
            <a:endParaRPr lang="en-ID" sz="1400" b="0" i="0" dirty="0">
              <a:solidFill>
                <a:schemeClr val="accent1"/>
              </a:solidFill>
              <a:latin typeface="GothamBook" pitchFamily="50" charset="0"/>
              <a:ea typeface="Gotham Medium" charset="0"/>
              <a:cs typeface="Gotham Medium" charset="0"/>
            </a:endParaRPr>
          </a:p>
        </p:txBody>
      </p:sp>
      <p:sp>
        <p:nvSpPr>
          <p:cNvPr id="231" name="TextBox 230"/>
          <p:cNvSpPr txBox="1"/>
          <p:nvPr/>
        </p:nvSpPr>
        <p:spPr>
          <a:xfrm>
            <a:off x="2444517" y="1316448"/>
            <a:ext cx="914400" cy="349731"/>
          </a:xfrm>
          <a:prstGeom prst="rect">
            <a:avLst/>
          </a:prstGeom>
        </p:spPr>
        <p:txBody>
          <a:bodyPr vert="horz" wrap="none" lIns="0" tIns="45720" rIns="91440" bIns="45720" rtlCol="0" anchor="ctr">
            <a:noAutofit/>
          </a:bodyPr>
          <a:lstStyle/>
          <a:p>
            <a:r>
              <a:rPr lang="en-US" sz="1400" b="0" i="0" dirty="0">
                <a:solidFill>
                  <a:schemeClr val="accent1"/>
                </a:solidFill>
                <a:latin typeface="GothamBook" pitchFamily="50" charset="0"/>
                <a:ea typeface="Gotham Medium" charset="0"/>
                <a:cs typeface="Gotham Medium" charset="0"/>
              </a:rPr>
              <a:t>Peers #2</a:t>
            </a:r>
            <a:endParaRPr lang="en-ID" sz="1400" b="0" i="0" dirty="0">
              <a:solidFill>
                <a:schemeClr val="accent1"/>
              </a:solidFill>
              <a:latin typeface="GothamBook" pitchFamily="50" charset="0"/>
              <a:ea typeface="Gotham Medium" charset="0"/>
              <a:cs typeface="Gotham Medium" charset="0"/>
            </a:endParaRPr>
          </a:p>
        </p:txBody>
      </p:sp>
      <p:sp>
        <p:nvSpPr>
          <p:cNvPr id="232" name="TextBox 231"/>
          <p:cNvSpPr txBox="1"/>
          <p:nvPr/>
        </p:nvSpPr>
        <p:spPr>
          <a:xfrm>
            <a:off x="6108096" y="1140175"/>
            <a:ext cx="914400" cy="349731"/>
          </a:xfrm>
          <a:prstGeom prst="rect">
            <a:avLst/>
          </a:prstGeom>
        </p:spPr>
        <p:txBody>
          <a:bodyPr vert="horz" wrap="none" lIns="0" tIns="45720" rIns="91440" bIns="45720" rtlCol="0" anchor="ctr">
            <a:noAutofit/>
          </a:bodyPr>
          <a:lstStyle/>
          <a:p>
            <a:r>
              <a:rPr lang="en-US" sz="1400" b="0" i="0" dirty="0">
                <a:solidFill>
                  <a:schemeClr val="accent1"/>
                </a:solidFill>
                <a:latin typeface="GothamBook" pitchFamily="50" charset="0"/>
                <a:ea typeface="Gotham Medium" charset="0"/>
                <a:cs typeface="Gotham Medium" charset="0"/>
              </a:rPr>
              <a:t>Peers #3</a:t>
            </a:r>
            <a:endParaRPr lang="en-ID" sz="1400" b="0" i="0" dirty="0">
              <a:solidFill>
                <a:schemeClr val="accent1"/>
              </a:solidFill>
              <a:latin typeface="GothamBook" pitchFamily="50" charset="0"/>
              <a:ea typeface="Gotham Medium" charset="0"/>
              <a:cs typeface="Gotham Medium" charset="0"/>
            </a:endParaRPr>
          </a:p>
        </p:txBody>
      </p:sp>
      <p:sp>
        <p:nvSpPr>
          <p:cNvPr id="233" name="TextBox 232"/>
          <p:cNvSpPr txBox="1"/>
          <p:nvPr/>
        </p:nvSpPr>
        <p:spPr>
          <a:xfrm>
            <a:off x="682780" y="4430340"/>
            <a:ext cx="914400" cy="349731"/>
          </a:xfrm>
          <a:prstGeom prst="rect">
            <a:avLst/>
          </a:prstGeom>
        </p:spPr>
        <p:txBody>
          <a:bodyPr vert="horz" wrap="none" lIns="0" tIns="45720" rIns="91440" bIns="45720" rtlCol="0" anchor="ctr">
            <a:noAutofit/>
          </a:bodyPr>
          <a:lstStyle/>
          <a:p>
            <a:r>
              <a:rPr lang="en-US" sz="1400" b="0" i="0" dirty="0">
                <a:solidFill>
                  <a:schemeClr val="accent1"/>
                </a:solidFill>
                <a:latin typeface="GothamBook" pitchFamily="50" charset="0"/>
                <a:ea typeface="Gotham Medium" charset="0"/>
                <a:cs typeface="Gotham Medium" charset="0"/>
              </a:rPr>
              <a:t>Peers #4</a:t>
            </a:r>
            <a:endParaRPr lang="en-ID" sz="1400" b="0" i="0" dirty="0">
              <a:solidFill>
                <a:schemeClr val="accent1"/>
              </a:solidFill>
              <a:latin typeface="GothamBook" pitchFamily="50" charset="0"/>
              <a:ea typeface="Gotham Medium" charset="0"/>
              <a:cs typeface="Gotham Medium" charset="0"/>
            </a:endParaRPr>
          </a:p>
        </p:txBody>
      </p:sp>
      <p:sp>
        <p:nvSpPr>
          <p:cNvPr id="234" name="TextBox 233"/>
          <p:cNvSpPr txBox="1"/>
          <p:nvPr/>
        </p:nvSpPr>
        <p:spPr>
          <a:xfrm>
            <a:off x="2364764" y="5246435"/>
            <a:ext cx="914400" cy="349731"/>
          </a:xfrm>
          <a:prstGeom prst="rect">
            <a:avLst/>
          </a:prstGeom>
        </p:spPr>
        <p:txBody>
          <a:bodyPr vert="horz" wrap="none" lIns="0" tIns="45720" rIns="91440" bIns="45720" rtlCol="0" anchor="ctr">
            <a:noAutofit/>
          </a:bodyPr>
          <a:lstStyle/>
          <a:p>
            <a:r>
              <a:rPr lang="en-US" sz="1400" b="0" i="0" dirty="0">
                <a:solidFill>
                  <a:schemeClr val="accent1"/>
                </a:solidFill>
                <a:latin typeface="GothamBook" pitchFamily="50" charset="0"/>
                <a:ea typeface="Gotham Medium" charset="0"/>
                <a:cs typeface="Gotham Medium" charset="0"/>
              </a:rPr>
              <a:t>Peers #5</a:t>
            </a:r>
            <a:endParaRPr lang="en-ID" sz="1400" b="0" i="0" dirty="0">
              <a:solidFill>
                <a:schemeClr val="accent1"/>
              </a:solidFill>
              <a:latin typeface="GothamBook" pitchFamily="50" charset="0"/>
              <a:ea typeface="Gotham Medium" charset="0"/>
              <a:cs typeface="Gotham Medium" charset="0"/>
            </a:endParaRPr>
          </a:p>
        </p:txBody>
      </p:sp>
      <p:sp>
        <p:nvSpPr>
          <p:cNvPr id="235" name="TextBox 234"/>
          <p:cNvSpPr txBox="1"/>
          <p:nvPr/>
        </p:nvSpPr>
        <p:spPr>
          <a:xfrm>
            <a:off x="3970016" y="5182255"/>
            <a:ext cx="914400" cy="349731"/>
          </a:xfrm>
          <a:prstGeom prst="rect">
            <a:avLst/>
          </a:prstGeom>
        </p:spPr>
        <p:txBody>
          <a:bodyPr vert="horz" wrap="none" lIns="0" tIns="45720" rIns="91440" bIns="45720" rtlCol="0" anchor="ctr">
            <a:noAutofit/>
          </a:bodyPr>
          <a:lstStyle/>
          <a:p>
            <a:r>
              <a:rPr lang="en-US" sz="1400" b="0" i="0" dirty="0">
                <a:solidFill>
                  <a:schemeClr val="accent1"/>
                </a:solidFill>
                <a:latin typeface="GothamBook" pitchFamily="50" charset="0"/>
                <a:ea typeface="Gotham Medium" charset="0"/>
                <a:cs typeface="Gotham Medium" charset="0"/>
              </a:rPr>
              <a:t>Peers #6</a:t>
            </a:r>
            <a:endParaRPr lang="en-ID" sz="1400" b="0" i="0" dirty="0">
              <a:solidFill>
                <a:schemeClr val="accent1"/>
              </a:solidFill>
              <a:latin typeface="GothamBook" pitchFamily="50" charset="0"/>
              <a:ea typeface="Gotham Medium" charset="0"/>
              <a:cs typeface="Gotham Medium" charset="0"/>
            </a:endParaRPr>
          </a:p>
        </p:txBody>
      </p:sp>
      <p:sp>
        <p:nvSpPr>
          <p:cNvPr id="236" name="TextBox 235"/>
          <p:cNvSpPr txBox="1"/>
          <p:nvPr/>
        </p:nvSpPr>
        <p:spPr>
          <a:xfrm>
            <a:off x="5901635" y="5199435"/>
            <a:ext cx="914400" cy="349731"/>
          </a:xfrm>
          <a:prstGeom prst="rect">
            <a:avLst/>
          </a:prstGeom>
        </p:spPr>
        <p:txBody>
          <a:bodyPr vert="horz" wrap="none" lIns="0" tIns="45720" rIns="91440" bIns="45720" rtlCol="0" anchor="ctr">
            <a:noAutofit/>
          </a:bodyPr>
          <a:lstStyle/>
          <a:p>
            <a:r>
              <a:rPr lang="en-US" sz="1400" b="0" i="0" dirty="0">
                <a:solidFill>
                  <a:schemeClr val="accent1"/>
                </a:solidFill>
                <a:latin typeface="GothamBook" pitchFamily="50" charset="0"/>
                <a:ea typeface="Gotham Medium" charset="0"/>
                <a:cs typeface="Gotham Medium" charset="0"/>
              </a:rPr>
              <a:t>Peers #7</a:t>
            </a:r>
            <a:endParaRPr lang="en-ID" sz="1400" b="0" i="0" dirty="0">
              <a:solidFill>
                <a:schemeClr val="accent1"/>
              </a:solidFill>
              <a:latin typeface="GothamBook" pitchFamily="50" charset="0"/>
              <a:ea typeface="Gotham Medium" charset="0"/>
              <a:cs typeface="Gotham Medium" charset="0"/>
            </a:endParaRPr>
          </a:p>
        </p:txBody>
      </p:sp>
      <p:sp>
        <p:nvSpPr>
          <p:cNvPr id="237" name="TextBox 236"/>
          <p:cNvSpPr txBox="1"/>
          <p:nvPr/>
        </p:nvSpPr>
        <p:spPr>
          <a:xfrm>
            <a:off x="2124019" y="478280"/>
            <a:ext cx="7995608" cy="349731"/>
          </a:xfrm>
          <a:prstGeom prst="rect">
            <a:avLst/>
          </a:prstGeom>
        </p:spPr>
        <p:txBody>
          <a:bodyPr vert="horz" wrap="none" lIns="0" tIns="45720" rIns="91440" bIns="45720" rtlCol="0" anchor="ctr">
            <a:noAutofit/>
          </a:bodyPr>
          <a:lstStyle/>
          <a:p>
            <a:r>
              <a:rPr lang="en-US" sz="2800" b="1" i="0" dirty="0">
                <a:solidFill>
                  <a:schemeClr val="accent1"/>
                </a:solidFill>
                <a:latin typeface="GothamBold" pitchFamily="50" charset="0"/>
                <a:ea typeface="Gotham Medium" charset="0"/>
                <a:cs typeface="Gotham Medium" charset="0"/>
              </a:rPr>
              <a:t>2022</a:t>
            </a:r>
            <a:r>
              <a:rPr lang="zh-CN" altLang="en-US" sz="2800" b="1" i="0" dirty="0">
                <a:solidFill>
                  <a:schemeClr val="accent1"/>
                </a:solidFill>
                <a:latin typeface="GothamBold" pitchFamily="50" charset="0"/>
                <a:ea typeface="Gotham Medium" charset="0"/>
                <a:cs typeface="Gotham Medium" charset="0"/>
              </a:rPr>
              <a:t>年印度尼西亚商品分布图</a:t>
            </a:r>
            <a:r>
              <a:rPr lang="en-US" sz="2800" b="1" i="0" dirty="0">
                <a:solidFill>
                  <a:schemeClr val="accent1"/>
                </a:solidFill>
                <a:latin typeface="GothamBold" pitchFamily="50" charset="0"/>
                <a:ea typeface="Gotham Medium" charset="0"/>
                <a:cs typeface="Gotham Medium" charset="0"/>
              </a:rPr>
              <a:t> – </a:t>
            </a:r>
            <a:r>
              <a:rPr lang="zh-CN" altLang="en-US" sz="2800" b="1" i="0" dirty="0">
                <a:solidFill>
                  <a:schemeClr val="accent1"/>
                </a:solidFill>
                <a:latin typeface="GothamBold" pitchFamily="50" charset="0"/>
                <a:ea typeface="Gotham Medium" charset="0"/>
                <a:cs typeface="Gotham Medium" charset="0"/>
              </a:rPr>
              <a:t>铝土矿</a:t>
            </a:r>
            <a:r>
              <a:rPr lang="en-US" sz="2800" b="1" i="0" dirty="0">
                <a:solidFill>
                  <a:schemeClr val="accent1"/>
                </a:solidFill>
                <a:latin typeface="GothamBold" pitchFamily="50" charset="0"/>
                <a:ea typeface="Gotham Medium" charset="0"/>
                <a:cs typeface="Gotham Medium" charset="0"/>
              </a:rPr>
              <a:t> </a:t>
            </a:r>
            <a:endParaRPr lang="en-ID" sz="2800" b="1" i="0" dirty="0">
              <a:solidFill>
                <a:schemeClr val="accent1"/>
              </a:solidFill>
              <a:latin typeface="GothamBold" pitchFamily="50" charset="0"/>
              <a:ea typeface="Gotham Medium" charset="0"/>
              <a:cs typeface="Gotham Medium" charset="0"/>
            </a:endParaRPr>
          </a:p>
        </p:txBody>
      </p:sp>
      <p:sp>
        <p:nvSpPr>
          <p:cNvPr id="238" name="Rectangle: Rounded Corners 237"/>
          <p:cNvSpPr/>
          <p:nvPr/>
        </p:nvSpPr>
        <p:spPr>
          <a:xfrm>
            <a:off x="7987972" y="3056230"/>
            <a:ext cx="3832553" cy="89540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rgbClr val="FFFF00"/>
                </a:solidFill>
                <a:latin typeface="GothamBold" pitchFamily="50" charset="0"/>
              </a:rPr>
              <a:t>印度尼西亚总资源量</a:t>
            </a:r>
            <a:r>
              <a:rPr lang="en-US" sz="1400" b="1" dirty="0">
                <a:solidFill>
                  <a:srgbClr val="FFFF00"/>
                </a:solidFill>
                <a:latin typeface="GothamBold" pitchFamily="50" charset="0"/>
              </a:rPr>
              <a:t>: 66 </a:t>
            </a:r>
            <a:r>
              <a:rPr lang="zh-CN" altLang="en-US" sz="1400" b="1" dirty="0">
                <a:solidFill>
                  <a:srgbClr val="FFFF00"/>
                </a:solidFill>
                <a:latin typeface="GothamBold" pitchFamily="50" charset="0"/>
              </a:rPr>
              <a:t>亿吨</a:t>
            </a:r>
            <a:endParaRPr lang="en-US" sz="1400" b="1" dirty="0">
              <a:solidFill>
                <a:srgbClr val="FFFF00"/>
              </a:solidFill>
              <a:latin typeface="GothamBold" pitchFamily="50" charset="0"/>
            </a:endParaRPr>
          </a:p>
          <a:p>
            <a:pPr algn="ctr"/>
            <a:r>
              <a:rPr lang="zh-CN" altLang="en-US" sz="1400" b="1" dirty="0">
                <a:solidFill>
                  <a:srgbClr val="FFFF00"/>
                </a:solidFill>
                <a:latin typeface="GothamBold" pitchFamily="50" charset="0"/>
              </a:rPr>
              <a:t>印度尼西亚总储量</a:t>
            </a:r>
            <a:r>
              <a:rPr lang="en-US" sz="1400" b="1" dirty="0">
                <a:solidFill>
                  <a:srgbClr val="FFFF00"/>
                </a:solidFill>
                <a:latin typeface="GothamBold" pitchFamily="50" charset="0"/>
              </a:rPr>
              <a:t>: 32 </a:t>
            </a:r>
            <a:r>
              <a:rPr lang="zh-CN" altLang="en-US" sz="1400" b="1" dirty="0">
                <a:solidFill>
                  <a:srgbClr val="FFFF00"/>
                </a:solidFill>
                <a:latin typeface="GothamBold" pitchFamily="50" charset="0"/>
              </a:rPr>
              <a:t>亿吨</a:t>
            </a:r>
          </a:p>
        </p:txBody>
      </p:sp>
      <p:sp>
        <p:nvSpPr>
          <p:cNvPr id="241" name="Rectangle 240"/>
          <p:cNvSpPr/>
          <p:nvPr/>
        </p:nvSpPr>
        <p:spPr>
          <a:xfrm>
            <a:off x="4090556" y="964680"/>
            <a:ext cx="1871643" cy="1472692"/>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D">
              <a:solidFill>
                <a:srgbClr val="FCEAEA"/>
              </a:solidFill>
            </a:endParaRPr>
          </a:p>
        </p:txBody>
      </p:sp>
      <p:pic>
        <p:nvPicPr>
          <p:cNvPr id="2" name="图片 1" descr="截屏2024-05-09 15.16.44"/>
          <p:cNvPicPr>
            <a:picLocks noChangeAspect="1"/>
          </p:cNvPicPr>
          <p:nvPr/>
        </p:nvPicPr>
        <p:blipFill>
          <a:blip r:embed="rId60"/>
          <a:stretch>
            <a:fillRect/>
          </a:stretch>
        </p:blipFill>
        <p:spPr>
          <a:xfrm>
            <a:off x="548005" y="924560"/>
            <a:ext cx="7369810" cy="5200015"/>
          </a:xfrm>
          <a:prstGeom prst="rect">
            <a:avLst/>
          </a:prstGeom>
        </p:spPr>
      </p:pic>
      <p:sp>
        <p:nvSpPr>
          <p:cNvPr id="8" name="Footer Placeholder 2"/>
          <p:cNvSpPr>
            <a:spLocks noGrp="1"/>
          </p:cNvSpPr>
          <p:nvPr>
            <p:ph type="ftr" sz="quarter" idx="11"/>
            <p:custDataLst>
              <p:tags r:id="rId1"/>
            </p:custDataLst>
          </p:nvPr>
        </p:nvSpPr>
        <p:spPr>
          <a:xfrm>
            <a:off x="335280" y="6490970"/>
            <a:ext cx="8422005"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noProof="0">
                <a:ln>
                  <a:noFill/>
                </a:ln>
                <a:solidFill>
                  <a:srgbClr val="FFFFFF">
                    <a:lumMod val="50000"/>
                  </a:srgbClr>
                </a:solidFill>
                <a:effectLst/>
                <a:uLnTx/>
                <a:uFillTx/>
              </a:rPr>
              <a:t>本PPT由MIND.ID公司专门撰写。未经MIND.ID公司书面同意，本PPT的内容不能以任何形式使用、复制或传播。MIND.ID公司保留所有权利</a:t>
            </a:r>
            <a:r>
              <a:rPr lang="zh-CN" altLang="en-US" sz="900" noProof="0">
                <a:ln>
                  <a:noFill/>
                </a:ln>
                <a:solidFill>
                  <a:srgbClr val="FFFFFF">
                    <a:lumMod val="50000"/>
                  </a:srgbClr>
                </a:solidFill>
                <a:effectLst/>
                <a:uLnTx/>
                <a:uFillTx/>
              </a:rPr>
              <a:t>。</a:t>
            </a:r>
            <a:endParaRPr kumimoji="0" lang="zh-CN" altLang="en-US" sz="900" b="0" i="0" u="none" strike="noStrike" kern="1200" cap="none" spc="0" normalizeH="0" baseline="0" noProof="0" dirty="0">
              <a:ln>
                <a:noFill/>
              </a:ln>
              <a:solidFill>
                <a:srgbClr val="FFFFFF">
                  <a:lumMod val="50000"/>
                </a:srgbClr>
              </a:solidFill>
              <a:effectLst/>
              <a:uLnTx/>
              <a:uFillTx/>
              <a:latin typeface="Gotham Book" charset="0"/>
              <a:ea typeface="Gotham Book" charset="0"/>
              <a:cs typeface="Gotham Book"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r>
              <a:rPr lang="id-ID"/>
              <a:t>|          </a:t>
            </a:r>
            <a:fld id="{7904F5B5-DD6E-6442-8C14-4BFE420CE974}" type="slidenum">
              <a:rPr lang="id-ID" smtClean="0"/>
              <a:t>8</a:t>
            </a:fld>
            <a:endParaRPr lang="id-ID"/>
          </a:p>
        </p:txBody>
      </p:sp>
      <p:pic>
        <p:nvPicPr>
          <p:cNvPr id="5" name="object 2"/>
          <p:cNvPicPr/>
          <p:nvPr/>
        </p:nvPicPr>
        <p:blipFill>
          <a:blip r:embed="rId5" cstate="print"/>
          <a:stretch>
            <a:fillRect/>
          </a:stretch>
        </p:blipFill>
        <p:spPr>
          <a:xfrm>
            <a:off x="752792" y="2297059"/>
            <a:ext cx="11000359" cy="4372483"/>
          </a:xfrm>
          <a:prstGeom prst="rect">
            <a:avLst/>
          </a:prstGeom>
        </p:spPr>
      </p:pic>
      <p:grpSp>
        <p:nvGrpSpPr>
          <p:cNvPr id="25" name="object 22"/>
          <p:cNvGrpSpPr/>
          <p:nvPr/>
        </p:nvGrpSpPr>
        <p:grpSpPr>
          <a:xfrm>
            <a:off x="1572767" y="1991306"/>
            <a:ext cx="2794000" cy="1524635"/>
            <a:chOff x="1572767" y="2063495"/>
            <a:chExt cx="2794000" cy="1524635"/>
          </a:xfrm>
        </p:grpSpPr>
        <p:sp>
          <p:nvSpPr>
            <p:cNvPr id="26" name="object 23"/>
            <p:cNvSpPr/>
            <p:nvPr/>
          </p:nvSpPr>
          <p:spPr>
            <a:xfrm>
              <a:off x="1572767" y="2063495"/>
              <a:ext cx="2486025" cy="1367155"/>
            </a:xfrm>
            <a:custGeom>
              <a:avLst/>
              <a:gdLst/>
              <a:ahLst/>
              <a:cxnLst/>
              <a:rect l="l" t="t" r="r" b="b"/>
              <a:pathLst>
                <a:path w="2486025" h="1367154">
                  <a:moveTo>
                    <a:pt x="2257806" y="0"/>
                  </a:moveTo>
                  <a:lnTo>
                    <a:pt x="227837" y="0"/>
                  </a:lnTo>
                  <a:lnTo>
                    <a:pt x="181913" y="4627"/>
                  </a:lnTo>
                  <a:lnTo>
                    <a:pt x="139142" y="17901"/>
                  </a:lnTo>
                  <a:lnTo>
                    <a:pt x="100440" y="38904"/>
                  </a:lnTo>
                  <a:lnTo>
                    <a:pt x="66722" y="66722"/>
                  </a:lnTo>
                  <a:lnTo>
                    <a:pt x="38904" y="100440"/>
                  </a:lnTo>
                  <a:lnTo>
                    <a:pt x="17901" y="139142"/>
                  </a:lnTo>
                  <a:lnTo>
                    <a:pt x="4627" y="181913"/>
                  </a:lnTo>
                  <a:lnTo>
                    <a:pt x="0" y="227837"/>
                  </a:lnTo>
                  <a:lnTo>
                    <a:pt x="0" y="1139189"/>
                  </a:lnTo>
                  <a:lnTo>
                    <a:pt x="4627" y="1185114"/>
                  </a:lnTo>
                  <a:lnTo>
                    <a:pt x="17901" y="1227885"/>
                  </a:lnTo>
                  <a:lnTo>
                    <a:pt x="38904" y="1266587"/>
                  </a:lnTo>
                  <a:lnTo>
                    <a:pt x="66722" y="1300305"/>
                  </a:lnTo>
                  <a:lnTo>
                    <a:pt x="100440" y="1328123"/>
                  </a:lnTo>
                  <a:lnTo>
                    <a:pt x="139142" y="1349126"/>
                  </a:lnTo>
                  <a:lnTo>
                    <a:pt x="181913" y="1362400"/>
                  </a:lnTo>
                  <a:lnTo>
                    <a:pt x="227837" y="1367027"/>
                  </a:lnTo>
                  <a:lnTo>
                    <a:pt x="2257806" y="1367027"/>
                  </a:lnTo>
                  <a:lnTo>
                    <a:pt x="2303730" y="1362400"/>
                  </a:lnTo>
                  <a:lnTo>
                    <a:pt x="2346501" y="1349126"/>
                  </a:lnTo>
                  <a:lnTo>
                    <a:pt x="2385203" y="1328123"/>
                  </a:lnTo>
                  <a:lnTo>
                    <a:pt x="2418921" y="1300305"/>
                  </a:lnTo>
                  <a:lnTo>
                    <a:pt x="2446739" y="1266587"/>
                  </a:lnTo>
                  <a:lnTo>
                    <a:pt x="2467742" y="1227885"/>
                  </a:lnTo>
                  <a:lnTo>
                    <a:pt x="2481016" y="1185114"/>
                  </a:lnTo>
                  <a:lnTo>
                    <a:pt x="2485644" y="1139189"/>
                  </a:lnTo>
                  <a:lnTo>
                    <a:pt x="2485644" y="227837"/>
                  </a:lnTo>
                  <a:lnTo>
                    <a:pt x="2481016" y="181913"/>
                  </a:lnTo>
                  <a:lnTo>
                    <a:pt x="2467742" y="139142"/>
                  </a:lnTo>
                  <a:lnTo>
                    <a:pt x="2446739" y="100440"/>
                  </a:lnTo>
                  <a:lnTo>
                    <a:pt x="2418921" y="66722"/>
                  </a:lnTo>
                  <a:lnTo>
                    <a:pt x="2385203" y="38904"/>
                  </a:lnTo>
                  <a:lnTo>
                    <a:pt x="2346501" y="17901"/>
                  </a:lnTo>
                  <a:lnTo>
                    <a:pt x="2303730" y="4627"/>
                  </a:lnTo>
                  <a:lnTo>
                    <a:pt x="2257806" y="0"/>
                  </a:lnTo>
                  <a:close/>
                </a:path>
              </a:pathLst>
            </a:custGeom>
            <a:solidFill>
              <a:srgbClr val="D5DCE4">
                <a:alpha val="79998"/>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27" name="object 24"/>
            <p:cNvPicPr/>
            <p:nvPr/>
          </p:nvPicPr>
          <p:blipFill>
            <a:blip r:embed="rId6" cstate="print"/>
            <a:stretch>
              <a:fillRect/>
            </a:stretch>
          </p:blipFill>
          <p:spPr>
            <a:xfrm>
              <a:off x="2315590" y="2188413"/>
              <a:ext cx="373075" cy="142036"/>
            </a:xfrm>
            <a:prstGeom prst="rect">
              <a:avLst/>
            </a:prstGeom>
          </p:spPr>
        </p:pic>
        <p:sp>
          <p:nvSpPr>
            <p:cNvPr id="28" name="object 25"/>
            <p:cNvSpPr/>
            <p:nvPr/>
          </p:nvSpPr>
          <p:spPr>
            <a:xfrm>
              <a:off x="2315336" y="2310002"/>
              <a:ext cx="1001394" cy="6350"/>
            </a:xfrm>
            <a:custGeom>
              <a:avLst/>
              <a:gdLst/>
              <a:ahLst/>
              <a:cxnLst/>
              <a:rect l="l" t="t" r="r" b="b"/>
              <a:pathLst>
                <a:path w="1001395" h="6350">
                  <a:moveTo>
                    <a:pt x="1001267" y="0"/>
                  </a:moveTo>
                  <a:lnTo>
                    <a:pt x="0" y="0"/>
                  </a:lnTo>
                  <a:lnTo>
                    <a:pt x="0" y="6096"/>
                  </a:lnTo>
                  <a:lnTo>
                    <a:pt x="1001267" y="6096"/>
                  </a:lnTo>
                  <a:lnTo>
                    <a:pt x="1001267" y="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29" name="object 26"/>
            <p:cNvPicPr/>
            <p:nvPr/>
          </p:nvPicPr>
          <p:blipFill>
            <a:blip r:embed="rId7" cstate="print"/>
            <a:stretch>
              <a:fillRect/>
            </a:stretch>
          </p:blipFill>
          <p:spPr>
            <a:xfrm>
              <a:off x="2649346" y="2188413"/>
              <a:ext cx="723468" cy="142036"/>
            </a:xfrm>
            <a:prstGeom prst="rect">
              <a:avLst/>
            </a:prstGeom>
          </p:spPr>
        </p:pic>
        <p:pic>
          <p:nvPicPr>
            <p:cNvPr id="30" name="object 27"/>
            <p:cNvPicPr/>
            <p:nvPr/>
          </p:nvPicPr>
          <p:blipFill>
            <a:blip r:embed="rId8" cstate="print"/>
            <a:stretch>
              <a:fillRect/>
            </a:stretch>
          </p:blipFill>
          <p:spPr>
            <a:xfrm>
              <a:off x="1731898" y="2405125"/>
              <a:ext cx="471487" cy="137160"/>
            </a:xfrm>
            <a:prstGeom prst="rect">
              <a:avLst/>
            </a:prstGeom>
          </p:spPr>
        </p:pic>
        <p:pic>
          <p:nvPicPr>
            <p:cNvPr id="31" name="object 28"/>
            <p:cNvPicPr/>
            <p:nvPr/>
          </p:nvPicPr>
          <p:blipFill>
            <a:blip r:embed="rId9" cstate="print"/>
            <a:stretch>
              <a:fillRect/>
            </a:stretch>
          </p:blipFill>
          <p:spPr>
            <a:xfrm>
              <a:off x="2646298" y="2405125"/>
              <a:ext cx="584606" cy="137160"/>
            </a:xfrm>
            <a:prstGeom prst="rect">
              <a:avLst/>
            </a:prstGeom>
          </p:spPr>
        </p:pic>
        <p:pic>
          <p:nvPicPr>
            <p:cNvPr id="32" name="object 29"/>
            <p:cNvPicPr/>
            <p:nvPr/>
          </p:nvPicPr>
          <p:blipFill>
            <a:blip r:embed="rId10" cstate="print"/>
            <a:stretch>
              <a:fillRect/>
            </a:stretch>
          </p:blipFill>
          <p:spPr>
            <a:xfrm>
              <a:off x="3189096" y="2405125"/>
              <a:ext cx="290575" cy="137160"/>
            </a:xfrm>
            <a:prstGeom prst="rect">
              <a:avLst/>
            </a:prstGeom>
          </p:spPr>
        </p:pic>
        <p:pic>
          <p:nvPicPr>
            <p:cNvPr id="33" name="object 30"/>
            <p:cNvPicPr/>
            <p:nvPr/>
          </p:nvPicPr>
          <p:blipFill>
            <a:blip r:embed="rId11" cstate="print"/>
            <a:stretch>
              <a:fillRect/>
            </a:stretch>
          </p:blipFill>
          <p:spPr>
            <a:xfrm>
              <a:off x="1731898" y="2542285"/>
              <a:ext cx="536790" cy="137160"/>
            </a:xfrm>
            <a:prstGeom prst="rect">
              <a:avLst/>
            </a:prstGeom>
          </p:spPr>
        </p:pic>
        <p:pic>
          <p:nvPicPr>
            <p:cNvPr id="34" name="object 31"/>
            <p:cNvPicPr/>
            <p:nvPr/>
          </p:nvPicPr>
          <p:blipFill>
            <a:blip r:embed="rId12" cstate="print"/>
            <a:stretch>
              <a:fillRect/>
            </a:stretch>
          </p:blipFill>
          <p:spPr>
            <a:xfrm>
              <a:off x="2646298" y="2542285"/>
              <a:ext cx="645299" cy="137160"/>
            </a:xfrm>
            <a:prstGeom prst="rect">
              <a:avLst/>
            </a:prstGeom>
          </p:spPr>
        </p:pic>
        <p:pic>
          <p:nvPicPr>
            <p:cNvPr id="35" name="object 32"/>
            <p:cNvPicPr/>
            <p:nvPr/>
          </p:nvPicPr>
          <p:blipFill>
            <a:blip r:embed="rId10" cstate="print"/>
            <a:stretch>
              <a:fillRect/>
            </a:stretch>
          </p:blipFill>
          <p:spPr>
            <a:xfrm>
              <a:off x="3248532" y="2542285"/>
              <a:ext cx="290576" cy="137160"/>
            </a:xfrm>
            <a:prstGeom prst="rect">
              <a:avLst/>
            </a:prstGeom>
          </p:spPr>
        </p:pic>
        <p:pic>
          <p:nvPicPr>
            <p:cNvPr id="36" name="object 33"/>
            <p:cNvPicPr/>
            <p:nvPr/>
          </p:nvPicPr>
          <p:blipFill>
            <a:blip r:embed="rId13" cstate="print"/>
            <a:stretch>
              <a:fillRect/>
            </a:stretch>
          </p:blipFill>
          <p:spPr>
            <a:xfrm>
              <a:off x="2559430" y="2813557"/>
              <a:ext cx="570992" cy="141732"/>
            </a:xfrm>
            <a:prstGeom prst="rect">
              <a:avLst/>
            </a:prstGeom>
          </p:spPr>
        </p:pic>
        <p:sp>
          <p:nvSpPr>
            <p:cNvPr id="37" name="object 34"/>
            <p:cNvSpPr/>
            <p:nvPr/>
          </p:nvSpPr>
          <p:spPr>
            <a:xfrm>
              <a:off x="2559176" y="2934842"/>
              <a:ext cx="513715" cy="6350"/>
            </a:xfrm>
            <a:custGeom>
              <a:avLst/>
              <a:gdLst/>
              <a:ahLst/>
              <a:cxnLst/>
              <a:rect l="l" t="t" r="r" b="b"/>
              <a:pathLst>
                <a:path w="513714" h="6350">
                  <a:moveTo>
                    <a:pt x="513588" y="0"/>
                  </a:moveTo>
                  <a:lnTo>
                    <a:pt x="0" y="0"/>
                  </a:lnTo>
                  <a:lnTo>
                    <a:pt x="0" y="6096"/>
                  </a:lnTo>
                  <a:lnTo>
                    <a:pt x="513588" y="6096"/>
                  </a:lnTo>
                  <a:lnTo>
                    <a:pt x="513588" y="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38" name="object 35"/>
            <p:cNvPicPr/>
            <p:nvPr/>
          </p:nvPicPr>
          <p:blipFill>
            <a:blip r:embed="rId14" cstate="print"/>
            <a:stretch>
              <a:fillRect/>
            </a:stretch>
          </p:blipFill>
          <p:spPr>
            <a:xfrm>
              <a:off x="1731898" y="3029965"/>
              <a:ext cx="584200" cy="137160"/>
            </a:xfrm>
            <a:prstGeom prst="rect">
              <a:avLst/>
            </a:prstGeom>
          </p:spPr>
        </p:pic>
        <p:pic>
          <p:nvPicPr>
            <p:cNvPr id="39" name="object 36"/>
            <p:cNvPicPr/>
            <p:nvPr/>
          </p:nvPicPr>
          <p:blipFill>
            <a:blip r:embed="rId15" cstate="print"/>
            <a:stretch>
              <a:fillRect/>
            </a:stretch>
          </p:blipFill>
          <p:spPr>
            <a:xfrm>
              <a:off x="2646298" y="3029965"/>
              <a:ext cx="362712" cy="137160"/>
            </a:xfrm>
            <a:prstGeom prst="rect">
              <a:avLst/>
            </a:prstGeom>
          </p:spPr>
        </p:pic>
        <p:pic>
          <p:nvPicPr>
            <p:cNvPr id="40" name="object 37"/>
            <p:cNvPicPr/>
            <p:nvPr/>
          </p:nvPicPr>
          <p:blipFill>
            <a:blip r:embed="rId16" cstate="print"/>
            <a:stretch>
              <a:fillRect/>
            </a:stretch>
          </p:blipFill>
          <p:spPr>
            <a:xfrm>
              <a:off x="1731898" y="3167125"/>
              <a:ext cx="873506" cy="137160"/>
            </a:xfrm>
            <a:prstGeom prst="rect">
              <a:avLst/>
            </a:prstGeom>
          </p:spPr>
        </p:pic>
        <p:pic>
          <p:nvPicPr>
            <p:cNvPr id="41" name="object 38"/>
            <p:cNvPicPr/>
            <p:nvPr/>
          </p:nvPicPr>
          <p:blipFill>
            <a:blip r:embed="rId17" cstate="print"/>
            <a:stretch>
              <a:fillRect/>
            </a:stretch>
          </p:blipFill>
          <p:spPr>
            <a:xfrm>
              <a:off x="2646298" y="3167125"/>
              <a:ext cx="971003" cy="137160"/>
            </a:xfrm>
            <a:prstGeom prst="rect">
              <a:avLst/>
            </a:prstGeom>
          </p:spPr>
        </p:pic>
        <p:pic>
          <p:nvPicPr>
            <p:cNvPr id="42" name="object 39"/>
            <p:cNvPicPr/>
            <p:nvPr/>
          </p:nvPicPr>
          <p:blipFill>
            <a:blip r:embed="rId18" cstate="print"/>
            <a:stretch>
              <a:fillRect/>
            </a:stretch>
          </p:blipFill>
          <p:spPr>
            <a:xfrm>
              <a:off x="3565525" y="3167125"/>
              <a:ext cx="193039" cy="137160"/>
            </a:xfrm>
            <a:prstGeom prst="rect">
              <a:avLst/>
            </a:prstGeom>
          </p:spPr>
        </p:pic>
        <p:sp>
          <p:nvSpPr>
            <p:cNvPr id="43" name="object 40"/>
            <p:cNvSpPr/>
            <p:nvPr/>
          </p:nvSpPr>
          <p:spPr>
            <a:xfrm>
              <a:off x="4058411" y="2747771"/>
              <a:ext cx="304800" cy="836930"/>
            </a:xfrm>
            <a:custGeom>
              <a:avLst/>
              <a:gdLst/>
              <a:ahLst/>
              <a:cxnLst/>
              <a:rect l="l" t="t" r="r" b="b"/>
              <a:pathLst>
                <a:path w="304800" h="836929">
                  <a:moveTo>
                    <a:pt x="0" y="0"/>
                  </a:moveTo>
                  <a:lnTo>
                    <a:pt x="304800" y="0"/>
                  </a:lnTo>
                  <a:lnTo>
                    <a:pt x="304800" y="836676"/>
                  </a:lnTo>
                </a:path>
              </a:pathLst>
            </a:custGeom>
            <a:ln w="6350">
              <a:solidFill>
                <a:srgbClr val="001F5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grpSp>
      <p:sp>
        <p:nvSpPr>
          <p:cNvPr id="132" name="object 129"/>
          <p:cNvSpPr txBox="1"/>
          <p:nvPr/>
        </p:nvSpPr>
        <p:spPr>
          <a:xfrm>
            <a:off x="7556372" y="4317312"/>
            <a:ext cx="66040" cy="1122680"/>
          </a:xfrm>
          <a:prstGeom prst="rect">
            <a:avLst/>
          </a:prstGeom>
        </p:spPr>
        <p:txBody>
          <a:bodyPr vert="horz" wrap="square" lIns="0" tIns="12700" rIns="0" bIns="0" rtlCol="0">
            <a:spAutoFit/>
          </a:bodyPr>
          <a:lstStyle/>
          <a:p>
            <a:pPr marL="12700">
              <a:spcBef>
                <a:spcPts val="100"/>
              </a:spcBef>
            </a:pPr>
            <a:r>
              <a:rPr sz="900" kern="0" spc="-50" dirty="0">
                <a:solidFill>
                  <a:srgbClr val="001F5F"/>
                </a:solidFill>
                <a:latin typeface="Arial" panose="020B0604020202090204"/>
                <a:cs typeface="Arial" panose="020B0604020202090204"/>
              </a:rPr>
              <a:t>•</a:t>
            </a:r>
            <a:endParaRPr sz="900" kern="0">
              <a:solidFill>
                <a:sysClr val="windowText" lastClr="000000"/>
              </a:solidFill>
              <a:latin typeface="Arial" panose="020B0604020202090204"/>
              <a:cs typeface="Arial" panose="020B0604020202090204"/>
            </a:endParaRPr>
          </a:p>
          <a:p>
            <a:pPr marL="12700"/>
            <a:r>
              <a:rPr sz="900" kern="0" spc="-50" dirty="0">
                <a:solidFill>
                  <a:srgbClr val="001F5F"/>
                </a:solidFill>
                <a:latin typeface="Arial" panose="020B0604020202090204"/>
                <a:cs typeface="Arial" panose="020B0604020202090204"/>
              </a:rPr>
              <a:t>•</a:t>
            </a:r>
            <a:endParaRPr sz="900" kern="0">
              <a:solidFill>
                <a:sysClr val="windowText" lastClr="000000"/>
              </a:solidFill>
              <a:latin typeface="Arial" panose="020B0604020202090204"/>
              <a:cs typeface="Arial" panose="020B0604020202090204"/>
            </a:endParaRPr>
          </a:p>
          <a:p>
            <a:pPr marL="12700"/>
            <a:r>
              <a:rPr sz="900" kern="0" spc="-50" dirty="0">
                <a:solidFill>
                  <a:srgbClr val="001F5F"/>
                </a:solidFill>
                <a:latin typeface="Arial" panose="020B0604020202090204"/>
                <a:cs typeface="Arial" panose="020B0604020202090204"/>
              </a:rPr>
              <a:t>•</a:t>
            </a:r>
            <a:endParaRPr sz="900" kern="0">
              <a:solidFill>
                <a:sysClr val="windowText" lastClr="000000"/>
              </a:solidFill>
              <a:latin typeface="Arial" panose="020B0604020202090204"/>
              <a:cs typeface="Arial" panose="020B0604020202090204"/>
            </a:endParaRPr>
          </a:p>
          <a:p>
            <a:endParaRPr sz="900" kern="0">
              <a:solidFill>
                <a:sysClr val="windowText" lastClr="000000"/>
              </a:solidFill>
              <a:latin typeface="Arial" panose="020B0604020202090204"/>
              <a:cs typeface="Arial" panose="020B0604020202090204"/>
            </a:endParaRPr>
          </a:p>
          <a:p>
            <a:pPr>
              <a:spcBef>
                <a:spcPts val="90"/>
              </a:spcBef>
            </a:pPr>
            <a:endParaRPr sz="900" kern="0">
              <a:solidFill>
                <a:sysClr val="windowText" lastClr="000000"/>
              </a:solidFill>
              <a:latin typeface="Arial" panose="020B0604020202090204"/>
              <a:cs typeface="Arial" panose="020B0604020202090204"/>
            </a:endParaRPr>
          </a:p>
          <a:p>
            <a:pPr marL="12700"/>
            <a:r>
              <a:rPr sz="900" kern="0" spc="-50" dirty="0">
                <a:solidFill>
                  <a:srgbClr val="001F5F"/>
                </a:solidFill>
                <a:latin typeface="Arial" panose="020B0604020202090204"/>
                <a:cs typeface="Arial" panose="020B0604020202090204"/>
              </a:rPr>
              <a:t>•</a:t>
            </a:r>
            <a:endParaRPr sz="900" kern="0">
              <a:solidFill>
                <a:sysClr val="windowText" lastClr="000000"/>
              </a:solidFill>
              <a:latin typeface="Arial" panose="020B0604020202090204"/>
              <a:cs typeface="Arial" panose="020B0604020202090204"/>
            </a:endParaRPr>
          </a:p>
          <a:p>
            <a:pPr marL="12700"/>
            <a:r>
              <a:rPr sz="900" kern="0" spc="-50" dirty="0">
                <a:solidFill>
                  <a:srgbClr val="001F5F"/>
                </a:solidFill>
                <a:latin typeface="Arial" panose="020B0604020202090204"/>
                <a:cs typeface="Arial" panose="020B0604020202090204"/>
              </a:rPr>
              <a:t>•</a:t>
            </a:r>
            <a:endParaRPr sz="900" kern="0">
              <a:solidFill>
                <a:sysClr val="windowText" lastClr="000000"/>
              </a:solidFill>
              <a:latin typeface="Arial" panose="020B0604020202090204"/>
              <a:cs typeface="Arial" panose="020B0604020202090204"/>
            </a:endParaRPr>
          </a:p>
          <a:p>
            <a:pPr marL="12700"/>
            <a:r>
              <a:rPr sz="900" kern="0" spc="-50" dirty="0">
                <a:solidFill>
                  <a:srgbClr val="001F5F"/>
                </a:solidFill>
                <a:latin typeface="Arial" panose="020B0604020202090204"/>
                <a:cs typeface="Arial" panose="020B0604020202090204"/>
              </a:rPr>
              <a:t>•</a:t>
            </a:r>
            <a:endParaRPr sz="900" kern="0">
              <a:solidFill>
                <a:sysClr val="windowText" lastClr="000000"/>
              </a:solidFill>
              <a:latin typeface="Arial" panose="020B0604020202090204"/>
              <a:cs typeface="Arial" panose="020B0604020202090204"/>
            </a:endParaRPr>
          </a:p>
        </p:txBody>
      </p:sp>
      <p:graphicFrame>
        <p:nvGraphicFramePr>
          <p:cNvPr id="133" name="object 130"/>
          <p:cNvGraphicFramePr>
            <a:graphicFrameLocks noGrp="1"/>
          </p:cNvGraphicFramePr>
          <p:nvPr/>
        </p:nvGraphicFramePr>
        <p:xfrm>
          <a:off x="328612" y="6027100"/>
          <a:ext cx="1803400" cy="514350"/>
        </p:xfrm>
        <a:graphic>
          <a:graphicData uri="http://schemas.openxmlformats.org/drawingml/2006/table">
            <a:tbl>
              <a:tblPr firstRow="1" bandRow="1"/>
              <a:tblGrid>
                <a:gridCol w="321945">
                  <a:extLst>
                    <a:ext uri="{9D8B030D-6E8A-4147-A177-3AD203B41FA5}">
                      <a16:colId xmlns:a16="http://schemas.microsoft.com/office/drawing/2014/main" val="20000"/>
                    </a:ext>
                  </a:extLst>
                </a:gridCol>
                <a:gridCol w="1481455">
                  <a:extLst>
                    <a:ext uri="{9D8B030D-6E8A-4147-A177-3AD203B41FA5}">
                      <a16:colId xmlns:a16="http://schemas.microsoft.com/office/drawing/2014/main" val="20001"/>
                    </a:ext>
                  </a:extLst>
                </a:gridCol>
              </a:tblGrid>
              <a:tr h="25717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900">
                        <a:latin typeface="Times New Roman" panose="02020503050405090304"/>
                        <a:cs typeface="Times New Roman" panose="02020503050405090304"/>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lnTlToBr w="12700" cmpd="sng">
                      <a:noFill/>
                      <a:prstDash val="solid"/>
                    </a:lnTlToBr>
                    <a:lnBlToTr w="12700" cmpd="sng">
                      <a:noFill/>
                      <a:prstDash val="solid"/>
                    </a:lnBlToTr>
                    <a:solidFill>
                      <a:srgbClr val="D5DCE4"/>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900">
                        <a:latin typeface="Times New Roman" panose="02020503050405090304"/>
                        <a:cs typeface="Times New Roman" panose="02020503050405090304"/>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5717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900">
                        <a:latin typeface="Times New Roman" panose="02020503050405090304"/>
                        <a:cs typeface="Times New Roman" panose="02020503050405090304"/>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lnTlToBr w="12700" cmpd="sng">
                      <a:noFill/>
                      <a:prstDash val="solid"/>
                    </a:lnTlToBr>
                    <a:lnBlToTr w="12700" cmpd="sng">
                      <a:noFill/>
                      <a:prstDash val="solid"/>
                    </a:lnBlToTr>
                    <a:solidFill>
                      <a:srgbClr val="2EAB90">
                        <a:alpha val="59999"/>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nSpc>
                          <a:spcPct val="100000"/>
                        </a:lnSpc>
                      </a:pPr>
                      <a:endParaRPr sz="900">
                        <a:latin typeface="Times New Roman" panose="02020503050405090304"/>
                        <a:cs typeface="Times New Roman" panose="02020503050405090304"/>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pic>
        <p:nvPicPr>
          <p:cNvPr id="134" name="object 131"/>
          <p:cNvPicPr/>
          <p:nvPr/>
        </p:nvPicPr>
        <p:blipFill>
          <a:blip r:embed="rId19" cstate="print"/>
          <a:stretch>
            <a:fillRect/>
          </a:stretch>
        </p:blipFill>
        <p:spPr>
          <a:xfrm>
            <a:off x="748283" y="6087209"/>
            <a:ext cx="594360" cy="152400"/>
          </a:xfrm>
          <a:prstGeom prst="rect">
            <a:avLst/>
          </a:prstGeom>
        </p:spPr>
      </p:pic>
      <p:pic>
        <p:nvPicPr>
          <p:cNvPr id="135" name="object 132"/>
          <p:cNvPicPr/>
          <p:nvPr/>
        </p:nvPicPr>
        <p:blipFill>
          <a:blip r:embed="rId20" cstate="print"/>
          <a:stretch>
            <a:fillRect/>
          </a:stretch>
        </p:blipFill>
        <p:spPr>
          <a:xfrm>
            <a:off x="748283" y="6344765"/>
            <a:ext cx="1236954" cy="152704"/>
          </a:xfrm>
          <a:prstGeom prst="rect">
            <a:avLst/>
          </a:prstGeom>
        </p:spPr>
      </p:pic>
      <p:grpSp>
        <p:nvGrpSpPr>
          <p:cNvPr id="141" name="object 138"/>
          <p:cNvGrpSpPr/>
          <p:nvPr/>
        </p:nvGrpSpPr>
        <p:grpSpPr>
          <a:xfrm>
            <a:off x="4235577" y="1456383"/>
            <a:ext cx="3192780" cy="2310130"/>
            <a:chOff x="4235577" y="1528572"/>
            <a:chExt cx="3192780" cy="2310130"/>
          </a:xfrm>
        </p:grpSpPr>
        <p:sp>
          <p:nvSpPr>
            <p:cNvPr id="142" name="object 139"/>
            <p:cNvSpPr/>
            <p:nvPr/>
          </p:nvSpPr>
          <p:spPr>
            <a:xfrm>
              <a:off x="5027676" y="1528572"/>
              <a:ext cx="2388235" cy="876300"/>
            </a:xfrm>
            <a:custGeom>
              <a:avLst/>
              <a:gdLst/>
              <a:ahLst/>
              <a:cxnLst/>
              <a:rect l="l" t="t" r="r" b="b"/>
              <a:pathLst>
                <a:path w="2388234" h="876300">
                  <a:moveTo>
                    <a:pt x="2242057" y="0"/>
                  </a:moveTo>
                  <a:lnTo>
                    <a:pt x="146050" y="0"/>
                  </a:lnTo>
                  <a:lnTo>
                    <a:pt x="99893" y="7447"/>
                  </a:lnTo>
                  <a:lnTo>
                    <a:pt x="59801" y="28183"/>
                  </a:lnTo>
                  <a:lnTo>
                    <a:pt x="28183" y="59801"/>
                  </a:lnTo>
                  <a:lnTo>
                    <a:pt x="7447" y="99893"/>
                  </a:lnTo>
                  <a:lnTo>
                    <a:pt x="0" y="146050"/>
                  </a:lnTo>
                  <a:lnTo>
                    <a:pt x="0" y="730250"/>
                  </a:lnTo>
                  <a:lnTo>
                    <a:pt x="7447" y="776406"/>
                  </a:lnTo>
                  <a:lnTo>
                    <a:pt x="28183" y="816498"/>
                  </a:lnTo>
                  <a:lnTo>
                    <a:pt x="59801" y="848116"/>
                  </a:lnTo>
                  <a:lnTo>
                    <a:pt x="99893" y="868852"/>
                  </a:lnTo>
                  <a:lnTo>
                    <a:pt x="146050" y="876300"/>
                  </a:lnTo>
                  <a:lnTo>
                    <a:pt x="2242057" y="876300"/>
                  </a:lnTo>
                  <a:lnTo>
                    <a:pt x="2288214" y="868852"/>
                  </a:lnTo>
                  <a:lnTo>
                    <a:pt x="2328306" y="848116"/>
                  </a:lnTo>
                  <a:lnTo>
                    <a:pt x="2359924" y="816498"/>
                  </a:lnTo>
                  <a:lnTo>
                    <a:pt x="2380660" y="776406"/>
                  </a:lnTo>
                  <a:lnTo>
                    <a:pt x="2388107" y="730250"/>
                  </a:lnTo>
                  <a:lnTo>
                    <a:pt x="2388107" y="146050"/>
                  </a:lnTo>
                  <a:lnTo>
                    <a:pt x="2380660" y="99893"/>
                  </a:lnTo>
                  <a:lnTo>
                    <a:pt x="2359924" y="59801"/>
                  </a:lnTo>
                  <a:lnTo>
                    <a:pt x="2328306" y="28183"/>
                  </a:lnTo>
                  <a:lnTo>
                    <a:pt x="2288214" y="7447"/>
                  </a:lnTo>
                  <a:lnTo>
                    <a:pt x="2242057" y="0"/>
                  </a:lnTo>
                  <a:close/>
                </a:path>
              </a:pathLst>
            </a:custGeom>
            <a:solidFill>
              <a:srgbClr val="2EAB90">
                <a:alpha val="5999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43" name="object 140"/>
            <p:cNvPicPr/>
            <p:nvPr/>
          </p:nvPicPr>
          <p:blipFill>
            <a:blip r:embed="rId21" cstate="print"/>
            <a:stretch>
              <a:fillRect/>
            </a:stretch>
          </p:blipFill>
          <p:spPr>
            <a:xfrm>
              <a:off x="5402580" y="1582242"/>
              <a:ext cx="1694814" cy="142036"/>
            </a:xfrm>
            <a:prstGeom prst="rect">
              <a:avLst/>
            </a:prstGeom>
          </p:spPr>
        </p:pic>
        <p:sp>
          <p:nvSpPr>
            <p:cNvPr id="144" name="object 141"/>
            <p:cNvSpPr/>
            <p:nvPr/>
          </p:nvSpPr>
          <p:spPr>
            <a:xfrm>
              <a:off x="5401818" y="1704213"/>
              <a:ext cx="1640205" cy="6350"/>
            </a:xfrm>
            <a:custGeom>
              <a:avLst/>
              <a:gdLst/>
              <a:ahLst/>
              <a:cxnLst/>
              <a:rect l="l" t="t" r="r" b="b"/>
              <a:pathLst>
                <a:path w="1640204" h="6350">
                  <a:moveTo>
                    <a:pt x="1639824" y="0"/>
                  </a:moveTo>
                  <a:lnTo>
                    <a:pt x="0" y="0"/>
                  </a:lnTo>
                  <a:lnTo>
                    <a:pt x="0" y="6096"/>
                  </a:lnTo>
                  <a:lnTo>
                    <a:pt x="1639824" y="6096"/>
                  </a:lnTo>
                  <a:lnTo>
                    <a:pt x="1639824" y="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45" name="object 142"/>
            <p:cNvPicPr/>
            <p:nvPr/>
          </p:nvPicPr>
          <p:blipFill>
            <a:blip r:embed="rId22" cstate="print"/>
            <a:stretch>
              <a:fillRect/>
            </a:stretch>
          </p:blipFill>
          <p:spPr>
            <a:xfrm>
              <a:off x="6045708" y="1719961"/>
              <a:ext cx="414629" cy="141732"/>
            </a:xfrm>
            <a:prstGeom prst="rect">
              <a:avLst/>
            </a:prstGeom>
          </p:spPr>
        </p:pic>
        <p:sp>
          <p:nvSpPr>
            <p:cNvPr id="146" name="object 143"/>
            <p:cNvSpPr/>
            <p:nvPr/>
          </p:nvSpPr>
          <p:spPr>
            <a:xfrm>
              <a:off x="6044946" y="1841372"/>
              <a:ext cx="355600" cy="6350"/>
            </a:xfrm>
            <a:custGeom>
              <a:avLst/>
              <a:gdLst/>
              <a:ahLst/>
              <a:cxnLst/>
              <a:rect l="l" t="t" r="r" b="b"/>
              <a:pathLst>
                <a:path w="355600" h="6350">
                  <a:moveTo>
                    <a:pt x="355091" y="0"/>
                  </a:moveTo>
                  <a:lnTo>
                    <a:pt x="0" y="0"/>
                  </a:lnTo>
                  <a:lnTo>
                    <a:pt x="0" y="6096"/>
                  </a:lnTo>
                  <a:lnTo>
                    <a:pt x="355091" y="6096"/>
                  </a:lnTo>
                  <a:lnTo>
                    <a:pt x="355091" y="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47" name="object 144"/>
            <p:cNvPicPr/>
            <p:nvPr/>
          </p:nvPicPr>
          <p:blipFill>
            <a:blip r:embed="rId14" cstate="print"/>
            <a:stretch>
              <a:fillRect/>
            </a:stretch>
          </p:blipFill>
          <p:spPr>
            <a:xfrm>
              <a:off x="5163312" y="1936369"/>
              <a:ext cx="584200" cy="137160"/>
            </a:xfrm>
            <a:prstGeom prst="rect">
              <a:avLst/>
            </a:prstGeom>
          </p:spPr>
        </p:pic>
        <p:pic>
          <p:nvPicPr>
            <p:cNvPr id="148" name="object 145"/>
            <p:cNvPicPr/>
            <p:nvPr/>
          </p:nvPicPr>
          <p:blipFill>
            <a:blip r:embed="rId23" cstate="print"/>
            <a:stretch>
              <a:fillRect/>
            </a:stretch>
          </p:blipFill>
          <p:spPr>
            <a:xfrm>
              <a:off x="5794248" y="1936369"/>
              <a:ext cx="303580" cy="137160"/>
            </a:xfrm>
            <a:prstGeom prst="rect">
              <a:avLst/>
            </a:prstGeom>
          </p:spPr>
        </p:pic>
        <p:pic>
          <p:nvPicPr>
            <p:cNvPr id="149" name="object 146"/>
            <p:cNvPicPr/>
            <p:nvPr/>
          </p:nvPicPr>
          <p:blipFill>
            <a:blip r:embed="rId24" cstate="print"/>
            <a:stretch>
              <a:fillRect/>
            </a:stretch>
          </p:blipFill>
          <p:spPr>
            <a:xfrm>
              <a:off x="5163312" y="2073529"/>
              <a:ext cx="464629" cy="137160"/>
            </a:xfrm>
            <a:prstGeom prst="rect">
              <a:avLst/>
            </a:prstGeom>
          </p:spPr>
        </p:pic>
        <p:pic>
          <p:nvPicPr>
            <p:cNvPr id="150" name="object 147"/>
            <p:cNvPicPr/>
            <p:nvPr/>
          </p:nvPicPr>
          <p:blipFill>
            <a:blip r:embed="rId25" cstate="print"/>
            <a:stretch>
              <a:fillRect/>
            </a:stretch>
          </p:blipFill>
          <p:spPr>
            <a:xfrm>
              <a:off x="5794248" y="2073529"/>
              <a:ext cx="737755" cy="137160"/>
            </a:xfrm>
            <a:prstGeom prst="rect">
              <a:avLst/>
            </a:prstGeom>
          </p:spPr>
        </p:pic>
        <p:pic>
          <p:nvPicPr>
            <p:cNvPr id="151" name="object 148"/>
            <p:cNvPicPr/>
            <p:nvPr/>
          </p:nvPicPr>
          <p:blipFill>
            <a:blip r:embed="rId26" cstate="print"/>
            <a:stretch>
              <a:fillRect/>
            </a:stretch>
          </p:blipFill>
          <p:spPr>
            <a:xfrm>
              <a:off x="5163312" y="2210688"/>
              <a:ext cx="344932" cy="137160"/>
            </a:xfrm>
            <a:prstGeom prst="rect">
              <a:avLst/>
            </a:prstGeom>
          </p:spPr>
        </p:pic>
        <p:pic>
          <p:nvPicPr>
            <p:cNvPr id="152" name="object 149"/>
            <p:cNvPicPr/>
            <p:nvPr/>
          </p:nvPicPr>
          <p:blipFill>
            <a:blip r:embed="rId27" cstate="print"/>
            <a:stretch>
              <a:fillRect/>
            </a:stretch>
          </p:blipFill>
          <p:spPr>
            <a:xfrm>
              <a:off x="5794248" y="2210688"/>
              <a:ext cx="717156" cy="137160"/>
            </a:xfrm>
            <a:prstGeom prst="rect">
              <a:avLst/>
            </a:prstGeom>
          </p:spPr>
        </p:pic>
        <p:sp>
          <p:nvSpPr>
            <p:cNvPr id="153" name="object 150"/>
            <p:cNvSpPr/>
            <p:nvPr/>
          </p:nvSpPr>
          <p:spPr>
            <a:xfrm>
              <a:off x="4605528" y="1965959"/>
              <a:ext cx="423545" cy="1489075"/>
            </a:xfrm>
            <a:custGeom>
              <a:avLst/>
              <a:gdLst/>
              <a:ahLst/>
              <a:cxnLst/>
              <a:rect l="l" t="t" r="r" b="b"/>
              <a:pathLst>
                <a:path w="423545" h="1489075">
                  <a:moveTo>
                    <a:pt x="423037" y="0"/>
                  </a:moveTo>
                  <a:lnTo>
                    <a:pt x="0" y="0"/>
                  </a:lnTo>
                  <a:lnTo>
                    <a:pt x="0" y="1488566"/>
                  </a:lnTo>
                </a:path>
              </a:pathLst>
            </a:custGeom>
            <a:ln w="6350">
              <a:solidFill>
                <a:srgbClr val="001F5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sp>
          <p:nvSpPr>
            <p:cNvPr id="154" name="object 151"/>
            <p:cNvSpPr/>
            <p:nvPr/>
          </p:nvSpPr>
          <p:spPr>
            <a:xfrm>
              <a:off x="5039868" y="2513075"/>
              <a:ext cx="2388235" cy="876300"/>
            </a:xfrm>
            <a:custGeom>
              <a:avLst/>
              <a:gdLst/>
              <a:ahLst/>
              <a:cxnLst/>
              <a:rect l="l" t="t" r="r" b="b"/>
              <a:pathLst>
                <a:path w="2388234" h="876300">
                  <a:moveTo>
                    <a:pt x="2242058" y="0"/>
                  </a:moveTo>
                  <a:lnTo>
                    <a:pt x="146050" y="0"/>
                  </a:lnTo>
                  <a:lnTo>
                    <a:pt x="99893" y="7447"/>
                  </a:lnTo>
                  <a:lnTo>
                    <a:pt x="59801" y="28183"/>
                  </a:lnTo>
                  <a:lnTo>
                    <a:pt x="28183" y="59801"/>
                  </a:lnTo>
                  <a:lnTo>
                    <a:pt x="7447" y="99893"/>
                  </a:lnTo>
                  <a:lnTo>
                    <a:pt x="0" y="146050"/>
                  </a:lnTo>
                  <a:lnTo>
                    <a:pt x="0" y="730250"/>
                  </a:lnTo>
                  <a:lnTo>
                    <a:pt x="7447" y="776406"/>
                  </a:lnTo>
                  <a:lnTo>
                    <a:pt x="28183" y="816498"/>
                  </a:lnTo>
                  <a:lnTo>
                    <a:pt x="59801" y="848116"/>
                  </a:lnTo>
                  <a:lnTo>
                    <a:pt x="99893" y="868852"/>
                  </a:lnTo>
                  <a:lnTo>
                    <a:pt x="146050" y="876300"/>
                  </a:lnTo>
                  <a:lnTo>
                    <a:pt x="2242058" y="876300"/>
                  </a:lnTo>
                  <a:lnTo>
                    <a:pt x="2288214" y="868852"/>
                  </a:lnTo>
                  <a:lnTo>
                    <a:pt x="2328306" y="848116"/>
                  </a:lnTo>
                  <a:lnTo>
                    <a:pt x="2359924" y="816498"/>
                  </a:lnTo>
                  <a:lnTo>
                    <a:pt x="2380660" y="776406"/>
                  </a:lnTo>
                  <a:lnTo>
                    <a:pt x="2388108" y="730250"/>
                  </a:lnTo>
                  <a:lnTo>
                    <a:pt x="2388108" y="146050"/>
                  </a:lnTo>
                  <a:lnTo>
                    <a:pt x="2380660" y="99893"/>
                  </a:lnTo>
                  <a:lnTo>
                    <a:pt x="2359924" y="59801"/>
                  </a:lnTo>
                  <a:lnTo>
                    <a:pt x="2328306" y="28183"/>
                  </a:lnTo>
                  <a:lnTo>
                    <a:pt x="2288214" y="7447"/>
                  </a:lnTo>
                  <a:lnTo>
                    <a:pt x="2242058" y="0"/>
                  </a:lnTo>
                  <a:close/>
                </a:path>
              </a:pathLst>
            </a:custGeom>
            <a:solidFill>
              <a:srgbClr val="2EAB90">
                <a:alpha val="5999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55" name="object 152"/>
            <p:cNvPicPr/>
            <p:nvPr/>
          </p:nvPicPr>
          <p:blipFill>
            <a:blip r:embed="rId28" cstate="print"/>
            <a:stretch>
              <a:fillRect/>
            </a:stretch>
          </p:blipFill>
          <p:spPr>
            <a:xfrm>
              <a:off x="5249291" y="2635885"/>
              <a:ext cx="2027174" cy="141732"/>
            </a:xfrm>
            <a:prstGeom prst="rect">
              <a:avLst/>
            </a:prstGeom>
          </p:spPr>
        </p:pic>
        <p:sp>
          <p:nvSpPr>
            <p:cNvPr id="156" name="object 153"/>
            <p:cNvSpPr/>
            <p:nvPr/>
          </p:nvSpPr>
          <p:spPr>
            <a:xfrm>
              <a:off x="5248656" y="2757297"/>
              <a:ext cx="1969135" cy="6350"/>
            </a:xfrm>
            <a:custGeom>
              <a:avLst/>
              <a:gdLst/>
              <a:ahLst/>
              <a:cxnLst/>
              <a:rect l="l" t="t" r="r" b="b"/>
              <a:pathLst>
                <a:path w="1969134" h="6350">
                  <a:moveTo>
                    <a:pt x="1969008" y="0"/>
                  </a:moveTo>
                  <a:lnTo>
                    <a:pt x="0" y="0"/>
                  </a:lnTo>
                  <a:lnTo>
                    <a:pt x="0" y="6095"/>
                  </a:lnTo>
                  <a:lnTo>
                    <a:pt x="1969008" y="6095"/>
                  </a:lnTo>
                  <a:lnTo>
                    <a:pt x="1969008" y="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57" name="object 154"/>
            <p:cNvPicPr/>
            <p:nvPr/>
          </p:nvPicPr>
          <p:blipFill>
            <a:blip r:embed="rId29" cstate="print"/>
            <a:stretch>
              <a:fillRect/>
            </a:stretch>
          </p:blipFill>
          <p:spPr>
            <a:xfrm>
              <a:off x="6023737" y="2773044"/>
              <a:ext cx="490728" cy="141732"/>
            </a:xfrm>
            <a:prstGeom prst="rect">
              <a:avLst/>
            </a:prstGeom>
          </p:spPr>
        </p:pic>
        <p:sp>
          <p:nvSpPr>
            <p:cNvPr id="158" name="object 155"/>
            <p:cNvSpPr/>
            <p:nvPr/>
          </p:nvSpPr>
          <p:spPr>
            <a:xfrm>
              <a:off x="6022848" y="2894457"/>
              <a:ext cx="421005" cy="6350"/>
            </a:xfrm>
            <a:custGeom>
              <a:avLst/>
              <a:gdLst/>
              <a:ahLst/>
              <a:cxnLst/>
              <a:rect l="l" t="t" r="r" b="b"/>
              <a:pathLst>
                <a:path w="421004" h="6350">
                  <a:moveTo>
                    <a:pt x="420624" y="0"/>
                  </a:moveTo>
                  <a:lnTo>
                    <a:pt x="0" y="0"/>
                  </a:lnTo>
                  <a:lnTo>
                    <a:pt x="0" y="6096"/>
                  </a:lnTo>
                  <a:lnTo>
                    <a:pt x="420624" y="6096"/>
                  </a:lnTo>
                  <a:lnTo>
                    <a:pt x="420624" y="0"/>
                  </a:lnTo>
                  <a:close/>
                </a:path>
              </a:pathLst>
            </a:custGeom>
            <a:solidFill>
              <a:srgbClr val="001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59" name="object 156"/>
            <p:cNvPicPr/>
            <p:nvPr/>
          </p:nvPicPr>
          <p:blipFill>
            <a:blip r:embed="rId24" cstate="print"/>
            <a:stretch>
              <a:fillRect/>
            </a:stretch>
          </p:blipFill>
          <p:spPr>
            <a:xfrm>
              <a:off x="5174615" y="2989452"/>
              <a:ext cx="464629" cy="137160"/>
            </a:xfrm>
            <a:prstGeom prst="rect">
              <a:avLst/>
            </a:prstGeom>
          </p:spPr>
        </p:pic>
        <p:pic>
          <p:nvPicPr>
            <p:cNvPr id="160" name="object 157"/>
            <p:cNvPicPr/>
            <p:nvPr/>
          </p:nvPicPr>
          <p:blipFill>
            <a:blip r:embed="rId30" cstate="print"/>
            <a:stretch>
              <a:fillRect/>
            </a:stretch>
          </p:blipFill>
          <p:spPr>
            <a:xfrm>
              <a:off x="5744845" y="2989452"/>
              <a:ext cx="525018" cy="137160"/>
            </a:xfrm>
            <a:prstGeom prst="rect">
              <a:avLst/>
            </a:prstGeom>
          </p:spPr>
        </p:pic>
        <p:pic>
          <p:nvPicPr>
            <p:cNvPr id="161" name="object 158"/>
            <p:cNvPicPr/>
            <p:nvPr/>
          </p:nvPicPr>
          <p:blipFill>
            <a:blip r:embed="rId10" cstate="print"/>
            <a:stretch>
              <a:fillRect/>
            </a:stretch>
          </p:blipFill>
          <p:spPr>
            <a:xfrm>
              <a:off x="6229477" y="2989452"/>
              <a:ext cx="290575" cy="137160"/>
            </a:xfrm>
            <a:prstGeom prst="rect">
              <a:avLst/>
            </a:prstGeom>
          </p:spPr>
        </p:pic>
        <p:pic>
          <p:nvPicPr>
            <p:cNvPr id="162" name="object 159"/>
            <p:cNvPicPr/>
            <p:nvPr/>
          </p:nvPicPr>
          <p:blipFill>
            <a:blip r:embed="rId26" cstate="print"/>
            <a:stretch>
              <a:fillRect/>
            </a:stretch>
          </p:blipFill>
          <p:spPr>
            <a:xfrm>
              <a:off x="5174615" y="3126613"/>
              <a:ext cx="344932" cy="137160"/>
            </a:xfrm>
            <a:prstGeom prst="rect">
              <a:avLst/>
            </a:prstGeom>
          </p:spPr>
        </p:pic>
        <p:pic>
          <p:nvPicPr>
            <p:cNvPr id="163" name="object 160"/>
            <p:cNvPicPr/>
            <p:nvPr/>
          </p:nvPicPr>
          <p:blipFill>
            <a:blip r:embed="rId31" cstate="print"/>
            <a:stretch>
              <a:fillRect/>
            </a:stretch>
          </p:blipFill>
          <p:spPr>
            <a:xfrm>
              <a:off x="5744845" y="3126613"/>
              <a:ext cx="245059" cy="137160"/>
            </a:xfrm>
            <a:prstGeom prst="rect">
              <a:avLst/>
            </a:prstGeom>
          </p:spPr>
        </p:pic>
        <p:pic>
          <p:nvPicPr>
            <p:cNvPr id="164" name="object 161"/>
            <p:cNvPicPr/>
            <p:nvPr/>
          </p:nvPicPr>
          <p:blipFill>
            <a:blip r:embed="rId32" cstate="print"/>
            <a:stretch>
              <a:fillRect/>
            </a:stretch>
          </p:blipFill>
          <p:spPr>
            <a:xfrm>
              <a:off x="5949061" y="3126613"/>
              <a:ext cx="692149" cy="137160"/>
            </a:xfrm>
            <a:prstGeom prst="rect">
              <a:avLst/>
            </a:prstGeom>
          </p:spPr>
        </p:pic>
        <p:sp>
          <p:nvSpPr>
            <p:cNvPr id="165" name="object 162"/>
            <p:cNvSpPr/>
            <p:nvPr/>
          </p:nvSpPr>
          <p:spPr>
            <a:xfrm>
              <a:off x="4605528" y="2950463"/>
              <a:ext cx="434340" cy="504190"/>
            </a:xfrm>
            <a:custGeom>
              <a:avLst/>
              <a:gdLst/>
              <a:ahLst/>
              <a:cxnLst/>
              <a:rect l="l" t="t" r="r" b="b"/>
              <a:pathLst>
                <a:path w="434339" h="504189">
                  <a:moveTo>
                    <a:pt x="434339" y="0"/>
                  </a:moveTo>
                  <a:lnTo>
                    <a:pt x="0" y="0"/>
                  </a:lnTo>
                  <a:lnTo>
                    <a:pt x="0" y="504063"/>
                  </a:lnTo>
                </a:path>
              </a:pathLst>
            </a:custGeom>
            <a:ln w="6350">
              <a:solidFill>
                <a:srgbClr val="001F5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defRPr/>
              </a:pPr>
              <a:endParaRPr kumimoji="0" sz="1800" b="0" i="0" u="none" strike="noStrike" kern="0" cap="none" spc="0" normalizeH="0" baseline="0" noProof="0">
                <a:ln>
                  <a:noFill/>
                </a:ln>
                <a:solidFill>
                  <a:sysClr val="windowText" lastClr="000000"/>
                </a:solidFill>
                <a:effectLst/>
                <a:uLnTx/>
                <a:uFillTx/>
              </a:endParaRPr>
            </a:p>
          </p:txBody>
        </p:sp>
        <p:pic>
          <p:nvPicPr>
            <p:cNvPr id="166" name="object 163"/>
            <p:cNvPicPr/>
            <p:nvPr/>
          </p:nvPicPr>
          <p:blipFill>
            <a:blip r:embed="rId33" cstate="print"/>
            <a:stretch>
              <a:fillRect/>
            </a:stretch>
          </p:blipFill>
          <p:spPr>
            <a:xfrm>
              <a:off x="4502277" y="3493389"/>
              <a:ext cx="240030" cy="240030"/>
            </a:xfrm>
            <a:prstGeom prst="rect">
              <a:avLst/>
            </a:prstGeom>
          </p:spPr>
        </p:pic>
        <p:pic>
          <p:nvPicPr>
            <p:cNvPr id="167" name="object 164"/>
            <p:cNvPicPr/>
            <p:nvPr/>
          </p:nvPicPr>
          <p:blipFill>
            <a:blip r:embed="rId33" cstate="print"/>
            <a:stretch>
              <a:fillRect/>
            </a:stretch>
          </p:blipFill>
          <p:spPr>
            <a:xfrm>
              <a:off x="4235577" y="3598545"/>
              <a:ext cx="240030" cy="240029"/>
            </a:xfrm>
            <a:prstGeom prst="rect">
              <a:avLst/>
            </a:prstGeom>
          </p:spPr>
        </p:pic>
      </p:grpSp>
      <p:grpSp>
        <p:nvGrpSpPr>
          <p:cNvPr id="183" name="object 184"/>
          <p:cNvGrpSpPr/>
          <p:nvPr/>
        </p:nvGrpSpPr>
        <p:grpSpPr>
          <a:xfrm>
            <a:off x="2360847" y="6321905"/>
            <a:ext cx="486409" cy="169545"/>
            <a:chOff x="5850001" y="6394094"/>
            <a:chExt cx="486409" cy="169545"/>
          </a:xfrm>
        </p:grpSpPr>
        <p:pic>
          <p:nvPicPr>
            <p:cNvPr id="184" name="object 185"/>
            <p:cNvPicPr/>
            <p:nvPr/>
          </p:nvPicPr>
          <p:blipFill>
            <a:blip r:embed="rId34" cstate="print"/>
            <a:stretch>
              <a:fillRect/>
            </a:stretch>
          </p:blipFill>
          <p:spPr>
            <a:xfrm>
              <a:off x="5850001" y="6394094"/>
              <a:ext cx="153009" cy="169164"/>
            </a:xfrm>
            <a:prstGeom prst="rect">
              <a:avLst/>
            </a:prstGeom>
          </p:spPr>
        </p:pic>
        <p:pic>
          <p:nvPicPr>
            <p:cNvPr id="185" name="object 186"/>
            <p:cNvPicPr/>
            <p:nvPr/>
          </p:nvPicPr>
          <p:blipFill>
            <a:blip r:embed="rId35" cstate="print"/>
            <a:stretch>
              <a:fillRect/>
            </a:stretch>
          </p:blipFill>
          <p:spPr>
            <a:xfrm>
              <a:off x="5926582" y="6394094"/>
              <a:ext cx="280415" cy="169164"/>
            </a:xfrm>
            <a:prstGeom prst="rect">
              <a:avLst/>
            </a:prstGeom>
          </p:spPr>
        </p:pic>
        <p:pic>
          <p:nvPicPr>
            <p:cNvPr id="186" name="object 187"/>
            <p:cNvPicPr/>
            <p:nvPr/>
          </p:nvPicPr>
          <p:blipFill>
            <a:blip r:embed="rId36" cstate="print"/>
            <a:stretch>
              <a:fillRect/>
            </a:stretch>
          </p:blipFill>
          <p:spPr>
            <a:xfrm>
              <a:off x="6136894" y="6394094"/>
              <a:ext cx="199136" cy="169164"/>
            </a:xfrm>
            <a:prstGeom prst="rect">
              <a:avLst/>
            </a:prstGeom>
          </p:spPr>
        </p:pic>
      </p:grpSp>
      <p:pic>
        <p:nvPicPr>
          <p:cNvPr id="187" name="object 188"/>
          <p:cNvPicPr/>
          <p:nvPr/>
        </p:nvPicPr>
        <p:blipFill>
          <a:blip r:embed="rId37" cstate="print"/>
          <a:stretch>
            <a:fillRect/>
          </a:stretch>
        </p:blipFill>
        <p:spPr>
          <a:xfrm>
            <a:off x="2073826" y="6293939"/>
            <a:ext cx="240030" cy="240029"/>
          </a:xfrm>
          <a:prstGeom prst="rect">
            <a:avLst/>
          </a:prstGeom>
        </p:spPr>
      </p:pic>
      <p:sp>
        <p:nvSpPr>
          <p:cNvPr id="190" name="Title 1"/>
          <p:cNvSpPr txBox="1"/>
          <p:nvPr/>
        </p:nvSpPr>
        <p:spPr>
          <a:xfrm>
            <a:off x="269547" y="537048"/>
            <a:ext cx="7254043" cy="576039"/>
          </a:xfrm>
          <a:prstGeom prst="rect">
            <a:avLst/>
          </a:prstGeom>
        </p:spPr>
        <p:txBody>
          <a:bodyPr vert="horz" lIns="0" tIns="0" rIns="91440" bIns="45720" rtlCol="0" anchor="ctr">
            <a:noAutofit/>
          </a:bodyPr>
          <a:lstStyle>
            <a:lvl1pPr algn="l" defTabSz="914400" rtl="0" eaLnBrk="1" latinLnBrk="0" hangingPunct="1">
              <a:lnSpc>
                <a:spcPts val="2000"/>
              </a:lnSpc>
              <a:spcBef>
                <a:spcPct val="0"/>
              </a:spcBef>
              <a:buNone/>
              <a:defRPr sz="1600" b="0" i="0" kern="1200" baseline="0">
                <a:solidFill>
                  <a:schemeClr val="accent1"/>
                </a:solidFill>
                <a:latin typeface="Gotham Medium" charset="0"/>
                <a:ea typeface="Gotham Medium" charset="0"/>
                <a:cs typeface="Gotham Medium" charset="0"/>
              </a:defRPr>
            </a:lvl1pPr>
          </a:lstStyle>
          <a:p>
            <a:pPr marL="0" marR="0" lvl="0" indent="0" algn="l" defTabSz="914400" rtl="0" eaLnBrk="1" fontAlgn="ctr" latinLnBrk="0" hangingPunct="1">
              <a:lnSpc>
                <a:spcPct val="100000"/>
              </a:lnSpc>
              <a:spcBef>
                <a:spcPts val="0"/>
              </a:spcBef>
              <a:spcAft>
                <a:spcPts val="0"/>
              </a:spcAft>
              <a:buClrTx/>
              <a:buSzTx/>
              <a:buFontTx/>
              <a:buNone/>
              <a:defRPr/>
            </a:pPr>
            <a:r>
              <a:rPr kumimoji="0" lang="en-US" sz="2200" b="1" i="0" u="none" strike="noStrike" kern="1200" cap="none" spc="0" normalizeH="0" baseline="0" noProof="0" dirty="0">
                <a:ln>
                  <a:noFill/>
                </a:ln>
                <a:solidFill>
                  <a:srgbClr val="002060"/>
                </a:solidFill>
                <a:effectLst/>
                <a:uLnTx/>
                <a:uFillTx/>
                <a:latin typeface="GothamBold" pitchFamily="50" charset="0"/>
                <a:ea typeface="+mn-ea"/>
                <a:cs typeface="Gotham Medium" charset="0"/>
              </a:rPr>
              <a:t>MIND ID </a:t>
            </a:r>
            <a:r>
              <a:rPr kumimoji="0" lang="zh-CN" altLang="en-US" sz="2200" b="1" i="0" u="none" strike="noStrike" kern="1200" cap="none" spc="0" normalizeH="0" baseline="0" noProof="0" dirty="0">
                <a:ln>
                  <a:noFill/>
                </a:ln>
                <a:solidFill>
                  <a:srgbClr val="002060"/>
                </a:solidFill>
                <a:effectLst/>
                <a:uLnTx/>
                <a:uFillTx/>
                <a:latin typeface="GothamBold" pitchFamily="50" charset="0"/>
                <a:ea typeface="+mn-ea"/>
                <a:cs typeface="Gotham Medium" charset="0"/>
              </a:rPr>
              <a:t>集团</a:t>
            </a:r>
            <a:r>
              <a:rPr kumimoji="0" lang="en-US" sz="2200" b="1" i="0" u="none" strike="noStrike" kern="1200" cap="none" spc="0" normalizeH="0" baseline="0" noProof="0" dirty="0">
                <a:ln>
                  <a:noFill/>
                </a:ln>
                <a:solidFill>
                  <a:srgbClr val="002060"/>
                </a:solidFill>
                <a:effectLst/>
                <a:uLnTx/>
                <a:uFillTx/>
                <a:latin typeface="GothamBold" pitchFamily="50" charset="0"/>
                <a:ea typeface="+mn-ea"/>
                <a:cs typeface="Gotham Medium" charset="0"/>
              </a:rPr>
              <a:t>– </a:t>
            </a:r>
            <a:r>
              <a:rPr kumimoji="0" lang="zh-CN" altLang="en-US" sz="2200" b="1" i="0" u="none" strike="noStrike" kern="1200" cap="none" spc="0" normalizeH="0" baseline="0" noProof="0" dirty="0">
                <a:ln>
                  <a:noFill/>
                </a:ln>
                <a:solidFill>
                  <a:srgbClr val="002060"/>
                </a:solidFill>
                <a:effectLst/>
                <a:uLnTx/>
                <a:uFillTx/>
                <a:latin typeface="GothamBold" pitchFamily="50" charset="0"/>
                <a:ea typeface="+mn-ea"/>
                <a:cs typeface="Gotham Medium" charset="0"/>
              </a:rPr>
              <a:t>铝土矿项目概况</a:t>
            </a:r>
          </a:p>
        </p:txBody>
      </p:sp>
      <p:sp>
        <p:nvSpPr>
          <p:cNvPr id="191" name="TextBox 190"/>
          <p:cNvSpPr txBox="1"/>
          <p:nvPr/>
        </p:nvSpPr>
        <p:spPr>
          <a:xfrm>
            <a:off x="269547" y="745731"/>
            <a:ext cx="11550978" cy="914400"/>
          </a:xfrm>
          <a:prstGeom prst="rect">
            <a:avLst/>
          </a:prstGeom>
        </p:spPr>
        <p:txBody>
          <a:bodyPr vert="horz" wrap="none" lIns="0" tIns="45720" rIns="91440" bIns="45720" rtlCol="0" anchor="ctr">
            <a:noAutofit/>
          </a:bodyPr>
          <a:lstStyle/>
          <a:p>
            <a:pPr algn="l"/>
            <a:r>
              <a:rPr lang="en-US" sz="1500" b="0" i="0" dirty="0">
                <a:solidFill>
                  <a:schemeClr val="accent1"/>
                </a:solidFill>
                <a:latin typeface="GothamBold" pitchFamily="50" charset="0"/>
                <a:ea typeface="Gotham Medium" charset="0"/>
                <a:cs typeface="Gotham Medium" charset="0"/>
              </a:rPr>
              <a:t>MIND ID </a:t>
            </a:r>
            <a:r>
              <a:rPr lang="zh-CN" altLang="en-US" sz="1500" b="0" i="0" dirty="0">
                <a:solidFill>
                  <a:schemeClr val="accent1"/>
                </a:solidFill>
                <a:latin typeface="GothamBold" pitchFamily="50" charset="0"/>
                <a:ea typeface="Gotham Medium" charset="0"/>
                <a:cs typeface="Gotham Medium" charset="0"/>
              </a:rPr>
              <a:t>集团</a:t>
            </a:r>
            <a:r>
              <a:rPr lang="en-US" sz="1500" b="0" i="0" dirty="0">
                <a:solidFill>
                  <a:schemeClr val="accent1"/>
                </a:solidFill>
                <a:latin typeface="GothamBold" pitchFamily="50" charset="0"/>
                <a:ea typeface="Gotham Medium" charset="0"/>
                <a:cs typeface="Gotham Medium" charset="0"/>
              </a:rPr>
              <a:t>通过发展加工下游设施，不断提高其采矿商品的附加值。</a:t>
            </a:r>
          </a:p>
        </p:txBody>
      </p:sp>
      <p:pic>
        <p:nvPicPr>
          <p:cNvPr id="6" name="图片 5" descr="截屏2024-05-09 15.47.09"/>
          <p:cNvPicPr>
            <a:picLocks noChangeAspect="1"/>
          </p:cNvPicPr>
          <p:nvPr/>
        </p:nvPicPr>
        <p:blipFill>
          <a:blip r:embed="rId38"/>
          <a:stretch>
            <a:fillRect/>
          </a:stretch>
        </p:blipFill>
        <p:spPr>
          <a:xfrm>
            <a:off x="845185" y="1369695"/>
            <a:ext cx="6894195" cy="2609850"/>
          </a:xfrm>
          <a:prstGeom prst="rect">
            <a:avLst/>
          </a:prstGeom>
        </p:spPr>
      </p:pic>
      <p:sp>
        <p:nvSpPr>
          <p:cNvPr id="7" name="文本框 6"/>
          <p:cNvSpPr txBox="1"/>
          <p:nvPr/>
        </p:nvSpPr>
        <p:spPr>
          <a:xfrm>
            <a:off x="7603490" y="1130935"/>
            <a:ext cx="2047875" cy="834390"/>
          </a:xfrm>
          <a:prstGeom prst="rect">
            <a:avLst/>
          </a:prstGeom>
          <a:solidFill>
            <a:srgbClr val="FFFFFF"/>
          </a:solidFill>
        </p:spPr>
        <p:txBody>
          <a:bodyPr vert="horz" lIns="0" tIns="45720" rIns="91440" bIns="45720" rtlCol="0" anchor="ctr">
            <a:noAutofit/>
          </a:bodyPr>
          <a:lstStyle/>
          <a:p>
            <a:endParaRPr lang="zh-CN" altLang="en-US" sz="1600" b="0" i="0" dirty="0">
              <a:solidFill>
                <a:schemeClr val="accent1"/>
              </a:solidFill>
              <a:latin typeface="Gotham Medium" charset="0"/>
              <a:ea typeface="Gotham Medium" charset="0"/>
              <a:cs typeface="Gotham Medium" charset="0"/>
            </a:endParaRPr>
          </a:p>
        </p:txBody>
      </p:sp>
      <p:sp>
        <p:nvSpPr>
          <p:cNvPr id="8" name="Footer Placeholder 2"/>
          <p:cNvSpPr>
            <a:spLocks noGrp="1"/>
          </p:cNvSpPr>
          <p:nvPr>
            <p:ph type="ftr" sz="quarter" idx="11"/>
            <p:custDataLst>
              <p:tags r:id="rId1"/>
            </p:custDataLst>
          </p:nvPr>
        </p:nvSpPr>
        <p:spPr>
          <a:xfrm>
            <a:off x="335280" y="6490970"/>
            <a:ext cx="8422005"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900" noProof="0">
                <a:ln>
                  <a:noFill/>
                </a:ln>
                <a:solidFill>
                  <a:srgbClr val="FFFFFF">
                    <a:lumMod val="50000"/>
                  </a:srgbClr>
                </a:solidFill>
                <a:effectLst/>
                <a:uLnTx/>
                <a:uFillTx/>
              </a:rPr>
              <a:t>本PPT由MIND.ID公司专门撰写。未经MIND.ID公司书面同意，本PPT的内容不能以任何形式使用、复制或传播。MIND.ID公司保留所有权利</a:t>
            </a:r>
            <a:r>
              <a:rPr lang="zh-CN" altLang="en-US" sz="900" noProof="0">
                <a:ln>
                  <a:noFill/>
                </a:ln>
                <a:solidFill>
                  <a:srgbClr val="FFFFFF">
                    <a:lumMod val="50000"/>
                  </a:srgbClr>
                </a:solidFill>
                <a:effectLst/>
                <a:uLnTx/>
                <a:uFillTx/>
              </a:rPr>
              <a:t>。</a:t>
            </a:r>
            <a:endParaRPr kumimoji="0" lang="zh-CN" altLang="en-US" sz="900" b="0" i="0" u="none" strike="noStrike" kern="1200" cap="none" spc="0" normalizeH="0" baseline="0" noProof="0" dirty="0">
              <a:ln>
                <a:noFill/>
              </a:ln>
              <a:solidFill>
                <a:srgbClr val="FFFFFF">
                  <a:lumMod val="50000"/>
                </a:srgbClr>
              </a:solidFill>
              <a:effectLst/>
              <a:uLnTx/>
              <a:uFillTx/>
              <a:latin typeface="Gotham Book" charset="0"/>
              <a:ea typeface="Gotham Book" charset="0"/>
              <a:cs typeface="Gotham Book" charset="0"/>
            </a:endParaRPr>
          </a:p>
        </p:txBody>
      </p:sp>
      <p:sp>
        <p:nvSpPr>
          <p:cNvPr id="9" name="文本框 8"/>
          <p:cNvSpPr txBox="1"/>
          <p:nvPr/>
        </p:nvSpPr>
        <p:spPr>
          <a:xfrm>
            <a:off x="747395" y="6322060"/>
            <a:ext cx="1237615" cy="209550"/>
          </a:xfrm>
          <a:prstGeom prst="rect">
            <a:avLst/>
          </a:prstGeom>
          <a:solidFill>
            <a:srgbClr val="FFFFFF"/>
          </a:solidFill>
        </p:spPr>
        <p:txBody>
          <a:bodyPr vert="horz" lIns="0" tIns="45720" rIns="91440" bIns="45720" rtlCol="0" anchor="ctr">
            <a:noAutofit/>
          </a:bodyPr>
          <a:lstStyle/>
          <a:p>
            <a:r>
              <a:rPr lang="zh-CN" altLang="en-US" sz="1000" b="0" i="0" dirty="0">
                <a:solidFill>
                  <a:schemeClr val="tx1"/>
                </a:solidFill>
                <a:latin typeface="Gotham Medium" charset="0"/>
                <a:ea typeface="Gotham Medium" charset="0"/>
                <a:cs typeface="Gotham Medium" charset="0"/>
              </a:rPr>
              <a:t>开发项目</a:t>
            </a:r>
          </a:p>
        </p:txBody>
      </p:sp>
      <p:sp>
        <p:nvSpPr>
          <p:cNvPr id="10" name="文本框 9"/>
          <p:cNvSpPr txBox="1"/>
          <p:nvPr>
            <p:custDataLst>
              <p:tags r:id="rId2"/>
            </p:custDataLst>
          </p:nvPr>
        </p:nvSpPr>
        <p:spPr>
          <a:xfrm>
            <a:off x="748030" y="6029960"/>
            <a:ext cx="1237615" cy="209550"/>
          </a:xfrm>
          <a:prstGeom prst="rect">
            <a:avLst/>
          </a:prstGeom>
          <a:solidFill>
            <a:srgbClr val="FFFFFF"/>
          </a:solidFill>
        </p:spPr>
        <p:txBody>
          <a:bodyPr vert="horz" lIns="0" tIns="45720" rIns="91440" bIns="45720" rtlCol="0" anchor="ctr">
            <a:noAutofit/>
          </a:bodyPr>
          <a:lstStyle/>
          <a:p>
            <a:r>
              <a:rPr lang="zh-CN" altLang="en-US" sz="1000" b="0" i="0" dirty="0">
                <a:solidFill>
                  <a:schemeClr val="tx1"/>
                </a:solidFill>
                <a:latin typeface="Gotham Medium" charset="0"/>
                <a:ea typeface="Gotham Medium" charset="0"/>
                <a:cs typeface="Gotham Medium" charset="0"/>
              </a:rPr>
              <a:t>矿山工厂</a:t>
            </a:r>
          </a:p>
        </p:txBody>
      </p:sp>
      <p:sp>
        <p:nvSpPr>
          <p:cNvPr id="11" name="文本框 10"/>
          <p:cNvSpPr txBox="1"/>
          <p:nvPr>
            <p:custDataLst>
              <p:tags r:id="rId3"/>
            </p:custDataLst>
          </p:nvPr>
        </p:nvSpPr>
        <p:spPr>
          <a:xfrm>
            <a:off x="2360930" y="6294120"/>
            <a:ext cx="1237615" cy="209550"/>
          </a:xfrm>
          <a:prstGeom prst="rect">
            <a:avLst/>
          </a:prstGeom>
          <a:solidFill>
            <a:srgbClr val="FFFFFF"/>
          </a:solidFill>
        </p:spPr>
        <p:txBody>
          <a:bodyPr vert="horz" lIns="0" tIns="45720" rIns="91440" bIns="45720" rtlCol="0" anchor="ctr">
            <a:noAutofit/>
          </a:bodyPr>
          <a:lstStyle/>
          <a:p>
            <a:r>
              <a:rPr lang="zh-CN" altLang="en-US" sz="1000" b="0" i="0" dirty="0">
                <a:solidFill>
                  <a:srgbClr val="002060"/>
                </a:solidFill>
                <a:latin typeface="Gotham Medium" charset="0"/>
                <a:ea typeface="Gotham Medium" charset="0"/>
                <a:cs typeface="Gotham Medium" charset="0"/>
              </a:rPr>
              <a:t>铝土矿</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9"/>
          <p:cNvSpPr txBox="1"/>
          <p:nvPr/>
        </p:nvSpPr>
        <p:spPr>
          <a:xfrm>
            <a:off x="334963" y="619701"/>
            <a:ext cx="11675224" cy="601255"/>
          </a:xfrm>
          <a:prstGeom prst="rect">
            <a:avLst/>
          </a:prstGeom>
        </p:spPr>
        <p:txBody>
          <a:bodyPr vert="horz" wrap="square" lIns="0" tIns="46800" rIns="91440" bIns="0" rtlCol="0" anchor="ctr">
            <a:spAutoFit/>
          </a:bodyPr>
          <a:lstStyle>
            <a:lvl1pPr algn="l" defTabSz="914400" rtl="0" eaLnBrk="1" latinLnBrk="0" hangingPunct="1">
              <a:lnSpc>
                <a:spcPct val="100000"/>
              </a:lnSpc>
              <a:spcBef>
                <a:spcPct val="0"/>
              </a:spcBef>
              <a:buNone/>
              <a:defRPr sz="1600" b="0" i="0" kern="1200">
                <a:solidFill>
                  <a:schemeClr val="accent1"/>
                </a:solidFill>
                <a:latin typeface="Gotham Medium" charset="0"/>
                <a:ea typeface="Gotham Medium" charset="0"/>
                <a:cs typeface="Gotham Medium" charset="0"/>
              </a:defRPr>
            </a:lvl1p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800" b="1" i="0" u="none" strike="noStrike" kern="1200" cap="none" spc="0" normalizeH="0" baseline="0" noProof="0" dirty="0">
                <a:ln>
                  <a:noFill/>
                </a:ln>
                <a:solidFill>
                  <a:srgbClr val="C00000"/>
                </a:solidFill>
                <a:effectLst/>
                <a:uLnTx/>
                <a:uFillTx/>
                <a:latin typeface="GothamBold" pitchFamily="50" charset="0"/>
              </a:rPr>
              <a:t>印度尼西亚铝及氧化铝生产企业一览</a:t>
            </a:r>
            <a:r>
              <a:rPr lang="zh-CN" altLang="en-US" sz="1800" b="1" dirty="0">
                <a:solidFill>
                  <a:srgbClr val="C00000"/>
                </a:solidFill>
                <a:latin typeface="GothamBold" pitchFamily="50" charset="0"/>
              </a:rPr>
              <a:t>表</a:t>
            </a:r>
            <a:endParaRPr kumimoji="0" lang="en-US" sz="1800" b="1" i="0" u="none" strike="noStrike" kern="1200" cap="none" spc="0" normalizeH="0" baseline="0" noProof="0" dirty="0">
              <a:ln>
                <a:noFill/>
              </a:ln>
              <a:solidFill>
                <a:srgbClr val="C00000"/>
              </a:solidFill>
              <a:effectLst/>
              <a:highlight>
                <a:srgbClr val="FFFF00"/>
              </a:highlight>
              <a:uLnTx/>
              <a:uFillTx/>
              <a:latin typeface="GothamBold" pitchFamily="50" charset="0"/>
            </a:endParaRPr>
          </a:p>
          <a:p>
            <a:pPr lvl="0">
              <a:defRPr/>
            </a:pPr>
            <a:r>
              <a:rPr lang="zh-CN" altLang="zh-CN" sz="1800" b="1" dirty="0">
                <a:ea typeface="等线" panose="02010600030101010101" pitchFamily="2" charset="-122"/>
                <a:cs typeface="Times New Roman" panose="02020503050405090304" pitchFamily="18" charset="0"/>
              </a:rPr>
              <a:t>过剩</a:t>
            </a:r>
            <a:r>
              <a:rPr lang="zh-CN" altLang="en-US" sz="1800" b="1" dirty="0">
                <a:ea typeface="等线" panose="02010600030101010101" pitchFamily="2" charset="-122"/>
                <a:cs typeface="Times New Roman" panose="02020503050405090304" pitchFamily="18" charset="0"/>
              </a:rPr>
              <a:t>的</a:t>
            </a:r>
            <a:r>
              <a:rPr lang="zh-CN" altLang="zh-CN" sz="1800" b="1" dirty="0">
                <a:ea typeface="等线" panose="02010600030101010101" pitchFamily="2" charset="-122"/>
                <a:cs typeface="Times New Roman" panose="02020503050405090304" pitchFamily="18" charset="0"/>
              </a:rPr>
              <a:t>铝产能可</a:t>
            </a:r>
            <a:r>
              <a:rPr lang="zh-CN" altLang="zh-CN" sz="1800" b="1" dirty="0">
                <a:effectLst/>
                <a:ea typeface="等线" panose="02010600030101010101" pitchFamily="2" charset="-122"/>
                <a:cs typeface="Times New Roman" panose="02020503050405090304" pitchFamily="18" charset="0"/>
              </a:rPr>
              <a:t>由海外市场吸收，但国内氧化铝及铝土矿市场将面临供不应求的局面</a:t>
            </a:r>
            <a:endParaRPr kumimoji="0" lang="en-US" sz="1800" b="1" i="0" u="none" strike="noStrike" kern="1200" cap="none" spc="0" normalizeH="0" baseline="0" noProof="0" dirty="0">
              <a:ln>
                <a:noFill/>
              </a:ln>
              <a:solidFill>
                <a:srgbClr val="15325B"/>
              </a:solidFill>
              <a:effectLst/>
              <a:highlight>
                <a:srgbClr val="FFFF00"/>
              </a:highlight>
              <a:uLnTx/>
              <a:uFillTx/>
              <a:latin typeface="GothamBold" pitchFamily="50" charset="0"/>
            </a:endParaRPr>
          </a:p>
        </p:txBody>
      </p:sp>
      <p:sp>
        <p:nvSpPr>
          <p:cNvPr id="57" name="TextBox 56"/>
          <p:cNvSpPr txBox="1"/>
          <p:nvPr/>
        </p:nvSpPr>
        <p:spPr>
          <a:xfrm>
            <a:off x="397032" y="5347214"/>
            <a:ext cx="5605971" cy="1198880"/>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lang="zh-CN" altLang="en-US" sz="1600" dirty="0">
                <a:solidFill>
                  <a:srgbClr val="15325B"/>
                </a:solidFill>
              </a:rPr>
              <a:t>备注</a:t>
            </a:r>
            <a:r>
              <a:rPr kumimoji="0" lang="en-US" sz="1600" b="0" i="0" u="none" strike="noStrike" kern="1200" cap="none" spc="0" normalizeH="0" baseline="0" noProof="0" dirty="0">
                <a:ln>
                  <a:noFill/>
                </a:ln>
                <a:solidFill>
                  <a:srgbClr val="15325B"/>
                </a:solidFill>
                <a:effectLst/>
                <a:uLnTx/>
                <a:uFillTx/>
                <a:ea typeface="+mn-ea"/>
                <a:cs typeface="+mn-cs"/>
              </a:rPr>
              <a:t>:</a:t>
            </a:r>
          </a:p>
          <a:p>
            <a:pPr marL="182880" marR="0" lvl="0" indent="-182880" algn="just" defTabSz="914400" rtl="0" eaLnBrk="1" fontAlgn="auto" latinLnBrk="0" hangingPunct="1">
              <a:lnSpc>
                <a:spcPct val="100000"/>
              </a:lnSpc>
              <a:spcBef>
                <a:spcPts val="0"/>
              </a:spcBef>
              <a:spcAft>
                <a:spcPts val="0"/>
              </a:spcAft>
              <a:buClrTx/>
              <a:buSzTx/>
              <a:buFontTx/>
              <a:buAutoNum type="arabicPeriod"/>
              <a:defRPr/>
            </a:pPr>
            <a:r>
              <a:rPr lang="en-US" sz="1600" noProof="0" dirty="0">
                <a:ln>
                  <a:noFill/>
                </a:ln>
                <a:solidFill>
                  <a:srgbClr val="15325B"/>
                </a:solidFill>
                <a:effectLst/>
                <a:uLnTx/>
                <a:uFillTx/>
              </a:rPr>
              <a:t>根据境外直接投资（ODI）相关规定，预计阿达罗铝供应量为50万吨，尽管其计划最高可供应150万吨。</a:t>
            </a:r>
            <a:endParaRPr kumimoji="0" lang="en-US" sz="1600" b="0" i="0" u="none" strike="noStrike" kern="1200" cap="none" spc="0" normalizeH="0" baseline="0" noProof="0" dirty="0">
              <a:ln>
                <a:noFill/>
              </a:ln>
              <a:solidFill>
                <a:srgbClr val="15325B"/>
              </a:solidFill>
              <a:effectLst/>
              <a:uLnTx/>
              <a:uFillTx/>
              <a:ea typeface="+mn-ea"/>
              <a:cs typeface="+mn-cs"/>
            </a:endParaRPr>
          </a:p>
          <a:p>
            <a:pPr marL="182880" marR="0" lvl="0" indent="-182880" algn="just" defTabSz="914400" rtl="0" eaLnBrk="1" fontAlgn="auto" latinLnBrk="0" hangingPunct="1">
              <a:lnSpc>
                <a:spcPct val="150000"/>
              </a:lnSpc>
              <a:spcBef>
                <a:spcPts val="0"/>
              </a:spcBef>
              <a:spcAft>
                <a:spcPts val="0"/>
              </a:spcAft>
              <a:buClrTx/>
              <a:buSzTx/>
              <a:buFontTx/>
              <a:buAutoNum type="arabicPeriod"/>
              <a:defRPr/>
            </a:pPr>
            <a:r>
              <a:rPr lang="en-US" sz="1600" noProof="0" dirty="0">
                <a:ln>
                  <a:noFill/>
                </a:ln>
                <a:solidFill>
                  <a:srgbClr val="15325B"/>
                </a:solidFill>
                <a:effectLst/>
                <a:uLnTx/>
                <a:uFillTx/>
              </a:rPr>
              <a:t>出口达50%的可能性较小</a:t>
            </a:r>
            <a:endParaRPr kumimoji="0" lang="en-US" sz="1600" b="0" i="0" u="none" strike="noStrike" kern="1200" cap="none" spc="0" normalizeH="0" baseline="0" noProof="0" dirty="0">
              <a:ln>
                <a:noFill/>
              </a:ln>
              <a:solidFill>
                <a:srgbClr val="15325B"/>
              </a:solidFill>
              <a:effectLst/>
              <a:uLnTx/>
              <a:uFillTx/>
              <a:ea typeface="+mn-ea"/>
              <a:cs typeface="+mn-cs"/>
            </a:endParaRPr>
          </a:p>
        </p:txBody>
      </p:sp>
      <p:graphicFrame>
        <p:nvGraphicFramePr>
          <p:cNvPr id="70" name="Table 69"/>
          <p:cNvGraphicFramePr>
            <a:graphicFrameLocks noGrp="1"/>
          </p:cNvGraphicFramePr>
          <p:nvPr>
            <p:extLst>
              <p:ext uri="{D42A27DB-BD31-4B8C-83A1-F6EECF244321}">
                <p14:modId xmlns:p14="http://schemas.microsoft.com/office/powerpoint/2010/main" val="1592734045"/>
              </p:ext>
            </p:extLst>
          </p:nvPr>
        </p:nvGraphicFramePr>
        <p:xfrm>
          <a:off x="490027" y="1908336"/>
          <a:ext cx="5230836" cy="3383348"/>
        </p:xfrm>
        <a:graphic>
          <a:graphicData uri="http://schemas.openxmlformats.org/drawingml/2006/table">
            <a:tbl>
              <a:tblPr firstRow="1" bandRow="1">
                <a:tableStyleId>{5940675A-B579-460E-94D1-54222C63F5DA}</a:tableStyleId>
              </a:tblPr>
              <a:tblGrid>
                <a:gridCol w="1489493">
                  <a:extLst>
                    <a:ext uri="{9D8B030D-6E8A-4147-A177-3AD203B41FA5}">
                      <a16:colId xmlns:a16="http://schemas.microsoft.com/office/drawing/2014/main" val="20000"/>
                    </a:ext>
                  </a:extLst>
                </a:gridCol>
                <a:gridCol w="1420027">
                  <a:extLst>
                    <a:ext uri="{9D8B030D-6E8A-4147-A177-3AD203B41FA5}">
                      <a16:colId xmlns:a16="http://schemas.microsoft.com/office/drawing/2014/main" val="20001"/>
                    </a:ext>
                  </a:extLst>
                </a:gridCol>
                <a:gridCol w="1160658">
                  <a:extLst>
                    <a:ext uri="{9D8B030D-6E8A-4147-A177-3AD203B41FA5}">
                      <a16:colId xmlns:a16="http://schemas.microsoft.com/office/drawing/2014/main" val="20002"/>
                    </a:ext>
                  </a:extLst>
                </a:gridCol>
                <a:gridCol w="1160658">
                  <a:extLst>
                    <a:ext uri="{9D8B030D-6E8A-4147-A177-3AD203B41FA5}">
                      <a16:colId xmlns:a16="http://schemas.microsoft.com/office/drawing/2014/main" val="20003"/>
                    </a:ext>
                  </a:extLst>
                </a:gridCol>
              </a:tblGrid>
              <a:tr h="651527">
                <a:tc>
                  <a:txBody>
                    <a:bodyPr/>
                    <a:lstStyle/>
                    <a:p>
                      <a:pPr algn="ctr"/>
                      <a:r>
                        <a:rPr lang="zh-CN" altLang="en-US" sz="1500" b="1" dirty="0">
                          <a:solidFill>
                            <a:schemeClr val="bg1"/>
                          </a:solidFill>
                          <a:latin typeface="+mn-lt"/>
                        </a:rPr>
                        <a:t>公司</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zh-CN" altLang="en-US" sz="1500" b="1" dirty="0">
                          <a:solidFill>
                            <a:schemeClr val="bg1"/>
                          </a:solidFill>
                          <a:latin typeface="+mn-lt"/>
                        </a:rPr>
                        <a:t>产能</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zh-CN" altLang="en-US" sz="1500" b="1" dirty="0">
                          <a:solidFill>
                            <a:schemeClr val="bg1"/>
                          </a:solidFill>
                          <a:latin typeface="+mn-lt"/>
                        </a:rPr>
                        <a:t>国内</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zh-CN" altLang="en-US" sz="1500" b="1" dirty="0">
                          <a:solidFill>
                            <a:schemeClr val="bg1"/>
                          </a:solidFill>
                          <a:latin typeface="+mn-lt"/>
                        </a:rPr>
                        <a:t>出口</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0"/>
                  </a:ext>
                </a:extLst>
              </a:tr>
              <a:tr h="651527">
                <a:tc>
                  <a:txBody>
                    <a:bodyPr/>
                    <a:lstStyle/>
                    <a:p>
                      <a:pPr algn="ctr"/>
                      <a:r>
                        <a:rPr lang="en-US" sz="1500" b="1" dirty="0" err="1">
                          <a:sym typeface="+mn-ea"/>
                        </a:rPr>
                        <a:t>阿达罗</a:t>
                      </a:r>
                      <a:r>
                        <a:rPr lang="en-US" sz="1500" b="1" dirty="0">
                          <a:sym typeface="+mn-ea"/>
                        </a:rPr>
                        <a:t>(Adaro)</a:t>
                      </a:r>
                      <a:endParaRPr lang="en-ID" sz="1500" b="1" dirty="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500 kt</a:t>
                      </a:r>
                      <a:r>
                        <a:rPr lang="en-US" sz="1500" baseline="30000">
                          <a:latin typeface="+mn-lt"/>
                        </a:rPr>
                        <a:t>1</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500 kt</a:t>
                      </a:r>
                      <a:r>
                        <a:rPr lang="en-US" sz="1500" baseline="30000">
                          <a:latin typeface="+mn-lt"/>
                        </a:rPr>
                        <a:t>2</a:t>
                      </a:r>
                      <a:endParaRPr lang="en-ID" sz="1500" baseline="300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51527">
                <a:tc>
                  <a:txBody>
                    <a:bodyPr/>
                    <a:lstStyle/>
                    <a:p>
                      <a:pPr algn="ctr"/>
                      <a:r>
                        <a:rPr lang="zh-CN" altLang="en-US" sz="1500" b="1">
                          <a:latin typeface="+mn-lt"/>
                        </a:rPr>
                        <a:t>南山</a:t>
                      </a:r>
                      <a:r>
                        <a:rPr lang="en-US" altLang="zh-CN" sz="1500" b="1">
                          <a:latin typeface="+mn-lt"/>
                        </a:rPr>
                        <a:t> (</a:t>
                      </a:r>
                      <a:r>
                        <a:rPr lang="en-US" sz="1500" b="1">
                          <a:latin typeface="+mn-lt"/>
                        </a:rPr>
                        <a:t>Nanshan)</a:t>
                      </a:r>
                      <a:endParaRPr lang="en-ID" sz="1500" b="1">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500 k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500 k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51527">
                <a:tc>
                  <a:txBody>
                    <a:bodyPr/>
                    <a:lstStyle/>
                    <a:p>
                      <a:pPr algn="ctr"/>
                      <a:r>
                        <a:rPr lang="en-US" sz="1500" b="1">
                          <a:sym typeface="+mn-ea"/>
                        </a:rPr>
                        <a:t>华锦 (</a:t>
                      </a:r>
                      <a:r>
                        <a:rPr lang="en-US" sz="1500" b="1">
                          <a:latin typeface="+mn-lt"/>
                        </a:rPr>
                        <a:t>Hua Chin)</a:t>
                      </a:r>
                      <a:endParaRPr lang="en-ID" sz="1500" b="1">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500 k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500 k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51527">
                <a:tc>
                  <a:txBody>
                    <a:bodyPr/>
                    <a:lstStyle/>
                    <a:p>
                      <a:pPr algn="ctr"/>
                      <a:r>
                        <a:rPr lang="en-US" sz="1500" b="1">
                          <a:sym typeface="+mn-ea"/>
                        </a:rPr>
                        <a:t>阿萨汉铝 (Inalum)</a:t>
                      </a:r>
                      <a:endParaRPr lang="en-US" sz="1500" b="1">
                        <a:latin typeface="+mn-lt"/>
                      </a:endParaRPr>
                    </a:p>
                    <a:p>
                      <a:pPr algn="ctr"/>
                      <a:r>
                        <a:rPr lang="en-US" sz="1500" b="1">
                          <a:sym typeface="+mn-ea"/>
                        </a:rPr>
                        <a:t>(</a:t>
                      </a:r>
                      <a:r>
                        <a:rPr lang="zh-CN" altLang="en-US" sz="1500" b="1">
                          <a:sym typeface="+mn-ea"/>
                        </a:rPr>
                        <a:t>当前</a:t>
                      </a:r>
                      <a:r>
                        <a:rPr lang="en-US" sz="1500" b="1">
                          <a:sym typeface="+mn-ea"/>
                        </a:rPr>
                        <a:t>)</a:t>
                      </a:r>
                      <a:endParaRPr lang="en-ID" sz="1500" b="1">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300 k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278 kt</a:t>
                      </a:r>
                      <a:endParaRPr lang="en-ID" sz="150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dirty="0">
                          <a:latin typeface="+mn-lt"/>
                        </a:rPr>
                        <a:t>-</a:t>
                      </a:r>
                      <a:endParaRPr lang="en-ID" sz="1500" dirty="0">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graphicFrame>
        <p:nvGraphicFramePr>
          <p:cNvPr id="73" name="Table 72"/>
          <p:cNvGraphicFramePr>
            <a:graphicFrameLocks noGrp="1"/>
          </p:cNvGraphicFramePr>
          <p:nvPr>
            <p:extLst>
              <p:ext uri="{D42A27DB-BD31-4B8C-83A1-F6EECF244321}">
                <p14:modId xmlns:p14="http://schemas.microsoft.com/office/powerpoint/2010/main" val="1182462252"/>
              </p:ext>
            </p:extLst>
          </p:nvPr>
        </p:nvGraphicFramePr>
        <p:xfrm>
          <a:off x="6404216" y="1908335"/>
          <a:ext cx="5605972" cy="3257635"/>
        </p:xfrm>
        <a:graphic>
          <a:graphicData uri="http://schemas.openxmlformats.org/drawingml/2006/table">
            <a:tbl>
              <a:tblPr firstRow="1" bandRow="1">
                <a:tableStyleId>{5940675A-B579-460E-94D1-54222C63F5DA}</a:tableStyleId>
              </a:tblPr>
              <a:tblGrid>
                <a:gridCol w="1652068">
                  <a:extLst>
                    <a:ext uri="{9D8B030D-6E8A-4147-A177-3AD203B41FA5}">
                      <a16:colId xmlns:a16="http://schemas.microsoft.com/office/drawing/2014/main" val="20000"/>
                    </a:ext>
                  </a:extLst>
                </a:gridCol>
                <a:gridCol w="1206997">
                  <a:extLst>
                    <a:ext uri="{9D8B030D-6E8A-4147-A177-3AD203B41FA5}">
                      <a16:colId xmlns:a16="http://schemas.microsoft.com/office/drawing/2014/main" val="20001"/>
                    </a:ext>
                  </a:extLst>
                </a:gridCol>
                <a:gridCol w="1478410">
                  <a:extLst>
                    <a:ext uri="{9D8B030D-6E8A-4147-A177-3AD203B41FA5}">
                      <a16:colId xmlns:a16="http://schemas.microsoft.com/office/drawing/2014/main" val="20002"/>
                    </a:ext>
                  </a:extLst>
                </a:gridCol>
                <a:gridCol w="1268497">
                  <a:extLst>
                    <a:ext uri="{9D8B030D-6E8A-4147-A177-3AD203B41FA5}">
                      <a16:colId xmlns:a16="http://schemas.microsoft.com/office/drawing/2014/main" val="20003"/>
                    </a:ext>
                  </a:extLst>
                </a:gridCol>
              </a:tblGrid>
              <a:tr h="651527">
                <a:tc>
                  <a:txBody>
                    <a:bodyPr/>
                    <a:lstStyle/>
                    <a:p>
                      <a:pPr algn="ctr"/>
                      <a:r>
                        <a:rPr lang="zh-CN" altLang="en-US" sz="1500" b="1" dirty="0">
                          <a:solidFill>
                            <a:schemeClr val="bg1"/>
                          </a:solidFill>
                          <a:latin typeface="+mn-lt"/>
                        </a:rPr>
                        <a:t>公司</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zh-CN" altLang="en-US" sz="1500" b="1" dirty="0">
                          <a:solidFill>
                            <a:schemeClr val="bg1"/>
                          </a:solidFill>
                          <a:latin typeface="+mn-lt"/>
                        </a:rPr>
                        <a:t>产能</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zh-CN" altLang="en-US" sz="1500" b="1" dirty="0">
                          <a:solidFill>
                            <a:schemeClr val="bg1"/>
                          </a:solidFill>
                          <a:latin typeface="+mn-lt"/>
                        </a:rPr>
                        <a:t>国内</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zh-CN" altLang="en-US" sz="1500" b="1" dirty="0">
                          <a:solidFill>
                            <a:schemeClr val="bg1"/>
                          </a:solidFill>
                          <a:latin typeface="+mn-lt"/>
                        </a:rPr>
                        <a:t>出口</a:t>
                      </a:r>
                      <a:endParaRPr lang="en-ID" sz="1500" b="1" dirty="0">
                        <a:solidFill>
                          <a:schemeClr val="bg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0000"/>
                  </a:ext>
                </a:extLst>
              </a:tr>
              <a:tr h="651527">
                <a:tc>
                  <a:txBody>
                    <a:bodyPr/>
                    <a:lstStyle/>
                    <a:p>
                      <a:r>
                        <a:rPr lang="en-US" sz="1500" b="1">
                          <a:latin typeface="+mn-lt"/>
                        </a:rPr>
                        <a:t>婆罗洲</a:t>
                      </a:r>
                      <a:r>
                        <a:rPr lang="zh-CN" altLang="en-US" sz="1500" b="1">
                          <a:latin typeface="+mn-lt"/>
                        </a:rPr>
                        <a:t>氧化铝</a:t>
                      </a:r>
                      <a:r>
                        <a:rPr lang="en-US" altLang="zh-CN" sz="1500" b="1">
                          <a:latin typeface="+mn-lt"/>
                        </a:rPr>
                        <a:t>(</a:t>
                      </a:r>
                      <a:r>
                        <a:rPr lang="en-US" sz="1500" b="1">
                          <a:latin typeface="+mn-lt"/>
                        </a:rPr>
                        <a:t>Borneo alumina)</a:t>
                      </a:r>
                      <a:endParaRPr lang="en-ID" sz="1500" b="1">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dirty="0">
                          <a:latin typeface="+mn-lt"/>
                        </a:rPr>
                        <a:t>1000 kt</a:t>
                      </a:r>
                      <a:endParaRPr lang="en-ID" sz="1500" dirty="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1000 k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51527">
                <a:tc>
                  <a:txBody>
                    <a:bodyPr/>
                    <a:lstStyle/>
                    <a:p>
                      <a:r>
                        <a:rPr lang="en-US" sz="1500" b="1">
                          <a:latin typeface="+mn-lt"/>
                        </a:rPr>
                        <a:t>民丹</a:t>
                      </a:r>
                      <a:r>
                        <a:rPr lang="zh-CN" altLang="en-US" sz="1500" b="1">
                          <a:latin typeface="+mn-lt"/>
                        </a:rPr>
                        <a:t>氧化铝</a:t>
                      </a:r>
                    </a:p>
                    <a:p>
                      <a:r>
                        <a:rPr lang="en-US" sz="1500" b="1">
                          <a:latin typeface="+mn-lt"/>
                        </a:rPr>
                        <a:t>(Bintan alumina)</a:t>
                      </a:r>
                      <a:endParaRPr lang="en-ID" sz="1500" b="1">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2000 k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500 k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1500 k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51527">
                <a:tc>
                  <a:txBody>
                    <a:bodyPr/>
                    <a:lstStyle/>
                    <a:p>
                      <a:r>
                        <a:rPr lang="en-US" sz="1500" b="1">
                          <a:latin typeface="+mn-lt"/>
                        </a:rPr>
                        <a:t>宏发韦立</a:t>
                      </a:r>
                    </a:p>
                    <a:p>
                      <a:r>
                        <a:rPr lang="en-US" sz="1500" b="1">
                          <a:latin typeface="+mn-lt"/>
                        </a:rPr>
                        <a:t>(WHW)</a:t>
                      </a:r>
                      <a:endParaRPr lang="en-ID" sz="1500" b="1">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2000 k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2000 k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51527">
                <a:tc>
                  <a:txBody>
                    <a:bodyPr/>
                    <a:lstStyle/>
                    <a:p>
                      <a:r>
                        <a:rPr lang="en-US" sz="1500" b="1">
                          <a:latin typeface="+mn-lt"/>
                        </a:rPr>
                        <a:t>锦江</a:t>
                      </a:r>
                    </a:p>
                    <a:p>
                      <a:r>
                        <a:rPr lang="en-US" sz="1500" b="1">
                          <a:latin typeface="+mn-lt"/>
                        </a:rPr>
                        <a:t>(Jinjiang)</a:t>
                      </a:r>
                      <a:endParaRPr lang="en-ID" sz="1500" b="1">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1000 k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a:latin typeface="+mn-lt"/>
                        </a:rPr>
                        <a:t>-</a:t>
                      </a:r>
                      <a:endParaRPr lang="en-ID" sz="150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dirty="0">
                          <a:latin typeface="+mn-lt"/>
                        </a:rPr>
                        <a:t>1000 kt</a:t>
                      </a:r>
                      <a:endParaRPr lang="en-ID" sz="1500" dirty="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75" name="TextBox 74"/>
          <p:cNvSpPr txBox="1"/>
          <p:nvPr/>
        </p:nvSpPr>
        <p:spPr>
          <a:xfrm>
            <a:off x="397033" y="1545835"/>
            <a:ext cx="4768936" cy="338554"/>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GothamBold" pitchFamily="50" charset="0"/>
                <a:ea typeface="+mn-ea"/>
                <a:cs typeface="+mn-cs"/>
              </a:rPr>
              <a:t>国内铝供应总量</a:t>
            </a:r>
            <a:r>
              <a:rPr kumimoji="0" lang="en-US" sz="1600" b="0" i="0" u="none" strike="noStrike" kern="1200" cap="none" spc="0" normalizeH="0" baseline="0" noProof="0" dirty="0">
                <a:ln>
                  <a:noFill/>
                </a:ln>
                <a:solidFill>
                  <a:srgbClr val="000000"/>
                </a:solidFill>
                <a:effectLst/>
                <a:uLnTx/>
                <a:uFillTx/>
                <a:latin typeface="GothamBold" pitchFamily="50" charset="0"/>
                <a:ea typeface="+mn-ea"/>
                <a:cs typeface="+mn-cs"/>
              </a:rPr>
              <a:t>(</a:t>
            </a:r>
            <a:r>
              <a:rPr kumimoji="0" lang="zh-CN" altLang="en-US" sz="1600" b="0" i="0" u="none" strike="noStrike" kern="1200" cap="none" spc="0" normalizeH="0" baseline="0" noProof="0" dirty="0">
                <a:ln>
                  <a:noFill/>
                </a:ln>
                <a:solidFill>
                  <a:srgbClr val="000000"/>
                </a:solidFill>
                <a:effectLst/>
                <a:uLnTx/>
                <a:uFillTx/>
                <a:latin typeface="GothamBold" pitchFamily="50" charset="0"/>
                <a:ea typeface="+mn-ea"/>
                <a:cs typeface="+mn-cs"/>
              </a:rPr>
              <a:t>含出口</a:t>
            </a:r>
            <a:r>
              <a:rPr kumimoji="0" lang="en-US" sz="1600" b="0" i="0" u="none" strike="noStrike" kern="1200" cap="none" spc="0" normalizeH="0" baseline="0" noProof="0" dirty="0">
                <a:ln>
                  <a:noFill/>
                </a:ln>
                <a:solidFill>
                  <a:srgbClr val="000000"/>
                </a:solidFill>
                <a:effectLst/>
                <a:uLnTx/>
                <a:uFillTx/>
                <a:latin typeface="GothamBold" pitchFamily="50" charset="0"/>
                <a:ea typeface="+mn-ea"/>
                <a:cs typeface="+mn-cs"/>
              </a:rPr>
              <a:t>), 2029</a:t>
            </a:r>
          </a:p>
        </p:txBody>
      </p:sp>
      <p:sp>
        <p:nvSpPr>
          <p:cNvPr id="77" name="TextBox 76"/>
          <p:cNvSpPr txBox="1"/>
          <p:nvPr/>
        </p:nvSpPr>
        <p:spPr>
          <a:xfrm>
            <a:off x="6404216" y="1568918"/>
            <a:ext cx="4768935" cy="338554"/>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defRPr/>
            </a:pPr>
            <a:r>
              <a:rPr kumimoji="0" lang="zh-CN" altLang="en-US" sz="1600" b="0" i="0" u="none" strike="noStrike" kern="1200" cap="none" spc="0" normalizeH="0" baseline="0" noProof="0" dirty="0">
                <a:ln>
                  <a:noFill/>
                </a:ln>
                <a:solidFill>
                  <a:srgbClr val="000000"/>
                </a:solidFill>
                <a:effectLst/>
                <a:uLnTx/>
                <a:uFillTx/>
                <a:latin typeface="GothamBold" pitchFamily="50" charset="0"/>
                <a:ea typeface="+mn-ea"/>
                <a:cs typeface="+mn-cs"/>
              </a:rPr>
              <a:t>国内铝供应总量</a:t>
            </a:r>
            <a:r>
              <a:rPr kumimoji="0" lang="en-US" altLang="zh-CN" sz="1600" b="0" i="0" u="none" strike="noStrike" kern="1200" cap="none" spc="0" normalizeH="0" baseline="0" noProof="0" dirty="0">
                <a:ln>
                  <a:noFill/>
                </a:ln>
                <a:solidFill>
                  <a:srgbClr val="000000"/>
                </a:solidFill>
                <a:effectLst/>
                <a:uLnTx/>
                <a:uFillTx/>
                <a:latin typeface="GothamBold" pitchFamily="50" charset="0"/>
                <a:ea typeface="+mn-ea"/>
                <a:cs typeface="+mn-cs"/>
              </a:rPr>
              <a:t>(</a:t>
            </a:r>
            <a:r>
              <a:rPr kumimoji="0" lang="zh-CN" altLang="en-US" sz="1600" b="0" i="0" u="none" strike="noStrike" kern="1200" cap="none" spc="0" normalizeH="0" baseline="0" noProof="0" dirty="0">
                <a:ln>
                  <a:noFill/>
                </a:ln>
                <a:solidFill>
                  <a:srgbClr val="000000"/>
                </a:solidFill>
                <a:effectLst/>
                <a:uLnTx/>
                <a:uFillTx/>
                <a:latin typeface="GothamBold" pitchFamily="50" charset="0"/>
                <a:ea typeface="+mn-ea"/>
                <a:cs typeface="+mn-cs"/>
              </a:rPr>
              <a:t>含出口</a:t>
            </a:r>
            <a:r>
              <a:rPr kumimoji="0" lang="en-US" altLang="zh-CN" sz="1600" b="0" i="0" u="none" strike="noStrike" kern="1200" cap="none" spc="0" normalizeH="0" baseline="0" noProof="0" dirty="0">
                <a:ln>
                  <a:noFill/>
                </a:ln>
                <a:solidFill>
                  <a:srgbClr val="000000"/>
                </a:solidFill>
                <a:effectLst/>
                <a:uLnTx/>
                <a:uFillTx/>
                <a:latin typeface="GothamBold" pitchFamily="50" charset="0"/>
                <a:ea typeface="+mn-ea"/>
                <a:cs typeface="+mn-cs"/>
              </a:rPr>
              <a:t>), 2029</a:t>
            </a:r>
          </a:p>
        </p:txBody>
      </p:sp>
      <p:sp>
        <p:nvSpPr>
          <p:cNvPr id="80" name="TextBox 79"/>
          <p:cNvSpPr txBox="1"/>
          <p:nvPr/>
        </p:nvSpPr>
        <p:spPr>
          <a:xfrm>
            <a:off x="6404216" y="5347214"/>
            <a:ext cx="5605971" cy="82994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15325B"/>
                </a:solidFill>
                <a:effectLst/>
                <a:uLnTx/>
                <a:uFillTx/>
                <a:ea typeface="+mn-ea"/>
                <a:cs typeface="+mn-cs"/>
              </a:rPr>
              <a:t>备注</a:t>
            </a:r>
            <a:r>
              <a:rPr kumimoji="0" lang="en-US" sz="1600" b="0" i="0" u="none" strike="noStrike" kern="1200" cap="none" spc="0" normalizeH="0" baseline="0" noProof="0" dirty="0">
                <a:ln>
                  <a:noFill/>
                </a:ln>
                <a:solidFill>
                  <a:srgbClr val="15325B"/>
                </a:solidFill>
                <a:effectLst/>
                <a:uLnTx/>
                <a:uFillTx/>
                <a:ea typeface="+mn-ea"/>
                <a:cs typeface="+mn-cs"/>
              </a:rPr>
              <a:t>:</a:t>
            </a:r>
          </a:p>
          <a:p>
            <a:pPr marL="182880" marR="0" lvl="0" indent="-182880" algn="just" defTabSz="914400" rtl="0" eaLnBrk="1" fontAlgn="auto" latinLnBrk="0" hangingPunct="1">
              <a:lnSpc>
                <a:spcPct val="100000"/>
              </a:lnSpc>
              <a:spcBef>
                <a:spcPts val="0"/>
              </a:spcBef>
              <a:spcAft>
                <a:spcPts val="0"/>
              </a:spcAft>
              <a:buClrTx/>
              <a:buSzTx/>
              <a:buFontTx/>
              <a:buAutoNum type="arabicPeriod"/>
              <a:defRPr/>
            </a:pPr>
            <a:r>
              <a:rPr lang="en-US" sz="1600" noProof="0">
                <a:ln>
                  <a:noFill/>
                </a:ln>
                <a:solidFill>
                  <a:srgbClr val="15325B"/>
                </a:solidFill>
                <a:effectLst/>
                <a:uLnTx/>
                <a:uFillTx/>
              </a:rPr>
              <a:t>基于印尼国内铝需求前景，预计2028年和2029年将分别新增铝冶炼厂产能42.7万吨和58万吨</a:t>
            </a:r>
            <a:endParaRPr kumimoji="0" lang="en-US" sz="1600" b="0" i="0" u="none" strike="noStrike" kern="1200" cap="none" spc="0" normalizeH="0" baseline="0" noProof="0">
              <a:ln>
                <a:noFill/>
              </a:ln>
              <a:solidFill>
                <a:srgbClr val="15325B"/>
              </a:solidFill>
              <a:effectLst/>
              <a:uLnTx/>
              <a:uFillTx/>
              <a:ea typeface="+mn-ea"/>
              <a:cs typeface="+mn-cs"/>
            </a:endParaRPr>
          </a:p>
        </p:txBody>
      </p:sp>
      <p:sp>
        <p:nvSpPr>
          <p:cNvPr id="2" name="Slide Number Placeholder 2"/>
          <p:cNvSpPr txBox="1"/>
          <p:nvPr/>
        </p:nvSpPr>
        <p:spPr>
          <a:xfrm>
            <a:off x="11208568" y="6396327"/>
            <a:ext cx="611957" cy="365125"/>
          </a:xfrm>
          <a:prstGeom prst="rect">
            <a:avLst/>
          </a:prstGeom>
        </p:spPr>
        <p:txBody>
          <a:bodyPr vert="horz" lIns="0" tIns="45720" rIns="0" bIns="45720" rtlCol="0" anchor="b"/>
          <a:lstStyle>
            <a:defPPr>
              <a:defRPr lang="en-US"/>
            </a:defPPr>
            <a:lvl1pPr algn="r">
              <a:defRPr sz="1050" b="0" i="0">
                <a:solidFill>
                  <a:schemeClr val="tx1">
                    <a:lumMod val="75000"/>
                    <a:lumOff val="25000"/>
                  </a:schemeClr>
                </a:solidFill>
                <a:latin typeface="Gotham Medium" charset="0"/>
                <a:ea typeface="Gotham Medium" charset="0"/>
                <a:cs typeface="Gotham Medium"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id-ID" sz="1050" b="0" i="0" u="none" strike="noStrike" kern="1200" cap="none" spc="0" normalizeH="0" baseline="0" noProof="0">
                <a:ln>
                  <a:noFill/>
                </a:ln>
                <a:solidFill>
                  <a:srgbClr val="000000">
                    <a:lumMod val="75000"/>
                    <a:lumOff val="25000"/>
                  </a:srgbClr>
                </a:solidFill>
                <a:effectLst/>
                <a:uLnTx/>
                <a:uFillTx/>
                <a:latin typeface="Gotham Medium" charset="0"/>
              </a:rPr>
              <a:t>|         </a:t>
            </a:r>
            <a:fld id="{7904F5B5-DD6E-6442-8C14-4BFE420CE974}" type="slidenum">
              <a:rPr kumimoji="0" lang="id-ID" sz="1050" b="0" i="0" u="none" strike="noStrike" kern="1200" cap="none" spc="0" normalizeH="0" baseline="0" noProof="0" smtClean="0">
                <a:ln>
                  <a:noFill/>
                </a:ln>
                <a:solidFill>
                  <a:srgbClr val="000000">
                    <a:lumMod val="75000"/>
                    <a:lumOff val="25000"/>
                  </a:srgbClr>
                </a:solidFill>
                <a:effectLst/>
                <a:uLnTx/>
                <a:uFillTx/>
                <a:latin typeface="Gotham Medium" charset="0"/>
              </a:rPr>
              <a:t>9</a:t>
            </a:fld>
            <a:endParaRPr kumimoji="0" lang="id-ID" sz="1050" b="0" i="0" u="none" strike="noStrike" kern="1200" cap="none" spc="0" normalizeH="0" baseline="0" noProof="0">
              <a:ln>
                <a:noFill/>
              </a:ln>
              <a:solidFill>
                <a:srgbClr val="000000">
                  <a:lumMod val="75000"/>
                  <a:lumOff val="25000"/>
                </a:srgbClr>
              </a:solidFill>
              <a:effectLst/>
              <a:uLnTx/>
              <a:uFillTx/>
              <a:latin typeface="Gotham Medium"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L9_VW0MtSOuEcwqo4lM1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MIND ID theme colors">
      <a:dk1>
        <a:srgbClr val="000000"/>
      </a:dk1>
      <a:lt1>
        <a:srgbClr val="FFFFFF"/>
      </a:lt1>
      <a:dk2>
        <a:srgbClr val="44546A"/>
      </a:dk2>
      <a:lt2>
        <a:srgbClr val="E7E6E6"/>
      </a:lt2>
      <a:accent1>
        <a:srgbClr val="15325B"/>
      </a:accent1>
      <a:accent2>
        <a:srgbClr val="0862A3"/>
      </a:accent2>
      <a:accent3>
        <a:srgbClr val="3BA6DE"/>
      </a:accent3>
      <a:accent4>
        <a:srgbClr val="CEDFEC"/>
      </a:accent4>
      <a:accent5>
        <a:srgbClr val="EC1C24"/>
      </a:accent5>
      <a:accent6>
        <a:srgbClr val="EC1C24"/>
      </a:accent6>
      <a:hlink>
        <a:srgbClr val="FF9200"/>
      </a:hlink>
      <a:folHlink>
        <a:srgbClr val="FF9200"/>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45720" rIns="91440" bIns="45720" rtlCol="0" anchor="ctr">
        <a:noAutofit/>
      </a:bodyPr>
      <a:lstStyle>
        <a:defPPr>
          <a:defRPr sz="1600" b="0" i="0" dirty="0" smtClean="0">
            <a:solidFill>
              <a:schemeClr val="accent1"/>
            </a:solidFill>
            <a:latin typeface="Gotham Medium" charset="0"/>
            <a:ea typeface="Gotham Medium" charset="0"/>
            <a:cs typeface="Gotham Medium"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BCG Grid 16:9">
  <a:themeElements>
    <a:clrScheme name="Custom 43">
      <a:dk1>
        <a:srgbClr val="595959"/>
      </a:dk1>
      <a:lt1>
        <a:sysClr val="window" lastClr="FFFFFF"/>
      </a:lt1>
      <a:dk2>
        <a:srgbClr val="16325C"/>
      </a:dk2>
      <a:lt2>
        <a:srgbClr val="F2F2F2"/>
      </a:lt2>
      <a:accent1>
        <a:srgbClr val="03522D"/>
      </a:accent1>
      <a:accent2>
        <a:srgbClr val="0862A4"/>
      </a:accent2>
      <a:accent3>
        <a:srgbClr val="E1AF33"/>
      </a:accent3>
      <a:accent4>
        <a:srgbClr val="3CA6DE"/>
      </a:accent4>
      <a:accent5>
        <a:srgbClr val="6E6F73"/>
      </a:accent5>
      <a:accent6>
        <a:srgbClr val="707EF6"/>
      </a:accent6>
      <a:hlink>
        <a:srgbClr val="4ADEDE"/>
      </a:hlink>
      <a:folHlink>
        <a:srgbClr val="2E3558"/>
      </a:folHlink>
    </a:clrScheme>
    <a:fontScheme name="Custom 9">
      <a:majorFont>
        <a:latin typeface="Gotham Medium"/>
        <a:ea typeface=""/>
        <a:cs typeface=""/>
      </a:majorFont>
      <a:minorFont>
        <a:latin typeface="Gotham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MIND ID theme colors">
      <a:dk1>
        <a:srgbClr val="000000"/>
      </a:dk1>
      <a:lt1>
        <a:srgbClr val="FFFFFF"/>
      </a:lt1>
      <a:dk2>
        <a:srgbClr val="44546A"/>
      </a:dk2>
      <a:lt2>
        <a:srgbClr val="E7E6E6"/>
      </a:lt2>
      <a:accent1>
        <a:srgbClr val="15325B"/>
      </a:accent1>
      <a:accent2>
        <a:srgbClr val="0862A3"/>
      </a:accent2>
      <a:accent3>
        <a:srgbClr val="3BA6DE"/>
      </a:accent3>
      <a:accent4>
        <a:srgbClr val="CEDFEC"/>
      </a:accent4>
      <a:accent5>
        <a:srgbClr val="EC1C24"/>
      </a:accent5>
      <a:accent6>
        <a:srgbClr val="EC1C24"/>
      </a:accent6>
      <a:hlink>
        <a:srgbClr val="FF9200"/>
      </a:hlink>
      <a:folHlink>
        <a:srgbClr val="FF9200"/>
      </a:folHlink>
    </a:clrScheme>
    <a:fontScheme name="Gotham">
      <a:majorFont>
        <a:latin typeface="Gotham Book"/>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45720" rIns="91440" bIns="45720" rtlCol="0" anchor="ctr">
        <a:noAutofit/>
      </a:bodyPr>
      <a:lstStyle>
        <a:defPPr>
          <a:defRPr sz="1600" b="0" i="0" dirty="0" smtClean="0">
            <a:solidFill>
              <a:schemeClr val="accent1"/>
            </a:solidFill>
            <a:latin typeface="Gotham Medium" charset="0"/>
            <a:ea typeface="Gotham Medium" charset="0"/>
            <a:cs typeface="Gotham Medium"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CG Grid 16:9">
  <a:themeElements>
    <a:clrScheme name="Custom 43">
      <a:dk1>
        <a:srgbClr val="595959"/>
      </a:dk1>
      <a:lt1>
        <a:sysClr val="window" lastClr="FFFFFF"/>
      </a:lt1>
      <a:dk2>
        <a:srgbClr val="16325C"/>
      </a:dk2>
      <a:lt2>
        <a:srgbClr val="F2F2F2"/>
      </a:lt2>
      <a:accent1>
        <a:srgbClr val="03522D"/>
      </a:accent1>
      <a:accent2>
        <a:srgbClr val="0862A4"/>
      </a:accent2>
      <a:accent3>
        <a:srgbClr val="E1AF33"/>
      </a:accent3>
      <a:accent4>
        <a:srgbClr val="3CA6DE"/>
      </a:accent4>
      <a:accent5>
        <a:srgbClr val="6E6F73"/>
      </a:accent5>
      <a:accent6>
        <a:srgbClr val="707EF6"/>
      </a:accent6>
      <a:hlink>
        <a:srgbClr val="4ADEDE"/>
      </a:hlink>
      <a:folHlink>
        <a:srgbClr val="2E3558"/>
      </a:folHlink>
    </a:clrScheme>
    <a:fontScheme name="Custom 9">
      <a:majorFont>
        <a:latin typeface="Gotham Medium"/>
        <a:ea typeface=""/>
        <a:cs typeface=""/>
      </a:majorFont>
      <a:minorFont>
        <a:latin typeface="Gotham Book"/>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none" lIns="91440" tIns="45720" rIns="91440" bIns="45720" numCol="1" spcCol="0" rtlCol="0" fromWordArt="0" anchor="ctr" anchorCtr="0" forceAA="0" compatLnSpc="1">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IND ID Font">
      <a:majorFont>
        <a:latin typeface="GothamBold"/>
        <a:ea typeface=""/>
        <a:cs typeface=""/>
      </a:majorFont>
      <a:minorFont>
        <a:latin typeface="Gotham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MIND ID theme colors">
      <a:dk1>
        <a:srgbClr val="000000"/>
      </a:dk1>
      <a:lt1>
        <a:srgbClr val="FFFFFF"/>
      </a:lt1>
      <a:dk2>
        <a:srgbClr val="44546A"/>
      </a:dk2>
      <a:lt2>
        <a:srgbClr val="E7E6E6"/>
      </a:lt2>
      <a:accent1>
        <a:srgbClr val="15325B"/>
      </a:accent1>
      <a:accent2>
        <a:srgbClr val="0862A3"/>
      </a:accent2>
      <a:accent3>
        <a:srgbClr val="3BA6DE"/>
      </a:accent3>
      <a:accent4>
        <a:srgbClr val="CEDFEC"/>
      </a:accent4>
      <a:accent5>
        <a:srgbClr val="EC1C24"/>
      </a:accent5>
      <a:accent6>
        <a:srgbClr val="EC1C24"/>
      </a:accent6>
      <a:hlink>
        <a:srgbClr val="FF9200"/>
      </a:hlink>
      <a:folHlink>
        <a:srgbClr val="FF9200"/>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45720" rIns="91440" bIns="45720" rtlCol="0" anchor="ctr">
        <a:noAutofit/>
      </a:bodyPr>
      <a:lstStyle>
        <a:defPPr>
          <a:defRPr sz="1600" b="0" i="0" dirty="0" smtClean="0">
            <a:solidFill>
              <a:schemeClr val="accent1"/>
            </a:solidFill>
            <a:latin typeface="Gotham Medium" charset="0"/>
            <a:ea typeface="Gotham Medium" charset="0"/>
            <a:cs typeface="Gotham Medium"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IND ID Template update">
  <a:themeElements>
    <a:clrScheme name="MIND ID theme colors">
      <a:dk1>
        <a:srgbClr val="000000"/>
      </a:dk1>
      <a:lt1>
        <a:srgbClr val="FFFFFF"/>
      </a:lt1>
      <a:dk2>
        <a:srgbClr val="44546A"/>
      </a:dk2>
      <a:lt2>
        <a:srgbClr val="E7E6E6"/>
      </a:lt2>
      <a:accent1>
        <a:srgbClr val="15325B"/>
      </a:accent1>
      <a:accent2>
        <a:srgbClr val="0862A3"/>
      </a:accent2>
      <a:accent3>
        <a:srgbClr val="3BA6DE"/>
      </a:accent3>
      <a:accent4>
        <a:srgbClr val="CEDFEC"/>
      </a:accent4>
      <a:accent5>
        <a:srgbClr val="EC1C24"/>
      </a:accent5>
      <a:accent6>
        <a:srgbClr val="EC1C24"/>
      </a:accent6>
      <a:hlink>
        <a:srgbClr val="FF9200"/>
      </a:hlink>
      <a:folHlink>
        <a:srgbClr val="FF9200"/>
      </a:folHlink>
    </a:clrScheme>
    <a:fontScheme name="Mind ID">
      <a:majorFont>
        <a:latin typeface="Gotham Medium"/>
        <a:ea typeface=""/>
        <a:cs typeface=""/>
      </a:majorFont>
      <a:minorFont>
        <a:latin typeface="Gotham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45720" rIns="91440" bIns="45720" rtlCol="0" anchor="ctr">
        <a:noAutofit/>
      </a:bodyPr>
      <a:lstStyle>
        <a:defPPr>
          <a:defRPr sz="1600" b="0" i="0" dirty="0" smtClean="0">
            <a:solidFill>
              <a:schemeClr val="accent1"/>
            </a:solidFill>
            <a:latin typeface="Gotham Medium" charset="0"/>
            <a:ea typeface="Gotham Medium" charset="0"/>
            <a:cs typeface="Gotham Medium"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Office Theme">
  <a:themeElements>
    <a:clrScheme name="MIND ID theme colors">
      <a:dk1>
        <a:srgbClr val="000000"/>
      </a:dk1>
      <a:lt1>
        <a:srgbClr val="FFFFFF"/>
      </a:lt1>
      <a:dk2>
        <a:srgbClr val="44546A"/>
      </a:dk2>
      <a:lt2>
        <a:srgbClr val="E7E6E6"/>
      </a:lt2>
      <a:accent1>
        <a:srgbClr val="15325B"/>
      </a:accent1>
      <a:accent2>
        <a:srgbClr val="0862A3"/>
      </a:accent2>
      <a:accent3>
        <a:srgbClr val="3BA6DE"/>
      </a:accent3>
      <a:accent4>
        <a:srgbClr val="CEDFEC"/>
      </a:accent4>
      <a:accent5>
        <a:srgbClr val="EC1C24"/>
      </a:accent5>
      <a:accent6>
        <a:srgbClr val="EC1C24"/>
      </a:accent6>
      <a:hlink>
        <a:srgbClr val="FF9200"/>
      </a:hlink>
      <a:folHlink>
        <a:srgbClr val="FF9200"/>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0" tIns="45720" rIns="91440" bIns="45720" rtlCol="0" anchor="ctr">
        <a:noAutofit/>
      </a:bodyPr>
      <a:lstStyle>
        <a:defPPr>
          <a:defRPr sz="1600" b="0" i="0" dirty="0" smtClean="0">
            <a:solidFill>
              <a:schemeClr val="accent1"/>
            </a:solidFill>
            <a:latin typeface="Gotham Medium" charset="0"/>
            <a:ea typeface="Gotham Medium" charset="0"/>
            <a:cs typeface="Gotham Medium"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TotalTime>
  <Words>2017</Words>
  <Application>Microsoft Office PowerPoint</Application>
  <PresentationFormat>宽屏</PresentationFormat>
  <Paragraphs>382</Paragraphs>
  <Slides>13</Slides>
  <Notes>1</Notes>
  <HiddenSlides>0</HiddenSlides>
  <MMClips>0</MMClips>
  <ScaleCrop>false</ScaleCrop>
  <HeadingPairs>
    <vt:vector size="8" baseType="variant">
      <vt:variant>
        <vt:lpstr>已用的字体</vt:lpstr>
      </vt:variant>
      <vt:variant>
        <vt:i4>14</vt:i4>
      </vt:variant>
      <vt:variant>
        <vt:lpstr>主题</vt:lpstr>
      </vt:variant>
      <vt:variant>
        <vt:i4>9</vt:i4>
      </vt:variant>
      <vt:variant>
        <vt:lpstr>嵌入 OLE 服务器</vt:lpstr>
      </vt:variant>
      <vt:variant>
        <vt:i4>1</vt:i4>
      </vt:variant>
      <vt:variant>
        <vt:lpstr>幻灯片标题</vt:lpstr>
      </vt:variant>
      <vt:variant>
        <vt:i4>13</vt:i4>
      </vt:variant>
    </vt:vector>
  </HeadingPairs>
  <TitlesOfParts>
    <vt:vector size="37" baseType="lpstr">
      <vt:lpstr>Gotham</vt:lpstr>
      <vt:lpstr>Gotham Bold</vt:lpstr>
      <vt:lpstr>Gotham Book</vt:lpstr>
      <vt:lpstr>Gotham Medium</vt:lpstr>
      <vt:lpstr>GothamBold</vt:lpstr>
      <vt:lpstr>GothamBook</vt:lpstr>
      <vt:lpstr>Proxima Nova Rg</vt:lpstr>
      <vt:lpstr>等线</vt:lpstr>
      <vt:lpstr>宋体</vt:lpstr>
      <vt:lpstr>Arial</vt:lpstr>
      <vt:lpstr>Calibri</vt:lpstr>
      <vt:lpstr>Calibri Light</vt:lpstr>
      <vt:lpstr>Times New Roman</vt:lpstr>
      <vt:lpstr>Trebuchet MS</vt:lpstr>
      <vt:lpstr>1_Office Theme</vt:lpstr>
      <vt:lpstr>2_BCG Grid 16:9</vt:lpstr>
      <vt:lpstr>5_Office Theme</vt:lpstr>
      <vt:lpstr>1_BCG Grid 16:9</vt:lpstr>
      <vt:lpstr>6_Office Theme</vt:lpstr>
      <vt:lpstr>2_Office Theme</vt:lpstr>
      <vt:lpstr>7_Office Theme</vt:lpstr>
      <vt:lpstr>1_MIND ID Template update</vt:lpstr>
      <vt:lpstr>3_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Rama Putra</dc:creator>
  <cp:lastModifiedBy>friday Gao</cp:lastModifiedBy>
  <cp:revision>55</cp:revision>
  <dcterms:created xsi:type="dcterms:W3CDTF">2024-05-09T08:32:08Z</dcterms:created>
  <dcterms:modified xsi:type="dcterms:W3CDTF">2024-05-12T03:3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D6289129F6A0419A8EF63A84B9E35B</vt:lpwstr>
  </property>
  <property fmtid="{D5CDD505-2E9C-101B-9397-08002B2CF9AE}" pid="3" name="ICV">
    <vt:lpwstr>3BE15C9450F6F295B04438665CCD6A45_42</vt:lpwstr>
  </property>
  <property fmtid="{D5CDD505-2E9C-101B-9397-08002B2CF9AE}" pid="4" name="KSOProductBuildVer">
    <vt:lpwstr>2052-6.5.2.8766</vt:lpwstr>
  </property>
</Properties>
</file>